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8.xml" ContentType="application/vnd.openxmlformats-officedocument.presentationml.notesSlide+xml"/>
  <Override PartName="/ppt/tags/tag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1"/>
  </p:notesMasterIdLst>
  <p:sldIdLst>
    <p:sldId id="566" r:id="rId2"/>
    <p:sldId id="499" r:id="rId3"/>
    <p:sldId id="611" r:id="rId4"/>
    <p:sldId id="614" r:id="rId5"/>
    <p:sldId id="612" r:id="rId6"/>
    <p:sldId id="613" r:id="rId7"/>
    <p:sldId id="426" r:id="rId8"/>
    <p:sldId id="290" r:id="rId9"/>
    <p:sldId id="600" r:id="rId10"/>
    <p:sldId id="258" r:id="rId11"/>
    <p:sldId id="261" r:id="rId12"/>
    <p:sldId id="263" r:id="rId13"/>
    <p:sldId id="601" r:id="rId14"/>
    <p:sldId id="602" r:id="rId15"/>
    <p:sldId id="597" r:id="rId16"/>
    <p:sldId id="270" r:id="rId17"/>
    <p:sldId id="271" r:id="rId18"/>
    <p:sldId id="539" r:id="rId19"/>
    <p:sldId id="603" r:id="rId20"/>
    <p:sldId id="268" r:id="rId21"/>
    <p:sldId id="269" r:id="rId22"/>
    <p:sldId id="582" r:id="rId23"/>
    <p:sldId id="599" r:id="rId24"/>
    <p:sldId id="608" r:id="rId25"/>
    <p:sldId id="609" r:id="rId26"/>
    <p:sldId id="596" r:id="rId27"/>
    <p:sldId id="598" r:id="rId28"/>
    <p:sldId id="605" r:id="rId29"/>
    <p:sldId id="607" r:id="rId30"/>
    <p:sldId id="606" r:id="rId31"/>
    <p:sldId id="604" r:id="rId32"/>
    <p:sldId id="428" r:id="rId33"/>
    <p:sldId id="567" r:id="rId34"/>
    <p:sldId id="429" r:id="rId35"/>
    <p:sldId id="589" r:id="rId36"/>
    <p:sldId id="590" r:id="rId37"/>
    <p:sldId id="591" r:id="rId38"/>
    <p:sldId id="592" r:id="rId39"/>
    <p:sldId id="593" r:id="rId40"/>
    <p:sldId id="556" r:id="rId41"/>
    <p:sldId id="569" r:id="rId42"/>
    <p:sldId id="570" r:id="rId43"/>
    <p:sldId id="571" r:id="rId44"/>
    <p:sldId id="572" r:id="rId45"/>
    <p:sldId id="573" r:id="rId46"/>
    <p:sldId id="580" r:id="rId47"/>
    <p:sldId id="574" r:id="rId48"/>
    <p:sldId id="576" r:id="rId49"/>
    <p:sldId id="581" r:id="rId50"/>
    <p:sldId id="575" r:id="rId51"/>
    <p:sldId id="433" r:id="rId52"/>
    <p:sldId id="594" r:id="rId53"/>
    <p:sldId id="558" r:id="rId54"/>
    <p:sldId id="586" r:id="rId55"/>
    <p:sldId id="587" r:id="rId56"/>
    <p:sldId id="585" r:id="rId57"/>
    <p:sldId id="557" r:id="rId58"/>
    <p:sldId id="583" r:id="rId59"/>
    <p:sldId id="584" r:id="rId60"/>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C42FA5-0573-478C-AE2B-D428E27EC252}">
          <p14:sldIdLst>
            <p14:sldId id="566"/>
            <p14:sldId id="499"/>
            <p14:sldId id="611"/>
            <p14:sldId id="614"/>
            <p14:sldId id="612"/>
            <p14:sldId id="613"/>
          </p14:sldIdLst>
        </p14:section>
        <p14:section name="Intelligence" id="{6B924F21-8EBF-49B3-8720-9CA238DDBB0D}">
          <p14:sldIdLst>
            <p14:sldId id="426"/>
            <p14:sldId id="290"/>
            <p14:sldId id="600"/>
            <p14:sldId id="258"/>
            <p14:sldId id="261"/>
            <p14:sldId id="263"/>
            <p14:sldId id="601"/>
            <p14:sldId id="602"/>
            <p14:sldId id="597"/>
            <p14:sldId id="270"/>
            <p14:sldId id="271"/>
          </p14:sldIdLst>
        </p14:section>
        <p14:section name="Data" id="{129E31EB-6A78-4BFB-BE5E-6F3155C557D1}">
          <p14:sldIdLst>
            <p14:sldId id="539"/>
            <p14:sldId id="603"/>
            <p14:sldId id="268"/>
            <p14:sldId id="269"/>
          </p14:sldIdLst>
        </p14:section>
        <p14:section name="AI NN" id="{96127499-8B75-448E-9A65-0898A356CBF4}">
          <p14:sldIdLst>
            <p14:sldId id="582"/>
            <p14:sldId id="599"/>
            <p14:sldId id="608"/>
            <p14:sldId id="609"/>
          </p14:sldIdLst>
        </p14:section>
        <p14:section name="Python" id="{9B89D132-4487-460C-9FE3-10B640247C5B}">
          <p14:sldIdLst>
            <p14:sldId id="596"/>
            <p14:sldId id="598"/>
            <p14:sldId id="605"/>
            <p14:sldId id="607"/>
            <p14:sldId id="606"/>
            <p14:sldId id="604"/>
            <p14:sldId id="428"/>
            <p14:sldId id="567"/>
            <p14:sldId id="429"/>
            <p14:sldId id="589"/>
            <p14:sldId id="590"/>
            <p14:sldId id="591"/>
            <p14:sldId id="592"/>
            <p14:sldId id="593"/>
            <p14:sldId id="556"/>
            <p14:sldId id="569"/>
            <p14:sldId id="570"/>
            <p14:sldId id="571"/>
            <p14:sldId id="572"/>
            <p14:sldId id="573"/>
            <p14:sldId id="580"/>
            <p14:sldId id="574"/>
            <p14:sldId id="576"/>
            <p14:sldId id="581"/>
            <p14:sldId id="575"/>
            <p14:sldId id="433"/>
            <p14:sldId id="594"/>
            <p14:sldId id="558"/>
            <p14:sldId id="586"/>
            <p14:sldId id="587"/>
            <p14:sldId id="585"/>
            <p14:sldId id="557"/>
            <p14:sldId id="583"/>
            <p14:sldId id="584"/>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78" y="11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487829632"/>
        <c:axId val="48783002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87829632"/>
        <c:axId val="487830024"/>
      </c:lineChart>
      <c:catAx>
        <c:axId val="487829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sv-SE"/>
          </a:p>
        </c:txPr>
        <c:crossAx val="487830024"/>
        <c:crosses val="autoZero"/>
        <c:auto val="1"/>
        <c:lblAlgn val="ctr"/>
        <c:lblOffset val="100"/>
        <c:noMultiLvlLbl val="0"/>
      </c:catAx>
      <c:valAx>
        <c:axId val="487830024"/>
        <c:scaling>
          <c:orientation val="minMax"/>
        </c:scaling>
        <c:delete val="1"/>
        <c:axPos val="l"/>
        <c:numFmt formatCode="0%" sourceLinked="1"/>
        <c:majorTickMark val="none"/>
        <c:minorTickMark val="none"/>
        <c:tickLblPos val="nextTo"/>
        <c:crossAx val="48782963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690006864000176E-2"/>
          <c:y val="3.59307802354202E-2"/>
          <c:w val="0.96220212359874424"/>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3"/>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6778000"/>
        <c:axId val="126734192"/>
      </c:barChart>
      <c:lineChart>
        <c:grouping val="standard"/>
        <c:varyColors val="0"/>
        <c:ser>
          <c:idx val="2"/>
          <c:order val="2"/>
          <c:tx>
            <c:strRef>
              <c:f>Sheet1!$D$1</c:f>
              <c:strCache>
                <c:ptCount val="1"/>
                <c:pt idx="0">
                  <c:v>Category 3</c:v>
                </c:pt>
              </c:strCache>
            </c:strRef>
          </c:tx>
          <c:spPr>
            <a:ln w="38100" cap="rnd">
              <a:solidFill>
                <a:schemeClr val="accent1"/>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6778000"/>
        <c:axId val="126734192"/>
      </c:lineChart>
      <c:catAx>
        <c:axId val="28677800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sv-SE"/>
          </a:p>
        </c:txPr>
        <c:crossAx val="126734192"/>
        <c:crosses val="autoZero"/>
        <c:auto val="1"/>
        <c:lblAlgn val="ctr"/>
        <c:lblOffset val="100"/>
        <c:noMultiLvlLbl val="0"/>
      </c:catAx>
      <c:valAx>
        <c:axId val="126734192"/>
        <c:scaling>
          <c:orientation val="minMax"/>
        </c:scaling>
        <c:delete val="1"/>
        <c:axPos val="l"/>
        <c:numFmt formatCode="0%" sourceLinked="1"/>
        <c:majorTickMark val="none"/>
        <c:minorTickMark val="none"/>
        <c:tickLblPos val="nextTo"/>
        <c:crossAx val="286778000"/>
        <c:crosses val="autoZero"/>
        <c:crossBetween val="between"/>
      </c:valAx>
      <c:spPr>
        <a:noFill/>
        <a:ln w="25400">
          <a:noFill/>
        </a:ln>
        <a:effectLst/>
      </c:spPr>
    </c:plotArea>
    <c:legend>
      <c:legendPos val="b"/>
      <c:layout>
        <c:manualLayout>
          <c:xMode val="edge"/>
          <c:yMode val="edge"/>
          <c:x val="8.6629543991993532E-2"/>
          <c:y val="0.86661974681284892"/>
          <c:w val="0.86541318430129055"/>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sz="1050"/>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5182-4110-8AA5-AC38BDC97CAC}"/>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82-4110-8AA5-AC38BDC97CAC}"/>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82-4110-8AA5-AC38BDC97CAC}"/>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5182-4110-8AA5-AC38BDC97CAC}"/>
            </c:ext>
          </c:extLst>
        </c:ser>
        <c:dLbls>
          <c:dLblPos val="outEnd"/>
          <c:showLegendKey val="0"/>
          <c:showVal val="1"/>
          <c:showCatName val="0"/>
          <c:showSerName val="0"/>
          <c:showPercent val="0"/>
          <c:showBubbleSize val="0"/>
        </c:dLbls>
        <c:gapWidth val="219"/>
        <c:axId val="488447072"/>
        <c:axId val="48844746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182-4110-8AA5-AC38BDC97CAC}"/>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82-4110-8AA5-AC38BDC97CAC}"/>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182-4110-8AA5-AC38BDC97CAC}"/>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182-4110-8AA5-AC38BDC97CAC}"/>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5182-4110-8AA5-AC38BDC97CAC}"/>
            </c:ext>
          </c:extLst>
        </c:ser>
        <c:dLbls>
          <c:showLegendKey val="0"/>
          <c:showVal val="0"/>
          <c:showCatName val="0"/>
          <c:showSerName val="0"/>
          <c:showPercent val="0"/>
          <c:showBubbleSize val="0"/>
        </c:dLbls>
        <c:marker val="1"/>
        <c:smooth val="0"/>
        <c:axId val="488447072"/>
        <c:axId val="488447464"/>
      </c:lineChart>
      <c:catAx>
        <c:axId val="48844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sv-SE"/>
          </a:p>
        </c:txPr>
        <c:crossAx val="488447464"/>
        <c:crosses val="autoZero"/>
        <c:auto val="1"/>
        <c:lblAlgn val="ctr"/>
        <c:lblOffset val="100"/>
        <c:noMultiLvlLbl val="0"/>
      </c:catAx>
      <c:valAx>
        <c:axId val="488447464"/>
        <c:scaling>
          <c:orientation val="minMax"/>
        </c:scaling>
        <c:delete val="1"/>
        <c:axPos val="l"/>
        <c:numFmt formatCode="0%" sourceLinked="1"/>
        <c:majorTickMark val="none"/>
        <c:minorTickMark val="none"/>
        <c:tickLblPos val="nextTo"/>
        <c:crossAx val="48844707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2287789919021801"/>
          <c:w val="0.94491392258217699"/>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A36-4308-B95F-5A19A5C8C423}"/>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A36-4308-B95F-5A19A5C8C423}"/>
            </c:ext>
          </c:extLst>
        </c:ser>
        <c:dLbls>
          <c:dLblPos val="outEnd"/>
          <c:showLegendKey val="0"/>
          <c:showVal val="1"/>
          <c:showCatName val="0"/>
          <c:showSerName val="0"/>
          <c:showPercent val="0"/>
          <c:showBubbleSize val="0"/>
        </c:dLbls>
        <c:gapWidth val="219"/>
        <c:overlap val="-27"/>
        <c:axId val="488448248"/>
        <c:axId val="472377928"/>
      </c:barChart>
      <c:catAx>
        <c:axId val="488448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472377928"/>
        <c:crosses val="autoZero"/>
        <c:auto val="1"/>
        <c:lblAlgn val="ctr"/>
        <c:lblOffset val="100"/>
        <c:noMultiLvlLbl val="0"/>
      </c:catAx>
      <c:valAx>
        <c:axId val="472377928"/>
        <c:scaling>
          <c:orientation val="minMax"/>
        </c:scaling>
        <c:delete val="1"/>
        <c:axPos val="l"/>
        <c:numFmt formatCode="General" sourceLinked="1"/>
        <c:majorTickMark val="none"/>
        <c:minorTickMark val="none"/>
        <c:tickLblPos val="nextTo"/>
        <c:crossAx val="488448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2287789919021801"/>
          <c:w val="0.94491393344286101"/>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36-4B65-AA6F-E123FFCB811B}"/>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36-4B65-AA6F-E123FFCB811B}"/>
            </c:ext>
          </c:extLst>
        </c:ser>
        <c:dLbls>
          <c:showLegendKey val="0"/>
          <c:showVal val="0"/>
          <c:showCatName val="0"/>
          <c:showSerName val="0"/>
          <c:showPercent val="0"/>
          <c:showBubbleSize val="0"/>
        </c:dLbls>
        <c:gapWidth val="219"/>
        <c:overlap val="-27"/>
        <c:axId val="472378712"/>
        <c:axId val="472379104"/>
      </c:barChart>
      <c:catAx>
        <c:axId val="472378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472379104"/>
        <c:crosses val="autoZero"/>
        <c:auto val="1"/>
        <c:lblAlgn val="ctr"/>
        <c:lblOffset val="100"/>
        <c:noMultiLvlLbl val="0"/>
      </c:catAx>
      <c:valAx>
        <c:axId val="472379104"/>
        <c:scaling>
          <c:orientation val="minMax"/>
        </c:scaling>
        <c:delete val="1"/>
        <c:axPos val="l"/>
        <c:numFmt formatCode="General" sourceLinked="1"/>
        <c:majorTickMark val="none"/>
        <c:minorTickMark val="none"/>
        <c:tickLblPos val="nextTo"/>
        <c:crossAx val="472378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4874700634555399"/>
          <c:w val="0.94491393344286101"/>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B4C-4672-B7B3-94C071FB247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B4C-4672-B7B3-94C071FB2473}"/>
            </c:ext>
          </c:extLst>
        </c:ser>
        <c:dLbls>
          <c:dLblPos val="outEnd"/>
          <c:showLegendKey val="0"/>
          <c:showVal val="1"/>
          <c:showCatName val="0"/>
          <c:showSerName val="0"/>
          <c:showPercent val="0"/>
          <c:showBubbleSize val="0"/>
        </c:dLbls>
        <c:gapWidth val="219"/>
        <c:overlap val="-27"/>
        <c:axId val="506324064"/>
        <c:axId val="506324456"/>
      </c:barChart>
      <c:catAx>
        <c:axId val="506324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506324456"/>
        <c:crosses val="autoZero"/>
        <c:auto val="1"/>
        <c:lblAlgn val="ctr"/>
        <c:lblOffset val="100"/>
        <c:noMultiLvlLbl val="0"/>
      </c:catAx>
      <c:valAx>
        <c:axId val="506324456"/>
        <c:scaling>
          <c:orientation val="minMax"/>
        </c:scaling>
        <c:delete val="1"/>
        <c:axPos val="l"/>
        <c:numFmt formatCode="General" sourceLinked="1"/>
        <c:majorTickMark val="none"/>
        <c:minorTickMark val="none"/>
        <c:tickLblPos val="nextTo"/>
        <c:crossAx val="5063240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4874700634555399"/>
          <c:w val="0.94491392258217699"/>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44-4BC4-9CEF-468969DF1AA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44-4BC4-9CEF-468969DF1AAC}"/>
            </c:ext>
          </c:extLst>
        </c:ser>
        <c:dLbls>
          <c:dLblPos val="outEnd"/>
          <c:showLegendKey val="0"/>
          <c:showVal val="1"/>
          <c:showCatName val="0"/>
          <c:showSerName val="0"/>
          <c:showPercent val="0"/>
          <c:showBubbleSize val="0"/>
        </c:dLbls>
        <c:gapWidth val="219"/>
        <c:overlap val="-27"/>
        <c:axId val="506325240"/>
        <c:axId val="506325632"/>
      </c:barChart>
      <c:catAx>
        <c:axId val="506325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506325632"/>
        <c:crosses val="autoZero"/>
        <c:auto val="1"/>
        <c:lblAlgn val="ctr"/>
        <c:lblOffset val="100"/>
        <c:noMultiLvlLbl val="0"/>
      </c:catAx>
      <c:valAx>
        <c:axId val="506325632"/>
        <c:scaling>
          <c:orientation val="minMax"/>
        </c:scaling>
        <c:delete val="1"/>
        <c:axPos val="l"/>
        <c:numFmt formatCode="General" sourceLinked="1"/>
        <c:majorTickMark val="none"/>
        <c:minorTickMark val="none"/>
        <c:tickLblPos val="nextTo"/>
        <c:crossAx val="506325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199E-2"/>
          <c:w val="0.54478865758310102"/>
          <c:h val="0.74417476441399"/>
        </c:manualLayout>
      </c:layout>
      <c:pie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chemeClr val="accent5"/>
              </a:solidFill>
              <a:ln w="19050">
                <a:noFill/>
              </a:ln>
              <a:effectLst/>
            </c:spPr>
            <c:extLst>
              <c:ext xmlns:c16="http://schemas.microsoft.com/office/drawing/2014/chart" uri="{C3380CC4-5D6E-409C-BE32-E72D297353CC}">
                <c16:uniqueId val="{00000003-F84F-482A-AD01-0014661C825B}"/>
              </c:ext>
            </c:extLst>
          </c:dPt>
          <c:dPt>
            <c:idx val="2"/>
            <c:bubble3D val="0"/>
            <c:spPr>
              <a:solidFill>
                <a:schemeClr val="accent4"/>
              </a:solidFill>
              <a:ln w="19050">
                <a:noFill/>
              </a:ln>
              <a:effectLst/>
            </c:spPr>
            <c:extLst>
              <c:ext xmlns:c16="http://schemas.microsoft.com/office/drawing/2014/chart" uri="{C3380CC4-5D6E-409C-BE32-E72D297353CC}">
                <c16:uniqueId val="{00000002-F84F-482A-AD01-0014661C825B}"/>
              </c:ext>
            </c:extLst>
          </c:dPt>
          <c:dPt>
            <c:idx val="3"/>
            <c:bubble3D val="0"/>
            <c:spPr>
              <a:solidFill>
                <a:schemeClr val="tx2"/>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67300321995833001"/>
          <c:y val="0.78074595938665603"/>
          <c:w val="0.31378737451632999"/>
          <c:h val="0.1974754562213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01E-2"/>
          <c:w val="0.55255001722944996"/>
          <c:h val="0.75445698056456301"/>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4C36-4FD4-BEC6-AC0745608DC2}"/>
              </c:ext>
            </c:extLst>
          </c:dPt>
          <c:dPt>
            <c:idx val="1"/>
            <c:bubble3D val="0"/>
            <c:spPr>
              <a:solidFill>
                <a:schemeClr val="accent5"/>
              </a:solidFill>
              <a:ln w="19050">
                <a:noFill/>
              </a:ln>
              <a:effectLst/>
            </c:spPr>
            <c:extLst>
              <c:ext xmlns:c16="http://schemas.microsoft.com/office/drawing/2014/chart" uri="{C3380CC4-5D6E-409C-BE32-E72D297353CC}">
                <c16:uniqueId val="{00000004-4C36-4FD4-BEC6-AC0745608DC2}"/>
              </c:ext>
            </c:extLst>
          </c:dPt>
          <c:dPt>
            <c:idx val="2"/>
            <c:bubble3D val="0"/>
            <c:spPr>
              <a:solidFill>
                <a:schemeClr val="accent4"/>
              </a:solidFill>
              <a:ln w="19050">
                <a:noFill/>
              </a:ln>
              <a:effectLst/>
            </c:spPr>
            <c:extLst>
              <c:ext xmlns:c16="http://schemas.microsoft.com/office/drawing/2014/chart" uri="{C3380CC4-5D6E-409C-BE32-E72D297353CC}">
                <c16:uniqueId val="{00000003-4C36-4FD4-BEC6-AC0745608DC2}"/>
              </c:ext>
            </c:extLst>
          </c:dPt>
          <c:dPt>
            <c:idx val="3"/>
            <c:bubble3D val="0"/>
            <c:spPr>
              <a:solidFill>
                <a:schemeClr val="tx2"/>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sv-S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layout>
        <c:manualLayout>
          <c:xMode val="edge"/>
          <c:yMode val="edge"/>
          <c:x val="0.72340413633862799"/>
          <c:y val="0.76259713905997695"/>
          <c:w val="0.26567740888059099"/>
          <c:h val="0.2156242765480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1"/>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7126064"/>
        <c:axId val="287125672"/>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7126064"/>
        <c:axId val="287125672"/>
      </c:lineChart>
      <c:catAx>
        <c:axId val="28712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sv-SE"/>
          </a:p>
        </c:txPr>
        <c:crossAx val="287125672"/>
        <c:crosses val="autoZero"/>
        <c:auto val="1"/>
        <c:lblAlgn val="ctr"/>
        <c:lblOffset val="100"/>
        <c:noMultiLvlLbl val="0"/>
      </c:catAx>
      <c:valAx>
        <c:axId val="287125672"/>
        <c:scaling>
          <c:orientation val="minMax"/>
        </c:scaling>
        <c:delete val="1"/>
        <c:axPos val="l"/>
        <c:numFmt formatCode="0%" sourceLinked="1"/>
        <c:majorTickMark val="none"/>
        <c:minorTickMark val="none"/>
        <c:tickLblPos val="nextTo"/>
        <c:crossAx val="287126064"/>
        <c:crosses val="autoZero"/>
        <c:crossBetween val="between"/>
      </c:valAx>
      <c:spPr>
        <a:noFill/>
        <a:ln w="25400">
          <a:noFill/>
        </a:ln>
        <a:effectLst/>
      </c:spPr>
    </c:plotArea>
    <c:legend>
      <c:legendPos val="b"/>
      <c:layout>
        <c:manualLayout>
          <c:xMode val="edge"/>
          <c:yMode val="edge"/>
          <c:x val="0.27225648028908694"/>
          <c:y val="0.86661974681284892"/>
          <c:w val="0.45548703942182617"/>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sz="1050"/>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44DBC7-3A2A-4536-917A-1221950D2E55}" type="datetimeFigureOut">
              <a:rPr lang="sv-SE" smtClean="0"/>
              <a:t>2019-05-13</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69A922-8050-4AD8-8ECB-D46C80B0FB99}" type="slidenum">
              <a:rPr lang="sv-SE" smtClean="0"/>
              <a:t>‹#›</a:t>
            </a:fld>
            <a:endParaRPr lang="sv-SE"/>
          </a:p>
        </p:txBody>
      </p:sp>
    </p:spTree>
    <p:extLst>
      <p:ext uri="{BB962C8B-B14F-4D97-AF65-F5344CB8AC3E}">
        <p14:creationId xmlns:p14="http://schemas.microsoft.com/office/powerpoint/2010/main" val="31148080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2726513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530" name="Rectangle 1">
            <a:extLst>
              <a:ext uri="{FF2B5EF4-FFF2-40B4-BE49-F238E27FC236}">
                <a16:creationId xmlns:a16="http://schemas.microsoft.com/office/drawing/2014/main" id="{02BC455B-8692-4391-B781-A324DD89213B}"/>
              </a:ext>
            </a:extLst>
          </p:cNvPr>
          <p:cNvSpPr>
            <a:spLocks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2531" name="Rectangle 2">
            <a:extLst>
              <a:ext uri="{FF2B5EF4-FFF2-40B4-BE49-F238E27FC236}">
                <a16:creationId xmlns:a16="http://schemas.microsoft.com/office/drawing/2014/main" id="{814D66A2-1218-492D-9C77-7239AD6D17C2}"/>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530" name="Rectangle 1">
            <a:extLst>
              <a:ext uri="{FF2B5EF4-FFF2-40B4-BE49-F238E27FC236}">
                <a16:creationId xmlns:a16="http://schemas.microsoft.com/office/drawing/2014/main" id="{02BC455B-8692-4391-B781-A324DD89213B}"/>
              </a:ext>
            </a:extLst>
          </p:cNvPr>
          <p:cNvSpPr>
            <a:spLocks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2531" name="Rectangle 2">
            <a:extLst>
              <a:ext uri="{FF2B5EF4-FFF2-40B4-BE49-F238E27FC236}">
                <a16:creationId xmlns:a16="http://schemas.microsoft.com/office/drawing/2014/main" id="{814D66A2-1218-492D-9C77-7239AD6D17C2}"/>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2</a:t>
            </a:fld>
            <a:endParaRPr lang="pt-BR"/>
          </a:p>
        </p:txBody>
      </p:sp>
    </p:spTree>
    <p:extLst>
      <p:ext uri="{BB962C8B-B14F-4D97-AF65-F5344CB8AC3E}">
        <p14:creationId xmlns:p14="http://schemas.microsoft.com/office/powerpoint/2010/main" val="2466881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6</a:t>
            </a:fld>
            <a:endParaRPr lang="pt-BR"/>
          </a:p>
        </p:txBody>
      </p:sp>
    </p:spTree>
    <p:extLst>
      <p:ext uri="{BB962C8B-B14F-4D97-AF65-F5344CB8AC3E}">
        <p14:creationId xmlns:p14="http://schemas.microsoft.com/office/powerpoint/2010/main" val="604237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ChangeArrowheads="1" noTextEdit="1"/>
          </p:cNvSpPr>
          <p:nvPr>
            <p:ph type="sldImg"/>
          </p:nvPr>
        </p:nvSpPr>
        <p:spPr>
          <a:xfrm>
            <a:off x="90488" y="754063"/>
            <a:ext cx="6616700"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extLst>
      <p:ext uri="{BB962C8B-B14F-4D97-AF65-F5344CB8AC3E}">
        <p14:creationId xmlns:p14="http://schemas.microsoft.com/office/powerpoint/2010/main" val="2840255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ChangeArrowheads="1" noTextEdit="1"/>
          </p:cNvSpPr>
          <p:nvPr>
            <p:ph type="sldImg"/>
          </p:nvPr>
        </p:nvSpPr>
        <p:spPr>
          <a:xfrm>
            <a:off x="90488" y="754063"/>
            <a:ext cx="6616700"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extLst>
      <p:ext uri="{BB962C8B-B14F-4D97-AF65-F5344CB8AC3E}">
        <p14:creationId xmlns:p14="http://schemas.microsoft.com/office/powerpoint/2010/main" val="10000579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ChangeArrowheads="1" noTextEdit="1"/>
          </p:cNvSpPr>
          <p:nvPr>
            <p:ph type="sldImg"/>
          </p:nvPr>
        </p:nvSpPr>
        <p:spPr>
          <a:xfrm>
            <a:off x="90488" y="754063"/>
            <a:ext cx="6616700"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extLst>
      <p:ext uri="{BB962C8B-B14F-4D97-AF65-F5344CB8AC3E}">
        <p14:creationId xmlns:p14="http://schemas.microsoft.com/office/powerpoint/2010/main" val="4021375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Rectangle 1">
            <a:extLst>
              <a:ext uri="{FF2B5EF4-FFF2-40B4-BE49-F238E27FC236}">
                <a16:creationId xmlns:a16="http://schemas.microsoft.com/office/drawing/2014/main" id="{CC735833-84CF-43AE-9276-A9AAD9359D4A}"/>
              </a:ext>
            </a:extLst>
          </p:cNvPr>
          <p:cNvSpPr>
            <a:spLocks noChangeArrowheads="1" noTextEdit="1"/>
          </p:cNvSpPr>
          <p:nvPr>
            <p:ph type="sldImg"/>
          </p:nvPr>
        </p:nvSpPr>
        <p:spPr>
          <a:xfrm>
            <a:off x="90488" y="754063"/>
            <a:ext cx="6616700" cy="3722687"/>
          </a:xfrm>
          <a:solidFill>
            <a:srgbClr val="FFFFFF"/>
          </a:solidFill>
          <a:ln>
            <a:solidFill>
              <a:srgbClr val="000000"/>
            </a:solidFill>
            <a:miter lim="800000"/>
            <a:headEnd/>
            <a:tailEnd/>
          </a:ln>
        </p:spPr>
      </p:sp>
      <p:sp>
        <p:nvSpPr>
          <p:cNvPr id="20483" name="Rectangle 2">
            <a:extLst>
              <a:ext uri="{FF2B5EF4-FFF2-40B4-BE49-F238E27FC236}">
                <a16:creationId xmlns:a16="http://schemas.microsoft.com/office/drawing/2014/main" id="{F5EADBC1-5C23-40A3-9F6D-C2F58B720E24}"/>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extLst>
      <p:ext uri="{BB962C8B-B14F-4D97-AF65-F5344CB8AC3E}">
        <p14:creationId xmlns:p14="http://schemas.microsoft.com/office/powerpoint/2010/main" val="22591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530" name="Rectangle 1">
            <a:extLst>
              <a:ext uri="{FF2B5EF4-FFF2-40B4-BE49-F238E27FC236}">
                <a16:creationId xmlns:a16="http://schemas.microsoft.com/office/drawing/2014/main" id="{02BC455B-8692-4391-B781-A324DD89213B}"/>
              </a:ext>
            </a:extLst>
          </p:cNvPr>
          <p:cNvSpPr>
            <a:spLocks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2531" name="Rectangle 2">
            <a:extLst>
              <a:ext uri="{FF2B5EF4-FFF2-40B4-BE49-F238E27FC236}">
                <a16:creationId xmlns:a16="http://schemas.microsoft.com/office/drawing/2014/main" id="{814D66A2-1218-492D-9C77-7239AD6D17C2}"/>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177280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2</a:t>
            </a:fld>
            <a:endParaRPr lang="pt-BR"/>
          </a:p>
        </p:txBody>
      </p:sp>
    </p:spTree>
    <p:extLst>
      <p:ext uri="{BB962C8B-B14F-4D97-AF65-F5344CB8AC3E}">
        <p14:creationId xmlns:p14="http://schemas.microsoft.com/office/powerpoint/2010/main" val="13366851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3</a:t>
            </a:fld>
            <a:endParaRPr lang="pt-BR"/>
          </a:p>
        </p:txBody>
      </p:sp>
    </p:spTree>
    <p:extLst>
      <p:ext uri="{BB962C8B-B14F-4D97-AF65-F5344CB8AC3E}">
        <p14:creationId xmlns:p14="http://schemas.microsoft.com/office/powerpoint/2010/main" val="32886943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4</a:t>
            </a:fld>
            <a:endParaRPr lang="pt-BR"/>
          </a:p>
        </p:txBody>
      </p:sp>
    </p:spTree>
    <p:extLst>
      <p:ext uri="{BB962C8B-B14F-4D97-AF65-F5344CB8AC3E}">
        <p14:creationId xmlns:p14="http://schemas.microsoft.com/office/powerpoint/2010/main" val="34689927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5</a:t>
            </a:fld>
            <a:endParaRPr lang="pt-BR"/>
          </a:p>
        </p:txBody>
      </p:sp>
    </p:spTree>
    <p:extLst>
      <p:ext uri="{BB962C8B-B14F-4D97-AF65-F5344CB8AC3E}">
        <p14:creationId xmlns:p14="http://schemas.microsoft.com/office/powerpoint/2010/main" val="19839540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6</a:t>
            </a:fld>
            <a:endParaRPr lang="pt-BR"/>
          </a:p>
        </p:txBody>
      </p:sp>
    </p:spTree>
    <p:extLst>
      <p:ext uri="{BB962C8B-B14F-4D97-AF65-F5344CB8AC3E}">
        <p14:creationId xmlns:p14="http://schemas.microsoft.com/office/powerpoint/2010/main" val="4892112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37</a:t>
            </a:fld>
            <a:endParaRPr lang="pt-BR"/>
          </a:p>
        </p:txBody>
      </p:sp>
    </p:spTree>
    <p:extLst>
      <p:ext uri="{BB962C8B-B14F-4D97-AF65-F5344CB8AC3E}">
        <p14:creationId xmlns:p14="http://schemas.microsoft.com/office/powerpoint/2010/main" val="12707545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t>38</a:t>
            </a:fld>
            <a:endParaRPr lang="pt-BR"/>
          </a:p>
        </p:txBody>
      </p:sp>
    </p:spTree>
    <p:extLst>
      <p:ext uri="{BB962C8B-B14F-4D97-AF65-F5344CB8AC3E}">
        <p14:creationId xmlns:p14="http://schemas.microsoft.com/office/powerpoint/2010/main" val="18336720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39</a:t>
            </a:fld>
            <a:endParaRPr lang="pt-BR"/>
          </a:p>
        </p:txBody>
      </p:sp>
    </p:spTree>
    <p:extLst>
      <p:ext uri="{BB962C8B-B14F-4D97-AF65-F5344CB8AC3E}">
        <p14:creationId xmlns:p14="http://schemas.microsoft.com/office/powerpoint/2010/main" val="3926044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1</a:t>
            </a:fld>
            <a:endParaRPr lang="pt-BR"/>
          </a:p>
        </p:txBody>
      </p:sp>
    </p:spTree>
    <p:extLst>
      <p:ext uri="{BB962C8B-B14F-4D97-AF65-F5344CB8AC3E}">
        <p14:creationId xmlns:p14="http://schemas.microsoft.com/office/powerpoint/2010/main" val="9185696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52</a:t>
            </a:fld>
            <a:endParaRPr lang="pt-BR"/>
          </a:p>
        </p:txBody>
      </p:sp>
    </p:spTree>
    <p:extLst>
      <p:ext uri="{BB962C8B-B14F-4D97-AF65-F5344CB8AC3E}">
        <p14:creationId xmlns:p14="http://schemas.microsoft.com/office/powerpoint/2010/main" val="2592794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604237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4</a:t>
            </a:fld>
            <a:endParaRPr lang="pt-BR"/>
          </a:p>
        </p:txBody>
      </p:sp>
    </p:spTree>
    <p:extLst>
      <p:ext uri="{BB962C8B-B14F-4D97-AF65-F5344CB8AC3E}">
        <p14:creationId xmlns:p14="http://schemas.microsoft.com/office/powerpoint/2010/main" val="34546537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5</a:t>
            </a:fld>
            <a:endParaRPr lang="pt-BR"/>
          </a:p>
        </p:txBody>
      </p:sp>
    </p:spTree>
    <p:extLst>
      <p:ext uri="{BB962C8B-B14F-4D97-AF65-F5344CB8AC3E}">
        <p14:creationId xmlns:p14="http://schemas.microsoft.com/office/powerpoint/2010/main" val="31306655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6</a:t>
            </a:fld>
            <a:endParaRPr lang="pt-BR"/>
          </a:p>
        </p:txBody>
      </p:sp>
    </p:spTree>
    <p:extLst>
      <p:ext uri="{BB962C8B-B14F-4D97-AF65-F5344CB8AC3E}">
        <p14:creationId xmlns:p14="http://schemas.microsoft.com/office/powerpoint/2010/main" val="21453131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57</a:t>
            </a:fld>
            <a:endParaRPr lang="pt-BR"/>
          </a:p>
        </p:txBody>
      </p:sp>
    </p:spTree>
    <p:extLst>
      <p:ext uri="{BB962C8B-B14F-4D97-AF65-F5344CB8AC3E}">
        <p14:creationId xmlns:p14="http://schemas.microsoft.com/office/powerpoint/2010/main" val="17068106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59</a:t>
            </a:fld>
            <a:endParaRPr lang="pt-BR"/>
          </a:p>
        </p:txBody>
      </p:sp>
    </p:spTree>
    <p:extLst>
      <p:ext uri="{BB962C8B-B14F-4D97-AF65-F5344CB8AC3E}">
        <p14:creationId xmlns:p14="http://schemas.microsoft.com/office/powerpoint/2010/main" val="1411216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194" name="Rectangle 1">
            <a:extLst>
              <a:ext uri="{FF2B5EF4-FFF2-40B4-BE49-F238E27FC236}">
                <a16:creationId xmlns:a16="http://schemas.microsoft.com/office/drawing/2014/main" id="{E84EDBC8-6148-470F-9D41-0BF2E8A58503}"/>
              </a:ext>
            </a:extLst>
          </p:cNvPr>
          <p:cNvSpPr>
            <a:spLocks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8195" name="Rectangle 2">
            <a:extLst>
              <a:ext uri="{FF2B5EF4-FFF2-40B4-BE49-F238E27FC236}">
                <a16:creationId xmlns:a16="http://schemas.microsoft.com/office/drawing/2014/main" id="{A8FA0E58-0FA4-4834-9E00-441475E167B8}"/>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1">
            <a:extLst>
              <a:ext uri="{FF2B5EF4-FFF2-40B4-BE49-F238E27FC236}">
                <a16:creationId xmlns:a16="http://schemas.microsoft.com/office/drawing/2014/main" id="{20176D56-4F18-499F-92BC-B6592C930F22}"/>
              </a:ext>
            </a:extLst>
          </p:cNvPr>
          <p:cNvSpPr>
            <a:spLocks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12291" name="Rectangle 2">
            <a:extLst>
              <a:ext uri="{FF2B5EF4-FFF2-40B4-BE49-F238E27FC236}">
                <a16:creationId xmlns:a16="http://schemas.microsoft.com/office/drawing/2014/main" id="{71836CF2-B7CD-4991-95E6-DB9A86873218}"/>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386" name="Rectangle 1">
            <a:extLst>
              <a:ext uri="{FF2B5EF4-FFF2-40B4-BE49-F238E27FC236}">
                <a16:creationId xmlns:a16="http://schemas.microsoft.com/office/drawing/2014/main" id="{A9209A52-170B-4A76-84C1-6F685648DE18}"/>
              </a:ext>
            </a:extLst>
          </p:cNvPr>
          <p:cNvSpPr>
            <a:spLocks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16387" name="Rectangle 2">
            <a:extLst>
              <a:ext uri="{FF2B5EF4-FFF2-40B4-BE49-F238E27FC236}">
                <a16:creationId xmlns:a16="http://schemas.microsoft.com/office/drawing/2014/main" id="{C2D727DB-2844-4B30-A53C-79BD536CD55D}"/>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Rectangle 1">
            <a:extLst>
              <a:ext uri="{FF2B5EF4-FFF2-40B4-BE49-F238E27FC236}">
                <a16:creationId xmlns:a16="http://schemas.microsoft.com/office/drawing/2014/main" id="{892FD393-84A9-4E5A-927C-09392F6EEFDE}"/>
              </a:ext>
            </a:extLst>
          </p:cNvPr>
          <p:cNvSpPr>
            <a:spLocks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4579" name="Rectangle 2">
            <a:extLst>
              <a:ext uri="{FF2B5EF4-FFF2-40B4-BE49-F238E27FC236}">
                <a16:creationId xmlns:a16="http://schemas.microsoft.com/office/drawing/2014/main" id="{C88FFD1F-09AE-4B7F-A464-0E45D1ED3E23}"/>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Rectangle 1">
            <a:extLst>
              <a:ext uri="{FF2B5EF4-FFF2-40B4-BE49-F238E27FC236}">
                <a16:creationId xmlns:a16="http://schemas.microsoft.com/office/drawing/2014/main" id="{4B2CA20D-3D49-439A-844D-D59D35B888DF}"/>
              </a:ext>
            </a:extLst>
          </p:cNvPr>
          <p:cNvSpPr>
            <a:spLocks noChangeArrowheads="1" noTextEdit="1"/>
          </p:cNvSpPr>
          <p:nvPr>
            <p:ph type="sldImg"/>
          </p:nvPr>
        </p:nvSpPr>
        <p:spPr>
          <a:xfrm>
            <a:off x="917575" y="754063"/>
            <a:ext cx="4962525" cy="3722687"/>
          </a:xfrm>
          <a:solidFill>
            <a:srgbClr val="FFFFFF"/>
          </a:solidFill>
          <a:ln>
            <a:solidFill>
              <a:srgbClr val="000000"/>
            </a:solidFill>
            <a:miter lim="800000"/>
            <a:headEnd/>
            <a:tailEnd/>
          </a:ln>
        </p:spPr>
      </p:sp>
      <p:sp>
        <p:nvSpPr>
          <p:cNvPr id="26627" name="Rectangle 2">
            <a:extLst>
              <a:ext uri="{FF2B5EF4-FFF2-40B4-BE49-F238E27FC236}">
                <a16:creationId xmlns:a16="http://schemas.microsoft.com/office/drawing/2014/main" id="{A88340CB-69BB-4E81-9FAA-4C28DE093E3D}"/>
              </a:ext>
            </a:extLst>
          </p:cNvPr>
          <p:cNvSpPr>
            <a:spLocks noChangeArrowheads="1"/>
          </p:cNvSpPr>
          <p:nvPr>
            <p:ph type="body" idx="1"/>
          </p:nvPr>
        </p:nvSpPr>
        <p:spPr>
          <a:xfrm>
            <a:off x="679450" y="4714875"/>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sv-SE" altLang="sv-S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12106537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0.png"/><Relationship Id="rId3" Type="http://schemas.openxmlformats.org/officeDocument/2006/relationships/hyperlink" Target="http://www.capgemini.com/about/how-we-work/rightshorer" TargetMode="External"/><Relationship Id="rId7" Type="http://schemas.openxmlformats.org/officeDocument/2006/relationships/image" Target="../media/image28.png"/><Relationship Id="rId12" Type="http://schemas.openxmlformats.org/officeDocument/2006/relationships/hyperlink" Target="http://www.youtube.com/capgeminimedia" TargetMode="External"/><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29.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1.emf"/><Relationship Id="rId7" Type="http://schemas.openxmlformats.org/officeDocument/2006/relationships/image" Target="../media/image32.png"/><Relationship Id="rId2" Type="http://schemas.openxmlformats.org/officeDocument/2006/relationships/hyperlink" Target="https://www.sogeti.com/" TargetMode="External"/><Relationship Id="rId1" Type="http://schemas.openxmlformats.org/officeDocument/2006/relationships/slideMaster" Target="../slideMasters/slideMaster1.xml"/><Relationship Id="rId6" Type="http://schemas.openxmlformats.org/officeDocument/2006/relationships/hyperlink" Target="https://twitter.com/sogeti" TargetMode="External"/><Relationship Id="rId5" Type="http://schemas.openxmlformats.org/officeDocument/2006/relationships/image" Target="../media/image31.png"/><Relationship Id="rId4" Type="http://schemas.openxmlformats.org/officeDocument/2006/relationships/hyperlink" Target="https://www.linkedin.com/company/sogeti/" TargetMode="External"/><Relationship Id="rId9" Type="http://schemas.openxmlformats.org/officeDocument/2006/relationships/image" Target="../media/image3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1.emf"/><Relationship Id="rId7" Type="http://schemas.openxmlformats.org/officeDocument/2006/relationships/image" Target="../media/image32.png"/><Relationship Id="rId2" Type="http://schemas.openxmlformats.org/officeDocument/2006/relationships/hyperlink" Target="https://www.sogeti.com/" TargetMode="External"/><Relationship Id="rId1" Type="http://schemas.openxmlformats.org/officeDocument/2006/relationships/slideMaster" Target="../slideMasters/slideMaster1.xml"/><Relationship Id="rId6" Type="http://schemas.openxmlformats.org/officeDocument/2006/relationships/hyperlink" Target="https://twitter.com/sogeti" TargetMode="External"/><Relationship Id="rId5" Type="http://schemas.openxmlformats.org/officeDocument/2006/relationships/image" Target="../media/image31.png"/><Relationship Id="rId4" Type="http://schemas.openxmlformats.org/officeDocument/2006/relationships/hyperlink" Target="https://www.linkedin.com/company/sogeti/" TargetMode="External"/><Relationship Id="rId9" Type="http://schemas.openxmlformats.org/officeDocument/2006/relationships/image" Target="../media/image3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BD3EE-6032-4347-9013-53F31F1280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a:extLst>
              <a:ext uri="{FF2B5EF4-FFF2-40B4-BE49-F238E27FC236}">
                <a16:creationId xmlns:a16="http://schemas.microsoft.com/office/drawing/2014/main" id="{C54F23A2-F2A9-49E0-97F7-8814363302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4827DF4A-CE0B-4D0D-8F6E-0FCEA09A9FF1}"/>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5" name="Footer Placeholder 4">
            <a:extLst>
              <a:ext uri="{FF2B5EF4-FFF2-40B4-BE49-F238E27FC236}">
                <a16:creationId xmlns:a16="http://schemas.microsoft.com/office/drawing/2014/main" id="{A0F202EB-6562-43D4-B6AC-53767EF1D5CC}"/>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60E05318-36A6-4302-8643-8E049E5F903D}"/>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163300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8049C-7E19-4518-9908-A3B80EF57C4C}"/>
              </a:ext>
            </a:extLst>
          </p:cNvPr>
          <p:cNvSpPr>
            <a:spLocks noGrp="1"/>
          </p:cNvSpPr>
          <p:nvPr>
            <p:ph type="title"/>
          </p:nvPr>
        </p:nvSpPr>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CBC050EA-AF31-4339-ACBE-062FEB00F2D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1E335D47-0B46-4FC1-96D2-62E008038979}"/>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5" name="Footer Placeholder 4">
            <a:extLst>
              <a:ext uri="{FF2B5EF4-FFF2-40B4-BE49-F238E27FC236}">
                <a16:creationId xmlns:a16="http://schemas.microsoft.com/office/drawing/2014/main" id="{C2FC2488-3013-4FBE-AEE1-45650C1220C7}"/>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3932514F-7FA6-4351-83E8-3F770A1E4451}"/>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630833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4733BE-18D4-45F2-B31B-82D26C6C903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F4AEA82D-544B-43D8-B369-3B9F0D5720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4FD86086-2312-4673-BF56-ADC35E9E60EF}"/>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5" name="Footer Placeholder 4">
            <a:extLst>
              <a:ext uri="{FF2B5EF4-FFF2-40B4-BE49-F238E27FC236}">
                <a16:creationId xmlns:a16="http://schemas.microsoft.com/office/drawing/2014/main" id="{B3D91B7E-FA05-406E-B683-375E1B4927F4}"/>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7E038FDA-53BE-4B48-9A14-EFF383CBB2F2}"/>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361174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33253310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9271450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Picture 6">
            <a:extLst>
              <a:ext uri="{FF2B5EF4-FFF2-40B4-BE49-F238E27FC236}">
                <a16:creationId xmlns:a16="http://schemas.microsoft.com/office/drawing/2014/main" id="{05318739-BF6A-445F-9FEE-5EC1CA74E7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6878725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17752972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2767690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pic>
        <p:nvPicPr>
          <p:cNvPr id="13" name="Picture 6">
            <a:extLst>
              <a:ext uri="{FF2B5EF4-FFF2-40B4-BE49-F238E27FC236}">
                <a16:creationId xmlns:a16="http://schemas.microsoft.com/office/drawing/2014/main" id="{30480320-F682-4CAE-ABA4-878EAFB417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3712670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577649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331642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14AF2-7748-4C82-8CED-A0007D37FADF}"/>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ECB63759-DE2A-42C5-B057-0848BDD69C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928CCD8B-1AF1-46DE-9CDF-DED1ED9D2F5D}"/>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5" name="Footer Placeholder 4">
            <a:extLst>
              <a:ext uri="{FF2B5EF4-FFF2-40B4-BE49-F238E27FC236}">
                <a16:creationId xmlns:a16="http://schemas.microsoft.com/office/drawing/2014/main" id="{9EBB43E5-8FB5-4346-88F2-61376240606E}"/>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94409FDE-1B2B-405A-B060-351DF8E1CF6F}"/>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13081494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r>
              <a:rPr lang="en-US"/>
              <a:t>Click icon to add table</a:t>
            </a:r>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41065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07687590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a:t>Click icon to add chart</a:t>
            </a:r>
            <a:endParaRPr lang="pt-PT"/>
          </a:p>
        </p:txBody>
      </p:sp>
      <p:sp>
        <p:nvSpPr>
          <p:cNvPr id="13" name="Title Placeholder 1">
            <a:extLst>
              <a:ext uri="{FF2B5EF4-FFF2-40B4-BE49-F238E27FC236}">
                <a16:creationId xmlns:a16="http://schemas.microsoft.com/office/drawing/2014/main" id="{54859CF9-C27B-4747-87C3-A345930DF64F}"/>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17543076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Tree>
    <p:extLst>
      <p:ext uri="{BB962C8B-B14F-4D97-AF65-F5344CB8AC3E}">
        <p14:creationId xmlns:p14="http://schemas.microsoft.com/office/powerpoint/2010/main" val="309464210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Pie Charts">
    <p:spTree>
      <p:nvGrpSpPr>
        <p:cNvPr id="1" name=""/>
        <p:cNvGrpSpPr/>
        <p:nvPr/>
      </p:nvGrpSpPr>
      <p:grpSpPr>
        <a:xfrm>
          <a:off x="0" y="0"/>
          <a:ext cx="0" cy="0"/>
          <a:chOff x="0" y="0"/>
          <a:chExt cx="0" cy="0"/>
        </a:xfrm>
      </p:grpSpPr>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a:t>Click icon to add chart</a:t>
            </a:r>
            <a:endParaRPr lang="pt-PT"/>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a:t>Click icon to add chart</a:t>
            </a:r>
            <a:endParaRPr lang="pt-PT"/>
          </a:p>
        </p:txBody>
      </p:sp>
    </p:spTree>
    <p:extLst>
      <p:ext uri="{BB962C8B-B14F-4D97-AF65-F5344CB8AC3E}">
        <p14:creationId xmlns:p14="http://schemas.microsoft.com/office/powerpoint/2010/main" val="6093972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421238379"/>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pic>
        <p:nvPicPr>
          <p:cNvPr id="27" name="Picture 2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pic>
        <p:nvPicPr>
          <p:cNvPr id="14" name="Picture 6">
            <a:extLst>
              <a:ext uri="{FF2B5EF4-FFF2-40B4-BE49-F238E27FC236}">
                <a16:creationId xmlns:a16="http://schemas.microsoft.com/office/drawing/2014/main" id="{CA0BA180-B662-4DE1-8B30-053ECCE476B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1479677285"/>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653500988"/>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2158502896"/>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dirty="0">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dirty="0">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dirty="0">
                  <a:solidFill>
                    <a:schemeClr val="accent1"/>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85073450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263571379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583B0-E46E-4FA3-9AE8-4D62EE1EBE3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a:extLst>
              <a:ext uri="{FF2B5EF4-FFF2-40B4-BE49-F238E27FC236}">
                <a16:creationId xmlns:a16="http://schemas.microsoft.com/office/drawing/2014/main" id="{92A8430F-F9A0-4CFC-AF6D-1FD2E207578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982B3E4-66D5-417F-ABD4-69F5836376FB}"/>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5" name="Footer Placeholder 4">
            <a:extLst>
              <a:ext uri="{FF2B5EF4-FFF2-40B4-BE49-F238E27FC236}">
                <a16:creationId xmlns:a16="http://schemas.microsoft.com/office/drawing/2014/main" id="{A0CC45CC-5B4D-4307-A3EB-E0929B048FCE}"/>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4FC3EAB0-ACD0-4E26-A674-901326FC5D25}"/>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469532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75263897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Tree>
    <p:extLst>
      <p:ext uri="{BB962C8B-B14F-4D97-AF65-F5344CB8AC3E}">
        <p14:creationId xmlns:p14="http://schemas.microsoft.com/office/powerpoint/2010/main" val="399002519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1" name="Rectangle 10"/>
          <p:cNvSpPr/>
          <p:nvPr userDrawn="1"/>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r>
              <a:rPr lang="en-US"/>
              <a:t>Click icon to add chart</a:t>
            </a:r>
            <a:endParaRPr lang="pt-PT"/>
          </a:p>
        </p:txBody>
      </p:sp>
      <p:pic>
        <p:nvPicPr>
          <p:cNvPr id="17" name="Picture 6">
            <a:extLst>
              <a:ext uri="{FF2B5EF4-FFF2-40B4-BE49-F238E27FC236}">
                <a16:creationId xmlns:a16="http://schemas.microsoft.com/office/drawing/2014/main" id="{85DDC7B3-7C06-46D7-9B9D-205ACB2B800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20536" y="188786"/>
            <a:ext cx="983510" cy="539345"/>
          </a:xfrm>
          <a:prstGeom prst="rect">
            <a:avLst/>
          </a:prstGeom>
        </p:spPr>
      </p:pic>
    </p:spTree>
    <p:extLst>
      <p:ext uri="{BB962C8B-B14F-4D97-AF65-F5344CB8AC3E}">
        <p14:creationId xmlns:p14="http://schemas.microsoft.com/office/powerpoint/2010/main" val="455399696"/>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r>
              <a:rPr lang="en-US"/>
              <a:t>Click icon to add picture</a:t>
            </a:r>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344015778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r>
              <a:rPr lang="en-US"/>
              <a:t>Click icon to add chart</a:t>
            </a:r>
            <a:endParaRPr lang="pt-PT"/>
          </a:p>
        </p:txBody>
      </p:sp>
    </p:spTree>
    <p:extLst>
      <p:ext uri="{BB962C8B-B14F-4D97-AF65-F5344CB8AC3E}">
        <p14:creationId xmlns:p14="http://schemas.microsoft.com/office/powerpoint/2010/main" val="27038725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302059820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51079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r>
              <a:rPr lang="en-US"/>
              <a:t>Click to edit Master title style</a:t>
            </a:r>
            <a:endParaRPr lang="en-GB" dirty="0"/>
          </a:p>
        </p:txBody>
      </p:sp>
    </p:spTree>
    <p:extLst>
      <p:ext uri="{BB962C8B-B14F-4D97-AF65-F5344CB8AC3E}">
        <p14:creationId xmlns:p14="http://schemas.microsoft.com/office/powerpoint/2010/main" val="1678858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a:t>
            </a:r>
            <a:r>
              <a:rPr lang="en-US" sz="1600" dirty="0" err="1">
                <a:solidFill>
                  <a:schemeClr val="bg1"/>
                </a:solidFill>
              </a:rPr>
              <a:t>Sogeti</a:t>
            </a:r>
            <a:endParaRPr lang="en-US" sz="1600" dirty="0">
              <a:solidFill>
                <a:schemeClr val="bg1"/>
              </a:solidFill>
            </a:endParaRPr>
          </a:p>
        </p:txBody>
      </p:sp>
      <p:sp>
        <p:nvSpPr>
          <p:cNvPr id="16" name="Rectangle 15"/>
          <p:cNvSpPr/>
          <p:nvPr userDrawn="1"/>
        </p:nvSpPr>
        <p:spPr>
          <a:xfrm>
            <a:off x="407988" y="4048433"/>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bg1"/>
                </a:solidFill>
              </a:rPr>
              <a:t>Learn more about us at</a:t>
            </a:r>
          </a:p>
          <a:p>
            <a:pPr algn="l">
              <a:lnSpc>
                <a:spcPct val="100000"/>
              </a:lnSpc>
              <a:spcAft>
                <a:spcPts val="400"/>
              </a:spcAft>
            </a:pPr>
            <a:r>
              <a:rPr lang="en-US" sz="1050" dirty="0">
                <a:solidFill>
                  <a:schemeClr val="bg1"/>
                </a:solidFill>
              </a:rPr>
              <a:t>www.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a:t>
            </a:r>
            <a:r>
              <a:rPr lang="en-US" sz="800" noProof="0" dirty="0" err="1">
                <a:solidFill>
                  <a:schemeClr val="tx1"/>
                </a:solidFill>
                <a:latin typeface="+mn-lt"/>
                <a:cs typeface="Arial"/>
              </a:rPr>
              <a:t>Capgemini</a:t>
            </a:r>
            <a:r>
              <a:rPr lang="en-US" sz="800" noProof="0" dirty="0">
                <a:solidFill>
                  <a:schemeClr val="tx1"/>
                </a:solidFill>
                <a:latin typeface="+mn-lt"/>
                <a:cs typeface="Arial"/>
              </a:rPr>
              <a:t> Group.</a:t>
            </a:r>
          </a:p>
          <a:p>
            <a:pPr algn="r">
              <a:spcAft>
                <a:spcPts val="600"/>
              </a:spcAft>
            </a:pPr>
            <a:r>
              <a:rPr lang="en-US" sz="800" noProof="0" dirty="0">
                <a:solidFill>
                  <a:schemeClr val="tx1"/>
                </a:solidFill>
                <a:latin typeface="+mn-lt"/>
                <a:cs typeface="Arial"/>
              </a:rPr>
              <a:t>Copyright</a:t>
            </a:r>
            <a:r>
              <a:rPr lang="en-US" sz="800" baseline="30000" noProof="0" dirty="0">
                <a:solidFill>
                  <a:schemeClr val="tx1"/>
                </a:solidFill>
                <a:latin typeface="+mn-lt"/>
                <a:cs typeface="Arial"/>
              </a:rPr>
              <a:t>©</a:t>
            </a:r>
            <a:r>
              <a:rPr lang="en-US" sz="800" noProof="0" dirty="0">
                <a:solidFill>
                  <a:schemeClr val="tx1"/>
                </a:solidFill>
                <a:latin typeface="+mn-lt"/>
                <a:cs typeface="Arial"/>
              </a:rPr>
              <a:t> 2018 </a:t>
            </a:r>
            <a:r>
              <a:rPr lang="en-US" sz="800" noProof="0" dirty="0" err="1">
                <a:solidFill>
                  <a:schemeClr val="tx1"/>
                </a:solidFill>
                <a:latin typeface="+mn-lt"/>
                <a:cs typeface="Arial"/>
              </a:rPr>
              <a:t>Sogeti</a:t>
            </a:r>
            <a:r>
              <a:rPr lang="en-US" sz="800" noProof="0" dirty="0">
                <a:solidFill>
                  <a:schemeClr val="tx1"/>
                </a:solidFill>
                <a:latin typeface="+mn-lt"/>
                <a:cs typeface="Arial"/>
              </a:rPr>
              <a:t>.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lt1"/>
                </a:solidFill>
                <a:effectLst/>
                <a:latin typeface="+mn-lt"/>
                <a:ea typeface="+mn-ea"/>
                <a:cs typeface="+mn-cs"/>
              </a:rPr>
              <a:t>Rightshore</a:t>
            </a:r>
            <a:r>
              <a:rPr lang="en-US" sz="900" kern="1200" dirty="0">
                <a:solidFill>
                  <a:schemeClr val="lt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lt1"/>
              </a:solidFill>
              <a:effectLst/>
              <a:latin typeface="+mn-lt"/>
              <a:ea typeface="+mn-ea"/>
              <a:cs typeface="+mn-cs"/>
            </a:endParaRPr>
          </a:p>
        </p:txBody>
      </p:sp>
    </p:spTree>
    <p:extLst>
      <p:ext uri="{BB962C8B-B14F-4D97-AF65-F5344CB8AC3E}">
        <p14:creationId xmlns:p14="http://schemas.microsoft.com/office/powerpoint/2010/main" val="17424272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491378"/>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a:t>
            </a:r>
            <a:r>
              <a:rPr lang="en-US" sz="1600" dirty="0" err="1">
                <a:solidFill>
                  <a:schemeClr val="accent5"/>
                </a:solidFill>
              </a:rPr>
              <a:t>Sogeti</a:t>
            </a:r>
            <a:endParaRPr lang="en-US" sz="1600" dirty="0">
              <a:solidFill>
                <a:schemeClr val="accent5"/>
              </a:solidFill>
            </a:endParaRPr>
          </a:p>
        </p:txBody>
      </p:sp>
      <p:sp>
        <p:nvSpPr>
          <p:cNvPr id="16" name="Rectangle 15"/>
          <p:cNvSpPr/>
          <p:nvPr userDrawn="1"/>
        </p:nvSpPr>
        <p:spPr>
          <a:xfrm>
            <a:off x="426722" y="540736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5"/>
              </a:solidFill>
            </a:endParaRPr>
          </a:p>
          <a:p>
            <a:pPr algn="l">
              <a:lnSpc>
                <a:spcPct val="100000"/>
              </a:lnSpc>
              <a:spcAft>
                <a:spcPts val="400"/>
              </a:spcAft>
            </a:pPr>
            <a:r>
              <a:rPr lang="en-US" sz="1050" dirty="0">
                <a:solidFill>
                  <a:schemeClr val="accent5"/>
                </a:solidFill>
              </a:rPr>
              <a:t>www.sogeti.com</a:t>
            </a:r>
          </a:p>
        </p:txBody>
      </p:sp>
      <p:sp>
        <p:nvSpPr>
          <p:cNvPr id="30" name="Rectangle 29">
            <a:hlinkClick r:id="rId2"/>
          </p:cNvPr>
          <p:cNvSpPr/>
          <p:nvPr userDrawn="1"/>
        </p:nvSpPr>
        <p:spPr>
          <a:xfrm>
            <a:off x="426723" y="55948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r">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861048"/>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64534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A66A9-74BC-49FD-992A-6E243E56FF17}"/>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E6DD27B7-4160-4493-8B1D-B0BB8917991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a:extLst>
              <a:ext uri="{FF2B5EF4-FFF2-40B4-BE49-F238E27FC236}">
                <a16:creationId xmlns:a16="http://schemas.microsoft.com/office/drawing/2014/main" id="{5F24E30B-FE16-48B7-82B0-65E8731445D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A070D733-5ADB-4D35-A4B1-7A4C78449C0C}"/>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6" name="Footer Placeholder 5">
            <a:extLst>
              <a:ext uri="{FF2B5EF4-FFF2-40B4-BE49-F238E27FC236}">
                <a16:creationId xmlns:a16="http://schemas.microsoft.com/office/drawing/2014/main" id="{8EF5A43D-D4D1-463D-AC05-5CDD13E0E3C6}"/>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C46ABA16-7F9F-4ABE-B167-443E1C60D45E}"/>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450539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7155492" y="245364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a:t>
            </a:r>
            <a:r>
              <a:rPr lang="en-US" sz="1600" dirty="0" err="1">
                <a:solidFill>
                  <a:schemeClr val="accent3"/>
                </a:solidFill>
              </a:rPr>
              <a:t>Sogeti</a:t>
            </a:r>
            <a:endParaRPr lang="en-US" sz="1600" dirty="0">
              <a:solidFill>
                <a:schemeClr val="accent3"/>
              </a:solidFill>
            </a:endParaRPr>
          </a:p>
        </p:txBody>
      </p:sp>
      <p:sp>
        <p:nvSpPr>
          <p:cNvPr id="16" name="Rectangle 15"/>
          <p:cNvSpPr/>
          <p:nvPr userDrawn="1"/>
        </p:nvSpPr>
        <p:spPr>
          <a:xfrm>
            <a:off x="7155492" y="4369631"/>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3"/>
              </a:solidFill>
            </a:endParaRPr>
          </a:p>
          <a:p>
            <a:pPr algn="l">
              <a:lnSpc>
                <a:spcPct val="100000"/>
              </a:lnSpc>
              <a:spcAft>
                <a:spcPts val="400"/>
              </a:spcAft>
            </a:pPr>
            <a:r>
              <a:rPr lang="en-US" sz="1050" dirty="0">
                <a:solidFill>
                  <a:schemeClr val="accent3"/>
                </a:solidFill>
              </a:rPr>
              <a:t>www.sogeti.com</a:t>
            </a:r>
          </a:p>
        </p:txBody>
      </p:sp>
      <p:sp>
        <p:nvSpPr>
          <p:cNvPr id="30" name="Rectangle 29">
            <a:hlinkClick r:id="rId2"/>
          </p:cNvPr>
          <p:cNvSpPr/>
          <p:nvPr userDrawn="1"/>
        </p:nvSpPr>
        <p:spPr>
          <a:xfrm>
            <a:off x="7175636" y="4555357"/>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l">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1" y="2852936"/>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5749005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3BC80-7ADC-4294-AFAF-AE48E4EC01F1}"/>
              </a:ext>
            </a:extLst>
          </p:cNvPr>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a:extLst>
              <a:ext uri="{FF2B5EF4-FFF2-40B4-BE49-F238E27FC236}">
                <a16:creationId xmlns:a16="http://schemas.microsoft.com/office/drawing/2014/main" id="{CD1F501F-90BC-4DCF-B4BC-992303B3E8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222248F-92F1-4CD9-AFA8-F6C4E969FB5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a:extLst>
              <a:ext uri="{FF2B5EF4-FFF2-40B4-BE49-F238E27FC236}">
                <a16:creationId xmlns:a16="http://schemas.microsoft.com/office/drawing/2014/main" id="{1385CC1C-AB62-4102-A10D-00DCCB4A3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342A3B6-DAD4-4BB9-840B-E0936B04D81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7EF1957F-D5B3-473E-AA2B-9C8AEBC70139}"/>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8" name="Footer Placeholder 7">
            <a:extLst>
              <a:ext uri="{FF2B5EF4-FFF2-40B4-BE49-F238E27FC236}">
                <a16:creationId xmlns:a16="http://schemas.microsoft.com/office/drawing/2014/main" id="{020535BC-8DB9-43D0-8A77-C016284E1656}"/>
              </a:ext>
            </a:extLst>
          </p:cNvPr>
          <p:cNvSpPr>
            <a:spLocks noGrp="1"/>
          </p:cNvSpPr>
          <p:nvPr>
            <p:ph type="ftr" sz="quarter" idx="11"/>
          </p:nvPr>
        </p:nvSpPr>
        <p:spPr/>
        <p:txBody>
          <a:bodyPr/>
          <a:lstStyle/>
          <a:p>
            <a:endParaRPr lang="sv-SE"/>
          </a:p>
        </p:txBody>
      </p:sp>
      <p:sp>
        <p:nvSpPr>
          <p:cNvPr id="9" name="Slide Number Placeholder 8">
            <a:extLst>
              <a:ext uri="{FF2B5EF4-FFF2-40B4-BE49-F238E27FC236}">
                <a16:creationId xmlns:a16="http://schemas.microsoft.com/office/drawing/2014/main" id="{AE580BC4-6ADD-4A11-8724-68ACD8775EEC}"/>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553495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C35FA-3195-4379-9224-67FDA94D16E5}"/>
              </a:ext>
            </a:extLst>
          </p:cNvPr>
          <p:cNvSpPr>
            <a:spLocks noGrp="1"/>
          </p:cNvSpPr>
          <p:nvPr>
            <p:ph type="title"/>
          </p:nvPr>
        </p:nvSpPr>
        <p:spPr/>
        <p:txBody>
          <a:bodyPr/>
          <a:lstStyle/>
          <a:p>
            <a:r>
              <a:rPr lang="en-US"/>
              <a:t>Click to edit Master title style</a:t>
            </a:r>
            <a:endParaRPr lang="sv-SE"/>
          </a:p>
        </p:txBody>
      </p:sp>
      <p:sp>
        <p:nvSpPr>
          <p:cNvPr id="3" name="Date Placeholder 2">
            <a:extLst>
              <a:ext uri="{FF2B5EF4-FFF2-40B4-BE49-F238E27FC236}">
                <a16:creationId xmlns:a16="http://schemas.microsoft.com/office/drawing/2014/main" id="{3469472F-D841-49D2-8C79-8029C960B349}"/>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4" name="Footer Placeholder 3">
            <a:extLst>
              <a:ext uri="{FF2B5EF4-FFF2-40B4-BE49-F238E27FC236}">
                <a16:creationId xmlns:a16="http://schemas.microsoft.com/office/drawing/2014/main" id="{8BBB1F9D-1E21-4D75-923F-7FFBD9B632B7}"/>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5F33D223-282E-4731-AFB9-AA009DC8FB79}"/>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0424930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0F7199-E339-4EB4-A245-DFA9A380A411}"/>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3" name="Footer Placeholder 2">
            <a:extLst>
              <a:ext uri="{FF2B5EF4-FFF2-40B4-BE49-F238E27FC236}">
                <a16:creationId xmlns:a16="http://schemas.microsoft.com/office/drawing/2014/main" id="{8F337EBF-87E7-4F97-8C71-D1E517D22CFE}"/>
              </a:ext>
            </a:extLst>
          </p:cNvPr>
          <p:cNvSpPr>
            <a:spLocks noGrp="1"/>
          </p:cNvSpPr>
          <p:nvPr>
            <p:ph type="ftr" sz="quarter" idx="11"/>
          </p:nvPr>
        </p:nvSpPr>
        <p:spPr/>
        <p:txBody>
          <a:bodyPr/>
          <a:lstStyle/>
          <a:p>
            <a:endParaRPr lang="sv-SE"/>
          </a:p>
        </p:txBody>
      </p:sp>
      <p:sp>
        <p:nvSpPr>
          <p:cNvPr id="4" name="Slide Number Placeholder 3">
            <a:extLst>
              <a:ext uri="{FF2B5EF4-FFF2-40B4-BE49-F238E27FC236}">
                <a16:creationId xmlns:a16="http://schemas.microsoft.com/office/drawing/2014/main" id="{842D2DC1-02B2-4827-933C-C829ACA4ABB6}"/>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40029498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24F15-53A1-48B2-B271-BF30CA51D3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C08CA47D-57E2-49EB-BA93-1A155D7725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a:extLst>
              <a:ext uri="{FF2B5EF4-FFF2-40B4-BE49-F238E27FC236}">
                <a16:creationId xmlns:a16="http://schemas.microsoft.com/office/drawing/2014/main" id="{58EA852A-533D-44B1-BE08-94010E99E8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5AD185-31E1-4002-84DB-80F55CB7EED0}"/>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6" name="Footer Placeholder 5">
            <a:extLst>
              <a:ext uri="{FF2B5EF4-FFF2-40B4-BE49-F238E27FC236}">
                <a16:creationId xmlns:a16="http://schemas.microsoft.com/office/drawing/2014/main" id="{DEDA81B2-160B-427B-841D-AD01AFA2AC01}"/>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17E10E94-9B1D-41E7-B3B1-BB4C888CC168}"/>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37100783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B611A-A9D6-4002-AE4A-D2B448AF04A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a:extLst>
              <a:ext uri="{FF2B5EF4-FFF2-40B4-BE49-F238E27FC236}">
                <a16:creationId xmlns:a16="http://schemas.microsoft.com/office/drawing/2014/main" id="{669844FF-F8BF-4604-9B58-11F9690DC0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a:extLst>
              <a:ext uri="{FF2B5EF4-FFF2-40B4-BE49-F238E27FC236}">
                <a16:creationId xmlns:a16="http://schemas.microsoft.com/office/drawing/2014/main" id="{28182A44-C04D-41C5-8583-4765D12BB2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1C26155-8AE2-4EF9-BC60-C00BF1BC9522}"/>
              </a:ext>
            </a:extLst>
          </p:cNvPr>
          <p:cNvSpPr>
            <a:spLocks noGrp="1"/>
          </p:cNvSpPr>
          <p:nvPr>
            <p:ph type="dt" sz="half" idx="10"/>
          </p:nvPr>
        </p:nvSpPr>
        <p:spPr/>
        <p:txBody>
          <a:bodyPr/>
          <a:lstStyle/>
          <a:p>
            <a:fld id="{D063D0A3-6ED0-4898-BB92-024E85CDECD1}" type="datetimeFigureOut">
              <a:rPr lang="sv-SE" smtClean="0"/>
              <a:t>2019-05-13</a:t>
            </a:fld>
            <a:endParaRPr lang="sv-SE"/>
          </a:p>
        </p:txBody>
      </p:sp>
      <p:sp>
        <p:nvSpPr>
          <p:cNvPr id="6" name="Footer Placeholder 5">
            <a:extLst>
              <a:ext uri="{FF2B5EF4-FFF2-40B4-BE49-F238E27FC236}">
                <a16:creationId xmlns:a16="http://schemas.microsoft.com/office/drawing/2014/main" id="{BA78D26E-1649-42C0-874F-3FA128A35221}"/>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A0D5D4E2-C3D4-4E8F-ADDA-285F8E515D93}"/>
              </a:ext>
            </a:extLst>
          </p:cNvPr>
          <p:cNvSpPr>
            <a:spLocks noGrp="1"/>
          </p:cNvSpPr>
          <p:nvPr>
            <p:ph type="sldNum" sz="quarter" idx="12"/>
          </p:nvPr>
        </p:nvSpPr>
        <p:spPr/>
        <p:txBody>
          <a:bodyPr/>
          <a:lstStyle/>
          <a:p>
            <a:fld id="{292EEA2F-E598-457E-92E6-B8DC7D6532B2}" type="slidenum">
              <a:rPr lang="sv-SE" smtClean="0"/>
              <a:t>‹#›</a:t>
            </a:fld>
            <a:endParaRPr lang="sv-SE"/>
          </a:p>
        </p:txBody>
      </p:sp>
    </p:spTree>
    <p:extLst>
      <p:ext uri="{BB962C8B-B14F-4D97-AF65-F5344CB8AC3E}">
        <p14:creationId xmlns:p14="http://schemas.microsoft.com/office/powerpoint/2010/main" val="23277834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A8AD7A-85A1-4869-8A1C-E3A7CC7244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1CC1804E-7586-46B5-8DB8-0269A56DA1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90CAC812-1E08-4163-AE55-EDC36727D2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63D0A3-6ED0-4898-BB92-024E85CDECD1}" type="datetimeFigureOut">
              <a:rPr lang="sv-SE" smtClean="0"/>
              <a:t>2019-05-13</a:t>
            </a:fld>
            <a:endParaRPr lang="sv-SE"/>
          </a:p>
        </p:txBody>
      </p:sp>
      <p:sp>
        <p:nvSpPr>
          <p:cNvPr id="5" name="Footer Placeholder 4">
            <a:extLst>
              <a:ext uri="{FF2B5EF4-FFF2-40B4-BE49-F238E27FC236}">
                <a16:creationId xmlns:a16="http://schemas.microsoft.com/office/drawing/2014/main" id="{6EC04D10-AF8F-4B7B-B087-BE7C6FA5D9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a:extLst>
              <a:ext uri="{FF2B5EF4-FFF2-40B4-BE49-F238E27FC236}">
                <a16:creationId xmlns:a16="http://schemas.microsoft.com/office/drawing/2014/main" id="{A662F0AD-346A-46C6-8103-EF5F6167BA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2EEA2F-E598-457E-92E6-B8DC7D6532B2}" type="slidenum">
              <a:rPr lang="sv-SE" smtClean="0"/>
              <a:t>‹#›</a:t>
            </a:fld>
            <a:endParaRPr lang="sv-SE"/>
          </a:p>
        </p:txBody>
      </p:sp>
    </p:spTree>
    <p:extLst>
      <p:ext uri="{BB962C8B-B14F-4D97-AF65-F5344CB8AC3E}">
        <p14:creationId xmlns:p14="http://schemas.microsoft.com/office/powerpoint/2010/main" val="11742592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5" r:id="rId27"/>
    <p:sldLayoutId id="2147483686" r:id="rId28"/>
    <p:sldLayoutId id="2147483687" r:id="rId29"/>
    <p:sldLayoutId id="2147483688" r:id="rId30"/>
    <p:sldLayoutId id="2147483689" r:id="rId31"/>
    <p:sldLayoutId id="2147483690" r:id="rId32"/>
    <p:sldLayoutId id="2147483691" r:id="rId33"/>
    <p:sldLayoutId id="2147483692" r:id="rId34"/>
    <p:sldLayoutId id="2147483693" r:id="rId35"/>
    <p:sldLayoutId id="2147483694" r:id="rId36"/>
    <p:sldLayoutId id="2147483695" r:id="rId37"/>
    <p:sldLayoutId id="2147483696" r:id="rId38"/>
    <p:sldLayoutId id="2147483697" r:id="rId39"/>
    <p:sldLayoutId id="2147483698"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21.xml"/><Relationship Id="rId4" Type="http://schemas.openxmlformats.org/officeDocument/2006/relationships/chart" Target="../charts/chart2.xml"/></Relationships>
</file>

<file path=ppt/slides/_rels/slide3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3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6.xml"/><Relationship Id="rId1" Type="http://schemas.openxmlformats.org/officeDocument/2006/relationships/slideLayout" Target="../slideLayouts/slideLayout23.xml"/><Relationship Id="rId4" Type="http://schemas.openxmlformats.org/officeDocument/2006/relationships/chart" Target="../charts/char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23.png"/><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3.xml"/></Relationships>
</file>

<file path=ppt/slides/_rels/slide4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7.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image" Target="../media/image61.png"/><Relationship Id="rId3" Type="http://schemas.openxmlformats.org/officeDocument/2006/relationships/image" Target="../media/image38.png"/><Relationship Id="rId21" Type="http://schemas.openxmlformats.org/officeDocument/2006/relationships/image" Target="../media/image56.png"/><Relationship Id="rId34" Type="http://schemas.openxmlformats.org/officeDocument/2006/relationships/image" Target="../media/image69.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33" Type="http://schemas.openxmlformats.org/officeDocument/2006/relationships/image" Target="../media/image68.png"/><Relationship Id="rId2" Type="http://schemas.openxmlformats.org/officeDocument/2006/relationships/notesSlide" Target="../notesSlides/notesSlide30.xml"/><Relationship Id="rId16" Type="http://schemas.openxmlformats.org/officeDocument/2006/relationships/image" Target="../media/image51.png"/><Relationship Id="rId20" Type="http://schemas.openxmlformats.org/officeDocument/2006/relationships/image" Target="../media/image55.png"/><Relationship Id="rId29" Type="http://schemas.openxmlformats.org/officeDocument/2006/relationships/image" Target="../media/image64.png"/><Relationship Id="rId1" Type="http://schemas.openxmlformats.org/officeDocument/2006/relationships/slideLayout" Target="../slideLayouts/slideLayout17.xml"/><Relationship Id="rId6" Type="http://schemas.openxmlformats.org/officeDocument/2006/relationships/image" Target="../media/image41.png"/><Relationship Id="rId11" Type="http://schemas.openxmlformats.org/officeDocument/2006/relationships/image" Target="../media/image46.png"/><Relationship Id="rId24" Type="http://schemas.openxmlformats.org/officeDocument/2006/relationships/image" Target="../media/image59.png"/><Relationship Id="rId32" Type="http://schemas.openxmlformats.org/officeDocument/2006/relationships/image" Target="../media/image67.png"/><Relationship Id="rId5" Type="http://schemas.openxmlformats.org/officeDocument/2006/relationships/image" Target="../media/image40.png"/><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image" Target="../media/image63.png"/><Relationship Id="rId10" Type="http://schemas.openxmlformats.org/officeDocument/2006/relationships/image" Target="../media/image45.png"/><Relationship Id="rId19" Type="http://schemas.openxmlformats.org/officeDocument/2006/relationships/image" Target="../media/image54.png"/><Relationship Id="rId31" Type="http://schemas.openxmlformats.org/officeDocument/2006/relationships/image" Target="../media/image66.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62.png"/><Relationship Id="rId30" Type="http://schemas.openxmlformats.org/officeDocument/2006/relationships/image" Target="../media/image65.png"/></Relationships>
</file>

<file path=ppt/slides/_rels/slide5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26" Type="http://schemas.openxmlformats.org/officeDocument/2006/relationships/image" Target="../media/image93.png"/><Relationship Id="rId3" Type="http://schemas.openxmlformats.org/officeDocument/2006/relationships/image" Target="../media/image70.png"/><Relationship Id="rId21" Type="http://schemas.openxmlformats.org/officeDocument/2006/relationships/image" Target="../media/image88.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5" Type="http://schemas.openxmlformats.org/officeDocument/2006/relationships/image" Target="../media/image92.png"/><Relationship Id="rId2" Type="http://schemas.openxmlformats.org/officeDocument/2006/relationships/notesSlide" Target="../notesSlides/notesSlide31.xml"/><Relationship Id="rId16" Type="http://schemas.openxmlformats.org/officeDocument/2006/relationships/image" Target="../media/image83.png"/><Relationship Id="rId20" Type="http://schemas.openxmlformats.org/officeDocument/2006/relationships/image" Target="../media/image87.png"/><Relationship Id="rId29" Type="http://schemas.openxmlformats.org/officeDocument/2006/relationships/image" Target="../media/image96.png"/><Relationship Id="rId1" Type="http://schemas.openxmlformats.org/officeDocument/2006/relationships/slideLayout" Target="../slideLayouts/slideLayout17.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91.png"/><Relationship Id="rId32" Type="http://schemas.openxmlformats.org/officeDocument/2006/relationships/image" Target="../media/image99.png"/><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90.png"/><Relationship Id="rId28" Type="http://schemas.openxmlformats.org/officeDocument/2006/relationships/image" Target="../media/image95.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8.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png"/><Relationship Id="rId27" Type="http://schemas.openxmlformats.org/officeDocument/2006/relationships/image" Target="../media/image94.png"/><Relationship Id="rId30" Type="http://schemas.openxmlformats.org/officeDocument/2006/relationships/image" Target="../media/image97.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asic Python and introduction to  neural nets</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pPr algn="l"/>
            <a:r>
              <a:rPr lang="en-US" dirty="0"/>
              <a:t>And a little bit of history</a:t>
            </a:r>
          </a:p>
        </p:txBody>
      </p:sp>
    </p:spTree>
    <p:extLst>
      <p:ext uri="{BB962C8B-B14F-4D97-AF65-F5344CB8AC3E}">
        <p14:creationId xmlns:p14="http://schemas.microsoft.com/office/powerpoint/2010/main" val="16163426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1">
            <a:extLst>
              <a:ext uri="{FF2B5EF4-FFF2-40B4-BE49-F238E27FC236}">
                <a16:creationId xmlns:a16="http://schemas.microsoft.com/office/drawing/2014/main" id="{AF791F26-636F-4515-B541-743DFFF1FCDA}"/>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Background </a:t>
            </a:r>
            <a:r>
              <a:rPr lang="sv-SE" altLang="sv-SE"/>
              <a:t>(contd.)</a:t>
            </a:r>
            <a:endParaRPr lang="en-GB" altLang="sv-SE"/>
          </a:p>
        </p:txBody>
      </p:sp>
      <p:sp>
        <p:nvSpPr>
          <p:cNvPr id="7171" name="Rectangle 2">
            <a:extLst>
              <a:ext uri="{FF2B5EF4-FFF2-40B4-BE49-F238E27FC236}">
                <a16:creationId xmlns:a16="http://schemas.microsoft.com/office/drawing/2014/main" id="{7363CE72-462C-47D6-B8DB-297F94E98269}"/>
              </a:ext>
            </a:extLst>
          </p:cNvPr>
          <p:cNvSpPr>
            <a:spLocks noGrp="1" noChangeArrowheads="1"/>
          </p:cNvSpPr>
          <p:nvPr>
            <p:ph type="body" idx="1"/>
          </p:nvPr>
        </p:nvSpPr>
        <p:spPr>
          <a:xfrm>
            <a:off x="1981200" y="1600201"/>
            <a:ext cx="8229600" cy="4525963"/>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human brain is amazing!</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Here are a few things that brains can do:</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Recognise someone you haven’t seen for 10 years, even if they have changed</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Guess that a piece of music is by a particular composer from its “style”</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Understand speech, even if the person speaking has a strong regional dialect</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nstinctively “fill in” missing information  </a:t>
            </a:r>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
            <a:extLst>
              <a:ext uri="{FF2B5EF4-FFF2-40B4-BE49-F238E27FC236}">
                <a16:creationId xmlns:a16="http://schemas.microsoft.com/office/drawing/2014/main" id="{BB0EB588-F730-405B-AD60-7B84648562F0}"/>
              </a:ext>
            </a:extLst>
          </p:cNvPr>
          <p:cNvSpPr>
            <a:spLocks noGrp="1" noChangeArrowheads="1"/>
          </p:cNvSpPr>
          <p:nvPr>
            <p:ph type="title"/>
          </p:nvPr>
        </p:nvSpPr>
        <p:spPr>
          <a:xfrm>
            <a:off x="1981200" y="190501"/>
            <a:ext cx="8229600" cy="1312863"/>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sz="4000"/>
              <a:t>What is the difference between these tasks?</a:t>
            </a:r>
          </a:p>
        </p:txBody>
      </p:sp>
      <p:sp>
        <p:nvSpPr>
          <p:cNvPr id="11267" name="Rectangle 2">
            <a:extLst>
              <a:ext uri="{FF2B5EF4-FFF2-40B4-BE49-F238E27FC236}">
                <a16:creationId xmlns:a16="http://schemas.microsoft.com/office/drawing/2014/main" id="{F963046E-9450-41AC-A2D2-96E3B0791810}"/>
              </a:ext>
            </a:extLst>
          </p:cNvPr>
          <p:cNvSpPr>
            <a:spLocks noGrp="1" noChangeArrowheads="1"/>
          </p:cNvSpPr>
          <p:nvPr>
            <p:ph type="body" idx="1"/>
          </p:nvPr>
        </p:nvSpPr>
        <p:spPr>
          <a:xfrm>
            <a:off x="1981200" y="1600201"/>
            <a:ext cx="8229600" cy="4525963"/>
          </a:xfrm>
        </p:spPr>
        <p:txBody>
          <a:bodyPr/>
          <a:lstStyle/>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Humans are poor at </a:t>
            </a:r>
            <a:r>
              <a:rPr lang="en-GB" altLang="sv-SE" i="1"/>
              <a:t>computation</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Exact, quantitative, inherently serial (although can sometimes be parallelised)</a:t>
            </a:r>
            <a:r>
              <a:rPr lang="ar-SA" altLang="sv-SE">
                <a:cs typeface="Arial" panose="020B0604020202020204" pitchFamily="34" charset="0"/>
              </a:rPr>
              <a:t>‏</a:t>
            </a:r>
            <a:endParaRPr lang="en-GB" altLang="sv-SE"/>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Very few people can compete with a computer for even simple calculation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Humans are excellent at </a:t>
            </a:r>
            <a:r>
              <a:rPr lang="en-GB" altLang="sv-SE" i="1"/>
              <a:t>pattern recognition </a:t>
            </a:r>
            <a:r>
              <a:rPr lang="en-GB" altLang="sv-SE"/>
              <a:t>and</a:t>
            </a:r>
            <a:r>
              <a:rPr lang="en-GB" altLang="sv-SE" i="1"/>
              <a:t> association </a:t>
            </a:r>
            <a:r>
              <a:rPr lang="en-GB" altLang="sv-SE"/>
              <a:t>and other higher</a:t>
            </a:r>
            <a:r>
              <a:rPr lang="en-GB" altLang="sv-SE" i="1"/>
              <a:t> cognitive </a:t>
            </a:r>
            <a:r>
              <a:rPr lang="en-GB" altLang="sv-SE"/>
              <a:t>tasks</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nexact, qualitative, inherently parallel</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Enormous effort has been spent trying to get computers to emulate this human performance, with only limited success </a:t>
            </a:r>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
            <a:extLst>
              <a:ext uri="{FF2B5EF4-FFF2-40B4-BE49-F238E27FC236}">
                <a16:creationId xmlns:a16="http://schemas.microsoft.com/office/drawing/2014/main" id="{AE2E1AE6-D787-44CA-8FFC-B7B5F6D9A76A}"/>
              </a:ext>
            </a:extLst>
          </p:cNvPr>
          <p:cNvSpPr>
            <a:spLocks noGrp="1" noChangeArrowheads="1"/>
          </p:cNvSpPr>
          <p:nvPr>
            <p:ph type="title"/>
          </p:nvPr>
        </p:nvSpPr>
        <p:spPr>
          <a:xfrm>
            <a:off x="1981200" y="190501"/>
            <a:ext cx="8229600" cy="1312863"/>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sz="4000"/>
              <a:t>For what kinds of task is pattern recognition important?</a:t>
            </a:r>
          </a:p>
        </p:txBody>
      </p:sp>
      <p:sp>
        <p:nvSpPr>
          <p:cNvPr id="15363" name="Rectangle 2">
            <a:extLst>
              <a:ext uri="{FF2B5EF4-FFF2-40B4-BE49-F238E27FC236}">
                <a16:creationId xmlns:a16="http://schemas.microsoft.com/office/drawing/2014/main" id="{F702AC6D-0AB7-4836-8C8A-D36045BCBD2E}"/>
              </a:ext>
            </a:extLst>
          </p:cNvPr>
          <p:cNvSpPr>
            <a:spLocks noGrp="1" noChangeArrowheads="1"/>
          </p:cNvSpPr>
          <p:nvPr>
            <p:ph type="body" idx="1"/>
          </p:nvPr>
        </p:nvSpPr>
        <p:spPr>
          <a:xfrm>
            <a:off x="1981200" y="1600201"/>
            <a:ext cx="4038600" cy="4525963"/>
          </a:xfrm>
        </p:spPr>
        <p:txBody>
          <a:bodyPr/>
          <a:lstStyle/>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Computer vis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Electronic “nose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ECG analysi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Biometrics</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ace recognition</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ingerprint recognit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Handwriting analysi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OCR</a:t>
            </a:r>
          </a:p>
        </p:txBody>
      </p:sp>
      <p:sp>
        <p:nvSpPr>
          <p:cNvPr id="15364" name="Rectangle 3">
            <a:extLst>
              <a:ext uri="{FF2B5EF4-FFF2-40B4-BE49-F238E27FC236}">
                <a16:creationId xmlns:a16="http://schemas.microsoft.com/office/drawing/2014/main" id="{52093998-AD2F-4773-8DF0-966623F70303}"/>
              </a:ext>
            </a:extLst>
          </p:cNvPr>
          <p:cNvSpPr>
            <a:spLocks noGrp="1" noChangeArrowheads="1"/>
          </p:cNvSpPr>
          <p:nvPr>
            <p:ph type="body" idx="2"/>
          </p:nvPr>
        </p:nvSpPr>
        <p:spPr>
          <a:xfrm>
            <a:off x="6172200" y="1600201"/>
            <a:ext cx="4038600" cy="4525963"/>
          </a:xfrm>
        </p:spPr>
        <p:txBody>
          <a:bodyPr/>
          <a:lstStyle/>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peech recognit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ecurity system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orensic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ault detect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eismic analysis</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Friend/foe recognition</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ignal processing</a:t>
            </a:r>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Touring Test</a:t>
            </a:r>
          </a:p>
        </p:txBody>
      </p:sp>
      <p:sp>
        <p:nvSpPr>
          <p:cNvPr id="3" name="Content Placeholder 2">
            <a:extLst>
              <a:ext uri="{FF2B5EF4-FFF2-40B4-BE49-F238E27FC236}">
                <a16:creationId xmlns:a16="http://schemas.microsoft.com/office/drawing/2014/main" id="{B87ADA5C-7B8B-4D20-86C1-DCBA669CE10E}"/>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429021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Chineese Room</a:t>
            </a:r>
          </a:p>
        </p:txBody>
      </p:sp>
      <p:sp>
        <p:nvSpPr>
          <p:cNvPr id="3" name="Content Placeholder 2">
            <a:extLst>
              <a:ext uri="{FF2B5EF4-FFF2-40B4-BE49-F238E27FC236}">
                <a16:creationId xmlns:a16="http://schemas.microsoft.com/office/drawing/2014/main" id="{B87ADA5C-7B8B-4D20-86C1-DCBA669CE10E}"/>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24415133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Magic of new methods</a:t>
            </a:r>
          </a:p>
        </p:txBody>
      </p:sp>
      <p:sp>
        <p:nvSpPr>
          <p:cNvPr id="3" name="Content Placeholder 2">
            <a:extLst>
              <a:ext uri="{FF2B5EF4-FFF2-40B4-BE49-F238E27FC236}">
                <a16:creationId xmlns:a16="http://schemas.microsoft.com/office/drawing/2014/main" id="{B87ADA5C-7B8B-4D20-86C1-DCBA669CE10E}"/>
              </a:ext>
            </a:extLst>
          </p:cNvPr>
          <p:cNvSpPr>
            <a:spLocks noGrp="1"/>
          </p:cNvSpPr>
          <p:nvPr>
            <p:ph idx="1"/>
          </p:nvPr>
        </p:nvSpPr>
        <p:spPr/>
        <p:txBody>
          <a:bodyPr/>
          <a:lstStyle/>
          <a:p>
            <a:r>
              <a:rPr lang="sv-SE" dirty="0"/>
              <a:t>Humans tend to think that everything that new methods for problem solving are magic and therefor they must be intelligent.</a:t>
            </a:r>
          </a:p>
          <a:p>
            <a:endParaRPr lang="sv-SE" dirty="0"/>
          </a:p>
          <a:p>
            <a:r>
              <a:rPr lang="sv-SE" dirty="0"/>
              <a:t>Find a problem? Do not walk straight to NN and ML. Ask youself might someone before have had this generalized problem, who did, how did they solve it.</a:t>
            </a:r>
          </a:p>
        </p:txBody>
      </p:sp>
    </p:spTree>
    <p:extLst>
      <p:ext uri="{BB962C8B-B14F-4D97-AF65-F5344CB8AC3E}">
        <p14:creationId xmlns:p14="http://schemas.microsoft.com/office/powerpoint/2010/main" val="2975708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
            <a:extLst>
              <a:ext uri="{FF2B5EF4-FFF2-40B4-BE49-F238E27FC236}">
                <a16:creationId xmlns:a16="http://schemas.microsoft.com/office/drawing/2014/main" id="{8CDFCA38-3963-45DB-A453-7F47C4AD5FAD}"/>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From features to information…</a:t>
            </a:r>
          </a:p>
        </p:txBody>
      </p:sp>
      <p:sp>
        <p:nvSpPr>
          <p:cNvPr id="23555" name="Rectangle 2">
            <a:extLst>
              <a:ext uri="{FF2B5EF4-FFF2-40B4-BE49-F238E27FC236}">
                <a16:creationId xmlns:a16="http://schemas.microsoft.com/office/drawing/2014/main" id="{41E6BD05-43D4-4704-AEAF-FE7019611672}"/>
              </a:ext>
            </a:extLst>
          </p:cNvPr>
          <p:cNvSpPr>
            <a:spLocks noGrp="1" noChangeArrowheads="1"/>
          </p:cNvSpPr>
          <p:nvPr>
            <p:ph type="body" idx="1"/>
          </p:nvPr>
        </p:nvSpPr>
        <p:spPr>
          <a:xfrm>
            <a:off x="1981200" y="1600201"/>
            <a:ext cx="8229600" cy="4981575"/>
          </a:xfrm>
        </p:spPr>
        <p:txBody>
          <a:bodyPr/>
          <a:lstStyle/>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Finally we have to classify or recognise</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is is the pattern recognition task</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How can we go about this?</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Build an algorithm by hand?</a:t>
            </a:r>
          </a:p>
          <a:p>
            <a:pPr lvl="2">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Using formal syntax, e.g. grammars</a:t>
            </a:r>
          </a:p>
          <a:p>
            <a:pPr lvl="1">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Use a statistical method?</a:t>
            </a:r>
          </a:p>
          <a:p>
            <a:pPr lvl="2">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e. formulate a hypothesis and fit a model</a:t>
            </a:r>
          </a:p>
          <a:p>
            <a:pPr>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Neither of these methods fits how the brain works….they are essentially </a:t>
            </a:r>
            <a:r>
              <a:rPr lang="en-GB" altLang="sv-SE" i="1"/>
              <a:t>computational </a:t>
            </a:r>
            <a:r>
              <a:rPr lang="en-GB" altLang="sv-SE"/>
              <a:t>methods which require some </a:t>
            </a:r>
            <a:r>
              <a:rPr lang="en-GB" altLang="sv-SE" i="1"/>
              <a:t>a priori</a:t>
            </a:r>
            <a:r>
              <a:rPr lang="en-GB" altLang="sv-SE"/>
              <a:t> information</a:t>
            </a:r>
          </a:p>
          <a:p>
            <a:pPr>
              <a:spcBef>
                <a:spcPts val="700"/>
              </a:spcBef>
              <a:buNone/>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a:extLst>
              <a:ext uri="{FF2B5EF4-FFF2-40B4-BE49-F238E27FC236}">
                <a16:creationId xmlns:a16="http://schemas.microsoft.com/office/drawing/2014/main" id="{780C2A14-B927-4D6B-89CE-D39DB3C004A3}"/>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using a cognitive approach</a:t>
            </a:r>
          </a:p>
        </p:txBody>
      </p:sp>
      <p:sp>
        <p:nvSpPr>
          <p:cNvPr id="25603" name="Rectangle 2">
            <a:extLst>
              <a:ext uri="{FF2B5EF4-FFF2-40B4-BE49-F238E27FC236}">
                <a16:creationId xmlns:a16="http://schemas.microsoft.com/office/drawing/2014/main" id="{37C5E0B8-0139-4FC5-A3B5-7081442186D2}"/>
              </a:ext>
            </a:extLst>
          </p:cNvPr>
          <p:cNvSpPr>
            <a:spLocks noGrp="1" noChangeArrowheads="1"/>
          </p:cNvSpPr>
          <p:nvPr>
            <p:ph type="body" idx="1"/>
          </p:nvPr>
        </p:nvSpPr>
        <p:spPr>
          <a:xfrm>
            <a:off x="1981200" y="1600201"/>
            <a:ext cx="8229600" cy="5305425"/>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human brain solves these kind of problems in a cognitive way:</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re is no explicit algorithm</a:t>
            </a:r>
          </a:p>
          <a:p>
            <a:pPr lvl="2">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i="1"/>
              <a:t>A prioi</a:t>
            </a:r>
            <a:r>
              <a:rPr lang="en-GB" altLang="sv-SE"/>
              <a:t> “common sense” information is often used, but in an implict way</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method is clearly adaptive, as we learn over time</a:t>
            </a:r>
          </a:p>
          <a:p>
            <a:pPr lvl="1">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hardware (the brain!) is pretty important and is not like a regular computer</a:t>
            </a:r>
          </a:p>
          <a:p>
            <a:pPr lvl="1">
              <a:buNone/>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a:p>
          <a:p>
            <a:pPr lvl="1">
              <a:buNone/>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Importance of Data</a:t>
            </a:r>
            <a:endParaRPr lang="pt-PT" dirty="0"/>
          </a:p>
        </p:txBody>
      </p:sp>
    </p:spTree>
    <p:extLst>
      <p:ext uri="{BB962C8B-B14F-4D97-AF65-F5344CB8AC3E}">
        <p14:creationId xmlns:p14="http://schemas.microsoft.com/office/powerpoint/2010/main" val="1837391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a:extLst>
              <a:ext uri="{FF2B5EF4-FFF2-40B4-BE49-F238E27FC236}">
                <a16:creationId xmlns:a16="http://schemas.microsoft.com/office/drawing/2014/main" id="{5A4401A1-D06E-4085-99EA-D930A7977ADB}"/>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From raw data to features</a:t>
            </a:r>
          </a:p>
        </p:txBody>
      </p:sp>
      <p:sp>
        <p:nvSpPr>
          <p:cNvPr id="21507" name="Rectangle 2">
            <a:extLst>
              <a:ext uri="{FF2B5EF4-FFF2-40B4-BE49-F238E27FC236}">
                <a16:creationId xmlns:a16="http://schemas.microsoft.com/office/drawing/2014/main" id="{B9B9521A-0FBF-42B6-B243-7585ACFD16A1}"/>
              </a:ext>
            </a:extLst>
          </p:cNvPr>
          <p:cNvSpPr>
            <a:spLocks noGrp="1" noChangeArrowheads="1"/>
          </p:cNvSpPr>
          <p:nvPr>
            <p:ph type="body" idx="1"/>
          </p:nvPr>
        </p:nvSpPr>
        <p:spPr>
          <a:xfrm>
            <a:off x="1981200" y="1600201"/>
            <a:ext cx="8229600" cy="4525963"/>
          </a:xfrm>
        </p:spPr>
        <p:txBody>
          <a:bodyPr/>
          <a:lstStyle/>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data must often be:</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Cleaned, for example to detect periods of time where the sensor was not working properly</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Sampled, for example particular frames selected from a video</a:t>
            </a:r>
          </a:p>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must then extract features</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For example if we want to tell whether there is a traffic sign in a picture, we want to extract information which is relevant</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looking for bright colours and geometrical shapes is clearly relevant </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hether the picture is light or dark is not relevant</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t is at this stage that </a:t>
            </a:r>
            <a:r>
              <a:rPr lang="en-GB" altLang="sv-SE" i="1"/>
              <a:t>information reduction</a:t>
            </a:r>
            <a:r>
              <a:rPr lang="en-GB" altLang="sv-SE"/>
              <a:t> happens</a:t>
            </a:r>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ome slides introducing AI in the hype era and difference between west east.</a:t>
            </a:r>
            <a:endParaRPr lang="pt-PT" dirty="0"/>
          </a:p>
        </p:txBody>
      </p:sp>
    </p:spTree>
    <p:extLst>
      <p:ext uri="{BB962C8B-B14F-4D97-AF65-F5344CB8AC3E}">
        <p14:creationId xmlns:p14="http://schemas.microsoft.com/office/powerpoint/2010/main" val="948204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Sensors</a:t>
            </a:r>
          </a:p>
        </p:txBody>
      </p:sp>
      <p:sp>
        <p:nvSpPr>
          <p:cNvPr id="19459" name="Rectangle 2">
            <a:extLst>
              <a:ext uri="{FF2B5EF4-FFF2-40B4-BE49-F238E27FC236}">
                <a16:creationId xmlns:a16="http://schemas.microsoft.com/office/drawing/2014/main" id="{C3F81D29-BD30-4D80-AB0A-E01FAA65E445}"/>
              </a:ext>
            </a:extLst>
          </p:cNvPr>
          <p:cNvSpPr>
            <a:spLocks noGrp="1" noChangeArrowheads="1"/>
          </p:cNvSpPr>
          <p:nvPr>
            <p:ph type="body" idx="1"/>
          </p:nvPr>
        </p:nvSpPr>
        <p:spPr>
          <a:xfrm>
            <a:off x="1981200" y="1600201"/>
            <a:ext cx="8229600" cy="4525963"/>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are not going to look at sensors and hardware signal processing in this course</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assume that data has been collected using a camera, microphone or some other apparatus and that analogue information has been digitised</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A raw data set from a sensor is often very large and noisy</a:t>
            </a:r>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a:extLst>
              <a:ext uri="{FF2B5EF4-FFF2-40B4-BE49-F238E27FC236}">
                <a16:creationId xmlns:a16="http://schemas.microsoft.com/office/drawing/2014/main" id="{5A4401A1-D06E-4085-99EA-D930A7977ADB}"/>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From raw data to features</a:t>
            </a:r>
          </a:p>
        </p:txBody>
      </p:sp>
      <p:sp>
        <p:nvSpPr>
          <p:cNvPr id="21507" name="Rectangle 2">
            <a:extLst>
              <a:ext uri="{FF2B5EF4-FFF2-40B4-BE49-F238E27FC236}">
                <a16:creationId xmlns:a16="http://schemas.microsoft.com/office/drawing/2014/main" id="{B9B9521A-0FBF-42B6-B243-7585ACFD16A1}"/>
              </a:ext>
            </a:extLst>
          </p:cNvPr>
          <p:cNvSpPr>
            <a:spLocks noGrp="1" noChangeArrowheads="1"/>
          </p:cNvSpPr>
          <p:nvPr>
            <p:ph type="body" idx="1"/>
          </p:nvPr>
        </p:nvSpPr>
        <p:spPr>
          <a:xfrm>
            <a:off x="1981200" y="1600201"/>
            <a:ext cx="8229600" cy="4525963"/>
          </a:xfrm>
        </p:spPr>
        <p:txBody>
          <a:bodyPr/>
          <a:lstStyle/>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data must often be:</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Cleaned, for example to detect periods of time where the sensor was not working properly</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Sampled, for example particular frames selected from a video</a:t>
            </a:r>
          </a:p>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must then extract features</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For example if we want to tell whether there is a traffic sign in a picture, we want to extract information which is relevant</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looking for bright colours and geometrical shapes is clearly relevant </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hether the picture is light or dark is not relevant</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t is at this stage that </a:t>
            </a:r>
            <a:r>
              <a:rPr lang="en-GB" altLang="sv-SE" i="1"/>
              <a:t>information reduction</a:t>
            </a:r>
            <a:r>
              <a:rPr lang="en-GB" altLang="sv-SE"/>
              <a:t> happens</a:t>
            </a:r>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AI and Neural nets</a:t>
            </a:r>
            <a:endParaRPr lang="pt-PT" dirty="0"/>
          </a:p>
        </p:txBody>
      </p:sp>
    </p:spTree>
    <p:extLst>
      <p:ext uri="{BB962C8B-B14F-4D97-AF65-F5344CB8AC3E}">
        <p14:creationId xmlns:p14="http://schemas.microsoft.com/office/powerpoint/2010/main" val="26731965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Background</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Why we don’t simply simulate humain’s brain ?</a:t>
            </a:r>
          </a:p>
          <a:p>
            <a:pPr lvl="1"/>
            <a:r>
              <a:rPr lang="sv-SE" altLang="sv-SE" dirty="0"/>
              <a:t>Car crash simulations</a:t>
            </a:r>
          </a:p>
          <a:p>
            <a:pPr lvl="1"/>
            <a:r>
              <a:rPr lang="sv-SE" altLang="sv-SE" dirty="0"/>
              <a:t>Aerodynamics of windmills</a:t>
            </a:r>
          </a:p>
          <a:p>
            <a:pPr lvl="1"/>
            <a:r>
              <a:rPr lang="sv-SE" altLang="sv-SE" dirty="0"/>
              <a:t>No governing equations</a:t>
            </a:r>
          </a:p>
        </p:txBody>
      </p:sp>
    </p:spTree>
    <p:extLst>
      <p:ext uri="{BB962C8B-B14F-4D97-AF65-F5344CB8AC3E}">
        <p14:creationId xmlns:p14="http://schemas.microsoft.com/office/powerpoint/2010/main" val="1148297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Neural Nets</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Artificial Neural Nets</a:t>
            </a:r>
          </a:p>
          <a:p>
            <a:pPr lvl="1"/>
            <a:r>
              <a:rPr lang="sv-SE" altLang="sv-SE" dirty="0"/>
              <a:t>All nodes connected to all nodes in next layer</a:t>
            </a:r>
          </a:p>
          <a:p>
            <a:pPr lvl="1"/>
            <a:r>
              <a:rPr lang="sv-SE" altLang="sv-SE" dirty="0"/>
              <a:t>Second best solution to every problem</a:t>
            </a:r>
          </a:p>
          <a:p>
            <a:pPr eaLnBrk="1" hangingPunct="1"/>
            <a:r>
              <a:rPr lang="sv-SE" altLang="sv-SE" dirty="0"/>
              <a:t>Recurrent Neural Nets</a:t>
            </a:r>
          </a:p>
          <a:p>
            <a:pPr lvl="1"/>
            <a:r>
              <a:rPr lang="sv-SE" altLang="sv-SE" dirty="0"/>
              <a:t>With stream of data</a:t>
            </a:r>
          </a:p>
          <a:p>
            <a:pPr lvl="1"/>
            <a:r>
              <a:rPr lang="sv-SE" altLang="sv-SE" dirty="0"/>
              <a:t>Voice detection</a:t>
            </a:r>
          </a:p>
          <a:p>
            <a:pPr lvl="1"/>
            <a:r>
              <a:rPr lang="sv-SE" altLang="sv-SE" dirty="0"/>
              <a:t>Prediction of maintanence</a:t>
            </a:r>
          </a:p>
          <a:p>
            <a:pPr lvl="1"/>
            <a:endParaRPr lang="sv-SE" altLang="sv-SE" dirty="0"/>
          </a:p>
          <a:p>
            <a:pPr eaLnBrk="1" hangingPunct="1"/>
            <a:endParaRPr lang="sv-SE" altLang="sv-SE" dirty="0"/>
          </a:p>
        </p:txBody>
      </p:sp>
    </p:spTree>
    <p:extLst>
      <p:ext uri="{BB962C8B-B14F-4D97-AF65-F5344CB8AC3E}">
        <p14:creationId xmlns:p14="http://schemas.microsoft.com/office/powerpoint/2010/main" val="1591856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Background</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Why we don’t simply simulate humain’s brain ?</a:t>
            </a:r>
          </a:p>
          <a:p>
            <a:pPr lvl="1"/>
            <a:r>
              <a:rPr lang="sv-SE" altLang="sv-SE" dirty="0"/>
              <a:t>Car crash simulations</a:t>
            </a:r>
          </a:p>
          <a:p>
            <a:pPr lvl="1"/>
            <a:r>
              <a:rPr lang="sv-SE" altLang="sv-SE" dirty="0"/>
              <a:t>Aerodynamics of windmills</a:t>
            </a:r>
          </a:p>
          <a:p>
            <a:pPr lvl="1"/>
            <a:r>
              <a:rPr lang="sv-SE" altLang="sv-SE" dirty="0"/>
              <a:t>No governing equations</a:t>
            </a:r>
          </a:p>
        </p:txBody>
      </p:sp>
    </p:spTree>
    <p:extLst>
      <p:ext uri="{BB962C8B-B14F-4D97-AF65-F5344CB8AC3E}">
        <p14:creationId xmlns:p14="http://schemas.microsoft.com/office/powerpoint/2010/main" val="24957192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Python for data scientists</a:t>
            </a:r>
            <a:endParaRPr lang="pt-PT" dirty="0"/>
          </a:p>
        </p:txBody>
      </p:sp>
    </p:spTree>
    <p:extLst>
      <p:ext uri="{BB962C8B-B14F-4D97-AF65-F5344CB8AC3E}">
        <p14:creationId xmlns:p14="http://schemas.microsoft.com/office/powerpoint/2010/main" val="14899585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dirty="0"/>
              <a:t>Why python </a:t>
            </a:r>
          </a:p>
        </p:txBody>
      </p:sp>
      <p:sp>
        <p:nvSpPr>
          <p:cNvPr id="19459" name="Rectangle 2">
            <a:extLst>
              <a:ext uri="{FF2B5EF4-FFF2-40B4-BE49-F238E27FC236}">
                <a16:creationId xmlns:a16="http://schemas.microsoft.com/office/drawing/2014/main" id="{C3F81D29-BD30-4D80-AB0A-E01FAA65E445}"/>
              </a:ext>
            </a:extLst>
          </p:cNvPr>
          <p:cNvSpPr>
            <a:spLocks noGrp="1" noChangeArrowheads="1"/>
          </p:cNvSpPr>
          <p:nvPr>
            <p:ph type="body" idx="1"/>
          </p:nvPr>
        </p:nvSpPr>
        <p:spPr>
          <a:xfrm>
            <a:off x="1981200" y="1600201"/>
            <a:ext cx="8229600" cy="4525963"/>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imple to learn</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Similar syntax to </a:t>
            </a:r>
            <a:r>
              <a:rPr lang="en-GB" altLang="sv-SE" dirty="0" err="1"/>
              <a:t>Matlab</a:t>
            </a:r>
            <a:r>
              <a:rPr lang="en-GB" altLang="sv-SE" dirty="0"/>
              <a:t> making switch simple for people used to scientific computing</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Well developed libraries</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dirty="0"/>
          </a:p>
        </p:txBody>
      </p:sp>
    </p:spTree>
    <p:extLst>
      <p:ext uri="{BB962C8B-B14F-4D97-AF65-F5344CB8AC3E}">
        <p14:creationId xmlns:p14="http://schemas.microsoft.com/office/powerpoint/2010/main" val="707881129"/>
      </p:ext>
    </p:extLst>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dirty="0"/>
              <a:t>How python </a:t>
            </a:r>
          </a:p>
        </p:txBody>
      </p:sp>
      <p:sp>
        <p:nvSpPr>
          <p:cNvPr id="19459" name="Rectangle 2">
            <a:extLst>
              <a:ext uri="{FF2B5EF4-FFF2-40B4-BE49-F238E27FC236}">
                <a16:creationId xmlns:a16="http://schemas.microsoft.com/office/drawing/2014/main" id="{C3F81D29-BD30-4D80-AB0A-E01FAA65E445}"/>
              </a:ext>
            </a:extLst>
          </p:cNvPr>
          <p:cNvSpPr>
            <a:spLocks noGrp="1" noChangeArrowheads="1"/>
          </p:cNvSpPr>
          <p:nvPr>
            <p:ph type="body" idx="1"/>
          </p:nvPr>
        </p:nvSpPr>
        <p:spPr>
          <a:xfrm>
            <a:off x="1981200" y="1600201"/>
            <a:ext cx="8229600" cy="4525963"/>
          </a:xfrm>
        </p:spPr>
        <p:txBody>
          <a:bodyPr/>
          <a:lstStyle/>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Developed with readability in focus</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Indentation important</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Non declarative</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Object oriented, functional or </a:t>
            </a:r>
            <a:r>
              <a:rPr lang="en-GB" altLang="sv-SE" dirty="0" err="1"/>
              <a:t>precedural</a:t>
            </a:r>
            <a:endParaRPr lang="en-GB" altLang="sv-SE" dirty="0"/>
          </a:p>
          <a:p>
            <a:pP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dirty="0"/>
          </a:p>
        </p:txBody>
      </p:sp>
    </p:spTree>
    <p:extLst>
      <p:ext uri="{BB962C8B-B14F-4D97-AF65-F5344CB8AC3E}">
        <p14:creationId xmlns:p14="http://schemas.microsoft.com/office/powerpoint/2010/main" val="1055288336"/>
      </p:ext>
    </p:extLst>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dirty="0"/>
              <a:t>Syntax and naming</a:t>
            </a:r>
          </a:p>
        </p:txBody>
      </p:sp>
      <p:sp>
        <p:nvSpPr>
          <p:cNvPr id="19459" name="Rectangle 2">
            <a:extLst>
              <a:ext uri="{FF2B5EF4-FFF2-40B4-BE49-F238E27FC236}">
                <a16:creationId xmlns:a16="http://schemas.microsoft.com/office/drawing/2014/main" id="{C3F81D29-BD30-4D80-AB0A-E01FAA65E445}"/>
              </a:ext>
            </a:extLst>
          </p:cNvPr>
          <p:cNvSpPr>
            <a:spLocks noGrp="1" noChangeArrowheads="1"/>
          </p:cNvSpPr>
          <p:nvPr>
            <p:ph type="body" idx="1"/>
          </p:nvPr>
        </p:nvSpPr>
        <p:spPr>
          <a:xfrm>
            <a:off x="1981200" y="1600201"/>
            <a:ext cx="8229600" cy="4525963"/>
          </a:xfrm>
        </p:spPr>
        <p:txBody>
          <a:bodyPr>
            <a:normAutofit fontScale="92500" lnSpcReduction="10000"/>
          </a:bodyPr>
          <a:lstStyle/>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 is used for starting a comment line</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 Multi line comment “““</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a = 1 # set a to 1</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a += 1 # add 1 to a</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c = a*a + a**2 # multiply and take the square </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b = [0,2, ]</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def </a:t>
            </a:r>
            <a:r>
              <a:rPr lang="en-GB" altLang="sv-SE" dirty="0" err="1"/>
              <a:t>func</a:t>
            </a:r>
            <a:r>
              <a:rPr lang="en-GB" altLang="sv-SE" dirty="0"/>
              <a:t>(</a:t>
            </a:r>
            <a:r>
              <a:rPr lang="en-GB" altLang="sv-SE" dirty="0" err="1"/>
              <a:t>val</a:t>
            </a:r>
            <a:r>
              <a:rPr lang="en-GB" altLang="sv-SE" dirty="0"/>
              <a:t>):</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a:t>	print(</a:t>
            </a:r>
            <a:r>
              <a:rPr lang="en-GB" altLang="sv-SE" dirty="0" err="1"/>
              <a:t>val</a:t>
            </a:r>
            <a:r>
              <a:rPr lang="en-GB" altLang="sv-SE" dirty="0"/>
              <a:t>)</a:t>
            </a:r>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GB" altLang="sv-SE" dirty="0"/>
          </a:p>
          <a:p>
            <a:pPr marL="0" indent="0">
              <a:buNone/>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dirty="0" err="1"/>
              <a:t>func</a:t>
            </a:r>
            <a:r>
              <a:rPr lang="en-GB" altLang="sv-SE" dirty="0"/>
              <a:t>(9)</a:t>
            </a:r>
          </a:p>
        </p:txBody>
      </p:sp>
    </p:spTree>
    <p:extLst>
      <p:ext uri="{BB962C8B-B14F-4D97-AF65-F5344CB8AC3E}">
        <p14:creationId xmlns:p14="http://schemas.microsoft.com/office/powerpoint/2010/main" val="1066468023"/>
      </p:ext>
    </p:extLst>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Jobs that might be lost</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endParaRPr lang="sv-SE" altLang="sv-SE" dirty="0"/>
          </a:p>
        </p:txBody>
      </p:sp>
    </p:spTree>
    <p:extLst>
      <p:ext uri="{BB962C8B-B14F-4D97-AF65-F5344CB8AC3E}">
        <p14:creationId xmlns:p14="http://schemas.microsoft.com/office/powerpoint/2010/main" val="32726835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a:extLst>
              <a:ext uri="{FF2B5EF4-FFF2-40B4-BE49-F238E27FC236}">
                <a16:creationId xmlns:a16="http://schemas.microsoft.com/office/drawing/2014/main" id="{736C4006-B91E-4580-AF1B-80C098C7DD9C}"/>
              </a:ext>
            </a:extLst>
          </p:cNvPr>
          <p:cNvSpPr>
            <a:spLocks noGrp="1" noChangeArrowheads="1"/>
          </p:cNvSpPr>
          <p:nvPr>
            <p:ph type="title"/>
          </p:nvPr>
        </p:nvSpPr>
        <p:spPr>
          <a:xfrm>
            <a:off x="2799347" y="2286000"/>
            <a:ext cx="8229600" cy="1143000"/>
          </a:xfrm>
        </p:spPr>
        <p:txBody>
          <a:bodyP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dirty="0"/>
              <a:t>Lets do some coding!</a:t>
            </a:r>
          </a:p>
        </p:txBody>
      </p:sp>
    </p:spTree>
    <p:extLst>
      <p:ext uri="{BB962C8B-B14F-4D97-AF65-F5344CB8AC3E}">
        <p14:creationId xmlns:p14="http://schemas.microsoft.com/office/powerpoint/2010/main" val="1454804393"/>
      </p:ext>
    </p:extLst>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a:extLst>
              <a:ext uri="{FF2B5EF4-FFF2-40B4-BE49-F238E27FC236}">
                <a16:creationId xmlns:a16="http://schemas.microsoft.com/office/drawing/2014/main" id="{5A4401A1-D06E-4085-99EA-D930A7977ADB}"/>
              </a:ext>
            </a:extLst>
          </p:cNvPr>
          <p:cNvSpPr>
            <a:spLocks noGrp="1" noChangeArrowheads="1"/>
          </p:cNvSpPr>
          <p:nvPr>
            <p:ph type="title"/>
          </p:nvPr>
        </p:nvSpPr>
        <p:spPr>
          <a:xfrm>
            <a:off x="1981200" y="274638"/>
            <a:ext cx="8229600" cy="1143000"/>
          </a:xfrm>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sv-SE"/>
              <a:t>From raw data to features</a:t>
            </a:r>
          </a:p>
        </p:txBody>
      </p:sp>
      <p:sp>
        <p:nvSpPr>
          <p:cNvPr id="21507" name="Rectangle 2">
            <a:extLst>
              <a:ext uri="{FF2B5EF4-FFF2-40B4-BE49-F238E27FC236}">
                <a16:creationId xmlns:a16="http://schemas.microsoft.com/office/drawing/2014/main" id="{B9B9521A-0FBF-42B6-B243-7585ACFD16A1}"/>
              </a:ext>
            </a:extLst>
          </p:cNvPr>
          <p:cNvSpPr>
            <a:spLocks noGrp="1" noChangeArrowheads="1"/>
          </p:cNvSpPr>
          <p:nvPr>
            <p:ph type="body" idx="1"/>
          </p:nvPr>
        </p:nvSpPr>
        <p:spPr>
          <a:xfrm>
            <a:off x="1981200" y="1600201"/>
            <a:ext cx="8229600" cy="4525963"/>
          </a:xfrm>
        </p:spPr>
        <p:txBody>
          <a:bodyPr/>
          <a:lstStyle/>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The data must often be:</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Cleaned, for example to detect periods of time where the sensor was not working properly</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Sampled, for example particular frames selected from a video</a:t>
            </a:r>
          </a:p>
          <a:p>
            <a:pPr>
              <a:lnSpc>
                <a:spcPct val="80000"/>
              </a:lnSpc>
              <a:spcBef>
                <a:spcPts val="7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e must then extract features</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For example if we want to tell whether there is a traffic sign in a picture, we want to extract information which is relevant</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looking for bright colours and geometrical shapes is clearly relevant </a:t>
            </a:r>
          </a:p>
          <a:p>
            <a:pPr lvl="2">
              <a:lnSpc>
                <a:spcPct val="80000"/>
              </a:lnSpc>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whether the picture is light or dark is not relevant</a:t>
            </a:r>
          </a:p>
          <a:p>
            <a:pPr lvl="1">
              <a:lnSpc>
                <a:spcPct val="80000"/>
              </a:lnSpc>
              <a:spcBef>
                <a:spcPts val="600"/>
              </a:spcBef>
              <a:tabLst>
                <a:tab pos="911225" algn="l"/>
                <a:tab pos="1825625" algn="l"/>
                <a:tab pos="2740025" algn="l"/>
                <a:tab pos="3654425" algn="l"/>
                <a:tab pos="4568825" algn="l"/>
                <a:tab pos="5483225" algn="l"/>
                <a:tab pos="6397625" algn="l"/>
                <a:tab pos="7312025" algn="l"/>
                <a:tab pos="8226425" algn="l"/>
                <a:tab pos="9140825" algn="l"/>
                <a:tab pos="10055225" algn="l"/>
              </a:tabLst>
            </a:pPr>
            <a:r>
              <a:rPr lang="en-GB" altLang="sv-SE"/>
              <a:t>It is at this stage that </a:t>
            </a:r>
            <a:r>
              <a:rPr lang="en-GB" altLang="sv-SE" i="1"/>
              <a:t>information reduction</a:t>
            </a:r>
            <a:r>
              <a:rPr lang="en-GB" altLang="sv-SE"/>
              <a:t> happens</a:t>
            </a:r>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Click to insert title</a:t>
            </a:r>
            <a:endParaRPr lang="pt-PT" dirty="0"/>
          </a:p>
        </p:txBody>
      </p:sp>
      <p:sp>
        <p:nvSpPr>
          <p:cNvPr id="2" name="Text Placeholder 1"/>
          <p:cNvSpPr>
            <a:spLocks noGrp="1"/>
          </p:cNvSpPr>
          <p:nvPr>
            <p:ph type="body" sz="quarter" idx="10"/>
          </p:nvPr>
        </p:nvSpPr>
        <p:spPr/>
        <p:txBody>
          <a:body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a:p>
            <a:pPr marL="225425" indent="-225425">
              <a:buClr>
                <a:schemeClr val="tx2"/>
              </a:buClr>
              <a:buFont typeface="Wingdings" panose="05000000000000000000" pitchFamily="2" charset="2"/>
              <a:buChar char="§"/>
            </a:pPr>
            <a:endParaRPr lang="pt-PT" dirty="0"/>
          </a:p>
        </p:txBody>
      </p:sp>
    </p:spTree>
    <p:extLst>
      <p:ext uri="{BB962C8B-B14F-4D97-AF65-F5344CB8AC3E}">
        <p14:creationId xmlns:p14="http://schemas.microsoft.com/office/powerpoint/2010/main" val="30821671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D1BC81-B0CA-49DC-9E5F-F55AA790482A}"/>
              </a:ext>
            </a:extLst>
          </p:cNvPr>
          <p:cNvSpPr>
            <a:spLocks noGrp="1"/>
          </p:cNvSpPr>
          <p:nvPr>
            <p:ph type="body" sz="quarter" idx="10"/>
          </p:nvPr>
        </p:nvSpPr>
        <p:spPr/>
        <p:txBody>
          <a:bodyPr/>
          <a:lstStyle/>
          <a:p>
            <a:r>
              <a:rPr lang="en-US" dirty="0"/>
              <a:t>Click to insert long text</a:t>
            </a:r>
            <a:endParaRPr lang="pt-PT" dirty="0"/>
          </a:p>
        </p:txBody>
      </p:sp>
      <p:sp>
        <p:nvSpPr>
          <p:cNvPr id="6" name="Text Placeholder 5">
            <a:extLst>
              <a:ext uri="{FF2B5EF4-FFF2-40B4-BE49-F238E27FC236}">
                <a16:creationId xmlns:a16="http://schemas.microsoft.com/office/drawing/2014/main" id="{4D0680E3-AA32-4CF6-8F32-34091BD0DD6D}"/>
              </a:ext>
            </a:extLst>
          </p:cNvPr>
          <p:cNvSpPr>
            <a:spLocks noGrp="1"/>
          </p:cNvSpPr>
          <p:nvPr>
            <p:ph type="body" sz="quarter" idx="11"/>
          </p:nvPr>
        </p:nvSpPr>
        <p:spPr/>
        <p:txBody>
          <a:bodyPr/>
          <a:lstStyle/>
          <a:p>
            <a:r>
              <a:rPr lang="en-US" dirty="0"/>
              <a:t>Click to insert long text</a:t>
            </a:r>
            <a:endParaRPr lang="pt-PT" dirty="0"/>
          </a:p>
        </p:txBody>
      </p:sp>
      <p:sp>
        <p:nvSpPr>
          <p:cNvPr id="8" name="Text Placeholder 7">
            <a:extLst>
              <a:ext uri="{FF2B5EF4-FFF2-40B4-BE49-F238E27FC236}">
                <a16:creationId xmlns:a16="http://schemas.microsoft.com/office/drawing/2014/main" id="{685DA84B-712F-4997-B040-EA16BEA93F9C}"/>
              </a:ext>
            </a:extLst>
          </p:cNvPr>
          <p:cNvSpPr>
            <a:spLocks noGrp="1"/>
          </p:cNvSpPr>
          <p:nvPr>
            <p:ph type="body" sz="quarter" idx="12"/>
          </p:nvPr>
        </p:nvSpPr>
        <p:spPr/>
        <p:txBody>
          <a:bodyPr/>
          <a:lstStyle/>
          <a:p>
            <a:r>
              <a:rPr lang="en-US" dirty="0"/>
              <a:t>Click to insert title</a:t>
            </a:r>
            <a:endParaRPr lang="pt-PT" dirty="0"/>
          </a:p>
        </p:txBody>
      </p:sp>
      <p:sp>
        <p:nvSpPr>
          <p:cNvPr id="9" name="Text Placeholder 8">
            <a:extLst>
              <a:ext uri="{FF2B5EF4-FFF2-40B4-BE49-F238E27FC236}">
                <a16:creationId xmlns:a16="http://schemas.microsoft.com/office/drawing/2014/main" id="{B1109344-6411-4EAD-894D-CED220223FAE}"/>
              </a:ext>
            </a:extLst>
          </p:cNvPr>
          <p:cNvSpPr>
            <a:spLocks noGrp="1"/>
          </p:cNvSpPr>
          <p:nvPr>
            <p:ph type="body" sz="quarter" idx="13"/>
          </p:nvPr>
        </p:nvSpPr>
        <p:spPr/>
        <p:txBody>
          <a:bodyPr/>
          <a:lstStyle/>
          <a:p>
            <a:r>
              <a:rPr lang="en-US" dirty="0"/>
              <a:t>Click to insert title</a:t>
            </a:r>
            <a:endParaRPr lang="pt-PT" dirty="0"/>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Click to insert title</a:t>
            </a:r>
            <a:endParaRPr lang="pt-PT" dirty="0"/>
          </a:p>
        </p:txBody>
      </p:sp>
      <p:cxnSp>
        <p:nvCxnSpPr>
          <p:cNvPr id="7" name="Conector reto 49">
            <a:extLst>
              <a:ext uri="{FF2B5EF4-FFF2-40B4-BE49-F238E27FC236}">
                <a16:creationId xmlns:a16="http://schemas.microsoft.com/office/drawing/2014/main" id="{99F137B6-F3B1-4C6C-A4B5-514CE43D29F9}"/>
              </a:ext>
            </a:extLst>
          </p:cNvPr>
          <p:cNvCxnSpPr>
            <a:cxnSpLocks/>
          </p:cNvCxnSpPr>
          <p:nvPr/>
        </p:nvCxnSpPr>
        <p:spPr>
          <a:xfrm flipV="1">
            <a:off x="6096000" y="1420991"/>
            <a:ext cx="0" cy="5030987"/>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40380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906432-6E9E-476C-8F6E-5171A8733353}"/>
              </a:ext>
            </a:extLst>
          </p:cNvPr>
          <p:cNvSpPr>
            <a:spLocks noGrp="1"/>
          </p:cNvSpPr>
          <p:nvPr>
            <p:ph type="body" sz="quarter" idx="13"/>
          </p:nvPr>
        </p:nvSpPr>
        <p:spPr>
          <a:xfrm>
            <a:off x="407987" y="1423337"/>
            <a:ext cx="3584661" cy="412363"/>
          </a:xfrm>
        </p:spPr>
        <p:txBody>
          <a:bodyPr anchor="t" anchorCtr="0"/>
          <a:lstStyle/>
          <a:p>
            <a:r>
              <a:rPr lang="en-US" dirty="0"/>
              <a:t>Click to insert title</a:t>
            </a:r>
            <a:endParaRPr lang="pt-PT" dirty="0"/>
          </a:p>
        </p:txBody>
      </p:sp>
      <p:sp>
        <p:nvSpPr>
          <p:cNvPr id="10" name="Text Placeholder 9">
            <a:extLst>
              <a:ext uri="{FF2B5EF4-FFF2-40B4-BE49-F238E27FC236}">
                <a16:creationId xmlns:a16="http://schemas.microsoft.com/office/drawing/2014/main" id="{0D603F4E-5E33-4D2E-B276-070E85DFEC06}"/>
              </a:ext>
            </a:extLst>
          </p:cNvPr>
          <p:cNvSpPr>
            <a:spLocks noGrp="1"/>
          </p:cNvSpPr>
          <p:nvPr>
            <p:ph type="body" sz="quarter" idx="27"/>
          </p:nvPr>
        </p:nvSpPr>
        <p:spPr/>
        <p:txBody>
          <a:bodyPr anchor="t" anchorCtr="0"/>
          <a:lstStyle/>
          <a:p>
            <a:r>
              <a:rPr lang="en-US" dirty="0"/>
              <a:t>Click to insert title</a:t>
            </a:r>
            <a:endParaRPr lang="pt-PT" dirty="0"/>
          </a:p>
        </p:txBody>
      </p:sp>
      <p:sp>
        <p:nvSpPr>
          <p:cNvPr id="12" name="Text Placeholder 11">
            <a:extLst>
              <a:ext uri="{FF2B5EF4-FFF2-40B4-BE49-F238E27FC236}">
                <a16:creationId xmlns:a16="http://schemas.microsoft.com/office/drawing/2014/main" id="{D43678CA-BC8E-405A-B719-D87E98C45F07}"/>
              </a:ext>
            </a:extLst>
          </p:cNvPr>
          <p:cNvSpPr>
            <a:spLocks noGrp="1"/>
          </p:cNvSpPr>
          <p:nvPr>
            <p:ph type="body" sz="quarter" idx="29"/>
          </p:nvPr>
        </p:nvSpPr>
        <p:spPr/>
        <p:txBody>
          <a:bodyPr anchor="t" anchorCtr="0"/>
          <a:lstStyle/>
          <a:p>
            <a:r>
              <a:rPr lang="en-US" dirty="0"/>
              <a:t>Click to insert title</a:t>
            </a:r>
            <a:endParaRPr lang="pt-PT" dirty="0"/>
          </a:p>
        </p:txBody>
      </p:sp>
      <p:sp>
        <p:nvSpPr>
          <p:cNvPr id="14" name="Text Placeholder 13">
            <a:extLst>
              <a:ext uri="{FF2B5EF4-FFF2-40B4-BE49-F238E27FC236}">
                <a16:creationId xmlns:a16="http://schemas.microsoft.com/office/drawing/2014/main" id="{8FBA0AFE-320C-4DB4-8199-D0846F3D6602}"/>
              </a:ext>
            </a:extLst>
          </p:cNvPr>
          <p:cNvSpPr>
            <a:spLocks noGrp="1"/>
          </p:cNvSpPr>
          <p:nvPr>
            <p:ph type="body" sz="quarter" idx="31"/>
          </p:nvPr>
        </p:nvSpPr>
        <p:spPr/>
        <p:txBody>
          <a:bodyPr/>
          <a:lstStyle/>
          <a:p>
            <a:r>
              <a:rPr lang="en-US" dirty="0"/>
              <a:t>Click to insert title</a:t>
            </a:r>
            <a:endParaRPr lang="pt-PT" dirty="0"/>
          </a:p>
        </p:txBody>
      </p:sp>
      <p:sp>
        <p:nvSpPr>
          <p:cNvPr id="15" name="Text Placeholder 14">
            <a:extLst>
              <a:ext uri="{FF2B5EF4-FFF2-40B4-BE49-F238E27FC236}">
                <a16:creationId xmlns:a16="http://schemas.microsoft.com/office/drawing/2014/main" id="{AEBDA25C-3B05-4C71-8A88-56071D3CA4C8}"/>
              </a:ext>
            </a:extLst>
          </p:cNvPr>
          <p:cNvSpPr>
            <a:spLocks noGrp="1"/>
          </p:cNvSpPr>
          <p:nvPr>
            <p:ph type="body" sz="quarter" idx="32"/>
          </p:nvPr>
        </p:nvSpPr>
        <p:spPr/>
        <p:txBody>
          <a:bodyPr/>
          <a:lstStyle/>
          <a:p>
            <a:r>
              <a:rPr lang="en-US" dirty="0"/>
              <a:t>Click to insert long text</a:t>
            </a:r>
            <a:endParaRPr lang="pt-PT" dirty="0"/>
          </a:p>
        </p:txBody>
      </p:sp>
      <p:sp>
        <p:nvSpPr>
          <p:cNvPr id="7" name="Title 6">
            <a:extLst>
              <a:ext uri="{FF2B5EF4-FFF2-40B4-BE49-F238E27FC236}">
                <a16:creationId xmlns:a16="http://schemas.microsoft.com/office/drawing/2014/main" id="{117C619B-D65D-49AC-901C-78B4D07C0378}"/>
              </a:ext>
            </a:extLst>
          </p:cNvPr>
          <p:cNvSpPr>
            <a:spLocks noGrp="1"/>
          </p:cNvSpPr>
          <p:nvPr>
            <p:ph type="title"/>
          </p:nvPr>
        </p:nvSpPr>
        <p:spPr/>
        <p:txBody>
          <a:bodyPr/>
          <a:lstStyle/>
          <a:p>
            <a:r>
              <a:rPr lang="en-US" dirty="0"/>
              <a:t>Click to insert title</a:t>
            </a:r>
            <a:endParaRPr lang="pt-PT" dirty="0"/>
          </a:p>
        </p:txBody>
      </p:sp>
      <p:sp>
        <p:nvSpPr>
          <p:cNvPr id="8" name="Text Placeholder 7">
            <a:extLst>
              <a:ext uri="{FF2B5EF4-FFF2-40B4-BE49-F238E27FC236}">
                <a16:creationId xmlns:a16="http://schemas.microsoft.com/office/drawing/2014/main" id="{60F1C059-878A-459E-A04F-65329A6326A0}"/>
              </a:ext>
            </a:extLst>
          </p:cNvPr>
          <p:cNvSpPr>
            <a:spLocks noGrp="1"/>
          </p:cNvSpPr>
          <p:nvPr>
            <p:ph type="body" sz="quarter" idx="33"/>
          </p:nvPr>
        </p:nvSpPr>
        <p:spPr/>
        <p:txBody>
          <a:bodyPr/>
          <a:lstStyle/>
          <a:p>
            <a:r>
              <a:rPr lang="en-US" dirty="0"/>
              <a:t>Click to insert long text</a:t>
            </a:r>
            <a:endParaRPr lang="pt-PT" dirty="0"/>
          </a:p>
        </p:txBody>
      </p:sp>
      <p:sp>
        <p:nvSpPr>
          <p:cNvPr id="11" name="Text Placeholder 10">
            <a:extLst>
              <a:ext uri="{FF2B5EF4-FFF2-40B4-BE49-F238E27FC236}">
                <a16:creationId xmlns:a16="http://schemas.microsoft.com/office/drawing/2014/main" id="{86A983FF-459F-499F-AE41-98CD6CE11677}"/>
              </a:ext>
            </a:extLst>
          </p:cNvPr>
          <p:cNvSpPr>
            <a:spLocks noGrp="1"/>
          </p:cNvSpPr>
          <p:nvPr>
            <p:ph type="body" sz="quarter" idx="34"/>
          </p:nvPr>
        </p:nvSpPr>
        <p:spPr/>
        <p:txBody>
          <a:bodyPr/>
          <a:lstStyle/>
          <a:p>
            <a:r>
              <a:rPr lang="en-US" dirty="0"/>
              <a:t>Click to insert long text</a:t>
            </a:r>
            <a:endParaRPr lang="pt-PT" dirty="0"/>
          </a:p>
        </p:txBody>
      </p:sp>
      <p:sp>
        <p:nvSpPr>
          <p:cNvPr id="13" name="Text Placeholder 12">
            <a:extLst>
              <a:ext uri="{FF2B5EF4-FFF2-40B4-BE49-F238E27FC236}">
                <a16:creationId xmlns:a16="http://schemas.microsoft.com/office/drawing/2014/main" id="{CEC34AD5-482C-464F-B66D-EE9142C8B27D}"/>
              </a:ext>
            </a:extLst>
          </p:cNvPr>
          <p:cNvSpPr>
            <a:spLocks noGrp="1"/>
          </p:cNvSpPr>
          <p:nvPr>
            <p:ph type="body" sz="quarter" idx="35"/>
          </p:nvPr>
        </p:nvSpPr>
        <p:spPr/>
        <p:txBody>
          <a:bodyPr/>
          <a:lstStyle/>
          <a:p>
            <a:r>
              <a:rPr lang="en-US" dirty="0"/>
              <a:t>Click to insert long text</a:t>
            </a:r>
            <a:endParaRPr lang="pt-PT" dirty="0"/>
          </a:p>
        </p:txBody>
      </p:sp>
      <p:cxnSp>
        <p:nvCxnSpPr>
          <p:cNvPr id="16" name="Conector reto 49">
            <a:extLst>
              <a:ext uri="{FF2B5EF4-FFF2-40B4-BE49-F238E27FC236}">
                <a16:creationId xmlns:a16="http://schemas.microsoft.com/office/drawing/2014/main" id="{16805C85-3AE3-4D2D-B17A-C981C36D96E0}"/>
              </a:ext>
            </a:extLst>
          </p:cNvPr>
          <p:cNvCxnSpPr>
            <a:cxnSpLocks/>
          </p:cNvCxnSpPr>
          <p:nvPr/>
        </p:nvCxnSpPr>
        <p:spPr>
          <a:xfrm flipV="1">
            <a:off x="3976915" y="1412875"/>
            <a:ext cx="0" cy="2628901"/>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7" name="Conector reto 49">
            <a:extLst>
              <a:ext uri="{FF2B5EF4-FFF2-40B4-BE49-F238E27FC236}">
                <a16:creationId xmlns:a16="http://schemas.microsoft.com/office/drawing/2014/main" id="{26068403-AC11-4E26-A369-504721311622}"/>
              </a:ext>
            </a:extLst>
          </p:cNvPr>
          <p:cNvCxnSpPr>
            <a:cxnSpLocks/>
          </p:cNvCxnSpPr>
          <p:nvPr/>
        </p:nvCxnSpPr>
        <p:spPr>
          <a:xfrm flipV="1">
            <a:off x="8084458" y="1423337"/>
            <a:ext cx="0" cy="2618439"/>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2762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0AFA1266-C342-4169-A88F-97489206098B}"/>
              </a:ext>
            </a:extLst>
          </p:cNvPr>
          <p:cNvSpPr/>
          <p:nvPr/>
        </p:nvSpPr>
        <p:spPr>
          <a:xfrm>
            <a:off x="1504710" y="4906365"/>
            <a:ext cx="10279302" cy="1128258"/>
          </a:xfrm>
          <a:prstGeom prst="roundRect">
            <a:avLst>
              <a:gd name="adj" fmla="val 203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138D5B75-435E-4E5B-BB10-0F50118C0ADB}"/>
              </a:ext>
            </a:extLst>
          </p:cNvPr>
          <p:cNvSpPr/>
          <p:nvPr/>
        </p:nvSpPr>
        <p:spPr>
          <a:xfrm>
            <a:off x="1504710" y="1910357"/>
            <a:ext cx="10279304" cy="1128258"/>
          </a:xfrm>
          <a:prstGeom prst="roundRect">
            <a:avLst>
              <a:gd name="adj" fmla="val 3361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 Placeholder 2">
            <a:extLst>
              <a:ext uri="{FF2B5EF4-FFF2-40B4-BE49-F238E27FC236}">
                <a16:creationId xmlns:a16="http://schemas.microsoft.com/office/drawing/2014/main" id="{819E00A7-18D1-4A27-AE7C-87096C821EE4}"/>
              </a:ext>
            </a:extLst>
          </p:cNvPr>
          <p:cNvSpPr>
            <a:spLocks noGrp="1"/>
          </p:cNvSpPr>
          <p:nvPr>
            <p:ph type="body" sz="quarter" idx="16"/>
          </p:nvPr>
        </p:nvSpPr>
        <p:spPr/>
        <p:txBody>
          <a:bodyPr/>
          <a:lstStyle/>
          <a:p>
            <a:r>
              <a:rPr lang="en-US" dirty="0"/>
              <a:t>Click to insert text</a:t>
            </a:r>
            <a:endParaRPr lang="pt-PT" dirty="0"/>
          </a:p>
        </p:txBody>
      </p:sp>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4" name="Table Placeholder 3"/>
          <p:cNvSpPr>
            <a:spLocks noGrp="1"/>
          </p:cNvSpPr>
          <p:nvPr>
            <p:ph type="tbl" sz="quarter" idx="17"/>
          </p:nvPr>
        </p:nvSpPr>
        <p:spPr/>
      </p:sp>
      <p:graphicFrame>
        <p:nvGraphicFramePr>
          <p:cNvPr id="10" name="Table Placeholder 4">
            <a:extLst>
              <a:ext uri="{FF2B5EF4-FFF2-40B4-BE49-F238E27FC236}">
                <a16:creationId xmlns:a16="http://schemas.microsoft.com/office/drawing/2014/main" id="{06023993-9078-470E-80B8-AF177564FBDC}"/>
              </a:ext>
            </a:extLst>
          </p:cNvPr>
          <p:cNvGraphicFramePr>
            <a:graphicFrameLocks/>
          </p:cNvGraphicFramePr>
          <p:nvPr>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US" sz="1200" noProof="0" dirty="0"/>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lnSpc>
                          <a:spcPts val="1400"/>
                        </a:lnSpc>
                      </a:pPr>
                      <a:r>
                        <a:rPr lang="en-US" sz="1200" noProof="0" dirty="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US" sz="1200" b="1" noProof="0" dirty="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10751184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47F42EC-C83D-4615-BDBC-32991AAFC708}"/>
              </a:ext>
            </a:extLst>
          </p:cNvPr>
          <p:cNvSpPr/>
          <p:nvPr/>
        </p:nvSpPr>
        <p:spPr>
          <a:xfrm>
            <a:off x="407988" y="2006010"/>
            <a:ext cx="5543549"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ctangle 17">
            <a:extLst>
              <a:ext uri="{FF2B5EF4-FFF2-40B4-BE49-F238E27FC236}">
                <a16:creationId xmlns:a16="http://schemas.microsoft.com/office/drawing/2014/main" id="{ED542150-A4D9-403B-985D-A63B1FD4F279}"/>
              </a:ext>
            </a:extLst>
          </p:cNvPr>
          <p:cNvSpPr/>
          <p:nvPr/>
        </p:nvSpPr>
        <p:spPr>
          <a:xfrm>
            <a:off x="6240463" y="2006010"/>
            <a:ext cx="5543550"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19" name="Chart Placeholder 20">
            <a:extLst>
              <a:ext uri="{FF2B5EF4-FFF2-40B4-BE49-F238E27FC236}">
                <a16:creationId xmlns:a16="http://schemas.microsoft.com/office/drawing/2014/main" id="{EAF98D82-0D61-484B-81EA-C031402BA1C0}"/>
              </a:ext>
            </a:extLst>
          </p:cNvPr>
          <p:cNvGraphicFramePr>
            <a:graphicFrameLocks noGrp="1"/>
          </p:cNvGraphicFramePr>
          <p:nvPr>
            <p:ph type="chart" sz="quarter" idx="44"/>
            <p:extLst/>
          </p:nvPr>
        </p:nvGraphicFramePr>
        <p:xfrm>
          <a:off x="407988" y="1873250"/>
          <a:ext cx="5543550" cy="357187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10">
            <a:extLst>
              <a:ext uri="{FF2B5EF4-FFF2-40B4-BE49-F238E27FC236}">
                <a16:creationId xmlns:a16="http://schemas.microsoft.com/office/drawing/2014/main" id="{848A17AC-9D1C-4497-A371-0E45C73D2CC1}"/>
              </a:ext>
            </a:extLst>
          </p:cNvPr>
          <p:cNvSpPr>
            <a:spLocks noGrp="1"/>
          </p:cNvSpPr>
          <p:nvPr>
            <p:ph type="body" sz="quarter" idx="41"/>
          </p:nvPr>
        </p:nvSpPr>
        <p:spPr/>
        <p:txBody>
          <a:bodyPr/>
          <a:lstStyle/>
          <a:p>
            <a:r>
              <a:rPr lang="en-US" dirty="0"/>
              <a:t>Click to insert </a:t>
            </a:r>
            <a:r>
              <a:rPr lang="pt-PT"/>
              <a:t>text</a:t>
            </a:r>
            <a:endParaRPr lang="pt-PT" dirty="0"/>
          </a:p>
        </p:txBody>
      </p:sp>
      <p:sp>
        <p:nvSpPr>
          <p:cNvPr id="12" name="Text Placeholder 11">
            <a:extLst>
              <a:ext uri="{FF2B5EF4-FFF2-40B4-BE49-F238E27FC236}">
                <a16:creationId xmlns:a16="http://schemas.microsoft.com/office/drawing/2014/main" id="{850DF0B8-7C85-49FB-A761-A472875F9959}"/>
              </a:ext>
            </a:extLst>
          </p:cNvPr>
          <p:cNvSpPr>
            <a:spLocks noGrp="1"/>
          </p:cNvSpPr>
          <p:nvPr>
            <p:ph type="body" sz="quarter" idx="42"/>
          </p:nvPr>
        </p:nvSpPr>
        <p:spPr/>
        <p:txBody>
          <a:bodyPr/>
          <a:lstStyle/>
          <a:p>
            <a:r>
              <a:rPr lang="en-US" dirty="0"/>
              <a:t>Click to insert </a:t>
            </a:r>
            <a:r>
              <a:rPr lang="pt-PT"/>
              <a:t>text</a:t>
            </a:r>
            <a:endParaRPr lang="pt-PT" dirty="0"/>
          </a:p>
        </p:txBody>
      </p:sp>
      <p:sp>
        <p:nvSpPr>
          <p:cNvPr id="10" name="Text Placeholder 9">
            <a:extLst>
              <a:ext uri="{FF2B5EF4-FFF2-40B4-BE49-F238E27FC236}">
                <a16:creationId xmlns:a16="http://schemas.microsoft.com/office/drawing/2014/main" id="{242D1506-D61B-4D33-A23E-CB233F953BED}"/>
              </a:ext>
            </a:extLst>
          </p:cNvPr>
          <p:cNvSpPr>
            <a:spLocks noGrp="1"/>
          </p:cNvSpPr>
          <p:nvPr>
            <p:ph type="body" sz="quarter" idx="29"/>
          </p:nvPr>
        </p:nvSpPr>
        <p:spPr/>
        <p:txBody>
          <a:bodyPr/>
          <a:lstStyle/>
          <a:p>
            <a:r>
              <a:rPr lang="en-US" dirty="0"/>
              <a:t>Click to insert chart title</a:t>
            </a:r>
            <a:endParaRPr lang="pt-PT" dirty="0"/>
          </a:p>
        </p:txBody>
      </p:sp>
      <p:sp>
        <p:nvSpPr>
          <p:cNvPr id="13" name="Text Placeholder 12">
            <a:extLst>
              <a:ext uri="{FF2B5EF4-FFF2-40B4-BE49-F238E27FC236}">
                <a16:creationId xmlns:a16="http://schemas.microsoft.com/office/drawing/2014/main" id="{8619B0B9-0CA6-4729-90EA-A44559580987}"/>
              </a:ext>
            </a:extLst>
          </p:cNvPr>
          <p:cNvSpPr>
            <a:spLocks noGrp="1"/>
          </p:cNvSpPr>
          <p:nvPr>
            <p:ph type="body" sz="quarter" idx="43"/>
          </p:nvPr>
        </p:nvSpPr>
        <p:spPr/>
        <p:txBody>
          <a:bodyPr/>
          <a:lstStyle/>
          <a:p>
            <a:r>
              <a:rPr lang="en-US" dirty="0"/>
              <a:t>Click to insert chart title</a:t>
            </a:r>
            <a:endParaRPr lang="pt-PT" dirty="0"/>
          </a:p>
        </p:txBody>
      </p:sp>
      <p:graphicFrame>
        <p:nvGraphicFramePr>
          <p:cNvPr id="20" name="Chart Placeholder 20">
            <a:extLst>
              <a:ext uri="{FF2B5EF4-FFF2-40B4-BE49-F238E27FC236}">
                <a16:creationId xmlns:a16="http://schemas.microsoft.com/office/drawing/2014/main" id="{0752A10F-8B85-49D3-BCAC-BC75C447766A}"/>
              </a:ext>
            </a:extLst>
          </p:cNvPr>
          <p:cNvGraphicFramePr>
            <a:graphicFrameLocks noGrp="1"/>
          </p:cNvGraphicFramePr>
          <p:nvPr>
            <p:ph type="chart" sz="quarter" idx="45"/>
            <p:extLst/>
          </p:nvPr>
        </p:nvGraphicFramePr>
        <p:xfrm>
          <a:off x="6240463" y="1873250"/>
          <a:ext cx="5543550" cy="3571875"/>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21">
            <a:extLst>
              <a:ext uri="{FF2B5EF4-FFF2-40B4-BE49-F238E27FC236}">
                <a16:creationId xmlns:a16="http://schemas.microsoft.com/office/drawing/2014/main" id="{5C4E9BE6-5CFD-4182-9276-FFA72B130032}"/>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en-US" dirty="0"/>
          </a:p>
        </p:txBody>
      </p:sp>
    </p:spTree>
    <p:extLst>
      <p:ext uri="{BB962C8B-B14F-4D97-AF65-F5344CB8AC3E}">
        <p14:creationId xmlns:p14="http://schemas.microsoft.com/office/powerpoint/2010/main" val="42765142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A8002E6-B484-40B4-B9A4-62F5567F6687}"/>
              </a:ext>
            </a:extLst>
          </p:cNvPr>
          <p:cNvSpPr/>
          <p:nvPr/>
        </p:nvSpPr>
        <p:spPr>
          <a:xfrm>
            <a:off x="407987" y="1902619"/>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Rectangle 27">
            <a:extLst>
              <a:ext uri="{FF2B5EF4-FFF2-40B4-BE49-F238E27FC236}">
                <a16:creationId xmlns:a16="http://schemas.microsoft.com/office/drawing/2014/main" id="{0A8002E6-B484-40B4-B9A4-62F5567F6687}"/>
              </a:ext>
            </a:extLst>
          </p:cNvPr>
          <p:cNvSpPr/>
          <p:nvPr/>
        </p:nvSpPr>
        <p:spPr>
          <a:xfrm>
            <a:off x="6240463" y="1902619"/>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 name="Rectangle 28">
            <a:extLst>
              <a:ext uri="{FF2B5EF4-FFF2-40B4-BE49-F238E27FC236}">
                <a16:creationId xmlns:a16="http://schemas.microsoft.com/office/drawing/2014/main" id="{0A8002E6-B484-40B4-B9A4-62F5567F6687}"/>
              </a:ext>
            </a:extLst>
          </p:cNvPr>
          <p:cNvSpPr/>
          <p:nvPr/>
        </p:nvSpPr>
        <p:spPr>
          <a:xfrm>
            <a:off x="407987" y="4511676"/>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2" name="Rectangle 31">
            <a:extLst>
              <a:ext uri="{FF2B5EF4-FFF2-40B4-BE49-F238E27FC236}">
                <a16:creationId xmlns:a16="http://schemas.microsoft.com/office/drawing/2014/main" id="{0A8002E6-B484-40B4-B9A4-62F5567F6687}"/>
              </a:ext>
            </a:extLst>
          </p:cNvPr>
          <p:cNvSpPr/>
          <p:nvPr/>
        </p:nvSpPr>
        <p:spPr>
          <a:xfrm>
            <a:off x="6240463" y="4511676"/>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0" name="Chart Placeholder 19">
            <a:extLst>
              <a:ext uri="{FF2B5EF4-FFF2-40B4-BE49-F238E27FC236}">
                <a16:creationId xmlns:a16="http://schemas.microsoft.com/office/drawing/2014/main" id="{C2617C2C-E871-4571-BEA2-0FBBBC7AA286}"/>
              </a:ext>
            </a:extLst>
          </p:cNvPr>
          <p:cNvGraphicFramePr>
            <a:graphicFrameLocks noGrp="1"/>
          </p:cNvGraphicFramePr>
          <p:nvPr>
            <p:ph type="chart" sz="quarter" idx="10"/>
            <p:extLst/>
          </p:nvPr>
        </p:nvGraphicFramePr>
        <p:xfrm>
          <a:off x="407988" y="1824038"/>
          <a:ext cx="5543550" cy="19637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Placeholder 23">
            <a:extLst>
              <a:ext uri="{FF2B5EF4-FFF2-40B4-BE49-F238E27FC236}">
                <a16:creationId xmlns:a16="http://schemas.microsoft.com/office/drawing/2014/main" id="{DE4D4E53-9940-4284-9B58-96FEE49EFA5B}"/>
              </a:ext>
            </a:extLst>
          </p:cNvPr>
          <p:cNvGraphicFramePr>
            <a:graphicFrameLocks noGrp="1"/>
          </p:cNvGraphicFramePr>
          <p:nvPr>
            <p:ph type="chart" sz="quarter" idx="11"/>
            <p:extLst/>
          </p:nvPr>
        </p:nvGraphicFramePr>
        <p:xfrm>
          <a:off x="6240463" y="1824038"/>
          <a:ext cx="5543550" cy="19637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Chart Placeholder 29">
            <a:extLst>
              <a:ext uri="{FF2B5EF4-FFF2-40B4-BE49-F238E27FC236}">
                <a16:creationId xmlns:a16="http://schemas.microsoft.com/office/drawing/2014/main" id="{40DFD1D5-79A3-4624-9BE8-E922FA1F60FA}"/>
              </a:ext>
            </a:extLst>
          </p:cNvPr>
          <p:cNvGraphicFramePr>
            <a:graphicFrameLocks noGrp="1"/>
          </p:cNvGraphicFramePr>
          <p:nvPr>
            <p:ph type="chart" sz="quarter" idx="17"/>
            <p:extLst/>
          </p:nvPr>
        </p:nvGraphicFramePr>
        <p:xfrm>
          <a:off x="407988" y="4478338"/>
          <a:ext cx="5543550" cy="19637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Chart Placeholder 33">
            <a:extLst>
              <a:ext uri="{FF2B5EF4-FFF2-40B4-BE49-F238E27FC236}">
                <a16:creationId xmlns:a16="http://schemas.microsoft.com/office/drawing/2014/main" id="{17F82733-4D34-47E4-951E-70E0D903D187}"/>
              </a:ext>
            </a:extLst>
          </p:cNvPr>
          <p:cNvGraphicFramePr>
            <a:graphicFrameLocks noGrp="1"/>
          </p:cNvGraphicFramePr>
          <p:nvPr>
            <p:ph type="chart" sz="quarter" idx="18"/>
            <p:extLst/>
          </p:nvPr>
        </p:nvGraphicFramePr>
        <p:xfrm>
          <a:off x="6240463" y="4478338"/>
          <a:ext cx="5543550" cy="1963737"/>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 Placeholder 13">
            <a:extLst>
              <a:ext uri="{FF2B5EF4-FFF2-40B4-BE49-F238E27FC236}">
                <a16:creationId xmlns:a16="http://schemas.microsoft.com/office/drawing/2014/main" id="{BAFBF1BB-4988-42D7-89C4-204C23AA6353}"/>
              </a:ext>
            </a:extLst>
          </p:cNvPr>
          <p:cNvSpPr>
            <a:spLocks noGrp="1"/>
          </p:cNvSpPr>
          <p:nvPr>
            <p:ph type="body" sz="quarter" idx="14"/>
          </p:nvPr>
        </p:nvSpPr>
        <p:spPr/>
        <p:txBody>
          <a:bodyPr/>
          <a:lstStyle/>
          <a:p>
            <a:r>
              <a:rPr lang="en-US" dirty="0"/>
              <a:t>Click to insert chart title</a:t>
            </a:r>
            <a:endParaRPr lang="pt-PT" dirty="0"/>
          </a:p>
        </p:txBody>
      </p:sp>
      <p:sp>
        <p:nvSpPr>
          <p:cNvPr id="15" name="Text Placeholder 14">
            <a:extLst>
              <a:ext uri="{FF2B5EF4-FFF2-40B4-BE49-F238E27FC236}">
                <a16:creationId xmlns:a16="http://schemas.microsoft.com/office/drawing/2014/main" id="{4BE36402-790C-4165-BE4F-3CA3E262617D}"/>
              </a:ext>
            </a:extLst>
          </p:cNvPr>
          <p:cNvSpPr>
            <a:spLocks noGrp="1"/>
          </p:cNvSpPr>
          <p:nvPr>
            <p:ph type="body" sz="quarter" idx="15"/>
          </p:nvPr>
        </p:nvSpPr>
        <p:spPr/>
        <p:txBody>
          <a:bodyPr/>
          <a:lstStyle/>
          <a:p>
            <a:r>
              <a:rPr lang="en-US" dirty="0"/>
              <a:t>Click to insert chart title</a:t>
            </a:r>
            <a:endParaRPr lang="pt-PT" dirty="0"/>
          </a:p>
        </p:txBody>
      </p:sp>
      <p:sp>
        <p:nvSpPr>
          <p:cNvPr id="9" name="Title 8">
            <a:extLst>
              <a:ext uri="{FF2B5EF4-FFF2-40B4-BE49-F238E27FC236}">
                <a16:creationId xmlns:a16="http://schemas.microsoft.com/office/drawing/2014/main" id="{0E087E88-121F-42D5-A3B2-B88C332155D7}"/>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16" name="Text Placeholder 15">
            <a:extLst>
              <a:ext uri="{FF2B5EF4-FFF2-40B4-BE49-F238E27FC236}">
                <a16:creationId xmlns:a16="http://schemas.microsoft.com/office/drawing/2014/main" id="{4E7142AA-9B1D-4D00-A1B7-09FA27DBCFFA}"/>
              </a:ext>
            </a:extLst>
          </p:cNvPr>
          <p:cNvSpPr>
            <a:spLocks noGrp="1"/>
          </p:cNvSpPr>
          <p:nvPr>
            <p:ph type="body" sz="quarter" idx="16"/>
          </p:nvPr>
        </p:nvSpPr>
        <p:spPr/>
        <p:txBody>
          <a:bodyPr/>
          <a:lstStyle/>
          <a:p>
            <a:r>
              <a:rPr lang="en-US" dirty="0"/>
              <a:t>Click to insert chart title</a:t>
            </a:r>
            <a:endParaRPr lang="pt-PT" dirty="0"/>
          </a:p>
        </p:txBody>
      </p:sp>
      <p:sp>
        <p:nvSpPr>
          <p:cNvPr id="17" name="Text Placeholder 16">
            <a:extLst>
              <a:ext uri="{FF2B5EF4-FFF2-40B4-BE49-F238E27FC236}">
                <a16:creationId xmlns:a16="http://schemas.microsoft.com/office/drawing/2014/main" id="{12C43DA4-4965-4C22-BE11-8889653272C8}"/>
              </a:ext>
            </a:extLst>
          </p:cNvPr>
          <p:cNvSpPr>
            <a:spLocks noGrp="1"/>
          </p:cNvSpPr>
          <p:nvPr>
            <p:ph type="body" sz="quarter" idx="19"/>
          </p:nvPr>
        </p:nvSpPr>
        <p:spPr/>
        <p:txBody>
          <a:bodyPr/>
          <a:lstStyle/>
          <a:p>
            <a:r>
              <a:rPr lang="en-US" dirty="0"/>
              <a:t>Click to insert chart title</a:t>
            </a:r>
            <a:endParaRPr lang="pt-PT" dirty="0"/>
          </a:p>
        </p:txBody>
      </p:sp>
    </p:spTree>
    <p:extLst>
      <p:ext uri="{BB962C8B-B14F-4D97-AF65-F5344CB8AC3E}">
        <p14:creationId xmlns:p14="http://schemas.microsoft.com/office/powerpoint/2010/main" val="18796743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271D366-DAD6-443B-B28E-15C58219AEC2}"/>
              </a:ext>
            </a:extLst>
          </p:cNvPr>
          <p:cNvSpPr>
            <a:spLocks noGrp="1"/>
          </p:cNvSpPr>
          <p:nvPr>
            <p:ph type="body" sz="quarter" idx="29"/>
          </p:nvPr>
        </p:nvSpPr>
        <p:spPr/>
        <p:txBody>
          <a:bodyPr/>
          <a:lstStyle/>
          <a:p>
            <a:r>
              <a:rPr lang="en-US" dirty="0"/>
              <a:t>Click to insert chart title</a:t>
            </a:r>
            <a:endParaRPr lang="pt-PT" dirty="0"/>
          </a:p>
        </p:txBody>
      </p:sp>
      <p:graphicFrame>
        <p:nvGraphicFramePr>
          <p:cNvPr id="19" name="Chart Placeholder 18">
            <a:extLst>
              <a:ext uri="{FF2B5EF4-FFF2-40B4-BE49-F238E27FC236}">
                <a16:creationId xmlns:a16="http://schemas.microsoft.com/office/drawing/2014/main" id="{EDF07F57-EB7C-4C5B-A845-FD24BA6647EB}"/>
              </a:ext>
            </a:extLst>
          </p:cNvPr>
          <p:cNvGraphicFramePr>
            <a:graphicFrameLocks noGrp="1"/>
          </p:cNvGraphicFramePr>
          <p:nvPr>
            <p:ph type="chart" sz="quarter" idx="32"/>
            <p:extLst/>
          </p:nvPr>
        </p:nvGraphicFramePr>
        <p:xfrm>
          <a:off x="6309912" y="2494611"/>
          <a:ext cx="5543550" cy="349885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E74868AC-BF9D-4C56-8CA4-40935EB8A511}"/>
              </a:ext>
            </a:extLst>
          </p:cNvPr>
          <p:cNvSpPr>
            <a:spLocks noGrp="1"/>
          </p:cNvSpPr>
          <p:nvPr>
            <p:ph type="title"/>
          </p:nvPr>
        </p:nvSpPr>
        <p:spPr/>
        <p:txBody>
          <a:bodyPr/>
          <a:lstStyle/>
          <a:p>
            <a:r>
              <a:rPr lang="en-US" dirty="0"/>
              <a:t>Click to insert text</a:t>
            </a:r>
            <a:br>
              <a:rPr lang="en-US" dirty="0"/>
            </a:br>
            <a:r>
              <a:rPr lang="en-US" sz="1800" dirty="0"/>
              <a:t>(Work for 1 or 2 lines of title)</a:t>
            </a:r>
            <a:endParaRPr lang="pt-PT" dirty="0"/>
          </a:p>
        </p:txBody>
      </p:sp>
      <p:sp>
        <p:nvSpPr>
          <p:cNvPr id="6" name="Text Placeholder 5">
            <a:extLst>
              <a:ext uri="{FF2B5EF4-FFF2-40B4-BE49-F238E27FC236}">
                <a16:creationId xmlns:a16="http://schemas.microsoft.com/office/drawing/2014/main" id="{24B98095-57B7-46B7-9CCA-A894F31CC343}"/>
              </a:ext>
            </a:extLst>
          </p:cNvPr>
          <p:cNvSpPr>
            <a:spLocks noGrp="1"/>
          </p:cNvSpPr>
          <p:nvPr>
            <p:ph type="body" sz="quarter" idx="33"/>
          </p:nvPr>
        </p:nvSpPr>
        <p:spPr/>
        <p:txBody>
          <a:bodyPr/>
          <a:lstStyle/>
          <a:p>
            <a:r>
              <a:rPr lang="en-US" dirty="0"/>
              <a:t>Click to insert chart title</a:t>
            </a:r>
            <a:endParaRPr lang="pt-PT" dirty="0"/>
          </a:p>
        </p:txBody>
      </p:sp>
      <p:graphicFrame>
        <p:nvGraphicFramePr>
          <p:cNvPr id="14" name="Chart Placeholder 13">
            <a:extLst>
              <a:ext uri="{FF2B5EF4-FFF2-40B4-BE49-F238E27FC236}">
                <a16:creationId xmlns:a16="http://schemas.microsoft.com/office/drawing/2014/main" id="{1B8EBEFD-D01C-4602-B12A-FD6804B55AB2}"/>
              </a:ext>
            </a:extLst>
          </p:cNvPr>
          <p:cNvGraphicFramePr>
            <a:graphicFrameLocks noGrp="1"/>
          </p:cNvGraphicFramePr>
          <p:nvPr>
            <p:ph type="chart" sz="quarter" idx="34"/>
            <p:extLst/>
          </p:nvPr>
        </p:nvGraphicFramePr>
        <p:xfrm>
          <a:off x="425050" y="2494611"/>
          <a:ext cx="5543550" cy="34988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604896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8531F63-CA00-42EC-B08D-919D48D70987}"/>
              </a:ext>
            </a:extLst>
          </p:cNvPr>
          <p:cNvSpPr>
            <a:spLocks noGrp="1"/>
          </p:cNvSpPr>
          <p:nvPr>
            <p:ph type="body" sz="quarter" idx="38"/>
          </p:nvPr>
        </p:nvSpPr>
        <p:spPr>
          <a:solidFill>
            <a:schemeClr val="bg1"/>
          </a:solidFill>
          <a:ln>
            <a:solidFill>
              <a:schemeClr val="accent4"/>
            </a:solidFill>
          </a:ln>
        </p:spPr>
        <p:txBody>
          <a:bodyPr/>
          <a:lstStyle/>
          <a:p>
            <a:r>
              <a:rPr lang="en-US" dirty="0"/>
              <a:t>Click to insert text</a:t>
            </a:r>
            <a:endParaRPr lang="pt-PT" dirty="0"/>
          </a:p>
        </p:txBody>
      </p:sp>
      <p:sp>
        <p:nvSpPr>
          <p:cNvPr id="11" name="Text Placeholder 10">
            <a:extLst>
              <a:ext uri="{FF2B5EF4-FFF2-40B4-BE49-F238E27FC236}">
                <a16:creationId xmlns:a16="http://schemas.microsoft.com/office/drawing/2014/main" id="{5BA5199E-D530-47BF-845A-1DC41929FECF}"/>
              </a:ext>
            </a:extLst>
          </p:cNvPr>
          <p:cNvSpPr>
            <a:spLocks noGrp="1"/>
          </p:cNvSpPr>
          <p:nvPr>
            <p:ph type="body" sz="quarter" idx="39"/>
          </p:nvPr>
        </p:nvSpPr>
        <p:spPr>
          <a:solidFill>
            <a:schemeClr val="bg1"/>
          </a:solidFill>
          <a:ln>
            <a:solidFill>
              <a:schemeClr val="accent4"/>
            </a:solidFill>
          </a:ln>
        </p:spPr>
        <p:txBody>
          <a:bodyPr/>
          <a:lstStyle/>
          <a:p>
            <a:r>
              <a:rPr lang="en-US" dirty="0"/>
              <a:t>Click to insert text</a:t>
            </a:r>
            <a:endParaRPr lang="pt-PT" dirty="0"/>
          </a:p>
        </p:txBody>
      </p:sp>
      <p:sp>
        <p:nvSpPr>
          <p:cNvPr id="12" name="Text Placeholder 11">
            <a:extLst>
              <a:ext uri="{FF2B5EF4-FFF2-40B4-BE49-F238E27FC236}">
                <a16:creationId xmlns:a16="http://schemas.microsoft.com/office/drawing/2014/main" id="{8E0AF863-92C7-409E-B90C-434640D9A71F}"/>
              </a:ext>
            </a:extLst>
          </p:cNvPr>
          <p:cNvSpPr>
            <a:spLocks noGrp="1"/>
          </p:cNvSpPr>
          <p:nvPr>
            <p:ph type="body" sz="quarter" idx="40"/>
          </p:nvPr>
        </p:nvSpPr>
        <p:spPr>
          <a:solidFill>
            <a:schemeClr val="bg1"/>
          </a:solidFill>
          <a:ln>
            <a:solidFill>
              <a:schemeClr val="accent4"/>
            </a:solidFill>
          </a:ln>
        </p:spPr>
        <p:txBody>
          <a:bodyPr/>
          <a:lstStyle/>
          <a:p>
            <a:r>
              <a:rPr lang="en-US" dirty="0"/>
              <a:t>Click to insert text</a:t>
            </a:r>
            <a:endParaRPr lang="pt-PT" dirty="0"/>
          </a:p>
        </p:txBody>
      </p:sp>
      <p:sp>
        <p:nvSpPr>
          <p:cNvPr id="13" name="Text Placeholder 12">
            <a:extLst>
              <a:ext uri="{FF2B5EF4-FFF2-40B4-BE49-F238E27FC236}">
                <a16:creationId xmlns:a16="http://schemas.microsoft.com/office/drawing/2014/main" id="{B87DCC42-EAD0-48CA-A9B1-28B340A64503}"/>
              </a:ext>
            </a:extLst>
          </p:cNvPr>
          <p:cNvSpPr>
            <a:spLocks noGrp="1"/>
          </p:cNvSpPr>
          <p:nvPr>
            <p:ph type="body" sz="quarter" idx="41"/>
          </p:nvPr>
        </p:nvSpPr>
        <p:spPr>
          <a:solidFill>
            <a:schemeClr val="bg1"/>
          </a:solidFill>
          <a:ln>
            <a:solidFill>
              <a:schemeClr val="accent4"/>
            </a:solidFill>
          </a:ln>
        </p:spPr>
        <p:txBody>
          <a:bodyPr/>
          <a:lstStyle/>
          <a:p>
            <a:r>
              <a:rPr lang="en-US" dirty="0"/>
              <a:t>Click to insert text</a:t>
            </a:r>
            <a:endParaRPr lang="pt-PT" dirty="0"/>
          </a:p>
        </p:txBody>
      </p:sp>
      <p:sp>
        <p:nvSpPr>
          <p:cNvPr id="14" name="Text Placeholder 13">
            <a:extLst>
              <a:ext uri="{FF2B5EF4-FFF2-40B4-BE49-F238E27FC236}">
                <a16:creationId xmlns:a16="http://schemas.microsoft.com/office/drawing/2014/main" id="{699D1A75-8E98-4748-A473-A072C624435C}"/>
              </a:ext>
            </a:extLst>
          </p:cNvPr>
          <p:cNvSpPr>
            <a:spLocks noGrp="1"/>
          </p:cNvSpPr>
          <p:nvPr>
            <p:ph type="body" sz="quarter" idx="42"/>
          </p:nvPr>
        </p:nvSpPr>
        <p:spPr>
          <a:solidFill>
            <a:schemeClr val="bg1"/>
          </a:solidFill>
          <a:ln>
            <a:solidFill>
              <a:schemeClr val="accent4"/>
            </a:solidFill>
          </a:ln>
        </p:spPr>
        <p:txBody>
          <a:bodyPr/>
          <a:lstStyle/>
          <a:p>
            <a:r>
              <a:rPr lang="en-US" dirty="0"/>
              <a:t>Click to insert text</a:t>
            </a:r>
            <a:endParaRPr lang="pt-PT" dirty="0"/>
          </a:p>
        </p:txBody>
      </p:sp>
      <p:sp>
        <p:nvSpPr>
          <p:cNvPr id="9" name="Text Placeholder 8">
            <a:extLst>
              <a:ext uri="{FF2B5EF4-FFF2-40B4-BE49-F238E27FC236}">
                <a16:creationId xmlns:a16="http://schemas.microsoft.com/office/drawing/2014/main" id="{14ABB018-B55D-4411-951E-38CD24F2C361}"/>
              </a:ext>
            </a:extLst>
          </p:cNvPr>
          <p:cNvSpPr>
            <a:spLocks noGrp="1"/>
          </p:cNvSpPr>
          <p:nvPr>
            <p:ph type="body" sz="quarter" idx="37"/>
          </p:nvPr>
        </p:nvSpPr>
        <p:spPr>
          <a:solidFill>
            <a:schemeClr val="accent3"/>
          </a:solidFill>
        </p:spPr>
        <p:txBody>
          <a:bodyPr/>
          <a:lstStyle/>
          <a:p>
            <a:r>
              <a:rPr lang="pt-PT"/>
              <a:t>Insert Group Name</a:t>
            </a:r>
            <a:endParaRPr lang="pt-PT" dirty="0"/>
          </a:p>
        </p:txBody>
      </p:sp>
      <p:sp>
        <p:nvSpPr>
          <p:cNvPr id="7" name="Text Placeholder 6">
            <a:extLst>
              <a:ext uri="{FF2B5EF4-FFF2-40B4-BE49-F238E27FC236}">
                <a16:creationId xmlns:a16="http://schemas.microsoft.com/office/drawing/2014/main" id="{516D870F-1B57-4D07-8159-E3F47A13D608}"/>
              </a:ext>
            </a:extLst>
          </p:cNvPr>
          <p:cNvSpPr>
            <a:spLocks noGrp="1"/>
          </p:cNvSpPr>
          <p:nvPr>
            <p:ph type="body" sz="quarter" idx="35"/>
          </p:nvPr>
        </p:nvSpPr>
        <p:spPr/>
        <p:txBody>
          <a:bodyPr/>
          <a:lstStyle/>
          <a:p>
            <a:r>
              <a:rPr lang="pt-PT"/>
              <a:t>Insert Group Name</a:t>
            </a:r>
            <a:endParaRPr lang="pt-PT" dirty="0"/>
          </a:p>
        </p:txBody>
      </p:sp>
      <p:sp>
        <p:nvSpPr>
          <p:cNvPr id="4" name="Text Placeholder 3">
            <a:extLst>
              <a:ext uri="{FF2B5EF4-FFF2-40B4-BE49-F238E27FC236}">
                <a16:creationId xmlns:a16="http://schemas.microsoft.com/office/drawing/2014/main" id="{43B57625-2C57-471B-93E8-31A7EBAC4CE5}"/>
              </a:ext>
            </a:extLst>
          </p:cNvPr>
          <p:cNvSpPr>
            <a:spLocks noGrp="1"/>
          </p:cNvSpPr>
          <p:nvPr>
            <p:ph type="body" sz="quarter" idx="32"/>
          </p:nvPr>
        </p:nvSpPr>
        <p:spPr/>
        <p:txBody>
          <a:bodyPr/>
          <a:lstStyle/>
          <a:p>
            <a:r>
              <a:rPr lang="en-US" dirty="0"/>
              <a:t>Click to insert text</a:t>
            </a:r>
            <a:endParaRPr lang="pt-PT" dirty="0"/>
          </a:p>
        </p:txBody>
      </p:sp>
      <p:sp>
        <p:nvSpPr>
          <p:cNvPr id="5" name="Text Placeholder 4">
            <a:extLst>
              <a:ext uri="{FF2B5EF4-FFF2-40B4-BE49-F238E27FC236}">
                <a16:creationId xmlns:a16="http://schemas.microsoft.com/office/drawing/2014/main" id="{63693B20-AB88-4964-9E6F-10FDACF45EB5}"/>
              </a:ext>
            </a:extLst>
          </p:cNvPr>
          <p:cNvSpPr>
            <a:spLocks noGrp="1"/>
          </p:cNvSpPr>
          <p:nvPr>
            <p:ph type="body" sz="quarter" idx="33"/>
          </p:nvPr>
        </p:nvSpPr>
        <p:spPr/>
        <p:txBody>
          <a:bodyPr/>
          <a:lstStyle/>
          <a:p>
            <a:r>
              <a:rPr lang="en-US" dirty="0"/>
              <a:t>Click to insert text</a:t>
            </a:r>
            <a:endParaRPr lang="pt-PT" dirty="0"/>
          </a:p>
        </p:txBody>
      </p:sp>
      <p:sp>
        <p:nvSpPr>
          <p:cNvPr id="6" name="Text Placeholder 5">
            <a:extLst>
              <a:ext uri="{FF2B5EF4-FFF2-40B4-BE49-F238E27FC236}">
                <a16:creationId xmlns:a16="http://schemas.microsoft.com/office/drawing/2014/main" id="{728EE87E-060D-4314-AB50-BD570F3358FD}"/>
              </a:ext>
            </a:extLst>
          </p:cNvPr>
          <p:cNvSpPr>
            <a:spLocks noGrp="1"/>
          </p:cNvSpPr>
          <p:nvPr>
            <p:ph type="body" sz="quarter" idx="34"/>
          </p:nvPr>
        </p:nvSpPr>
        <p:spPr/>
        <p:txBody>
          <a:bodyPr/>
          <a:lstStyle/>
          <a:p>
            <a:r>
              <a:rPr lang="en-US" dirty="0"/>
              <a:t>Click to insert text</a:t>
            </a:r>
            <a:endParaRPr lang="pt-PT" dirty="0"/>
          </a:p>
        </p:txBody>
      </p:sp>
      <p:sp>
        <p:nvSpPr>
          <p:cNvPr id="8" name="Text Placeholder 7">
            <a:extLst>
              <a:ext uri="{FF2B5EF4-FFF2-40B4-BE49-F238E27FC236}">
                <a16:creationId xmlns:a16="http://schemas.microsoft.com/office/drawing/2014/main" id="{C56A5905-F748-472A-8CEC-ACB247ED2001}"/>
              </a:ext>
            </a:extLst>
          </p:cNvPr>
          <p:cNvSpPr>
            <a:spLocks noGrp="1"/>
          </p:cNvSpPr>
          <p:nvPr>
            <p:ph type="body" sz="quarter" idx="36"/>
          </p:nvPr>
        </p:nvSpPr>
        <p:spPr/>
        <p:txBody>
          <a:bodyPr/>
          <a:lstStyle/>
          <a:p>
            <a:r>
              <a:rPr lang="pt-PT"/>
              <a:t>Insert Group Name</a:t>
            </a:r>
            <a:endParaRPr lang="pt-PT" dirty="0"/>
          </a:p>
        </p:txBody>
      </p:sp>
      <p:sp>
        <p:nvSpPr>
          <p:cNvPr id="2" name="Title 1">
            <a:extLst>
              <a:ext uri="{FF2B5EF4-FFF2-40B4-BE49-F238E27FC236}">
                <a16:creationId xmlns:a16="http://schemas.microsoft.com/office/drawing/2014/main" id="{67CE993C-A3C2-47F1-85BC-D6ED1AF11C20}"/>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sz="1800" dirty="0"/>
          </a:p>
        </p:txBody>
      </p:sp>
    </p:spTree>
    <p:extLst>
      <p:ext uri="{BB962C8B-B14F-4D97-AF65-F5344CB8AC3E}">
        <p14:creationId xmlns:p14="http://schemas.microsoft.com/office/powerpoint/2010/main" val="1320472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Jobs lost in industrial revolution	</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Human muscles was changed into machines.</a:t>
            </a:r>
          </a:p>
          <a:p>
            <a:pPr eaLnBrk="1" hangingPunct="1"/>
            <a:endParaRPr lang="sv-SE" altLang="sv-SE" dirty="0"/>
          </a:p>
        </p:txBody>
      </p:sp>
    </p:spTree>
    <p:extLst>
      <p:ext uri="{BB962C8B-B14F-4D97-AF65-F5344CB8AC3E}">
        <p14:creationId xmlns:p14="http://schemas.microsoft.com/office/powerpoint/2010/main" val="30942636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p:cNvSpPr>
            <a:spLocks noGrp="1"/>
          </p:cNvSpPr>
          <p:nvPr>
            <p:ph type="body" sz="quarter" idx="32"/>
          </p:nvPr>
        </p:nvSpPr>
        <p:spPr>
          <a:xfrm>
            <a:off x="1474788" y="2501742"/>
            <a:ext cx="3312368" cy="720080"/>
          </a:xfrm>
        </p:spPr>
        <p:txBody>
          <a:bodyPr/>
          <a:lstStyle/>
          <a:p>
            <a:r>
              <a:rPr lang="en-US" dirty="0"/>
              <a:t>Click to insert long text</a:t>
            </a:r>
            <a:endParaRPr lang="pt-PT" dirty="0"/>
          </a:p>
        </p:txBody>
      </p:sp>
      <p:sp>
        <p:nvSpPr>
          <p:cNvPr id="24" name="Text Placeholder 23"/>
          <p:cNvSpPr>
            <a:spLocks noGrp="1"/>
          </p:cNvSpPr>
          <p:nvPr>
            <p:ph type="body" sz="quarter" idx="33"/>
          </p:nvPr>
        </p:nvSpPr>
        <p:spPr>
          <a:xfrm>
            <a:off x="1474788" y="3519126"/>
            <a:ext cx="3312368" cy="720080"/>
          </a:xfrm>
        </p:spPr>
        <p:txBody>
          <a:bodyPr/>
          <a:lstStyle/>
          <a:p>
            <a:r>
              <a:rPr lang="en-US" dirty="0"/>
              <a:t>Click to insert long text</a:t>
            </a:r>
            <a:endParaRPr lang="pt-PT" dirty="0"/>
          </a:p>
        </p:txBody>
      </p:sp>
      <p:sp>
        <p:nvSpPr>
          <p:cNvPr id="25" name="Text Placeholder 24"/>
          <p:cNvSpPr>
            <a:spLocks noGrp="1"/>
          </p:cNvSpPr>
          <p:nvPr>
            <p:ph type="body" sz="quarter" idx="34"/>
          </p:nvPr>
        </p:nvSpPr>
        <p:spPr>
          <a:xfrm>
            <a:off x="1474788" y="4545018"/>
            <a:ext cx="3312368" cy="720080"/>
          </a:xfrm>
        </p:spPr>
        <p:txBody>
          <a:bodyPr/>
          <a:lstStyle/>
          <a:p>
            <a:r>
              <a:rPr lang="en-US" dirty="0"/>
              <a:t>Click to insert long text</a:t>
            </a:r>
            <a:endParaRPr lang="pt-PT" dirty="0"/>
          </a:p>
        </p:txBody>
      </p:sp>
      <p:sp>
        <p:nvSpPr>
          <p:cNvPr id="21" name="Title 20"/>
          <p:cNvSpPr>
            <a:spLocks noGrp="1"/>
          </p:cNvSpPr>
          <p:nvPr>
            <p:ph type="title"/>
          </p:nvPr>
        </p:nvSpPr>
        <p:spPr/>
        <p:txBody>
          <a:bodyPr/>
          <a:lstStyle/>
          <a:p>
            <a:r>
              <a:rPr lang="en-US" dirty="0"/>
              <a:t>Click to insert 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2602696"/>
            <a:ext cx="920734" cy="569978"/>
          </a:xfrm>
          <a:prstGeom prst="rect">
            <a:avLst/>
          </a:prstGeom>
        </p:spPr>
      </p:pic>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3603456"/>
            <a:ext cx="920734" cy="569978"/>
          </a:xfrm>
          <a:prstGeom prst="rect">
            <a:avLst/>
          </a:prstGeom>
        </p:spPr>
      </p:pic>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 name="TextBox 4"/>
          <p:cNvSpPr txBox="1"/>
          <p:nvPr/>
        </p:nvSpPr>
        <p:spPr>
          <a:xfrm>
            <a:off x="600456" y="2673818"/>
            <a:ext cx="511679" cy="369332"/>
          </a:xfrm>
          <a:prstGeom prst="rect">
            <a:avLst/>
          </a:prstGeom>
          <a:noFill/>
        </p:spPr>
        <p:txBody>
          <a:bodyPr wrap="none" rtlCol="0">
            <a:spAutoFit/>
          </a:bodyPr>
          <a:lstStyle/>
          <a:p>
            <a:r>
              <a:rPr lang="en-US" b="1" dirty="0">
                <a:solidFill>
                  <a:schemeClr val="accent1"/>
                </a:solidFill>
              </a:rPr>
              <a:t>01</a:t>
            </a:r>
          </a:p>
        </p:txBody>
      </p:sp>
      <p:sp>
        <p:nvSpPr>
          <p:cNvPr id="13" name="TextBox 12"/>
          <p:cNvSpPr txBox="1"/>
          <p:nvPr/>
        </p:nvSpPr>
        <p:spPr>
          <a:xfrm>
            <a:off x="588264" y="3679658"/>
            <a:ext cx="511679" cy="369332"/>
          </a:xfrm>
          <a:prstGeom prst="rect">
            <a:avLst/>
          </a:prstGeom>
          <a:noFill/>
        </p:spPr>
        <p:txBody>
          <a:bodyPr wrap="none" rtlCol="0">
            <a:spAutoFit/>
          </a:bodyPr>
          <a:lstStyle/>
          <a:p>
            <a:r>
              <a:rPr lang="en-US" b="1" dirty="0">
                <a:solidFill>
                  <a:schemeClr val="accent1"/>
                </a:solidFill>
              </a:rPr>
              <a:t>02</a:t>
            </a:r>
          </a:p>
        </p:txBody>
      </p:sp>
      <p:sp>
        <p:nvSpPr>
          <p:cNvPr id="14" name="TextBox 13"/>
          <p:cNvSpPr txBox="1"/>
          <p:nvPr/>
        </p:nvSpPr>
        <p:spPr>
          <a:xfrm>
            <a:off x="588264" y="4685498"/>
            <a:ext cx="511679" cy="369332"/>
          </a:xfrm>
          <a:prstGeom prst="rect">
            <a:avLst/>
          </a:prstGeom>
          <a:noFill/>
        </p:spPr>
        <p:txBody>
          <a:bodyPr wrap="none" rtlCol="0">
            <a:spAutoFit/>
          </a:bodyPr>
          <a:lstStyle/>
          <a:p>
            <a:r>
              <a:rPr lang="en-US" b="1" dirty="0">
                <a:solidFill>
                  <a:schemeClr val="accent1"/>
                </a:solidFill>
              </a:rPr>
              <a:t>03</a:t>
            </a:r>
          </a:p>
        </p:txBody>
      </p:sp>
    </p:spTree>
    <p:extLst>
      <p:ext uri="{BB962C8B-B14F-4D97-AF65-F5344CB8AC3E}">
        <p14:creationId xmlns:p14="http://schemas.microsoft.com/office/powerpoint/2010/main" val="1781853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Click to insert title</a:t>
            </a:r>
          </a:p>
        </p:txBody>
      </p:sp>
      <p:sp>
        <p:nvSpPr>
          <p:cNvPr id="2" name="Text Placeholder 1"/>
          <p:cNvSpPr>
            <a:spLocks noGrp="1"/>
          </p:cNvSpPr>
          <p:nvPr>
            <p:ph type="body" sz="quarter" idx="32"/>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3" name="Text Placeholder 2"/>
          <p:cNvSpPr>
            <a:spLocks noGrp="1"/>
          </p:cNvSpPr>
          <p:nvPr>
            <p:ph type="body" sz="quarter" idx="33"/>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4" name="Text Placeholder 3"/>
          <p:cNvSpPr>
            <a:spLocks noGrp="1"/>
          </p:cNvSpPr>
          <p:nvPr>
            <p:ph type="body" sz="quarter" idx="34"/>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25575636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solidFill>
                  <a:schemeClr val="bg1"/>
                </a:solidFill>
              </a:rPr>
              <a:t>Click to insert title</a:t>
            </a:r>
          </a:p>
        </p:txBody>
      </p:sp>
      <p:sp>
        <p:nvSpPr>
          <p:cNvPr id="2" name="Text Placeholder 1"/>
          <p:cNvSpPr>
            <a:spLocks noGrp="1"/>
          </p:cNvSpPr>
          <p:nvPr>
            <p:ph type="body" sz="quarter" idx="32"/>
          </p:nvPr>
        </p:nvSpPr>
        <p:spPr/>
        <p:txBody>
          <a:bodyPr/>
          <a:lstStyle/>
          <a:p>
            <a:r>
              <a:rPr lang="en-US" dirty="0">
                <a:solidFill>
                  <a:srgbClr val="FFFFFF"/>
                </a:solidFill>
              </a:rPr>
              <a:t>Process stage title </a:t>
            </a:r>
            <a:endParaRPr lang="en-US" dirty="0">
              <a:solidFill>
                <a:srgbClr val="000000"/>
              </a:solidFill>
            </a:endParaRPr>
          </a:p>
        </p:txBody>
      </p:sp>
      <p:sp>
        <p:nvSpPr>
          <p:cNvPr id="3" name="Text Placeholder 2"/>
          <p:cNvSpPr>
            <a:spLocks noGrp="1"/>
          </p:cNvSpPr>
          <p:nvPr>
            <p:ph type="body" sz="quarter" idx="33"/>
          </p:nvPr>
        </p:nvSpPr>
        <p:spPr>
          <a:xfrm>
            <a:off x="408836" y="1890131"/>
            <a:ext cx="2105764" cy="1938992"/>
          </a:xfrm>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4" name="Text Placeholder 3"/>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r>
              <a:rPr lang="en-US" dirty="0" err="1"/>
              <a:t>molestie</a:t>
            </a:r>
            <a:r>
              <a:rPr lang="en-US" dirty="0"/>
              <a:t> </a:t>
            </a:r>
            <a:r>
              <a:rPr lang="en-US" dirty="0" err="1"/>
              <a:t>quis</a:t>
            </a:r>
            <a:r>
              <a:rPr lang="en-US" dirty="0"/>
              <a:t> a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Tree>
    <p:extLst>
      <p:ext uri="{BB962C8B-B14F-4D97-AF65-F5344CB8AC3E}">
        <p14:creationId xmlns:p14="http://schemas.microsoft.com/office/powerpoint/2010/main" val="9591585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br>
              <a:rPr lang="en-US" sz="1600" dirty="0"/>
            </a:b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br>
              <a:rPr lang="en-US" sz="1600" dirty="0"/>
            </a:b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efficitur</a:t>
            </a:r>
            <a:r>
              <a:rPr lang="en-US" sz="1600" dirty="0"/>
              <a:t> </a:t>
            </a:r>
            <a:r>
              <a:rPr lang="en-US" sz="1600" dirty="0" err="1"/>
              <a:t>tellus</a:t>
            </a:r>
            <a:r>
              <a:rPr lang="en-US" sz="1600" dirty="0"/>
              <a:t> </a:t>
            </a:r>
            <a:r>
              <a:rPr lang="en-US" sz="1600" dirty="0" err="1"/>
              <a:t>neque</a:t>
            </a:r>
            <a:r>
              <a:rPr lang="en-US" sz="1600" dirty="0"/>
              <a:t>, in </a:t>
            </a:r>
            <a:r>
              <a:rPr lang="en-US" sz="1600" dirty="0" err="1"/>
              <a:t>dapibus</a:t>
            </a:r>
            <a:r>
              <a:rPr lang="en-US" sz="1600" dirty="0"/>
              <a:t> </a:t>
            </a:r>
            <a:r>
              <a:rPr lang="en-US" sz="1600" dirty="0" err="1"/>
              <a:t>mattis</a:t>
            </a:r>
            <a:r>
              <a:rPr lang="en-US" sz="1600" dirty="0"/>
              <a:t> </a:t>
            </a:r>
          </a:p>
        </p:txBody>
      </p:sp>
      <p:sp>
        <p:nvSpPr>
          <p:cNvPr id="4" name="Text Placeholder 3"/>
          <p:cNvSpPr>
            <a:spLocks noGrp="1"/>
          </p:cNvSpPr>
          <p:nvPr>
            <p:ph type="body" sz="quarter" idx="32"/>
          </p:nvPr>
        </p:nvSpPr>
        <p:spPr>
          <a:xfrm>
            <a:off x="407988" y="4410173"/>
            <a:ext cx="4316412" cy="1402798"/>
          </a:xfrm>
        </p:spPr>
        <p:txBody>
          <a:bodyPr/>
          <a:lstStyle/>
          <a:p>
            <a:pPr lvl="0"/>
            <a:r>
              <a:rPr lang="en-US" dirty="0" err="1">
                <a:solidFill>
                  <a:schemeClr val="accent1"/>
                </a:solidFill>
              </a:rPr>
              <a:t>Proin</a:t>
            </a:r>
            <a:r>
              <a:rPr lang="en-US" dirty="0">
                <a:solidFill>
                  <a:schemeClr val="accent1"/>
                </a:solidFill>
              </a:rPr>
              <a:t> </a:t>
            </a:r>
            <a:r>
              <a:rPr lang="en-US" dirty="0" err="1">
                <a:solidFill>
                  <a:schemeClr val="accent1"/>
                </a:solidFill>
              </a:rPr>
              <a:t>iaculis</a:t>
            </a:r>
            <a:r>
              <a:rPr lang="en-US" dirty="0">
                <a:solidFill>
                  <a:schemeClr val="accent1"/>
                </a:solidFill>
              </a:rPr>
              <a:t> </a:t>
            </a:r>
            <a:r>
              <a:rPr lang="en-US" dirty="0" err="1">
                <a:solidFill>
                  <a:schemeClr val="accent1"/>
                </a:solidFill>
              </a:rPr>
              <a:t>egestas</a:t>
            </a:r>
            <a:r>
              <a:rPr lang="en-US" dirty="0">
                <a:solidFill>
                  <a:schemeClr val="accent1"/>
                </a:solidFill>
              </a:rPr>
              <a:t> </a:t>
            </a:r>
            <a:r>
              <a:rPr lang="en-US" dirty="0" err="1">
                <a:solidFill>
                  <a:schemeClr val="accent1"/>
                </a:solidFill>
              </a:rPr>
              <a:t>massa</a:t>
            </a:r>
            <a:r>
              <a:rPr lang="en-US" dirty="0">
                <a:solidFill>
                  <a:schemeClr val="accent1"/>
                </a:solidFill>
              </a:rPr>
              <a:t>, in </a:t>
            </a:r>
            <a:r>
              <a:rPr lang="en-US" dirty="0" err="1">
                <a:solidFill>
                  <a:schemeClr val="accent1"/>
                </a:solidFill>
              </a:rPr>
              <a:t>cursus</a:t>
            </a:r>
            <a:r>
              <a:rPr lang="en-US" dirty="0">
                <a:solidFill>
                  <a:schemeClr val="accent1"/>
                </a:solidFill>
              </a:rPr>
              <a:t> nisi </a:t>
            </a:r>
            <a:r>
              <a:rPr lang="en-US" dirty="0" err="1">
                <a:solidFill>
                  <a:schemeClr val="accent1"/>
                </a:solidFill>
              </a:rPr>
              <a:t>condimentum</a:t>
            </a:r>
            <a:r>
              <a:rPr lang="en-US" dirty="0">
                <a:solidFill>
                  <a:schemeClr val="accent1"/>
                </a:solidFill>
              </a:rPr>
              <a:t> non. </a:t>
            </a:r>
            <a:r>
              <a:rPr lang="en-US" dirty="0" err="1">
                <a:solidFill>
                  <a:schemeClr val="accent1"/>
                </a:solidFill>
              </a:rPr>
              <a:t>Orci</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natoque</a:t>
            </a:r>
            <a:r>
              <a:rPr lang="en-US" dirty="0">
                <a:solidFill>
                  <a:schemeClr val="accent1"/>
                </a:solidFill>
              </a:rPr>
              <a:t> </a:t>
            </a:r>
            <a:r>
              <a:rPr lang="en-US" dirty="0" err="1">
                <a:solidFill>
                  <a:schemeClr val="accent1"/>
                </a:solidFill>
              </a:rPr>
              <a:t>penatibus</a:t>
            </a:r>
            <a:r>
              <a:rPr lang="en-US" dirty="0">
                <a:solidFill>
                  <a:schemeClr val="accent1"/>
                </a:solidFill>
              </a:rPr>
              <a:t> </a:t>
            </a:r>
            <a:r>
              <a:rPr lang="en-US" dirty="0" err="1">
                <a:solidFill>
                  <a:schemeClr val="accent1"/>
                </a:solidFill>
              </a:rPr>
              <a:t>magnis</a:t>
            </a:r>
            <a:r>
              <a:rPr lang="en-US" dirty="0">
                <a:solidFill>
                  <a:schemeClr val="accent1"/>
                </a:solidFill>
              </a:rPr>
              <a:t> dis parturient </a:t>
            </a:r>
            <a:r>
              <a:rPr lang="en-US" dirty="0" err="1">
                <a:solidFill>
                  <a:schemeClr val="accent1"/>
                </a:solidFill>
              </a:rPr>
              <a:t>montes</a:t>
            </a:r>
            <a:r>
              <a:rPr lang="en-US" dirty="0">
                <a:solidFill>
                  <a:schemeClr val="accent1"/>
                </a:solidFill>
              </a:rPr>
              <a:t>, </a:t>
            </a:r>
            <a:r>
              <a:rPr lang="en-US" dirty="0" err="1">
                <a:solidFill>
                  <a:schemeClr val="accent1"/>
                </a:solidFill>
              </a:rPr>
              <a:t>nascetur</a:t>
            </a:r>
            <a:r>
              <a:rPr lang="en-US" dirty="0">
                <a:solidFill>
                  <a:schemeClr val="accent1"/>
                </a:solidFill>
              </a:rPr>
              <a:t> </a:t>
            </a:r>
            <a:r>
              <a:rPr lang="en-US" dirty="0" err="1">
                <a:solidFill>
                  <a:schemeClr val="accent1"/>
                </a:solidFill>
              </a:rPr>
              <a:t>ridiculus</a:t>
            </a:r>
            <a:r>
              <a:rPr lang="en-US" dirty="0">
                <a:solidFill>
                  <a:schemeClr val="accent1"/>
                </a:solidFill>
              </a:rPr>
              <a:t> mus. </a:t>
            </a:r>
            <a:r>
              <a:rPr lang="en-US" dirty="0" err="1">
                <a:solidFill>
                  <a:schemeClr val="accent1"/>
                </a:solidFill>
              </a:rPr>
              <a:t>Morbi</a:t>
            </a:r>
            <a:r>
              <a:rPr lang="en-US" dirty="0">
                <a:solidFill>
                  <a:schemeClr val="accent1"/>
                </a:solidFill>
              </a:rPr>
              <a:t> id </a:t>
            </a:r>
            <a:r>
              <a:rPr lang="en-US" dirty="0" err="1">
                <a:solidFill>
                  <a:schemeClr val="accent1"/>
                </a:solidFill>
              </a:rPr>
              <a:t>sagittis</a:t>
            </a:r>
            <a:r>
              <a:rPr lang="en-US" dirty="0">
                <a:solidFill>
                  <a:schemeClr val="accent1"/>
                </a:solidFill>
              </a:rPr>
              <a:t> dolor. </a:t>
            </a:r>
            <a:r>
              <a:rPr lang="en-US" dirty="0" err="1">
                <a:solidFill>
                  <a:schemeClr val="accent1"/>
                </a:solidFill>
              </a:rPr>
              <a:t>Etiam</a:t>
            </a:r>
            <a:r>
              <a:rPr lang="en-US" dirty="0">
                <a:solidFill>
                  <a:schemeClr val="accent1"/>
                </a:solidFill>
              </a:rPr>
              <a:t> </a:t>
            </a:r>
            <a:r>
              <a:rPr lang="en-US" dirty="0" err="1">
                <a:solidFill>
                  <a:schemeClr val="accent1"/>
                </a:solidFill>
              </a:rPr>
              <a:t>accumsan</a:t>
            </a:r>
            <a:r>
              <a:rPr lang="en-US" dirty="0">
                <a:solidFill>
                  <a:schemeClr val="accent1"/>
                </a:solidFill>
              </a:rPr>
              <a:t> </a:t>
            </a:r>
            <a:r>
              <a:rPr lang="en-US" dirty="0" err="1">
                <a:solidFill>
                  <a:schemeClr val="accent1"/>
                </a:solidFill>
              </a:rPr>
              <a:t>euismod</a:t>
            </a:r>
            <a:r>
              <a:rPr lang="en-US" dirty="0">
                <a:solidFill>
                  <a:schemeClr val="accent1"/>
                </a:solidFill>
              </a:rPr>
              <a:t> </a:t>
            </a:r>
            <a:r>
              <a:rPr lang="en-US" dirty="0" err="1">
                <a:solidFill>
                  <a:schemeClr val="accent1"/>
                </a:solidFill>
              </a:rPr>
              <a:t>tempor</a:t>
            </a:r>
            <a:r>
              <a:rPr lang="en-US" dirty="0">
                <a:solidFill>
                  <a:schemeClr val="accent1"/>
                </a:solidFill>
              </a:rPr>
              <a:t> </a:t>
            </a:r>
            <a:r>
              <a:rPr lang="en-US" dirty="0" err="1">
                <a:solidFill>
                  <a:schemeClr val="accent1"/>
                </a:solidFill>
              </a:rPr>
              <a:t>dapibus</a:t>
            </a:r>
            <a:r>
              <a:rPr lang="en-US" dirty="0">
                <a:solidFill>
                  <a:schemeClr val="accent1"/>
                </a:solidFill>
              </a:rPr>
              <a:t>. </a:t>
            </a:r>
            <a:r>
              <a:rPr lang="en-US" dirty="0" err="1">
                <a:solidFill>
                  <a:schemeClr val="accent1"/>
                </a:solidFill>
              </a:rPr>
              <a:t>Donec</a:t>
            </a:r>
            <a:r>
              <a:rPr lang="en-US" dirty="0">
                <a:solidFill>
                  <a:schemeClr val="accent1"/>
                </a:solidFill>
              </a:rPr>
              <a:t> quam </a:t>
            </a:r>
            <a:r>
              <a:rPr lang="en-US" dirty="0" err="1">
                <a:solidFill>
                  <a:schemeClr val="accent1"/>
                </a:solidFill>
              </a:rPr>
              <a:t>tellus</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sed</a:t>
            </a:r>
            <a:r>
              <a:rPr lang="en-US" dirty="0">
                <a:solidFill>
                  <a:schemeClr val="accent1"/>
                </a:solidFill>
              </a:rPr>
              <a:t> </a:t>
            </a:r>
            <a:r>
              <a:rPr lang="en-US" dirty="0" err="1">
                <a:solidFill>
                  <a:schemeClr val="accent1"/>
                </a:solidFill>
              </a:rPr>
              <a:t>egestas</a:t>
            </a:r>
            <a:r>
              <a:rPr lang="en-US" dirty="0">
                <a:solidFill>
                  <a:schemeClr val="accent1"/>
                </a:solidFill>
              </a:rPr>
              <a:t> at, </a:t>
            </a:r>
            <a:r>
              <a:rPr lang="en-US" dirty="0" err="1">
                <a:solidFill>
                  <a:schemeClr val="accent1"/>
                </a:solidFill>
              </a:rPr>
              <a:t>commodo</a:t>
            </a:r>
            <a:r>
              <a:rPr lang="en-US" dirty="0">
                <a:solidFill>
                  <a:schemeClr val="accent1"/>
                </a:solidFill>
              </a:rPr>
              <a:t> ac </a:t>
            </a:r>
            <a:r>
              <a:rPr lang="en-US" dirty="0" err="1">
                <a:solidFill>
                  <a:schemeClr val="accent1"/>
                </a:solidFill>
              </a:rPr>
              <a:t>odio</a:t>
            </a:r>
            <a:r>
              <a:rPr lang="en-US" dirty="0">
                <a:solidFill>
                  <a:schemeClr val="accent1"/>
                </a:solidFill>
              </a:rPr>
              <a:t>. </a:t>
            </a:r>
          </a:p>
        </p:txBody>
      </p:sp>
      <p:sp>
        <p:nvSpPr>
          <p:cNvPr id="17" name="Rectangle 16"/>
          <p:cNvSpPr/>
          <p:nvPr/>
        </p:nvSpPr>
        <p:spPr>
          <a:xfrm>
            <a:off x="9048327" y="4986672"/>
            <a:ext cx="2681635" cy="1661993"/>
          </a:xfrm>
          <a:prstGeom prst="rect">
            <a:avLst/>
          </a:prstGeom>
        </p:spPr>
        <p:txBody>
          <a:bodyPr wrap="square" lIns="0" tIns="0" rIns="0" bIns="91440">
            <a:spAutoFit/>
          </a:bodyPr>
          <a:lstStyle/>
          <a:p>
            <a:pPr algn="r"/>
            <a:r>
              <a:rPr lang="en-US" sz="6000" dirty="0">
                <a:solidFill>
                  <a:srgbClr val="FFFFFF"/>
                </a:solidFill>
              </a:rPr>
              <a:t>60%</a:t>
            </a:r>
          </a:p>
          <a:p>
            <a:pPr algn="r"/>
            <a:r>
              <a:rPr lang="en-US" sz="1400" dirty="0">
                <a:solidFill>
                  <a:srgbClr val="FFFFFF"/>
                </a:solidFill>
              </a:rPr>
              <a:t>Lorem ipsum dolor amet, consectetur adipiscing elit.</a:t>
            </a:r>
          </a:p>
          <a:p>
            <a:pPr algn="r"/>
            <a:endParaRPr lang="en-US" sz="1400" dirty="0">
              <a:solidFill>
                <a:srgbClr val="000000"/>
              </a:solidFill>
            </a:endParaRPr>
          </a:p>
        </p:txBody>
      </p:sp>
    </p:spTree>
    <p:extLst>
      <p:ext uri="{BB962C8B-B14F-4D97-AF65-F5344CB8AC3E}">
        <p14:creationId xmlns:p14="http://schemas.microsoft.com/office/powerpoint/2010/main" val="40867461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chemeClr val="bg1"/>
                </a:solidFill>
              </a:rPr>
              <a:t>Click to insert title</a:t>
            </a:r>
          </a:p>
        </p:txBody>
      </p:sp>
      <p:sp>
        <p:nvSpPr>
          <p:cNvPr id="3" name="Text Placeholder 2"/>
          <p:cNvSpPr>
            <a:spLocks noGrp="1"/>
          </p:cNvSpPr>
          <p:nvPr>
            <p:ph type="body" sz="quarter" idx="33"/>
          </p:nvPr>
        </p:nvSpPr>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6" name="Text Placeholder 5"/>
          <p:cNvSpPr>
            <a:spLocks noGrp="1"/>
          </p:cNvSpPr>
          <p:nvPr>
            <p:ph type="body" sz="quarter" idx="34"/>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a:p>
            <a:pPr lvl="0"/>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pic>
        <p:nvPicPr>
          <p:cNvPr id="9" name="Picture 8"/>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594894" y="5029200"/>
            <a:ext cx="2663813" cy="1418058"/>
          </a:xfrm>
          <a:prstGeom prst="rect">
            <a:avLst/>
          </a:prstGeom>
        </p:spPr>
      </p:pic>
      <p:sp>
        <p:nvSpPr>
          <p:cNvPr id="16" name="Rectangle 15"/>
          <p:cNvSpPr/>
          <p:nvPr/>
        </p:nvSpPr>
        <p:spPr>
          <a:xfrm>
            <a:off x="3594894" y="2390778"/>
            <a:ext cx="2398236" cy="1877437"/>
          </a:xfrm>
          <a:prstGeom prst="rect">
            <a:avLst/>
          </a:prstGeom>
        </p:spPr>
        <p:txBody>
          <a:bodyPr wrap="square" lIns="0" tIns="0" rIns="0" bIns="91440">
            <a:spAutoFit/>
          </a:bodyPr>
          <a:lstStyle/>
          <a:p>
            <a:pPr marL="171450" indent="-171450">
              <a:spcAft>
                <a:spcPts val="600"/>
              </a:spcAft>
              <a:buFont typeface="Wingdings" panose="05000000000000000000" pitchFamily="2" charset="2"/>
              <a:buChar char="§"/>
            </a:pPr>
            <a:r>
              <a:rPr lang="en-US" sz="800" dirty="0">
                <a:solidFill>
                  <a:schemeClr val="bg1"/>
                </a:solidFill>
              </a:rPr>
              <a:t>Proin iaculis egestas massa, in cursus nisi condimentum non. </a:t>
            </a:r>
          </a:p>
          <a:p>
            <a:pPr marL="171450" indent="-171450">
              <a:spcAft>
                <a:spcPts val="600"/>
              </a:spcAft>
              <a:buFont typeface="Wingdings" panose="05000000000000000000" pitchFamily="2" charset="2"/>
              <a:buChar char="§"/>
            </a:pPr>
            <a:r>
              <a:rPr lang="en-US" sz="800" dirty="0">
                <a:solidFill>
                  <a:schemeClr val="bg1"/>
                </a:solidFill>
              </a:rPr>
              <a:t>Orci varius natoque penatibus magnis dis parturient montes, nascetur ridiculus mus. </a:t>
            </a:r>
          </a:p>
          <a:p>
            <a:pPr marL="171450" indent="-171450">
              <a:spcAft>
                <a:spcPts val="600"/>
              </a:spcAft>
              <a:buFont typeface="Wingdings" panose="05000000000000000000" pitchFamily="2" charset="2"/>
              <a:buChar char="§"/>
            </a:pPr>
            <a:r>
              <a:rPr lang="en-US" sz="800" dirty="0">
                <a:solidFill>
                  <a:schemeClr val="bg1"/>
                </a:solidFill>
              </a:rPr>
              <a:t>Nulla feugiat risus lorem, vel condimentum lectus vehicula at. </a:t>
            </a:r>
          </a:p>
          <a:p>
            <a:pPr marL="171450" indent="-171450">
              <a:spcAft>
                <a:spcPts val="600"/>
              </a:spcAft>
              <a:buFont typeface="Wingdings" panose="05000000000000000000" pitchFamily="2" charset="2"/>
              <a:buChar char="§"/>
            </a:pPr>
            <a:r>
              <a:rPr lang="en-US" sz="800" dirty="0">
                <a:solidFill>
                  <a:schemeClr val="bg1"/>
                </a:solidFill>
              </a:rPr>
              <a:t>Maecenas vel turpis aliquet, tincidunt lacus eget, fringilla enim Ut et leo vitae elit rhoncus gravida. </a:t>
            </a:r>
          </a:p>
          <a:p>
            <a:pPr marL="171450" indent="-171450">
              <a:spcAft>
                <a:spcPts val="600"/>
              </a:spcAft>
              <a:buFont typeface="Wingdings" panose="05000000000000000000" pitchFamily="2" charset="2"/>
              <a:buChar char="§"/>
            </a:pPr>
            <a:r>
              <a:rPr lang="en-US" sz="800" dirty="0">
                <a:solidFill>
                  <a:schemeClr val="bg1"/>
                </a:solidFill>
              </a:rPr>
              <a:t>Etiam accumsan euismod tempor dapibus. Donec quam tellus, varius sed egestas at, commodo ac odio. </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1960" y="2367280"/>
            <a:ext cx="3015486" cy="4085908"/>
          </a:xfrm>
          <a:prstGeom prst="rect">
            <a:avLst/>
          </a:prstGeom>
        </p:spPr>
      </p:pic>
      <p:sp>
        <p:nvSpPr>
          <p:cNvPr id="8" name="Text Placeholder 7"/>
          <p:cNvSpPr>
            <a:spLocks noGrp="1"/>
          </p:cNvSpPr>
          <p:nvPr>
            <p:ph type="body" sz="quarter" idx="35"/>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p>
        </p:txBody>
      </p:sp>
    </p:spTree>
    <p:extLst>
      <p:ext uri="{BB962C8B-B14F-4D97-AF65-F5344CB8AC3E}">
        <p14:creationId xmlns:p14="http://schemas.microsoft.com/office/powerpoint/2010/main" val="25258635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felis</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neque</a:t>
            </a:r>
            <a:r>
              <a:rPr lang="en-US" sz="1600" dirty="0"/>
              <a:t>, in </a:t>
            </a:r>
            <a:r>
              <a:rPr lang="en-US" sz="1600" dirty="0" err="1"/>
              <a:t>nunc</a:t>
            </a:r>
            <a:r>
              <a:rPr lang="en-US" sz="1600" dirty="0"/>
              <a:t> </a:t>
            </a:r>
            <a:r>
              <a:rPr lang="en-US" sz="1600" dirty="0" err="1"/>
              <a:t>mattis</a:t>
            </a:r>
            <a:r>
              <a:rPr lang="en-US" sz="1600" dirty="0"/>
              <a:t> </a:t>
            </a:r>
          </a:p>
          <a:p>
            <a:pPr marL="225425" indent="-225425">
              <a:buClr>
                <a:schemeClr val="tx2"/>
              </a:buClr>
              <a:buFont typeface="Wingdings" panose="05000000000000000000" pitchFamily="2" charset="2"/>
              <a:buChar char="§"/>
            </a:pPr>
            <a:endParaRPr lang="en-US" sz="1600" dirty="0"/>
          </a:p>
        </p:txBody>
      </p:sp>
      <p:sp>
        <p:nvSpPr>
          <p:cNvPr id="5" name="Text Placeholder 4"/>
          <p:cNvSpPr>
            <a:spLocks noGrp="1"/>
          </p:cNvSpPr>
          <p:nvPr>
            <p:ph type="body" sz="quarter" idx="33"/>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7" name="Text Placeholder 6"/>
          <p:cNvSpPr>
            <a:spLocks noGrp="1"/>
          </p:cNvSpPr>
          <p:nvPr>
            <p:ph type="body" sz="quarter" idx="34"/>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12" name="Text Placeholder 11"/>
          <p:cNvSpPr>
            <a:spLocks noGrp="1"/>
          </p:cNvSpPr>
          <p:nvPr>
            <p:ph type="body" sz="quarter" idx="35"/>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13" name="Text Placeholder 12"/>
          <p:cNvSpPr>
            <a:spLocks noGrp="1"/>
          </p:cNvSpPr>
          <p:nvPr>
            <p:ph type="body" sz="quarter" idx="36"/>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31" name="Rectangle 30"/>
          <p:cNvSpPr/>
          <p:nvPr/>
        </p:nvSpPr>
        <p:spPr>
          <a:xfrm>
            <a:off x="4042458" y="6106041"/>
            <a:ext cx="8266620" cy="369332"/>
          </a:xfrm>
          <a:prstGeom prst="rect">
            <a:avLst/>
          </a:prstGeom>
        </p:spPr>
        <p:txBody>
          <a:bodyPr wrap="square">
            <a:spAutoFit/>
          </a:bodyPr>
          <a:lstStyle/>
          <a:p>
            <a:pPr algn="ctr"/>
            <a:r>
              <a:rPr lang="en-US" b="1" dirty="0">
                <a:solidFill>
                  <a:schemeClr val="bg1"/>
                </a:solidFill>
              </a:rPr>
              <a:t>Lorem ipsum dolor sit amet, consectetur adipiscing elit. </a:t>
            </a:r>
          </a:p>
        </p:txBody>
      </p:sp>
    </p:spTree>
    <p:extLst>
      <p:ext uri="{BB962C8B-B14F-4D97-AF65-F5344CB8AC3E}">
        <p14:creationId xmlns:p14="http://schemas.microsoft.com/office/powerpoint/2010/main" val="18418162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287" name="Text Placeholder 2"/>
          <p:cNvSpPr txBox="1">
            <a:spLocks/>
          </p:cNvSpPr>
          <p:nvPr/>
        </p:nvSpPr>
        <p:spPr>
          <a:xfrm>
            <a:off x="6365110" y="5400802"/>
            <a:ext cx="5448804" cy="107721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000" dirty="0">
                <a:solidFill>
                  <a:schemeClr val="bg1"/>
                </a:solidFill>
              </a:rPr>
              <a:t>Lorem ipsum dolor sit amet, consectetur adipiscing elit. </a:t>
            </a:r>
            <a:br>
              <a:rPr lang="en-US" sz="1000" dirty="0">
                <a:solidFill>
                  <a:schemeClr val="bg1"/>
                </a:solidFill>
              </a:rPr>
            </a:br>
            <a:r>
              <a:rPr lang="en-US" sz="1000" dirty="0">
                <a:solidFill>
                  <a:schemeClr val="bg1"/>
                </a:solidFill>
              </a:rPr>
              <a:t>Nulla feugiat risus lorem, vel condimentum lectus vehicula at. </a:t>
            </a:r>
            <a:br>
              <a:rPr lang="en-US" sz="1000" dirty="0">
                <a:solidFill>
                  <a:schemeClr val="bg1"/>
                </a:solidFill>
              </a:rPr>
            </a:br>
            <a:r>
              <a:rPr lang="en-US" sz="1000" dirty="0">
                <a:solidFill>
                  <a:schemeClr val="bg1"/>
                </a:solidFill>
              </a:rPr>
              <a:t>Lorem ipsum dolor sit amet, consectetur adipiscing elit. 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Lorem ipsum dolor sit amet, consectetur adipiscing elit. </a:t>
            </a:r>
          </a:p>
        </p:txBody>
      </p:sp>
      <p:sp>
        <p:nvSpPr>
          <p:cNvPr id="291" name="Text Placeholder 2"/>
          <p:cNvSpPr txBox="1">
            <a:spLocks/>
          </p:cNvSpPr>
          <p:nvPr/>
        </p:nvSpPr>
        <p:spPr>
          <a:xfrm>
            <a:off x="6887900" y="5046562"/>
            <a:ext cx="4926013"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400" b="1" dirty="0">
                <a:solidFill>
                  <a:schemeClr val="bg1"/>
                </a:solidFill>
              </a:rPr>
              <a:t>Lorem ipsum dolor sit</a:t>
            </a:r>
          </a:p>
        </p:txBody>
      </p:sp>
      <p:grpSp>
        <p:nvGrpSpPr>
          <p:cNvPr id="2431" name="Group 2430"/>
          <p:cNvGrpSpPr/>
          <p:nvPr/>
        </p:nvGrpSpPr>
        <p:grpSpPr>
          <a:xfrm>
            <a:off x="347849" y="1409065"/>
            <a:ext cx="5824352" cy="3474664"/>
            <a:chOff x="347849" y="1742440"/>
            <a:chExt cx="5824352" cy="3474664"/>
          </a:xfrm>
        </p:grpSpPr>
        <p:sp>
          <p:nvSpPr>
            <p:cNvPr id="2304" name="Freeform 1062"/>
            <p:cNvSpPr>
              <a:spLocks noEditPoints="1"/>
            </p:cNvSpPr>
            <p:nvPr/>
          </p:nvSpPr>
          <p:spPr bwMode="auto">
            <a:xfrm>
              <a:off x="407989" y="4139412"/>
              <a:ext cx="238964" cy="363877"/>
            </a:xfrm>
            <a:custGeom>
              <a:avLst/>
              <a:gdLst>
                <a:gd name="T0" fmla="*/ 10 w 20"/>
                <a:gd name="T1" fmla="*/ 0 h 31"/>
                <a:gd name="T2" fmla="*/ 0 w 20"/>
                <a:gd name="T3" fmla="*/ 16 h 31"/>
                <a:gd name="T4" fmla="*/ 10 w 20"/>
                <a:gd name="T5" fmla="*/ 31 h 31"/>
                <a:gd name="T6" fmla="*/ 20 w 20"/>
                <a:gd name="T7" fmla="*/ 15 h 31"/>
                <a:gd name="T8" fmla="*/ 10 w 20"/>
                <a:gd name="T9" fmla="*/ 0 h 31"/>
                <a:gd name="T10" fmla="*/ 10 w 20"/>
                <a:gd name="T11" fmla="*/ 28 h 31"/>
                <a:gd name="T12" fmla="*/ 4 w 20"/>
                <a:gd name="T13" fmla="*/ 16 h 31"/>
                <a:gd name="T14" fmla="*/ 10 w 20"/>
                <a:gd name="T15" fmla="*/ 3 h 31"/>
                <a:gd name="T16" fmla="*/ 16 w 20"/>
                <a:gd name="T17" fmla="*/ 15 h 31"/>
                <a:gd name="T18" fmla="*/ 10 w 20"/>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31">
                  <a:moveTo>
                    <a:pt x="10" y="0"/>
                  </a:moveTo>
                  <a:cubicBezTo>
                    <a:pt x="4" y="0"/>
                    <a:pt x="0" y="5"/>
                    <a:pt x="0" y="16"/>
                  </a:cubicBezTo>
                  <a:cubicBezTo>
                    <a:pt x="0" y="26"/>
                    <a:pt x="4" y="31"/>
                    <a:pt x="10" y="31"/>
                  </a:cubicBezTo>
                  <a:cubicBezTo>
                    <a:pt x="16" y="31"/>
                    <a:pt x="20" y="25"/>
                    <a:pt x="20" y="15"/>
                  </a:cubicBezTo>
                  <a:cubicBezTo>
                    <a:pt x="20" y="5"/>
                    <a:pt x="17" y="0"/>
                    <a:pt x="10" y="0"/>
                  </a:cubicBezTo>
                  <a:close/>
                  <a:moveTo>
                    <a:pt x="10" y="28"/>
                  </a:moveTo>
                  <a:cubicBezTo>
                    <a:pt x="6" y="28"/>
                    <a:pt x="4" y="23"/>
                    <a:pt x="4" y="16"/>
                  </a:cubicBezTo>
                  <a:cubicBezTo>
                    <a:pt x="4" y="7"/>
                    <a:pt x="6" y="3"/>
                    <a:pt x="10" y="3"/>
                  </a:cubicBezTo>
                  <a:cubicBezTo>
                    <a:pt x="14"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5" name="Freeform 1063"/>
            <p:cNvSpPr>
              <a:spLocks/>
            </p:cNvSpPr>
            <p:nvPr/>
          </p:nvSpPr>
          <p:spPr bwMode="auto">
            <a:xfrm>
              <a:off x="728418" y="4139412"/>
              <a:ext cx="114051" cy="363877"/>
            </a:xfrm>
            <a:custGeom>
              <a:avLst/>
              <a:gdLst>
                <a:gd name="T0" fmla="*/ 13 w 21"/>
                <a:gd name="T1" fmla="*/ 9 h 67"/>
                <a:gd name="T2" fmla="*/ 13 w 21"/>
                <a:gd name="T3" fmla="*/ 9 h 67"/>
                <a:gd name="T4" fmla="*/ 0 w 21"/>
                <a:gd name="T5" fmla="*/ 15 h 67"/>
                <a:gd name="T6" fmla="*/ 0 w 21"/>
                <a:gd name="T7" fmla="*/ 9 h 67"/>
                <a:gd name="T8" fmla="*/ 13 w 21"/>
                <a:gd name="T9" fmla="*/ 0 h 67"/>
                <a:gd name="T10" fmla="*/ 21 w 21"/>
                <a:gd name="T11" fmla="*/ 0 h 67"/>
                <a:gd name="T12" fmla="*/ 21 w 21"/>
                <a:gd name="T13" fmla="*/ 67 h 67"/>
                <a:gd name="T14" fmla="*/ 13 w 21"/>
                <a:gd name="T15" fmla="*/ 67 h 67"/>
                <a:gd name="T16" fmla="*/ 13 w 21"/>
                <a:gd name="T17"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7">
                  <a:moveTo>
                    <a:pt x="13" y="9"/>
                  </a:moveTo>
                  <a:lnTo>
                    <a:pt x="13" y="9"/>
                  </a:lnTo>
                  <a:lnTo>
                    <a:pt x="0" y="15"/>
                  </a:lnTo>
                  <a:lnTo>
                    <a:pt x="0" y="9"/>
                  </a:lnTo>
                  <a:lnTo>
                    <a:pt x="13" y="0"/>
                  </a:lnTo>
                  <a:lnTo>
                    <a:pt x="21" y="0"/>
                  </a:lnTo>
                  <a:lnTo>
                    <a:pt x="21" y="67"/>
                  </a:lnTo>
                  <a:lnTo>
                    <a:pt x="13" y="67"/>
                  </a:lnTo>
                  <a:lnTo>
                    <a:pt x="13" y="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25" name="Rectangle 1083"/>
            <p:cNvSpPr>
              <a:spLocks noChangeArrowheads="1"/>
            </p:cNvSpPr>
            <p:nvPr/>
          </p:nvSpPr>
          <p:spPr bwMode="auto">
            <a:xfrm>
              <a:off x="1195483"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6" name="Rectangle 1084"/>
            <p:cNvSpPr>
              <a:spLocks noChangeArrowheads="1"/>
            </p:cNvSpPr>
            <p:nvPr/>
          </p:nvSpPr>
          <p:spPr bwMode="auto">
            <a:xfrm>
              <a:off x="1570222"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7" name="Rectangle 1085"/>
            <p:cNvSpPr>
              <a:spLocks noChangeArrowheads="1"/>
            </p:cNvSpPr>
            <p:nvPr/>
          </p:nvSpPr>
          <p:spPr bwMode="auto">
            <a:xfrm>
              <a:off x="1934098"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8" name="Rectangle 1086"/>
            <p:cNvSpPr>
              <a:spLocks noChangeArrowheads="1"/>
            </p:cNvSpPr>
            <p:nvPr/>
          </p:nvSpPr>
          <p:spPr bwMode="auto">
            <a:xfrm>
              <a:off x="2308837"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9" name="Rectangle 1087"/>
            <p:cNvSpPr>
              <a:spLocks noChangeArrowheads="1"/>
            </p:cNvSpPr>
            <p:nvPr/>
          </p:nvSpPr>
          <p:spPr bwMode="auto">
            <a:xfrm>
              <a:off x="2683576" y="2010339"/>
              <a:ext cx="81465" cy="150438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90" name="Freeform 1148"/>
            <p:cNvSpPr>
              <a:spLocks noEditPoints="1"/>
            </p:cNvSpPr>
            <p:nvPr/>
          </p:nvSpPr>
          <p:spPr bwMode="auto">
            <a:xfrm>
              <a:off x="3402890" y="4139412"/>
              <a:ext cx="244395" cy="363877"/>
            </a:xfrm>
            <a:custGeom>
              <a:avLst/>
              <a:gdLst>
                <a:gd name="T0" fmla="*/ 11 w 21"/>
                <a:gd name="T1" fmla="*/ 0 h 31"/>
                <a:gd name="T2" fmla="*/ 0 w 21"/>
                <a:gd name="T3" fmla="*/ 16 h 31"/>
                <a:gd name="T4" fmla="*/ 10 w 21"/>
                <a:gd name="T5" fmla="*/ 31 h 31"/>
                <a:gd name="T6" fmla="*/ 21 w 21"/>
                <a:gd name="T7" fmla="*/ 15 h 31"/>
                <a:gd name="T8" fmla="*/ 11 w 21"/>
                <a:gd name="T9" fmla="*/ 0 h 31"/>
                <a:gd name="T10" fmla="*/ 10 w 21"/>
                <a:gd name="T11" fmla="*/ 28 h 31"/>
                <a:gd name="T12" fmla="*/ 4 w 21"/>
                <a:gd name="T13" fmla="*/ 16 h 31"/>
                <a:gd name="T14" fmla="*/ 10 w 21"/>
                <a:gd name="T15" fmla="*/ 3 h 31"/>
                <a:gd name="T16" fmla="*/ 16 w 21"/>
                <a:gd name="T17" fmla="*/ 15 h 31"/>
                <a:gd name="T18" fmla="*/ 10 w 21"/>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1">
                  <a:moveTo>
                    <a:pt x="11" y="0"/>
                  </a:moveTo>
                  <a:cubicBezTo>
                    <a:pt x="4" y="0"/>
                    <a:pt x="0" y="5"/>
                    <a:pt x="0" y="16"/>
                  </a:cubicBezTo>
                  <a:cubicBezTo>
                    <a:pt x="0" y="26"/>
                    <a:pt x="4" y="31"/>
                    <a:pt x="10" y="31"/>
                  </a:cubicBezTo>
                  <a:cubicBezTo>
                    <a:pt x="17" y="31"/>
                    <a:pt x="21" y="26"/>
                    <a:pt x="21" y="15"/>
                  </a:cubicBezTo>
                  <a:cubicBezTo>
                    <a:pt x="21" y="6"/>
                    <a:pt x="17" y="0"/>
                    <a:pt x="11" y="0"/>
                  </a:cubicBezTo>
                  <a:close/>
                  <a:moveTo>
                    <a:pt x="10" y="28"/>
                  </a:moveTo>
                  <a:cubicBezTo>
                    <a:pt x="7" y="28"/>
                    <a:pt x="4" y="24"/>
                    <a:pt x="4" y="16"/>
                  </a:cubicBezTo>
                  <a:cubicBezTo>
                    <a:pt x="4" y="7"/>
                    <a:pt x="7" y="3"/>
                    <a:pt x="10" y="3"/>
                  </a:cubicBezTo>
                  <a:cubicBezTo>
                    <a:pt x="15"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91" name="Freeform 1149"/>
            <p:cNvSpPr>
              <a:spLocks/>
            </p:cNvSpPr>
            <p:nvPr/>
          </p:nvSpPr>
          <p:spPr bwMode="auto">
            <a:xfrm>
              <a:off x="3685301" y="4139412"/>
              <a:ext cx="233533" cy="363877"/>
            </a:xfrm>
            <a:custGeom>
              <a:avLst/>
              <a:gdLst>
                <a:gd name="T0" fmla="*/ 0 w 20"/>
                <a:gd name="T1" fmla="*/ 31 h 31"/>
                <a:gd name="T2" fmla="*/ 0 w 20"/>
                <a:gd name="T3" fmla="*/ 28 h 31"/>
                <a:gd name="T4" fmla="*/ 4 w 20"/>
                <a:gd name="T5" fmla="*/ 25 h 31"/>
                <a:gd name="T6" fmla="*/ 15 w 20"/>
                <a:gd name="T7" fmla="*/ 9 h 31"/>
                <a:gd name="T8" fmla="*/ 9 w 20"/>
                <a:gd name="T9" fmla="*/ 3 h 31"/>
                <a:gd name="T10" fmla="*/ 2 w 20"/>
                <a:gd name="T11" fmla="*/ 6 h 31"/>
                <a:gd name="T12" fmla="*/ 1 w 20"/>
                <a:gd name="T13" fmla="*/ 3 h 31"/>
                <a:gd name="T14" fmla="*/ 10 w 20"/>
                <a:gd name="T15" fmla="*/ 0 h 31"/>
                <a:gd name="T16" fmla="*/ 19 w 20"/>
                <a:gd name="T17" fmla="*/ 9 h 31"/>
                <a:gd name="T18" fmla="*/ 8 w 20"/>
                <a:gd name="T19" fmla="*/ 25 h 31"/>
                <a:gd name="T20" fmla="*/ 6 w 20"/>
                <a:gd name="T21" fmla="*/ 27 h 31"/>
                <a:gd name="T22" fmla="*/ 6 w 20"/>
                <a:gd name="T23" fmla="*/ 27 h 31"/>
                <a:gd name="T24" fmla="*/ 20 w 20"/>
                <a:gd name="T25" fmla="*/ 27 h 31"/>
                <a:gd name="T26" fmla="*/ 20 w 20"/>
                <a:gd name="T27" fmla="*/ 31 h 31"/>
                <a:gd name="T28" fmla="*/ 0 w 20"/>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1">
                  <a:moveTo>
                    <a:pt x="0" y="31"/>
                  </a:moveTo>
                  <a:cubicBezTo>
                    <a:pt x="0" y="28"/>
                    <a:pt x="0" y="28"/>
                    <a:pt x="0" y="28"/>
                  </a:cubicBezTo>
                  <a:cubicBezTo>
                    <a:pt x="4" y="25"/>
                    <a:pt x="4" y="25"/>
                    <a:pt x="4" y="25"/>
                  </a:cubicBezTo>
                  <a:cubicBezTo>
                    <a:pt x="11" y="18"/>
                    <a:pt x="15" y="14"/>
                    <a:pt x="15" y="9"/>
                  </a:cubicBezTo>
                  <a:cubicBezTo>
                    <a:pt x="15" y="6"/>
                    <a:pt x="13" y="3"/>
                    <a:pt x="9" y="3"/>
                  </a:cubicBezTo>
                  <a:cubicBezTo>
                    <a:pt x="6" y="3"/>
                    <a:pt x="4" y="5"/>
                    <a:pt x="2" y="6"/>
                  </a:cubicBezTo>
                  <a:cubicBezTo>
                    <a:pt x="1" y="3"/>
                    <a:pt x="1" y="3"/>
                    <a:pt x="1" y="3"/>
                  </a:cubicBezTo>
                  <a:cubicBezTo>
                    <a:pt x="3" y="1"/>
                    <a:pt x="6" y="0"/>
                    <a:pt x="10" y="0"/>
                  </a:cubicBezTo>
                  <a:cubicBezTo>
                    <a:pt x="16" y="0"/>
                    <a:pt x="19" y="4"/>
                    <a:pt x="19" y="9"/>
                  </a:cubicBezTo>
                  <a:cubicBezTo>
                    <a:pt x="19" y="14"/>
                    <a:pt x="15" y="19"/>
                    <a:pt x="8" y="25"/>
                  </a:cubicBezTo>
                  <a:cubicBezTo>
                    <a:pt x="6" y="27"/>
                    <a:pt x="6" y="27"/>
                    <a:pt x="6" y="27"/>
                  </a:cubicBezTo>
                  <a:cubicBezTo>
                    <a:pt x="6" y="27"/>
                    <a:pt x="6" y="27"/>
                    <a:pt x="6" y="27"/>
                  </a:cubicBezTo>
                  <a:cubicBezTo>
                    <a:pt x="20" y="27"/>
                    <a:pt x="20" y="27"/>
                    <a:pt x="20" y="27"/>
                  </a:cubicBezTo>
                  <a:cubicBezTo>
                    <a:pt x="20" y="31"/>
                    <a:pt x="20" y="31"/>
                    <a:pt x="20" y="31"/>
                  </a:cubicBezTo>
                  <a:lnTo>
                    <a:pt x="0" y="3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11" name="Rectangle 1169"/>
            <p:cNvSpPr>
              <a:spLocks noChangeArrowheads="1"/>
            </p:cNvSpPr>
            <p:nvPr/>
          </p:nvSpPr>
          <p:spPr bwMode="auto">
            <a:xfrm>
              <a:off x="4073329"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2" name="Rectangle 1170"/>
            <p:cNvSpPr>
              <a:spLocks noChangeArrowheads="1"/>
            </p:cNvSpPr>
            <p:nvPr/>
          </p:nvSpPr>
          <p:spPr bwMode="auto">
            <a:xfrm>
              <a:off x="4448067" y="1765944"/>
              <a:ext cx="81465" cy="174878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3" name="Rectangle 1171"/>
            <p:cNvSpPr>
              <a:spLocks noChangeArrowheads="1"/>
            </p:cNvSpPr>
            <p:nvPr/>
          </p:nvSpPr>
          <p:spPr bwMode="auto">
            <a:xfrm>
              <a:off x="4822806"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4" name="Rectangle 1172"/>
            <p:cNvSpPr>
              <a:spLocks noChangeArrowheads="1"/>
            </p:cNvSpPr>
            <p:nvPr/>
          </p:nvSpPr>
          <p:spPr bwMode="auto">
            <a:xfrm>
              <a:off x="5197545" y="2607748"/>
              <a:ext cx="70603"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5" name="Rectangle 1173"/>
            <p:cNvSpPr>
              <a:spLocks noChangeArrowheads="1"/>
            </p:cNvSpPr>
            <p:nvPr/>
          </p:nvSpPr>
          <p:spPr bwMode="auto">
            <a:xfrm>
              <a:off x="5561421" y="2949901"/>
              <a:ext cx="81465" cy="56482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4" name="Text Placeholder 2"/>
            <p:cNvSpPr txBox="1">
              <a:spLocks/>
            </p:cNvSpPr>
            <p:nvPr/>
          </p:nvSpPr>
          <p:spPr>
            <a:xfrm>
              <a:off x="10895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05" name="Text Placeholder 2"/>
            <p:cNvSpPr txBox="1">
              <a:spLocks/>
            </p:cNvSpPr>
            <p:nvPr/>
          </p:nvSpPr>
          <p:spPr>
            <a:xfrm>
              <a:off x="10895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a:t>
              </a:r>
              <a:br>
                <a:rPr lang="en-US" sz="1100" dirty="0"/>
              </a:br>
              <a:r>
                <a:rPr lang="en-US" sz="1100" dirty="0"/>
                <a:t>Nulla feugiat risus lorem, vel lectus vehicula at. </a:t>
              </a:r>
            </a:p>
          </p:txBody>
        </p:sp>
        <p:sp>
          <p:nvSpPr>
            <p:cNvPr id="2416" name="Freeform 1174"/>
            <p:cNvSpPr>
              <a:spLocks/>
            </p:cNvSpPr>
            <p:nvPr/>
          </p:nvSpPr>
          <p:spPr bwMode="auto">
            <a:xfrm>
              <a:off x="3180219" y="4079671"/>
              <a:ext cx="10862" cy="1002938"/>
            </a:xfrm>
            <a:custGeom>
              <a:avLst/>
              <a:gdLst>
                <a:gd name="T0" fmla="*/ 2 w 2"/>
                <a:gd name="T1" fmla="*/ 145 h 145"/>
                <a:gd name="T2" fmla="*/ 0 w 2"/>
                <a:gd name="T3" fmla="*/ 145 h 145"/>
                <a:gd name="T4" fmla="*/ 0 w 2"/>
                <a:gd name="T5" fmla="*/ 0 h 145"/>
                <a:gd name="T6" fmla="*/ 2 w 2"/>
                <a:gd name="T7" fmla="*/ 0 h 145"/>
                <a:gd name="T8" fmla="*/ 2 w 2"/>
                <a:gd name="T9" fmla="*/ 145 h 145"/>
                <a:gd name="T10" fmla="*/ 2 w 2"/>
                <a:gd name="T11" fmla="*/ 145 h 145"/>
              </a:gdLst>
              <a:ahLst/>
              <a:cxnLst>
                <a:cxn ang="0">
                  <a:pos x="T0" y="T1"/>
                </a:cxn>
                <a:cxn ang="0">
                  <a:pos x="T2" y="T3"/>
                </a:cxn>
                <a:cxn ang="0">
                  <a:pos x="T4" y="T5"/>
                </a:cxn>
                <a:cxn ang="0">
                  <a:pos x="T6" y="T7"/>
                </a:cxn>
                <a:cxn ang="0">
                  <a:pos x="T8" y="T9"/>
                </a:cxn>
                <a:cxn ang="0">
                  <a:pos x="T10" y="T11"/>
                </a:cxn>
              </a:cxnLst>
              <a:rect l="0" t="0" r="r" b="b"/>
              <a:pathLst>
                <a:path w="2" h="145">
                  <a:moveTo>
                    <a:pt x="2" y="145"/>
                  </a:moveTo>
                  <a:lnTo>
                    <a:pt x="0" y="145"/>
                  </a:lnTo>
                  <a:lnTo>
                    <a:pt x="0" y="0"/>
                  </a:lnTo>
                  <a:lnTo>
                    <a:pt x="2" y="0"/>
                  </a:lnTo>
                  <a:lnTo>
                    <a:pt x="2" y="145"/>
                  </a:lnTo>
                  <a:lnTo>
                    <a:pt x="2" y="1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9" name="Text Placeholder 2"/>
            <p:cNvSpPr txBox="1">
              <a:spLocks/>
            </p:cNvSpPr>
            <p:nvPr/>
          </p:nvSpPr>
          <p:spPr>
            <a:xfrm>
              <a:off x="40613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10" name="Text Placeholder 2"/>
            <p:cNvSpPr txBox="1">
              <a:spLocks/>
            </p:cNvSpPr>
            <p:nvPr/>
          </p:nvSpPr>
          <p:spPr>
            <a:xfrm>
              <a:off x="40613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Nulla feugiat risus lorem, vel lectus vehicula at. </a:t>
              </a:r>
            </a:p>
          </p:txBody>
        </p:sp>
        <p:grpSp>
          <p:nvGrpSpPr>
            <p:cNvPr id="2430" name="Group 2429"/>
            <p:cNvGrpSpPr/>
            <p:nvPr/>
          </p:nvGrpSpPr>
          <p:grpSpPr>
            <a:xfrm>
              <a:off x="347849" y="1742440"/>
              <a:ext cx="2537591" cy="2030177"/>
              <a:chOff x="347849" y="1742440"/>
              <a:chExt cx="2537591" cy="2030177"/>
            </a:xfrm>
          </p:grpSpPr>
          <p:sp>
            <p:nvSpPr>
              <p:cNvPr id="1515"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16"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17"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18"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19" name="Freeform 1518"/>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29" name="Group 2428"/>
              <p:cNvGrpSpPr/>
              <p:nvPr/>
            </p:nvGrpSpPr>
            <p:grpSpPr>
              <a:xfrm>
                <a:off x="754249" y="3634118"/>
                <a:ext cx="2059444" cy="138499"/>
                <a:chOff x="754249" y="3857638"/>
                <a:chExt cx="2059444" cy="138499"/>
              </a:xfrm>
            </p:grpSpPr>
            <p:sp>
              <p:nvSpPr>
                <p:cNvPr id="1520"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21"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22"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23"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24"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nvGrpSpPr>
            <p:cNvPr id="1525" name="Group 1524"/>
            <p:cNvGrpSpPr/>
            <p:nvPr/>
          </p:nvGrpSpPr>
          <p:grpSpPr>
            <a:xfrm>
              <a:off x="3281549" y="1742440"/>
              <a:ext cx="2537591" cy="2030177"/>
              <a:chOff x="347849" y="1742440"/>
              <a:chExt cx="2537591" cy="2030177"/>
            </a:xfrm>
          </p:grpSpPr>
          <p:sp>
            <p:nvSpPr>
              <p:cNvPr id="1526"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27"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28"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29"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30" name="Freeform 1529"/>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31" name="Group 1530"/>
              <p:cNvGrpSpPr/>
              <p:nvPr/>
            </p:nvGrpSpPr>
            <p:grpSpPr>
              <a:xfrm>
                <a:off x="754249" y="3634118"/>
                <a:ext cx="2059444" cy="138499"/>
                <a:chOff x="754249" y="3857638"/>
                <a:chExt cx="2059444" cy="138499"/>
              </a:xfrm>
            </p:grpSpPr>
            <p:sp>
              <p:nvSpPr>
                <p:cNvPr id="1532"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33"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34"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35"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36"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sp>
        <p:nvSpPr>
          <p:cNvPr id="1537" name="Rectangle 1536"/>
          <p:cNvSpPr/>
          <p:nvPr/>
        </p:nvSpPr>
        <p:spPr>
          <a:xfrm>
            <a:off x="414116" y="5287087"/>
            <a:ext cx="5537422" cy="553998"/>
          </a:xfrm>
          <a:prstGeom prst="rect">
            <a:avLst/>
          </a:prstGeom>
        </p:spPr>
        <p:txBody>
          <a:bodyPr wrap="square" lIns="0" tIns="0" rIns="0" bIns="0">
            <a:spAutoFit/>
          </a:bodyPr>
          <a:lstStyle/>
          <a:p>
            <a:pPr lvl="0"/>
            <a:r>
              <a:rPr lang="en-US" sz="1200" dirty="0"/>
              <a:t>Proin iaculis egestas massa, in cursus nisi condimentum non. Orci varius natoque penatibus magnis dis parturient montes, nascetur ridiculus mus. </a:t>
            </a:r>
          </a:p>
        </p:txBody>
      </p:sp>
    </p:spTree>
    <p:extLst>
      <p:ext uri="{BB962C8B-B14F-4D97-AF65-F5344CB8AC3E}">
        <p14:creationId xmlns:p14="http://schemas.microsoft.com/office/powerpoint/2010/main" val="13349578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4" name="Text Placeholder 3"/>
          <p:cNvSpPr>
            <a:spLocks noGrp="1"/>
          </p:cNvSpPr>
          <p:nvPr>
            <p:ph type="body" sz="quarter" idx="34"/>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6" name="Text Placeholder 5"/>
          <p:cNvSpPr>
            <a:spLocks noGrp="1"/>
          </p:cNvSpPr>
          <p:nvPr>
            <p:ph type="body" sz="quarter" idx="35"/>
          </p:nvPr>
        </p:nvSpPr>
        <p:spPr>
          <a:xfrm>
            <a:off x="9821137" y="1403849"/>
            <a:ext cx="1962875" cy="1829340"/>
          </a:xfrm>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p:txBody>
      </p:sp>
      <p:sp>
        <p:nvSpPr>
          <p:cNvPr id="28" name="Rectangle 27"/>
          <p:cNvSpPr/>
          <p:nvPr/>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graphicFrame>
        <p:nvGraphicFramePr>
          <p:cNvPr id="67" name="Chart Placeholder 20">
            <a:extLst>
              <a:ext uri="{FF2B5EF4-FFF2-40B4-BE49-F238E27FC236}">
                <a16:creationId xmlns:a16="http://schemas.microsoft.com/office/drawing/2014/main" id="{EAF98D82-0D61-484B-81EA-C031402BA1C0}"/>
              </a:ext>
            </a:extLst>
          </p:cNvPr>
          <p:cNvGraphicFramePr>
            <a:graphicFrameLocks/>
          </p:cNvGraphicFramePr>
          <p:nvPr>
            <p:extLst/>
          </p:nvPr>
        </p:nvGraphicFramePr>
        <p:xfrm>
          <a:off x="0" y="1268413"/>
          <a:ext cx="7398744" cy="25547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812467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lick to insert title</a:t>
            </a:r>
          </a:p>
        </p:txBody>
      </p:sp>
      <p:sp>
        <p:nvSpPr>
          <p:cNvPr id="5" name="Text Placeholder 4"/>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6" name="Text Placeholder 5"/>
          <p:cNvSpPr>
            <a:spLocks noGrp="1"/>
          </p:cNvSpPr>
          <p:nvPr>
            <p:ph type="body" sz="quarter" idx="35"/>
          </p:nvPr>
        </p:nvSpPr>
        <p:spPr/>
        <p:txBody>
          <a:bodyPr/>
          <a:lstStyle/>
          <a:p>
            <a:pPr>
              <a:buClr>
                <a:schemeClr val="tx2"/>
              </a:buClr>
            </a:pPr>
            <a:r>
              <a:rPr lang="en-US" dirty="0" err="1"/>
              <a:t>Lorem</a:t>
            </a:r>
            <a:r>
              <a:rPr lang="en-US" dirty="0"/>
              <a:t> </a:t>
            </a:r>
            <a:r>
              <a:rPr lang="en-US" dirty="0" err="1"/>
              <a:t>ipsum</a:t>
            </a:r>
            <a:r>
              <a:rPr lang="en-US" dirty="0"/>
              <a:t> dolor sit</a:t>
            </a:r>
          </a:p>
        </p:txBody>
      </p:sp>
      <p:sp>
        <p:nvSpPr>
          <p:cNvPr id="11" name="Freeform 238"/>
          <p:cNvSpPr>
            <a:spLocks/>
          </p:cNvSpPr>
          <p:nvPr/>
        </p:nvSpPr>
        <p:spPr bwMode="auto">
          <a:xfrm>
            <a:off x="2326661" y="3464842"/>
            <a:ext cx="135844" cy="132269"/>
          </a:xfrm>
          <a:custGeom>
            <a:avLst/>
            <a:gdLst>
              <a:gd name="T0" fmla="*/ 10 w 28"/>
              <a:gd name="T1" fmla="*/ 27 h 28"/>
              <a:gd name="T2" fmla="*/ 12 w 28"/>
              <a:gd name="T3" fmla="*/ 26 h 28"/>
              <a:gd name="T4" fmla="*/ 13 w 28"/>
              <a:gd name="T5" fmla="*/ 28 h 28"/>
              <a:gd name="T6" fmla="*/ 16 w 28"/>
              <a:gd name="T7" fmla="*/ 28 h 28"/>
              <a:gd name="T8" fmla="*/ 17 w 28"/>
              <a:gd name="T9" fmla="*/ 27 h 28"/>
              <a:gd name="T10" fmla="*/ 17 w 28"/>
              <a:gd name="T11" fmla="*/ 12 h 28"/>
              <a:gd name="T12" fmla="*/ 19 w 28"/>
              <a:gd name="T13" fmla="*/ 11 h 28"/>
              <a:gd name="T14" fmla="*/ 19 w 28"/>
              <a:gd name="T15" fmla="*/ 4 h 28"/>
              <a:gd name="T16" fmla="*/ 21 w 28"/>
              <a:gd name="T17" fmla="*/ 3 h 28"/>
              <a:gd name="T18" fmla="*/ 24 w 28"/>
              <a:gd name="T19" fmla="*/ 3 h 28"/>
              <a:gd name="T20" fmla="*/ 25 w 28"/>
              <a:gd name="T21" fmla="*/ 3 h 28"/>
              <a:gd name="T22" fmla="*/ 27 w 28"/>
              <a:gd name="T23" fmla="*/ 2 h 28"/>
              <a:gd name="T24" fmla="*/ 28 w 28"/>
              <a:gd name="T25" fmla="*/ 2 h 28"/>
              <a:gd name="T26" fmla="*/ 28 w 28"/>
              <a:gd name="T27" fmla="*/ 2 h 28"/>
              <a:gd name="T28" fmla="*/ 23 w 28"/>
              <a:gd name="T29" fmla="*/ 2 h 28"/>
              <a:gd name="T30" fmla="*/ 20 w 28"/>
              <a:gd name="T31" fmla="*/ 2 h 28"/>
              <a:gd name="T32" fmla="*/ 15 w 28"/>
              <a:gd name="T33" fmla="*/ 2 h 28"/>
              <a:gd name="T34" fmla="*/ 14 w 28"/>
              <a:gd name="T35" fmla="*/ 1 h 28"/>
              <a:gd name="T36" fmla="*/ 6 w 28"/>
              <a:gd name="T37" fmla="*/ 1 h 28"/>
              <a:gd name="T38" fmla="*/ 4 w 28"/>
              <a:gd name="T39" fmla="*/ 1 h 28"/>
              <a:gd name="T40" fmla="*/ 2 w 28"/>
              <a:gd name="T41" fmla="*/ 1 h 28"/>
              <a:gd name="T42" fmla="*/ 1 w 28"/>
              <a:gd name="T43" fmla="*/ 0 h 28"/>
              <a:gd name="T44" fmla="*/ 1 w 28"/>
              <a:gd name="T45" fmla="*/ 1 h 28"/>
              <a:gd name="T46" fmla="*/ 0 w 28"/>
              <a:gd name="T47" fmla="*/ 1 h 28"/>
              <a:gd name="T48" fmla="*/ 1 w 28"/>
              <a:gd name="T49" fmla="*/ 4 h 28"/>
              <a:gd name="T50" fmla="*/ 3 w 28"/>
              <a:gd name="T51" fmla="*/ 8 h 28"/>
              <a:gd name="T52" fmla="*/ 6 w 28"/>
              <a:gd name="T53" fmla="*/ 13 h 28"/>
              <a:gd name="T54" fmla="*/ 6 w 28"/>
              <a:gd name="T55" fmla="*/ 17 h 28"/>
              <a:gd name="T56" fmla="*/ 6 w 28"/>
              <a:gd name="T57" fmla="*/ 20 h 28"/>
              <a:gd name="T58" fmla="*/ 8 w 28"/>
              <a:gd name="T59" fmla="*/ 26 h 28"/>
              <a:gd name="T60" fmla="*/ 9 w 28"/>
              <a:gd name="T61" fmla="*/ 27 h 28"/>
              <a:gd name="T62" fmla="*/ 10 w 28"/>
              <a:gd name="T63"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28">
                <a:moveTo>
                  <a:pt x="10" y="27"/>
                </a:moveTo>
                <a:cubicBezTo>
                  <a:pt x="10" y="27"/>
                  <a:pt x="11" y="26"/>
                  <a:pt x="12" y="26"/>
                </a:cubicBezTo>
                <a:cubicBezTo>
                  <a:pt x="12" y="27"/>
                  <a:pt x="12" y="28"/>
                  <a:pt x="13" y="28"/>
                </a:cubicBezTo>
                <a:cubicBezTo>
                  <a:pt x="14" y="28"/>
                  <a:pt x="15" y="28"/>
                  <a:pt x="16" y="28"/>
                </a:cubicBezTo>
                <a:cubicBezTo>
                  <a:pt x="16" y="28"/>
                  <a:pt x="17" y="27"/>
                  <a:pt x="17" y="27"/>
                </a:cubicBezTo>
                <a:cubicBezTo>
                  <a:pt x="17" y="12"/>
                  <a:pt x="17" y="12"/>
                  <a:pt x="17" y="12"/>
                </a:cubicBezTo>
                <a:cubicBezTo>
                  <a:pt x="17" y="11"/>
                  <a:pt x="19" y="12"/>
                  <a:pt x="19" y="11"/>
                </a:cubicBezTo>
                <a:cubicBezTo>
                  <a:pt x="19" y="4"/>
                  <a:pt x="19" y="4"/>
                  <a:pt x="19" y="4"/>
                </a:cubicBezTo>
                <a:cubicBezTo>
                  <a:pt x="19" y="4"/>
                  <a:pt x="21" y="3"/>
                  <a:pt x="21" y="3"/>
                </a:cubicBezTo>
                <a:cubicBezTo>
                  <a:pt x="22" y="3"/>
                  <a:pt x="23" y="2"/>
                  <a:pt x="24" y="3"/>
                </a:cubicBezTo>
                <a:cubicBezTo>
                  <a:pt x="24" y="3"/>
                  <a:pt x="25" y="4"/>
                  <a:pt x="25" y="3"/>
                </a:cubicBezTo>
                <a:cubicBezTo>
                  <a:pt x="25" y="3"/>
                  <a:pt x="26" y="2"/>
                  <a:pt x="27" y="2"/>
                </a:cubicBezTo>
                <a:cubicBezTo>
                  <a:pt x="27" y="2"/>
                  <a:pt x="27" y="2"/>
                  <a:pt x="28" y="2"/>
                </a:cubicBezTo>
                <a:cubicBezTo>
                  <a:pt x="28" y="2"/>
                  <a:pt x="28" y="2"/>
                  <a:pt x="28" y="2"/>
                </a:cubicBezTo>
                <a:cubicBezTo>
                  <a:pt x="28" y="1"/>
                  <a:pt x="24" y="2"/>
                  <a:pt x="23" y="2"/>
                </a:cubicBezTo>
                <a:cubicBezTo>
                  <a:pt x="23" y="2"/>
                  <a:pt x="20" y="3"/>
                  <a:pt x="20" y="2"/>
                </a:cubicBezTo>
                <a:cubicBezTo>
                  <a:pt x="19" y="2"/>
                  <a:pt x="15" y="2"/>
                  <a:pt x="15" y="2"/>
                </a:cubicBezTo>
                <a:cubicBezTo>
                  <a:pt x="14" y="1"/>
                  <a:pt x="14" y="1"/>
                  <a:pt x="14" y="1"/>
                </a:cubicBezTo>
                <a:cubicBezTo>
                  <a:pt x="6" y="1"/>
                  <a:pt x="6" y="1"/>
                  <a:pt x="6" y="1"/>
                </a:cubicBezTo>
                <a:cubicBezTo>
                  <a:pt x="6" y="1"/>
                  <a:pt x="5" y="1"/>
                  <a:pt x="4" y="1"/>
                </a:cubicBezTo>
                <a:cubicBezTo>
                  <a:pt x="4" y="0"/>
                  <a:pt x="3" y="0"/>
                  <a:pt x="2" y="1"/>
                </a:cubicBezTo>
                <a:cubicBezTo>
                  <a:pt x="2" y="1"/>
                  <a:pt x="2" y="0"/>
                  <a:pt x="1" y="0"/>
                </a:cubicBezTo>
                <a:cubicBezTo>
                  <a:pt x="1" y="0"/>
                  <a:pt x="1" y="1"/>
                  <a:pt x="1" y="1"/>
                </a:cubicBezTo>
                <a:cubicBezTo>
                  <a:pt x="0" y="1"/>
                  <a:pt x="0" y="1"/>
                  <a:pt x="0" y="1"/>
                </a:cubicBezTo>
                <a:cubicBezTo>
                  <a:pt x="0" y="2"/>
                  <a:pt x="0" y="3"/>
                  <a:pt x="1" y="4"/>
                </a:cubicBezTo>
                <a:cubicBezTo>
                  <a:pt x="2" y="5"/>
                  <a:pt x="3" y="7"/>
                  <a:pt x="3" y="8"/>
                </a:cubicBezTo>
                <a:cubicBezTo>
                  <a:pt x="4" y="10"/>
                  <a:pt x="5" y="12"/>
                  <a:pt x="6" y="13"/>
                </a:cubicBezTo>
                <a:cubicBezTo>
                  <a:pt x="6" y="14"/>
                  <a:pt x="5" y="16"/>
                  <a:pt x="6" y="17"/>
                </a:cubicBezTo>
                <a:cubicBezTo>
                  <a:pt x="6" y="18"/>
                  <a:pt x="6" y="19"/>
                  <a:pt x="6" y="20"/>
                </a:cubicBezTo>
                <a:cubicBezTo>
                  <a:pt x="7" y="22"/>
                  <a:pt x="7" y="24"/>
                  <a:pt x="8" y="26"/>
                </a:cubicBezTo>
                <a:cubicBezTo>
                  <a:pt x="8" y="26"/>
                  <a:pt x="9" y="27"/>
                  <a:pt x="9" y="27"/>
                </a:cubicBezTo>
                <a:cubicBezTo>
                  <a:pt x="10" y="27"/>
                  <a:pt x="10" y="27"/>
                  <a:pt x="1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39"/>
          <p:cNvSpPr>
            <a:spLocks/>
          </p:cNvSpPr>
          <p:nvPr/>
        </p:nvSpPr>
        <p:spPr bwMode="auto">
          <a:xfrm>
            <a:off x="2462505" y="3450542"/>
            <a:ext cx="85796" cy="75072"/>
          </a:xfrm>
          <a:custGeom>
            <a:avLst/>
            <a:gdLst>
              <a:gd name="T0" fmla="*/ 12 w 18"/>
              <a:gd name="T1" fmla="*/ 1 h 16"/>
              <a:gd name="T2" fmla="*/ 11 w 18"/>
              <a:gd name="T3" fmla="*/ 0 h 16"/>
              <a:gd name="T4" fmla="*/ 9 w 18"/>
              <a:gd name="T5" fmla="*/ 0 h 16"/>
              <a:gd name="T6" fmla="*/ 8 w 18"/>
              <a:gd name="T7" fmla="*/ 1 h 16"/>
              <a:gd name="T8" fmla="*/ 6 w 18"/>
              <a:gd name="T9" fmla="*/ 3 h 16"/>
              <a:gd name="T10" fmla="*/ 4 w 18"/>
              <a:gd name="T11" fmla="*/ 5 h 16"/>
              <a:gd name="T12" fmla="*/ 1 w 18"/>
              <a:gd name="T13" fmla="*/ 5 h 16"/>
              <a:gd name="T14" fmla="*/ 0 w 18"/>
              <a:gd name="T15" fmla="*/ 5 h 16"/>
              <a:gd name="T16" fmla="*/ 1 w 18"/>
              <a:gd name="T17" fmla="*/ 6 h 16"/>
              <a:gd name="T18" fmla="*/ 2 w 18"/>
              <a:gd name="T19" fmla="*/ 9 h 16"/>
              <a:gd name="T20" fmla="*/ 5 w 18"/>
              <a:gd name="T21" fmla="*/ 11 h 16"/>
              <a:gd name="T22" fmla="*/ 6 w 18"/>
              <a:gd name="T23" fmla="*/ 12 h 16"/>
              <a:gd name="T24" fmla="*/ 7 w 18"/>
              <a:gd name="T25" fmla="*/ 14 h 16"/>
              <a:gd name="T26" fmla="*/ 9 w 18"/>
              <a:gd name="T27" fmla="*/ 15 h 16"/>
              <a:gd name="T28" fmla="*/ 11 w 18"/>
              <a:gd name="T29" fmla="*/ 15 h 16"/>
              <a:gd name="T30" fmla="*/ 13 w 18"/>
              <a:gd name="T31" fmla="*/ 16 h 16"/>
              <a:gd name="T32" fmla="*/ 16 w 18"/>
              <a:gd name="T33" fmla="*/ 13 h 16"/>
              <a:gd name="T34" fmla="*/ 16 w 18"/>
              <a:gd name="T35" fmla="*/ 11 h 16"/>
              <a:gd name="T36" fmla="*/ 17 w 18"/>
              <a:gd name="T37" fmla="*/ 10 h 16"/>
              <a:gd name="T38" fmla="*/ 17 w 18"/>
              <a:gd name="T39" fmla="*/ 8 h 16"/>
              <a:gd name="T40" fmla="*/ 17 w 18"/>
              <a:gd name="T41" fmla="*/ 6 h 16"/>
              <a:gd name="T42" fmla="*/ 17 w 18"/>
              <a:gd name="T43" fmla="*/ 2 h 16"/>
              <a:gd name="T44" fmla="*/ 15 w 18"/>
              <a:gd name="T45" fmla="*/ 2 h 16"/>
              <a:gd name="T46" fmla="*/ 12 w 18"/>
              <a:gd name="T4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6">
                <a:moveTo>
                  <a:pt x="12" y="1"/>
                </a:moveTo>
                <a:cubicBezTo>
                  <a:pt x="11" y="0"/>
                  <a:pt x="11" y="0"/>
                  <a:pt x="11" y="0"/>
                </a:cubicBezTo>
                <a:cubicBezTo>
                  <a:pt x="9" y="0"/>
                  <a:pt x="9" y="0"/>
                  <a:pt x="9" y="0"/>
                </a:cubicBezTo>
                <a:cubicBezTo>
                  <a:pt x="8" y="1"/>
                  <a:pt x="8" y="1"/>
                  <a:pt x="8" y="1"/>
                </a:cubicBezTo>
                <a:cubicBezTo>
                  <a:pt x="8" y="2"/>
                  <a:pt x="7" y="3"/>
                  <a:pt x="6" y="3"/>
                </a:cubicBezTo>
                <a:cubicBezTo>
                  <a:pt x="5" y="3"/>
                  <a:pt x="4" y="5"/>
                  <a:pt x="4" y="5"/>
                </a:cubicBezTo>
                <a:cubicBezTo>
                  <a:pt x="3" y="6"/>
                  <a:pt x="2" y="5"/>
                  <a:pt x="1" y="5"/>
                </a:cubicBezTo>
                <a:cubicBezTo>
                  <a:pt x="1" y="5"/>
                  <a:pt x="0" y="5"/>
                  <a:pt x="0" y="5"/>
                </a:cubicBezTo>
                <a:cubicBezTo>
                  <a:pt x="0" y="6"/>
                  <a:pt x="1" y="6"/>
                  <a:pt x="1" y="6"/>
                </a:cubicBezTo>
                <a:cubicBezTo>
                  <a:pt x="2" y="6"/>
                  <a:pt x="2" y="9"/>
                  <a:pt x="2" y="9"/>
                </a:cubicBezTo>
                <a:cubicBezTo>
                  <a:pt x="3" y="9"/>
                  <a:pt x="5" y="10"/>
                  <a:pt x="5" y="11"/>
                </a:cubicBezTo>
                <a:cubicBezTo>
                  <a:pt x="5" y="11"/>
                  <a:pt x="6" y="12"/>
                  <a:pt x="6" y="12"/>
                </a:cubicBezTo>
                <a:cubicBezTo>
                  <a:pt x="6" y="13"/>
                  <a:pt x="6" y="14"/>
                  <a:pt x="7" y="14"/>
                </a:cubicBezTo>
                <a:cubicBezTo>
                  <a:pt x="9" y="14"/>
                  <a:pt x="9" y="14"/>
                  <a:pt x="9" y="15"/>
                </a:cubicBezTo>
                <a:cubicBezTo>
                  <a:pt x="9" y="15"/>
                  <a:pt x="11" y="15"/>
                  <a:pt x="11" y="15"/>
                </a:cubicBezTo>
                <a:cubicBezTo>
                  <a:pt x="11" y="16"/>
                  <a:pt x="13" y="15"/>
                  <a:pt x="13" y="16"/>
                </a:cubicBezTo>
                <a:cubicBezTo>
                  <a:pt x="14" y="15"/>
                  <a:pt x="15" y="14"/>
                  <a:pt x="16" y="13"/>
                </a:cubicBezTo>
                <a:cubicBezTo>
                  <a:pt x="16" y="13"/>
                  <a:pt x="16" y="12"/>
                  <a:pt x="16" y="11"/>
                </a:cubicBezTo>
                <a:cubicBezTo>
                  <a:pt x="17" y="11"/>
                  <a:pt x="18" y="10"/>
                  <a:pt x="17" y="10"/>
                </a:cubicBezTo>
                <a:cubicBezTo>
                  <a:pt x="17" y="9"/>
                  <a:pt x="17" y="8"/>
                  <a:pt x="17" y="8"/>
                </a:cubicBezTo>
                <a:cubicBezTo>
                  <a:pt x="16" y="7"/>
                  <a:pt x="17" y="7"/>
                  <a:pt x="17" y="6"/>
                </a:cubicBezTo>
                <a:cubicBezTo>
                  <a:pt x="17" y="5"/>
                  <a:pt x="17" y="3"/>
                  <a:pt x="17" y="2"/>
                </a:cubicBezTo>
                <a:cubicBezTo>
                  <a:pt x="17" y="2"/>
                  <a:pt x="15" y="2"/>
                  <a:pt x="15" y="2"/>
                </a:cubicBezTo>
                <a:cubicBezTo>
                  <a:pt x="14" y="1"/>
                  <a:pt x="12" y="1"/>
                  <a:pt x="12"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40"/>
          <p:cNvSpPr>
            <a:spLocks/>
          </p:cNvSpPr>
          <p:nvPr/>
        </p:nvSpPr>
        <p:spPr bwMode="auto">
          <a:xfrm>
            <a:off x="2408882" y="3471991"/>
            <a:ext cx="96521" cy="107245"/>
          </a:xfrm>
          <a:custGeom>
            <a:avLst/>
            <a:gdLst>
              <a:gd name="T0" fmla="*/ 18 w 20"/>
              <a:gd name="T1" fmla="*/ 9 h 22"/>
              <a:gd name="T2" fmla="*/ 17 w 20"/>
              <a:gd name="T3" fmla="*/ 7 h 22"/>
              <a:gd name="T4" fmla="*/ 16 w 20"/>
              <a:gd name="T5" fmla="*/ 6 h 22"/>
              <a:gd name="T6" fmla="*/ 13 w 20"/>
              <a:gd name="T7" fmla="*/ 4 h 22"/>
              <a:gd name="T8" fmla="*/ 12 w 20"/>
              <a:gd name="T9" fmla="*/ 1 h 22"/>
              <a:gd name="T10" fmla="*/ 11 w 20"/>
              <a:gd name="T11" fmla="*/ 0 h 22"/>
              <a:gd name="T12" fmla="*/ 10 w 20"/>
              <a:gd name="T13" fmla="*/ 0 h 22"/>
              <a:gd name="T14" fmla="*/ 8 w 20"/>
              <a:gd name="T15" fmla="*/ 1 h 22"/>
              <a:gd name="T16" fmla="*/ 7 w 20"/>
              <a:gd name="T17" fmla="*/ 1 h 22"/>
              <a:gd name="T18" fmla="*/ 4 w 20"/>
              <a:gd name="T19" fmla="*/ 1 h 22"/>
              <a:gd name="T20" fmla="*/ 2 w 20"/>
              <a:gd name="T21" fmla="*/ 2 h 22"/>
              <a:gd name="T22" fmla="*/ 2 w 20"/>
              <a:gd name="T23" fmla="*/ 9 h 22"/>
              <a:gd name="T24" fmla="*/ 0 w 20"/>
              <a:gd name="T25" fmla="*/ 10 h 22"/>
              <a:gd name="T26" fmla="*/ 0 w 20"/>
              <a:gd name="T27" fmla="*/ 16 h 22"/>
              <a:gd name="T28" fmla="*/ 1 w 20"/>
              <a:gd name="T29" fmla="*/ 17 h 22"/>
              <a:gd name="T30" fmla="*/ 2 w 20"/>
              <a:gd name="T31" fmla="*/ 20 h 22"/>
              <a:gd name="T32" fmla="*/ 1 w 20"/>
              <a:gd name="T33" fmla="*/ 20 h 22"/>
              <a:gd name="T34" fmla="*/ 2 w 20"/>
              <a:gd name="T35" fmla="*/ 21 h 22"/>
              <a:gd name="T36" fmla="*/ 4 w 20"/>
              <a:gd name="T37" fmla="*/ 21 h 22"/>
              <a:gd name="T38" fmla="*/ 6 w 20"/>
              <a:gd name="T39" fmla="*/ 19 h 22"/>
              <a:gd name="T40" fmla="*/ 7 w 20"/>
              <a:gd name="T41" fmla="*/ 18 h 22"/>
              <a:gd name="T42" fmla="*/ 10 w 20"/>
              <a:gd name="T43" fmla="*/ 18 h 22"/>
              <a:gd name="T44" fmla="*/ 12 w 20"/>
              <a:gd name="T45" fmla="*/ 17 h 22"/>
              <a:gd name="T46" fmla="*/ 13 w 20"/>
              <a:gd name="T47" fmla="*/ 16 h 22"/>
              <a:gd name="T48" fmla="*/ 15 w 20"/>
              <a:gd name="T49" fmla="*/ 14 h 22"/>
              <a:gd name="T50" fmla="*/ 16 w 20"/>
              <a:gd name="T51" fmla="*/ 13 h 22"/>
              <a:gd name="T52" fmla="*/ 18 w 20"/>
              <a:gd name="T53" fmla="*/ 12 h 22"/>
              <a:gd name="T54" fmla="*/ 19 w 20"/>
              <a:gd name="T55" fmla="*/ 11 h 22"/>
              <a:gd name="T56" fmla="*/ 20 w 20"/>
              <a:gd name="T57" fmla="*/ 10 h 22"/>
              <a:gd name="T58" fmla="*/ 20 w 20"/>
              <a:gd name="T59" fmla="*/ 10 h 22"/>
              <a:gd name="T60" fmla="*/ 18 w 20"/>
              <a:gd name="T6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22">
                <a:moveTo>
                  <a:pt x="18" y="9"/>
                </a:moveTo>
                <a:cubicBezTo>
                  <a:pt x="17" y="9"/>
                  <a:pt x="17" y="8"/>
                  <a:pt x="17" y="7"/>
                </a:cubicBezTo>
                <a:cubicBezTo>
                  <a:pt x="17" y="7"/>
                  <a:pt x="16" y="6"/>
                  <a:pt x="16" y="6"/>
                </a:cubicBezTo>
                <a:cubicBezTo>
                  <a:pt x="16" y="5"/>
                  <a:pt x="14" y="4"/>
                  <a:pt x="13" y="4"/>
                </a:cubicBezTo>
                <a:cubicBezTo>
                  <a:pt x="13" y="4"/>
                  <a:pt x="13" y="1"/>
                  <a:pt x="12" y="1"/>
                </a:cubicBezTo>
                <a:cubicBezTo>
                  <a:pt x="12" y="1"/>
                  <a:pt x="11" y="1"/>
                  <a:pt x="11" y="0"/>
                </a:cubicBezTo>
                <a:cubicBezTo>
                  <a:pt x="10" y="0"/>
                  <a:pt x="10" y="0"/>
                  <a:pt x="10" y="0"/>
                </a:cubicBezTo>
                <a:cubicBezTo>
                  <a:pt x="9" y="0"/>
                  <a:pt x="8" y="1"/>
                  <a:pt x="8" y="1"/>
                </a:cubicBezTo>
                <a:cubicBezTo>
                  <a:pt x="8" y="2"/>
                  <a:pt x="7" y="1"/>
                  <a:pt x="7" y="1"/>
                </a:cubicBezTo>
                <a:cubicBezTo>
                  <a:pt x="6" y="0"/>
                  <a:pt x="5" y="1"/>
                  <a:pt x="4" y="1"/>
                </a:cubicBezTo>
                <a:cubicBezTo>
                  <a:pt x="4" y="1"/>
                  <a:pt x="2" y="2"/>
                  <a:pt x="2" y="2"/>
                </a:cubicBezTo>
                <a:cubicBezTo>
                  <a:pt x="2" y="9"/>
                  <a:pt x="2" y="9"/>
                  <a:pt x="2" y="9"/>
                </a:cubicBezTo>
                <a:cubicBezTo>
                  <a:pt x="2" y="10"/>
                  <a:pt x="0" y="9"/>
                  <a:pt x="0" y="10"/>
                </a:cubicBezTo>
                <a:cubicBezTo>
                  <a:pt x="0" y="16"/>
                  <a:pt x="0" y="16"/>
                  <a:pt x="0" y="16"/>
                </a:cubicBezTo>
                <a:cubicBezTo>
                  <a:pt x="0" y="17"/>
                  <a:pt x="1" y="17"/>
                  <a:pt x="1" y="17"/>
                </a:cubicBezTo>
                <a:cubicBezTo>
                  <a:pt x="1" y="18"/>
                  <a:pt x="2" y="19"/>
                  <a:pt x="2" y="20"/>
                </a:cubicBezTo>
                <a:cubicBezTo>
                  <a:pt x="2" y="20"/>
                  <a:pt x="1" y="20"/>
                  <a:pt x="1" y="20"/>
                </a:cubicBezTo>
                <a:cubicBezTo>
                  <a:pt x="1" y="21"/>
                  <a:pt x="1" y="21"/>
                  <a:pt x="2" y="21"/>
                </a:cubicBezTo>
                <a:cubicBezTo>
                  <a:pt x="2" y="21"/>
                  <a:pt x="3" y="22"/>
                  <a:pt x="4" y="21"/>
                </a:cubicBezTo>
                <a:cubicBezTo>
                  <a:pt x="4" y="21"/>
                  <a:pt x="6" y="19"/>
                  <a:pt x="6" y="19"/>
                </a:cubicBezTo>
                <a:cubicBezTo>
                  <a:pt x="6" y="18"/>
                  <a:pt x="6" y="17"/>
                  <a:pt x="7" y="18"/>
                </a:cubicBezTo>
                <a:cubicBezTo>
                  <a:pt x="9" y="18"/>
                  <a:pt x="9" y="18"/>
                  <a:pt x="10" y="18"/>
                </a:cubicBezTo>
                <a:cubicBezTo>
                  <a:pt x="11" y="18"/>
                  <a:pt x="12" y="18"/>
                  <a:pt x="12" y="17"/>
                </a:cubicBezTo>
                <a:cubicBezTo>
                  <a:pt x="12" y="17"/>
                  <a:pt x="12" y="16"/>
                  <a:pt x="13" y="16"/>
                </a:cubicBezTo>
                <a:cubicBezTo>
                  <a:pt x="14" y="16"/>
                  <a:pt x="15" y="15"/>
                  <a:pt x="15" y="14"/>
                </a:cubicBezTo>
                <a:cubicBezTo>
                  <a:pt x="15" y="14"/>
                  <a:pt x="15" y="13"/>
                  <a:pt x="16" y="13"/>
                </a:cubicBezTo>
                <a:cubicBezTo>
                  <a:pt x="16" y="13"/>
                  <a:pt x="17" y="12"/>
                  <a:pt x="18" y="12"/>
                </a:cubicBezTo>
                <a:cubicBezTo>
                  <a:pt x="18" y="11"/>
                  <a:pt x="19" y="11"/>
                  <a:pt x="19" y="11"/>
                </a:cubicBezTo>
                <a:cubicBezTo>
                  <a:pt x="19" y="11"/>
                  <a:pt x="19" y="10"/>
                  <a:pt x="20" y="10"/>
                </a:cubicBezTo>
                <a:cubicBezTo>
                  <a:pt x="20" y="10"/>
                  <a:pt x="20" y="10"/>
                  <a:pt x="20" y="10"/>
                </a:cubicBezTo>
                <a:cubicBezTo>
                  <a:pt x="20" y="9"/>
                  <a:pt x="20" y="9"/>
                  <a:pt x="18"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41"/>
          <p:cNvSpPr>
            <a:spLocks/>
          </p:cNvSpPr>
          <p:nvPr/>
        </p:nvSpPr>
        <p:spPr bwMode="auto">
          <a:xfrm>
            <a:off x="2519703" y="3564937"/>
            <a:ext cx="14299" cy="14299"/>
          </a:xfrm>
          <a:custGeom>
            <a:avLst/>
            <a:gdLst>
              <a:gd name="T0" fmla="*/ 2 w 3"/>
              <a:gd name="T1" fmla="*/ 0 h 3"/>
              <a:gd name="T2" fmla="*/ 0 w 3"/>
              <a:gd name="T3" fmla="*/ 1 h 3"/>
              <a:gd name="T4" fmla="*/ 2 w 3"/>
              <a:gd name="T5" fmla="*/ 3 h 3"/>
              <a:gd name="T6" fmla="*/ 3 w 3"/>
              <a:gd name="T7" fmla="*/ 3 h 3"/>
              <a:gd name="T8" fmla="*/ 3 w 3"/>
              <a:gd name="T9" fmla="*/ 2 h 3"/>
              <a:gd name="T10" fmla="*/ 3 w 3"/>
              <a:gd name="T11" fmla="*/ 0 h 3"/>
              <a:gd name="T12" fmla="*/ 2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0"/>
                </a:moveTo>
                <a:cubicBezTo>
                  <a:pt x="1" y="0"/>
                  <a:pt x="0" y="1"/>
                  <a:pt x="0" y="1"/>
                </a:cubicBezTo>
                <a:cubicBezTo>
                  <a:pt x="0" y="1"/>
                  <a:pt x="1" y="3"/>
                  <a:pt x="2" y="3"/>
                </a:cubicBezTo>
                <a:cubicBezTo>
                  <a:pt x="2" y="3"/>
                  <a:pt x="3" y="3"/>
                  <a:pt x="3" y="3"/>
                </a:cubicBezTo>
                <a:cubicBezTo>
                  <a:pt x="3" y="2"/>
                  <a:pt x="3" y="2"/>
                  <a:pt x="3" y="2"/>
                </a:cubicBezTo>
                <a:cubicBezTo>
                  <a:pt x="3" y="2"/>
                  <a:pt x="3" y="1"/>
                  <a:pt x="3" y="0"/>
                </a:cubicBezTo>
                <a:cubicBezTo>
                  <a:pt x="3" y="0"/>
                  <a:pt x="2" y="0"/>
                  <a:pt x="2"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42"/>
          <p:cNvSpPr>
            <a:spLocks/>
          </p:cNvSpPr>
          <p:nvPr/>
        </p:nvSpPr>
        <p:spPr bwMode="auto">
          <a:xfrm>
            <a:off x="2480379" y="3593536"/>
            <a:ext cx="25024" cy="25024"/>
          </a:xfrm>
          <a:custGeom>
            <a:avLst/>
            <a:gdLst>
              <a:gd name="T0" fmla="*/ 4 w 5"/>
              <a:gd name="T1" fmla="*/ 0 h 5"/>
              <a:gd name="T2" fmla="*/ 2 w 5"/>
              <a:gd name="T3" fmla="*/ 1 h 5"/>
              <a:gd name="T4" fmla="*/ 0 w 5"/>
              <a:gd name="T5" fmla="*/ 3 h 5"/>
              <a:gd name="T6" fmla="*/ 2 w 5"/>
              <a:gd name="T7" fmla="*/ 5 h 5"/>
              <a:gd name="T8" fmla="*/ 2 w 5"/>
              <a:gd name="T9" fmla="*/ 5 h 5"/>
              <a:gd name="T10" fmla="*/ 3 w 5"/>
              <a:gd name="T11" fmla="*/ 4 h 5"/>
              <a:gd name="T12" fmla="*/ 4 w 5"/>
              <a:gd name="T13" fmla="*/ 4 h 5"/>
              <a:gd name="T14" fmla="*/ 5 w 5"/>
              <a:gd name="T15" fmla="*/ 2 h 5"/>
              <a:gd name="T16" fmla="*/ 4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4" y="0"/>
                </a:moveTo>
                <a:cubicBezTo>
                  <a:pt x="3" y="0"/>
                  <a:pt x="2" y="1"/>
                  <a:pt x="2" y="1"/>
                </a:cubicBezTo>
                <a:cubicBezTo>
                  <a:pt x="1" y="2"/>
                  <a:pt x="0" y="3"/>
                  <a:pt x="0" y="3"/>
                </a:cubicBezTo>
                <a:cubicBezTo>
                  <a:pt x="2" y="5"/>
                  <a:pt x="2" y="5"/>
                  <a:pt x="2" y="5"/>
                </a:cubicBezTo>
                <a:cubicBezTo>
                  <a:pt x="2" y="5"/>
                  <a:pt x="2" y="5"/>
                  <a:pt x="2" y="5"/>
                </a:cubicBezTo>
                <a:cubicBezTo>
                  <a:pt x="2" y="5"/>
                  <a:pt x="3" y="5"/>
                  <a:pt x="3" y="4"/>
                </a:cubicBezTo>
                <a:cubicBezTo>
                  <a:pt x="3" y="4"/>
                  <a:pt x="4" y="4"/>
                  <a:pt x="4" y="4"/>
                </a:cubicBezTo>
                <a:cubicBezTo>
                  <a:pt x="4" y="3"/>
                  <a:pt x="5" y="3"/>
                  <a:pt x="5" y="2"/>
                </a:cubicBezTo>
                <a:cubicBezTo>
                  <a:pt x="5" y="2"/>
                  <a:pt x="4" y="1"/>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43"/>
          <p:cNvSpPr>
            <a:spLocks noEditPoints="1"/>
          </p:cNvSpPr>
          <p:nvPr/>
        </p:nvSpPr>
        <p:spPr bwMode="auto">
          <a:xfrm>
            <a:off x="2369559" y="3522039"/>
            <a:ext cx="175168" cy="150144"/>
          </a:xfrm>
          <a:custGeom>
            <a:avLst/>
            <a:gdLst>
              <a:gd name="T0" fmla="*/ 34 w 36"/>
              <a:gd name="T1" fmla="*/ 11 h 31"/>
              <a:gd name="T2" fmla="*/ 34 w 36"/>
              <a:gd name="T3" fmla="*/ 11 h 31"/>
              <a:gd name="T4" fmla="*/ 34 w 36"/>
              <a:gd name="T5" fmla="*/ 12 h 31"/>
              <a:gd name="T6" fmla="*/ 33 w 36"/>
              <a:gd name="T7" fmla="*/ 12 h 31"/>
              <a:gd name="T8" fmla="*/ 31 w 36"/>
              <a:gd name="T9" fmla="*/ 10 h 31"/>
              <a:gd name="T10" fmla="*/ 33 w 36"/>
              <a:gd name="T11" fmla="*/ 9 h 31"/>
              <a:gd name="T12" fmla="*/ 34 w 36"/>
              <a:gd name="T13" fmla="*/ 9 h 31"/>
              <a:gd name="T14" fmla="*/ 34 w 36"/>
              <a:gd name="T15" fmla="*/ 9 h 31"/>
              <a:gd name="T16" fmla="*/ 34 w 36"/>
              <a:gd name="T17" fmla="*/ 5 h 31"/>
              <a:gd name="T18" fmla="*/ 32 w 36"/>
              <a:gd name="T19" fmla="*/ 1 h 31"/>
              <a:gd name="T20" fmla="*/ 30 w 36"/>
              <a:gd name="T21" fmla="*/ 0 h 31"/>
              <a:gd name="T22" fmla="*/ 28 w 36"/>
              <a:gd name="T23" fmla="*/ 0 h 31"/>
              <a:gd name="T24" fmla="*/ 27 w 36"/>
              <a:gd name="T25" fmla="*/ 1 h 31"/>
              <a:gd name="T26" fmla="*/ 26 w 36"/>
              <a:gd name="T27" fmla="*/ 2 h 31"/>
              <a:gd name="T28" fmla="*/ 24 w 36"/>
              <a:gd name="T29" fmla="*/ 3 h 31"/>
              <a:gd name="T30" fmla="*/ 23 w 36"/>
              <a:gd name="T31" fmla="*/ 4 h 31"/>
              <a:gd name="T32" fmla="*/ 21 w 36"/>
              <a:gd name="T33" fmla="*/ 6 h 31"/>
              <a:gd name="T34" fmla="*/ 20 w 36"/>
              <a:gd name="T35" fmla="*/ 7 h 31"/>
              <a:gd name="T36" fmla="*/ 18 w 36"/>
              <a:gd name="T37" fmla="*/ 8 h 31"/>
              <a:gd name="T38" fmla="*/ 15 w 36"/>
              <a:gd name="T39" fmla="*/ 8 h 31"/>
              <a:gd name="T40" fmla="*/ 14 w 36"/>
              <a:gd name="T41" fmla="*/ 9 h 31"/>
              <a:gd name="T42" fmla="*/ 12 w 36"/>
              <a:gd name="T43" fmla="*/ 11 h 31"/>
              <a:gd name="T44" fmla="*/ 10 w 36"/>
              <a:gd name="T45" fmla="*/ 11 h 31"/>
              <a:gd name="T46" fmla="*/ 9 w 36"/>
              <a:gd name="T47" fmla="*/ 10 h 31"/>
              <a:gd name="T48" fmla="*/ 10 w 36"/>
              <a:gd name="T49" fmla="*/ 10 h 31"/>
              <a:gd name="T50" fmla="*/ 9 w 36"/>
              <a:gd name="T51" fmla="*/ 7 h 31"/>
              <a:gd name="T52" fmla="*/ 8 w 36"/>
              <a:gd name="T53" fmla="*/ 6 h 31"/>
              <a:gd name="T54" fmla="*/ 8 w 36"/>
              <a:gd name="T55" fmla="*/ 15 h 31"/>
              <a:gd name="T56" fmla="*/ 7 w 36"/>
              <a:gd name="T57" fmla="*/ 16 h 31"/>
              <a:gd name="T58" fmla="*/ 4 w 36"/>
              <a:gd name="T59" fmla="*/ 16 h 31"/>
              <a:gd name="T60" fmla="*/ 3 w 36"/>
              <a:gd name="T61" fmla="*/ 14 h 31"/>
              <a:gd name="T62" fmla="*/ 1 w 36"/>
              <a:gd name="T63" fmla="*/ 15 h 31"/>
              <a:gd name="T64" fmla="*/ 0 w 36"/>
              <a:gd name="T65" fmla="*/ 15 h 31"/>
              <a:gd name="T66" fmla="*/ 2 w 36"/>
              <a:gd name="T67" fmla="*/ 19 h 31"/>
              <a:gd name="T68" fmla="*/ 4 w 36"/>
              <a:gd name="T69" fmla="*/ 23 h 31"/>
              <a:gd name="T70" fmla="*/ 4 w 36"/>
              <a:gd name="T71" fmla="*/ 25 h 31"/>
              <a:gd name="T72" fmla="*/ 4 w 36"/>
              <a:gd name="T73" fmla="*/ 27 h 31"/>
              <a:gd name="T74" fmla="*/ 5 w 36"/>
              <a:gd name="T75" fmla="*/ 29 h 31"/>
              <a:gd name="T76" fmla="*/ 6 w 36"/>
              <a:gd name="T77" fmla="*/ 30 h 31"/>
              <a:gd name="T78" fmla="*/ 7 w 36"/>
              <a:gd name="T79" fmla="*/ 31 h 31"/>
              <a:gd name="T80" fmla="*/ 8 w 36"/>
              <a:gd name="T81" fmla="*/ 30 h 31"/>
              <a:gd name="T82" fmla="*/ 11 w 36"/>
              <a:gd name="T83" fmla="*/ 30 h 31"/>
              <a:gd name="T84" fmla="*/ 13 w 36"/>
              <a:gd name="T85" fmla="*/ 29 h 31"/>
              <a:gd name="T86" fmla="*/ 16 w 36"/>
              <a:gd name="T87" fmla="*/ 29 h 31"/>
              <a:gd name="T88" fmla="*/ 19 w 36"/>
              <a:gd name="T89" fmla="*/ 29 h 31"/>
              <a:gd name="T90" fmla="*/ 20 w 36"/>
              <a:gd name="T91" fmla="*/ 28 h 31"/>
              <a:gd name="T92" fmla="*/ 22 w 36"/>
              <a:gd name="T93" fmla="*/ 28 h 31"/>
              <a:gd name="T94" fmla="*/ 26 w 36"/>
              <a:gd name="T95" fmla="*/ 25 h 31"/>
              <a:gd name="T96" fmla="*/ 32 w 36"/>
              <a:gd name="T97" fmla="*/ 18 h 31"/>
              <a:gd name="T98" fmla="*/ 35 w 36"/>
              <a:gd name="T99" fmla="*/ 15 h 31"/>
              <a:gd name="T100" fmla="*/ 36 w 36"/>
              <a:gd name="T101" fmla="*/ 11 h 31"/>
              <a:gd name="T102" fmla="*/ 34 w 36"/>
              <a:gd name="T103" fmla="*/ 11 h 31"/>
              <a:gd name="T104" fmla="*/ 27 w 36"/>
              <a:gd name="T105" fmla="*/ 19 h 31"/>
              <a:gd name="T106" fmla="*/ 26 w 36"/>
              <a:gd name="T107" fmla="*/ 19 h 31"/>
              <a:gd name="T108" fmla="*/ 25 w 36"/>
              <a:gd name="T109" fmla="*/ 20 h 31"/>
              <a:gd name="T110" fmla="*/ 25 w 36"/>
              <a:gd name="T111" fmla="*/ 20 h 31"/>
              <a:gd name="T112" fmla="*/ 23 w 36"/>
              <a:gd name="T113" fmla="*/ 18 h 31"/>
              <a:gd name="T114" fmla="*/ 25 w 36"/>
              <a:gd name="T115" fmla="*/ 16 h 31"/>
              <a:gd name="T116" fmla="*/ 27 w 36"/>
              <a:gd name="T117" fmla="*/ 15 h 31"/>
              <a:gd name="T118" fmla="*/ 28 w 36"/>
              <a:gd name="T119" fmla="*/ 17 h 31"/>
              <a:gd name="T120" fmla="*/ 27 w 36"/>
              <a:gd name="T1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 h="31">
                <a:moveTo>
                  <a:pt x="34" y="11"/>
                </a:moveTo>
                <a:cubicBezTo>
                  <a:pt x="34" y="11"/>
                  <a:pt x="34" y="11"/>
                  <a:pt x="34" y="11"/>
                </a:cubicBezTo>
                <a:cubicBezTo>
                  <a:pt x="34" y="11"/>
                  <a:pt x="34" y="11"/>
                  <a:pt x="34" y="12"/>
                </a:cubicBezTo>
                <a:cubicBezTo>
                  <a:pt x="34" y="12"/>
                  <a:pt x="33" y="12"/>
                  <a:pt x="33" y="12"/>
                </a:cubicBezTo>
                <a:cubicBezTo>
                  <a:pt x="32" y="12"/>
                  <a:pt x="31" y="10"/>
                  <a:pt x="31" y="10"/>
                </a:cubicBezTo>
                <a:cubicBezTo>
                  <a:pt x="31" y="10"/>
                  <a:pt x="32" y="9"/>
                  <a:pt x="33" y="9"/>
                </a:cubicBezTo>
                <a:cubicBezTo>
                  <a:pt x="33" y="9"/>
                  <a:pt x="34" y="9"/>
                  <a:pt x="34" y="9"/>
                </a:cubicBezTo>
                <a:cubicBezTo>
                  <a:pt x="34" y="9"/>
                  <a:pt x="34" y="9"/>
                  <a:pt x="34" y="9"/>
                </a:cubicBezTo>
                <a:cubicBezTo>
                  <a:pt x="34" y="9"/>
                  <a:pt x="34" y="5"/>
                  <a:pt x="34" y="5"/>
                </a:cubicBezTo>
                <a:cubicBezTo>
                  <a:pt x="33" y="4"/>
                  <a:pt x="33" y="1"/>
                  <a:pt x="32" y="1"/>
                </a:cubicBezTo>
                <a:cubicBezTo>
                  <a:pt x="32" y="0"/>
                  <a:pt x="30" y="1"/>
                  <a:pt x="30" y="0"/>
                </a:cubicBezTo>
                <a:cubicBezTo>
                  <a:pt x="30" y="0"/>
                  <a:pt x="28" y="0"/>
                  <a:pt x="28" y="0"/>
                </a:cubicBezTo>
                <a:cubicBezTo>
                  <a:pt x="27" y="0"/>
                  <a:pt x="27" y="1"/>
                  <a:pt x="27" y="1"/>
                </a:cubicBezTo>
                <a:cubicBezTo>
                  <a:pt x="27" y="1"/>
                  <a:pt x="26" y="1"/>
                  <a:pt x="26" y="2"/>
                </a:cubicBezTo>
                <a:cubicBezTo>
                  <a:pt x="25" y="2"/>
                  <a:pt x="24" y="3"/>
                  <a:pt x="24" y="3"/>
                </a:cubicBezTo>
                <a:cubicBezTo>
                  <a:pt x="23" y="3"/>
                  <a:pt x="23" y="4"/>
                  <a:pt x="23" y="4"/>
                </a:cubicBezTo>
                <a:cubicBezTo>
                  <a:pt x="23" y="5"/>
                  <a:pt x="22" y="6"/>
                  <a:pt x="21" y="6"/>
                </a:cubicBezTo>
                <a:cubicBezTo>
                  <a:pt x="20" y="6"/>
                  <a:pt x="20" y="7"/>
                  <a:pt x="20" y="7"/>
                </a:cubicBezTo>
                <a:cubicBezTo>
                  <a:pt x="20" y="8"/>
                  <a:pt x="19" y="8"/>
                  <a:pt x="18" y="8"/>
                </a:cubicBezTo>
                <a:cubicBezTo>
                  <a:pt x="17" y="8"/>
                  <a:pt x="17" y="8"/>
                  <a:pt x="15" y="8"/>
                </a:cubicBezTo>
                <a:cubicBezTo>
                  <a:pt x="14" y="7"/>
                  <a:pt x="14" y="8"/>
                  <a:pt x="14" y="9"/>
                </a:cubicBezTo>
                <a:cubicBezTo>
                  <a:pt x="14" y="9"/>
                  <a:pt x="12" y="11"/>
                  <a:pt x="12" y="11"/>
                </a:cubicBezTo>
                <a:cubicBezTo>
                  <a:pt x="11" y="12"/>
                  <a:pt x="10" y="11"/>
                  <a:pt x="10" y="11"/>
                </a:cubicBezTo>
                <a:cubicBezTo>
                  <a:pt x="9" y="11"/>
                  <a:pt x="9" y="11"/>
                  <a:pt x="9" y="10"/>
                </a:cubicBezTo>
                <a:cubicBezTo>
                  <a:pt x="9" y="10"/>
                  <a:pt x="10" y="10"/>
                  <a:pt x="10" y="10"/>
                </a:cubicBezTo>
                <a:cubicBezTo>
                  <a:pt x="10" y="9"/>
                  <a:pt x="9" y="8"/>
                  <a:pt x="9" y="7"/>
                </a:cubicBezTo>
                <a:cubicBezTo>
                  <a:pt x="9" y="7"/>
                  <a:pt x="8" y="7"/>
                  <a:pt x="8" y="6"/>
                </a:cubicBezTo>
                <a:cubicBezTo>
                  <a:pt x="8" y="15"/>
                  <a:pt x="8" y="15"/>
                  <a:pt x="8" y="15"/>
                </a:cubicBezTo>
                <a:cubicBezTo>
                  <a:pt x="8" y="15"/>
                  <a:pt x="7" y="16"/>
                  <a:pt x="7" y="16"/>
                </a:cubicBezTo>
                <a:cubicBezTo>
                  <a:pt x="6" y="16"/>
                  <a:pt x="5" y="16"/>
                  <a:pt x="4" y="16"/>
                </a:cubicBezTo>
                <a:cubicBezTo>
                  <a:pt x="3" y="16"/>
                  <a:pt x="3" y="15"/>
                  <a:pt x="3" y="14"/>
                </a:cubicBezTo>
                <a:cubicBezTo>
                  <a:pt x="2" y="14"/>
                  <a:pt x="1" y="15"/>
                  <a:pt x="1" y="15"/>
                </a:cubicBezTo>
                <a:cubicBezTo>
                  <a:pt x="1" y="15"/>
                  <a:pt x="1" y="15"/>
                  <a:pt x="0" y="15"/>
                </a:cubicBezTo>
                <a:cubicBezTo>
                  <a:pt x="1" y="17"/>
                  <a:pt x="2" y="18"/>
                  <a:pt x="2" y="19"/>
                </a:cubicBezTo>
                <a:cubicBezTo>
                  <a:pt x="3" y="21"/>
                  <a:pt x="4" y="22"/>
                  <a:pt x="4" y="23"/>
                </a:cubicBezTo>
                <a:cubicBezTo>
                  <a:pt x="4" y="24"/>
                  <a:pt x="5" y="25"/>
                  <a:pt x="4" y="25"/>
                </a:cubicBezTo>
                <a:cubicBezTo>
                  <a:pt x="3" y="25"/>
                  <a:pt x="3" y="26"/>
                  <a:pt x="4" y="27"/>
                </a:cubicBezTo>
                <a:cubicBezTo>
                  <a:pt x="5" y="28"/>
                  <a:pt x="4" y="29"/>
                  <a:pt x="5" y="29"/>
                </a:cubicBezTo>
                <a:cubicBezTo>
                  <a:pt x="6" y="29"/>
                  <a:pt x="5" y="30"/>
                  <a:pt x="6" y="30"/>
                </a:cubicBezTo>
                <a:cubicBezTo>
                  <a:pt x="6" y="30"/>
                  <a:pt x="7" y="30"/>
                  <a:pt x="7" y="31"/>
                </a:cubicBezTo>
                <a:cubicBezTo>
                  <a:pt x="7" y="31"/>
                  <a:pt x="8" y="31"/>
                  <a:pt x="8" y="30"/>
                </a:cubicBezTo>
                <a:cubicBezTo>
                  <a:pt x="9" y="30"/>
                  <a:pt x="10" y="30"/>
                  <a:pt x="11" y="30"/>
                </a:cubicBezTo>
                <a:cubicBezTo>
                  <a:pt x="12" y="30"/>
                  <a:pt x="12" y="29"/>
                  <a:pt x="13" y="29"/>
                </a:cubicBezTo>
                <a:cubicBezTo>
                  <a:pt x="14" y="29"/>
                  <a:pt x="16" y="29"/>
                  <a:pt x="16" y="29"/>
                </a:cubicBezTo>
                <a:cubicBezTo>
                  <a:pt x="17" y="29"/>
                  <a:pt x="18" y="29"/>
                  <a:pt x="19" y="29"/>
                </a:cubicBezTo>
                <a:cubicBezTo>
                  <a:pt x="19" y="28"/>
                  <a:pt x="20" y="29"/>
                  <a:pt x="20" y="28"/>
                </a:cubicBezTo>
                <a:cubicBezTo>
                  <a:pt x="20" y="28"/>
                  <a:pt x="21" y="28"/>
                  <a:pt x="22" y="28"/>
                </a:cubicBezTo>
                <a:cubicBezTo>
                  <a:pt x="23" y="28"/>
                  <a:pt x="25" y="26"/>
                  <a:pt x="26" y="25"/>
                </a:cubicBezTo>
                <a:cubicBezTo>
                  <a:pt x="28" y="23"/>
                  <a:pt x="31" y="20"/>
                  <a:pt x="32" y="18"/>
                </a:cubicBezTo>
                <a:cubicBezTo>
                  <a:pt x="33" y="17"/>
                  <a:pt x="34" y="16"/>
                  <a:pt x="35" y="15"/>
                </a:cubicBezTo>
                <a:cubicBezTo>
                  <a:pt x="35" y="14"/>
                  <a:pt x="36" y="13"/>
                  <a:pt x="36" y="11"/>
                </a:cubicBezTo>
                <a:cubicBezTo>
                  <a:pt x="35" y="11"/>
                  <a:pt x="34" y="11"/>
                  <a:pt x="34" y="11"/>
                </a:cubicBezTo>
                <a:moveTo>
                  <a:pt x="27" y="19"/>
                </a:moveTo>
                <a:cubicBezTo>
                  <a:pt x="27" y="19"/>
                  <a:pt x="26" y="19"/>
                  <a:pt x="26" y="19"/>
                </a:cubicBezTo>
                <a:cubicBezTo>
                  <a:pt x="26" y="20"/>
                  <a:pt x="25" y="20"/>
                  <a:pt x="25" y="20"/>
                </a:cubicBezTo>
                <a:cubicBezTo>
                  <a:pt x="25" y="20"/>
                  <a:pt x="25" y="20"/>
                  <a:pt x="25" y="20"/>
                </a:cubicBezTo>
                <a:cubicBezTo>
                  <a:pt x="23" y="18"/>
                  <a:pt x="23" y="18"/>
                  <a:pt x="23" y="18"/>
                </a:cubicBezTo>
                <a:cubicBezTo>
                  <a:pt x="23" y="18"/>
                  <a:pt x="24" y="17"/>
                  <a:pt x="25" y="16"/>
                </a:cubicBezTo>
                <a:cubicBezTo>
                  <a:pt x="25" y="16"/>
                  <a:pt x="26" y="15"/>
                  <a:pt x="27" y="15"/>
                </a:cubicBezTo>
                <a:cubicBezTo>
                  <a:pt x="27" y="16"/>
                  <a:pt x="28" y="17"/>
                  <a:pt x="28" y="17"/>
                </a:cubicBezTo>
                <a:cubicBezTo>
                  <a:pt x="28" y="18"/>
                  <a:pt x="27" y="18"/>
                  <a:pt x="2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44"/>
          <p:cNvSpPr>
            <a:spLocks/>
          </p:cNvSpPr>
          <p:nvPr/>
        </p:nvSpPr>
        <p:spPr bwMode="auto">
          <a:xfrm>
            <a:off x="2326661" y="3343297"/>
            <a:ext cx="125120" cy="135844"/>
          </a:xfrm>
          <a:custGeom>
            <a:avLst/>
            <a:gdLst>
              <a:gd name="T0" fmla="*/ 1 w 26"/>
              <a:gd name="T1" fmla="*/ 25 h 28"/>
              <a:gd name="T2" fmla="*/ 2 w 26"/>
              <a:gd name="T3" fmla="*/ 26 h 28"/>
              <a:gd name="T4" fmla="*/ 4 w 26"/>
              <a:gd name="T5" fmla="*/ 26 h 28"/>
              <a:gd name="T6" fmla="*/ 6 w 26"/>
              <a:gd name="T7" fmla="*/ 26 h 28"/>
              <a:gd name="T8" fmla="*/ 14 w 26"/>
              <a:gd name="T9" fmla="*/ 26 h 28"/>
              <a:gd name="T10" fmla="*/ 15 w 26"/>
              <a:gd name="T11" fmla="*/ 27 h 28"/>
              <a:gd name="T12" fmla="*/ 20 w 26"/>
              <a:gd name="T13" fmla="*/ 27 h 28"/>
              <a:gd name="T14" fmla="*/ 23 w 26"/>
              <a:gd name="T15" fmla="*/ 27 h 28"/>
              <a:gd name="T16" fmla="*/ 24 w 26"/>
              <a:gd name="T17" fmla="*/ 27 h 28"/>
              <a:gd name="T18" fmla="*/ 21 w 26"/>
              <a:gd name="T19" fmla="*/ 23 h 28"/>
              <a:gd name="T20" fmla="*/ 21 w 26"/>
              <a:gd name="T21" fmla="*/ 16 h 28"/>
              <a:gd name="T22" fmla="*/ 25 w 26"/>
              <a:gd name="T23" fmla="*/ 16 h 28"/>
              <a:gd name="T24" fmla="*/ 25 w 26"/>
              <a:gd name="T25" fmla="*/ 16 h 28"/>
              <a:gd name="T26" fmla="*/ 26 w 26"/>
              <a:gd name="T27" fmla="*/ 11 h 28"/>
              <a:gd name="T28" fmla="*/ 25 w 26"/>
              <a:gd name="T29" fmla="*/ 11 h 28"/>
              <a:gd name="T30" fmla="*/ 23 w 26"/>
              <a:gd name="T31" fmla="*/ 11 h 28"/>
              <a:gd name="T32" fmla="*/ 22 w 26"/>
              <a:gd name="T33" fmla="*/ 12 h 28"/>
              <a:gd name="T34" fmla="*/ 22 w 26"/>
              <a:gd name="T35" fmla="*/ 10 h 28"/>
              <a:gd name="T36" fmla="*/ 21 w 26"/>
              <a:gd name="T37" fmla="*/ 8 h 28"/>
              <a:gd name="T38" fmla="*/ 21 w 26"/>
              <a:gd name="T39" fmla="*/ 5 h 28"/>
              <a:gd name="T40" fmla="*/ 21 w 26"/>
              <a:gd name="T41" fmla="*/ 4 h 28"/>
              <a:gd name="T42" fmla="*/ 19 w 26"/>
              <a:gd name="T43" fmla="*/ 3 h 28"/>
              <a:gd name="T44" fmla="*/ 18 w 26"/>
              <a:gd name="T45" fmla="*/ 3 h 28"/>
              <a:gd name="T46" fmla="*/ 17 w 26"/>
              <a:gd name="T47" fmla="*/ 3 h 28"/>
              <a:gd name="T48" fmla="*/ 16 w 26"/>
              <a:gd name="T49" fmla="*/ 5 h 28"/>
              <a:gd name="T50" fmla="*/ 13 w 26"/>
              <a:gd name="T51" fmla="*/ 5 h 28"/>
              <a:gd name="T52" fmla="*/ 11 w 26"/>
              <a:gd name="T53" fmla="*/ 4 h 28"/>
              <a:gd name="T54" fmla="*/ 10 w 26"/>
              <a:gd name="T55" fmla="*/ 2 h 28"/>
              <a:gd name="T56" fmla="*/ 10 w 26"/>
              <a:gd name="T57" fmla="*/ 0 h 28"/>
              <a:gd name="T58" fmla="*/ 3 w 26"/>
              <a:gd name="T59" fmla="*/ 0 h 28"/>
              <a:gd name="T60" fmla="*/ 2 w 26"/>
              <a:gd name="T61" fmla="*/ 1 h 28"/>
              <a:gd name="T62" fmla="*/ 4 w 26"/>
              <a:gd name="T63" fmla="*/ 5 h 28"/>
              <a:gd name="T64" fmla="*/ 3 w 26"/>
              <a:gd name="T65" fmla="*/ 8 h 28"/>
              <a:gd name="T66" fmla="*/ 5 w 26"/>
              <a:gd name="T67" fmla="*/ 12 h 28"/>
              <a:gd name="T68" fmla="*/ 3 w 26"/>
              <a:gd name="T69" fmla="*/ 16 h 28"/>
              <a:gd name="T70" fmla="*/ 1 w 26"/>
              <a:gd name="T71" fmla="*/ 20 h 28"/>
              <a:gd name="T72" fmla="*/ 0 w 26"/>
              <a:gd name="T73" fmla="*/ 23 h 28"/>
              <a:gd name="T74" fmla="*/ 0 w 26"/>
              <a:gd name="T75" fmla="*/ 26 h 28"/>
              <a:gd name="T76" fmla="*/ 0 w 26"/>
              <a:gd name="T77" fmla="*/ 26 h 28"/>
              <a:gd name="T78" fmla="*/ 1 w 26"/>
              <a:gd name="T79" fmla="*/ 26 h 28"/>
              <a:gd name="T80" fmla="*/ 1 w 26"/>
              <a:gd name="T8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28">
                <a:moveTo>
                  <a:pt x="1" y="25"/>
                </a:moveTo>
                <a:cubicBezTo>
                  <a:pt x="2" y="25"/>
                  <a:pt x="2" y="26"/>
                  <a:pt x="2" y="26"/>
                </a:cubicBezTo>
                <a:cubicBezTo>
                  <a:pt x="3" y="25"/>
                  <a:pt x="4" y="25"/>
                  <a:pt x="4" y="26"/>
                </a:cubicBezTo>
                <a:cubicBezTo>
                  <a:pt x="5" y="26"/>
                  <a:pt x="6" y="26"/>
                  <a:pt x="6" y="26"/>
                </a:cubicBezTo>
                <a:cubicBezTo>
                  <a:pt x="14" y="26"/>
                  <a:pt x="14" y="26"/>
                  <a:pt x="14" y="26"/>
                </a:cubicBezTo>
                <a:cubicBezTo>
                  <a:pt x="15" y="27"/>
                  <a:pt x="15" y="27"/>
                  <a:pt x="15" y="27"/>
                </a:cubicBezTo>
                <a:cubicBezTo>
                  <a:pt x="15" y="27"/>
                  <a:pt x="19" y="27"/>
                  <a:pt x="20" y="27"/>
                </a:cubicBezTo>
                <a:cubicBezTo>
                  <a:pt x="20" y="28"/>
                  <a:pt x="23" y="27"/>
                  <a:pt x="23" y="27"/>
                </a:cubicBezTo>
                <a:cubicBezTo>
                  <a:pt x="23" y="27"/>
                  <a:pt x="24" y="27"/>
                  <a:pt x="24" y="27"/>
                </a:cubicBezTo>
                <a:cubicBezTo>
                  <a:pt x="21" y="23"/>
                  <a:pt x="21" y="23"/>
                  <a:pt x="21" y="23"/>
                </a:cubicBezTo>
                <a:cubicBezTo>
                  <a:pt x="21" y="16"/>
                  <a:pt x="21" y="16"/>
                  <a:pt x="21" y="16"/>
                </a:cubicBezTo>
                <a:cubicBezTo>
                  <a:pt x="25" y="16"/>
                  <a:pt x="25" y="16"/>
                  <a:pt x="25" y="16"/>
                </a:cubicBezTo>
                <a:cubicBezTo>
                  <a:pt x="25" y="16"/>
                  <a:pt x="25" y="16"/>
                  <a:pt x="25" y="16"/>
                </a:cubicBezTo>
                <a:cubicBezTo>
                  <a:pt x="26" y="11"/>
                  <a:pt x="26" y="11"/>
                  <a:pt x="26" y="11"/>
                </a:cubicBezTo>
                <a:cubicBezTo>
                  <a:pt x="26" y="11"/>
                  <a:pt x="25" y="11"/>
                  <a:pt x="25" y="11"/>
                </a:cubicBezTo>
                <a:cubicBezTo>
                  <a:pt x="25" y="11"/>
                  <a:pt x="24" y="11"/>
                  <a:pt x="23" y="11"/>
                </a:cubicBezTo>
                <a:cubicBezTo>
                  <a:pt x="23" y="11"/>
                  <a:pt x="22" y="12"/>
                  <a:pt x="22" y="12"/>
                </a:cubicBezTo>
                <a:cubicBezTo>
                  <a:pt x="22" y="12"/>
                  <a:pt x="22" y="11"/>
                  <a:pt x="22" y="10"/>
                </a:cubicBezTo>
                <a:cubicBezTo>
                  <a:pt x="22" y="10"/>
                  <a:pt x="21" y="9"/>
                  <a:pt x="21" y="8"/>
                </a:cubicBezTo>
                <a:cubicBezTo>
                  <a:pt x="20" y="8"/>
                  <a:pt x="22" y="6"/>
                  <a:pt x="21" y="5"/>
                </a:cubicBezTo>
                <a:cubicBezTo>
                  <a:pt x="21" y="5"/>
                  <a:pt x="21" y="4"/>
                  <a:pt x="21" y="4"/>
                </a:cubicBezTo>
                <a:cubicBezTo>
                  <a:pt x="21" y="3"/>
                  <a:pt x="20" y="3"/>
                  <a:pt x="19" y="3"/>
                </a:cubicBezTo>
                <a:cubicBezTo>
                  <a:pt x="18" y="3"/>
                  <a:pt x="18" y="3"/>
                  <a:pt x="18" y="3"/>
                </a:cubicBezTo>
                <a:cubicBezTo>
                  <a:pt x="18" y="3"/>
                  <a:pt x="17" y="2"/>
                  <a:pt x="17" y="3"/>
                </a:cubicBezTo>
                <a:cubicBezTo>
                  <a:pt x="16" y="3"/>
                  <a:pt x="16" y="5"/>
                  <a:pt x="16" y="5"/>
                </a:cubicBezTo>
                <a:cubicBezTo>
                  <a:pt x="15" y="5"/>
                  <a:pt x="14" y="5"/>
                  <a:pt x="13" y="5"/>
                </a:cubicBezTo>
                <a:cubicBezTo>
                  <a:pt x="12" y="5"/>
                  <a:pt x="12" y="5"/>
                  <a:pt x="11" y="4"/>
                </a:cubicBezTo>
                <a:cubicBezTo>
                  <a:pt x="11" y="3"/>
                  <a:pt x="10" y="3"/>
                  <a:pt x="10" y="2"/>
                </a:cubicBezTo>
                <a:cubicBezTo>
                  <a:pt x="11" y="1"/>
                  <a:pt x="10" y="0"/>
                  <a:pt x="10" y="0"/>
                </a:cubicBezTo>
                <a:cubicBezTo>
                  <a:pt x="10" y="0"/>
                  <a:pt x="4" y="0"/>
                  <a:pt x="3" y="0"/>
                </a:cubicBezTo>
                <a:cubicBezTo>
                  <a:pt x="3" y="0"/>
                  <a:pt x="2" y="1"/>
                  <a:pt x="2" y="1"/>
                </a:cubicBezTo>
                <a:cubicBezTo>
                  <a:pt x="2" y="2"/>
                  <a:pt x="3" y="5"/>
                  <a:pt x="4" y="5"/>
                </a:cubicBezTo>
                <a:cubicBezTo>
                  <a:pt x="4" y="6"/>
                  <a:pt x="3" y="7"/>
                  <a:pt x="3" y="8"/>
                </a:cubicBezTo>
                <a:cubicBezTo>
                  <a:pt x="3" y="9"/>
                  <a:pt x="4" y="11"/>
                  <a:pt x="5" y="12"/>
                </a:cubicBezTo>
                <a:cubicBezTo>
                  <a:pt x="5" y="14"/>
                  <a:pt x="4" y="15"/>
                  <a:pt x="3" y="16"/>
                </a:cubicBezTo>
                <a:cubicBezTo>
                  <a:pt x="2" y="17"/>
                  <a:pt x="1" y="19"/>
                  <a:pt x="1" y="20"/>
                </a:cubicBezTo>
                <a:cubicBezTo>
                  <a:pt x="1" y="21"/>
                  <a:pt x="0" y="22"/>
                  <a:pt x="0" y="23"/>
                </a:cubicBezTo>
                <a:cubicBezTo>
                  <a:pt x="0" y="24"/>
                  <a:pt x="0" y="25"/>
                  <a:pt x="0" y="26"/>
                </a:cubicBezTo>
                <a:cubicBezTo>
                  <a:pt x="0" y="26"/>
                  <a:pt x="0" y="26"/>
                  <a:pt x="0" y="26"/>
                </a:cubicBezTo>
                <a:cubicBezTo>
                  <a:pt x="1" y="26"/>
                  <a:pt x="1" y="26"/>
                  <a:pt x="1" y="26"/>
                </a:cubicBezTo>
                <a:cubicBezTo>
                  <a:pt x="1" y="26"/>
                  <a:pt x="1" y="25"/>
                  <a:pt x="1"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45"/>
          <p:cNvSpPr>
            <a:spLocks/>
          </p:cNvSpPr>
          <p:nvPr/>
        </p:nvSpPr>
        <p:spPr bwMode="auto">
          <a:xfrm>
            <a:off x="2426756" y="3368321"/>
            <a:ext cx="125120" cy="110820"/>
          </a:xfrm>
          <a:custGeom>
            <a:avLst/>
            <a:gdLst>
              <a:gd name="T0" fmla="*/ 20 w 26"/>
              <a:gd name="T1" fmla="*/ 1 h 23"/>
              <a:gd name="T2" fmla="*/ 18 w 26"/>
              <a:gd name="T3" fmla="*/ 0 h 23"/>
              <a:gd name="T4" fmla="*/ 16 w 26"/>
              <a:gd name="T5" fmla="*/ 1 h 23"/>
              <a:gd name="T6" fmla="*/ 15 w 26"/>
              <a:gd name="T7" fmla="*/ 2 h 23"/>
              <a:gd name="T8" fmla="*/ 15 w 26"/>
              <a:gd name="T9" fmla="*/ 3 h 23"/>
              <a:gd name="T10" fmla="*/ 15 w 26"/>
              <a:gd name="T11" fmla="*/ 6 h 23"/>
              <a:gd name="T12" fmla="*/ 14 w 26"/>
              <a:gd name="T13" fmla="*/ 8 h 23"/>
              <a:gd name="T14" fmla="*/ 16 w 26"/>
              <a:gd name="T15" fmla="*/ 10 h 23"/>
              <a:gd name="T16" fmla="*/ 17 w 26"/>
              <a:gd name="T17" fmla="*/ 9 h 23"/>
              <a:gd name="T18" fmla="*/ 17 w 26"/>
              <a:gd name="T19" fmla="*/ 11 h 23"/>
              <a:gd name="T20" fmla="*/ 17 w 26"/>
              <a:gd name="T21" fmla="*/ 12 h 23"/>
              <a:gd name="T22" fmla="*/ 15 w 26"/>
              <a:gd name="T23" fmla="*/ 12 h 23"/>
              <a:gd name="T24" fmla="*/ 15 w 26"/>
              <a:gd name="T25" fmla="*/ 10 h 23"/>
              <a:gd name="T26" fmla="*/ 13 w 26"/>
              <a:gd name="T27" fmla="*/ 9 h 23"/>
              <a:gd name="T28" fmla="*/ 12 w 26"/>
              <a:gd name="T29" fmla="*/ 8 h 23"/>
              <a:gd name="T30" fmla="*/ 11 w 26"/>
              <a:gd name="T31" fmla="*/ 9 h 23"/>
              <a:gd name="T32" fmla="*/ 10 w 26"/>
              <a:gd name="T33" fmla="*/ 9 h 23"/>
              <a:gd name="T34" fmla="*/ 8 w 26"/>
              <a:gd name="T35" fmla="*/ 8 h 23"/>
              <a:gd name="T36" fmla="*/ 7 w 26"/>
              <a:gd name="T37" fmla="*/ 7 h 23"/>
              <a:gd name="T38" fmla="*/ 6 w 26"/>
              <a:gd name="T39" fmla="*/ 7 h 23"/>
              <a:gd name="T40" fmla="*/ 5 w 26"/>
              <a:gd name="T41" fmla="*/ 7 h 23"/>
              <a:gd name="T42" fmla="*/ 5 w 26"/>
              <a:gd name="T43" fmla="*/ 6 h 23"/>
              <a:gd name="T44" fmla="*/ 4 w 26"/>
              <a:gd name="T45" fmla="*/ 11 h 23"/>
              <a:gd name="T46" fmla="*/ 4 w 26"/>
              <a:gd name="T47" fmla="*/ 11 h 23"/>
              <a:gd name="T48" fmla="*/ 0 w 26"/>
              <a:gd name="T49" fmla="*/ 11 h 23"/>
              <a:gd name="T50" fmla="*/ 0 w 26"/>
              <a:gd name="T51" fmla="*/ 18 h 23"/>
              <a:gd name="T52" fmla="*/ 3 w 26"/>
              <a:gd name="T53" fmla="*/ 22 h 23"/>
              <a:gd name="T54" fmla="*/ 7 w 26"/>
              <a:gd name="T55" fmla="*/ 22 h 23"/>
              <a:gd name="T56" fmla="*/ 7 w 26"/>
              <a:gd name="T57" fmla="*/ 22 h 23"/>
              <a:gd name="T58" fmla="*/ 8 w 26"/>
              <a:gd name="T59" fmla="*/ 22 h 23"/>
              <a:gd name="T60" fmla="*/ 11 w 26"/>
              <a:gd name="T61" fmla="*/ 22 h 23"/>
              <a:gd name="T62" fmla="*/ 13 w 26"/>
              <a:gd name="T63" fmla="*/ 20 h 23"/>
              <a:gd name="T64" fmla="*/ 15 w 26"/>
              <a:gd name="T65" fmla="*/ 18 h 23"/>
              <a:gd name="T66" fmla="*/ 16 w 26"/>
              <a:gd name="T67" fmla="*/ 17 h 23"/>
              <a:gd name="T68" fmla="*/ 18 w 26"/>
              <a:gd name="T69" fmla="*/ 17 h 23"/>
              <a:gd name="T70" fmla="*/ 19 w 26"/>
              <a:gd name="T71" fmla="*/ 17 h 23"/>
              <a:gd name="T72" fmla="*/ 18 w 26"/>
              <a:gd name="T73" fmla="*/ 16 h 23"/>
              <a:gd name="T74" fmla="*/ 24 w 26"/>
              <a:gd name="T75" fmla="*/ 13 h 23"/>
              <a:gd name="T76" fmla="*/ 24 w 26"/>
              <a:gd name="T77" fmla="*/ 12 h 23"/>
              <a:gd name="T78" fmla="*/ 24 w 26"/>
              <a:gd name="T79" fmla="*/ 10 h 23"/>
              <a:gd name="T80" fmla="*/ 25 w 26"/>
              <a:gd name="T81" fmla="*/ 10 h 23"/>
              <a:gd name="T82" fmla="*/ 25 w 26"/>
              <a:gd name="T83" fmla="*/ 6 h 23"/>
              <a:gd name="T84" fmla="*/ 26 w 26"/>
              <a:gd name="T85" fmla="*/ 6 h 23"/>
              <a:gd name="T86" fmla="*/ 25 w 26"/>
              <a:gd name="T87" fmla="*/ 3 h 23"/>
              <a:gd name="T88" fmla="*/ 22 w 26"/>
              <a:gd name="T89" fmla="*/ 2 h 23"/>
              <a:gd name="T90" fmla="*/ 20 w 26"/>
              <a:gd name="T91"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23">
                <a:moveTo>
                  <a:pt x="20" y="1"/>
                </a:moveTo>
                <a:cubicBezTo>
                  <a:pt x="20" y="1"/>
                  <a:pt x="19" y="1"/>
                  <a:pt x="18" y="0"/>
                </a:cubicBezTo>
                <a:cubicBezTo>
                  <a:pt x="18" y="1"/>
                  <a:pt x="16" y="1"/>
                  <a:pt x="16" y="1"/>
                </a:cubicBezTo>
                <a:cubicBezTo>
                  <a:pt x="15" y="1"/>
                  <a:pt x="15" y="2"/>
                  <a:pt x="15" y="2"/>
                </a:cubicBezTo>
                <a:cubicBezTo>
                  <a:pt x="15" y="3"/>
                  <a:pt x="14" y="3"/>
                  <a:pt x="15" y="3"/>
                </a:cubicBezTo>
                <a:cubicBezTo>
                  <a:pt x="15" y="4"/>
                  <a:pt x="15" y="5"/>
                  <a:pt x="15" y="6"/>
                </a:cubicBezTo>
                <a:cubicBezTo>
                  <a:pt x="15" y="6"/>
                  <a:pt x="14" y="8"/>
                  <a:pt x="14" y="8"/>
                </a:cubicBezTo>
                <a:cubicBezTo>
                  <a:pt x="14" y="8"/>
                  <a:pt x="15" y="9"/>
                  <a:pt x="16" y="10"/>
                </a:cubicBezTo>
                <a:cubicBezTo>
                  <a:pt x="16" y="10"/>
                  <a:pt x="17" y="9"/>
                  <a:pt x="17" y="9"/>
                </a:cubicBezTo>
                <a:cubicBezTo>
                  <a:pt x="17" y="9"/>
                  <a:pt x="17" y="10"/>
                  <a:pt x="17" y="11"/>
                </a:cubicBezTo>
                <a:cubicBezTo>
                  <a:pt x="17" y="11"/>
                  <a:pt x="17" y="12"/>
                  <a:pt x="17" y="12"/>
                </a:cubicBezTo>
                <a:cubicBezTo>
                  <a:pt x="17" y="12"/>
                  <a:pt x="16" y="12"/>
                  <a:pt x="15" y="12"/>
                </a:cubicBezTo>
                <a:cubicBezTo>
                  <a:pt x="15" y="11"/>
                  <a:pt x="15" y="10"/>
                  <a:pt x="15" y="10"/>
                </a:cubicBezTo>
                <a:cubicBezTo>
                  <a:pt x="15" y="9"/>
                  <a:pt x="13" y="9"/>
                  <a:pt x="13" y="9"/>
                </a:cubicBezTo>
                <a:cubicBezTo>
                  <a:pt x="12" y="9"/>
                  <a:pt x="12" y="9"/>
                  <a:pt x="12" y="8"/>
                </a:cubicBezTo>
                <a:cubicBezTo>
                  <a:pt x="11" y="8"/>
                  <a:pt x="11" y="8"/>
                  <a:pt x="11" y="9"/>
                </a:cubicBezTo>
                <a:cubicBezTo>
                  <a:pt x="11" y="9"/>
                  <a:pt x="10" y="9"/>
                  <a:pt x="10" y="9"/>
                </a:cubicBezTo>
                <a:cubicBezTo>
                  <a:pt x="9" y="9"/>
                  <a:pt x="8" y="8"/>
                  <a:pt x="8" y="8"/>
                </a:cubicBezTo>
                <a:cubicBezTo>
                  <a:pt x="8" y="8"/>
                  <a:pt x="7" y="8"/>
                  <a:pt x="7" y="7"/>
                </a:cubicBezTo>
                <a:cubicBezTo>
                  <a:pt x="7" y="7"/>
                  <a:pt x="6" y="7"/>
                  <a:pt x="6" y="7"/>
                </a:cubicBezTo>
                <a:cubicBezTo>
                  <a:pt x="6" y="7"/>
                  <a:pt x="5" y="7"/>
                  <a:pt x="5" y="7"/>
                </a:cubicBezTo>
                <a:cubicBezTo>
                  <a:pt x="5" y="7"/>
                  <a:pt x="5" y="6"/>
                  <a:pt x="5" y="6"/>
                </a:cubicBezTo>
                <a:cubicBezTo>
                  <a:pt x="4" y="11"/>
                  <a:pt x="4" y="11"/>
                  <a:pt x="4" y="11"/>
                </a:cubicBezTo>
                <a:cubicBezTo>
                  <a:pt x="4" y="11"/>
                  <a:pt x="4" y="11"/>
                  <a:pt x="4" y="11"/>
                </a:cubicBezTo>
                <a:cubicBezTo>
                  <a:pt x="0" y="11"/>
                  <a:pt x="0" y="11"/>
                  <a:pt x="0" y="11"/>
                </a:cubicBezTo>
                <a:cubicBezTo>
                  <a:pt x="0" y="18"/>
                  <a:pt x="0" y="18"/>
                  <a:pt x="0" y="18"/>
                </a:cubicBezTo>
                <a:cubicBezTo>
                  <a:pt x="3" y="22"/>
                  <a:pt x="3" y="22"/>
                  <a:pt x="3" y="22"/>
                </a:cubicBezTo>
                <a:cubicBezTo>
                  <a:pt x="4" y="22"/>
                  <a:pt x="7" y="21"/>
                  <a:pt x="7" y="22"/>
                </a:cubicBezTo>
                <a:cubicBezTo>
                  <a:pt x="7" y="22"/>
                  <a:pt x="7" y="22"/>
                  <a:pt x="7" y="22"/>
                </a:cubicBezTo>
                <a:cubicBezTo>
                  <a:pt x="7" y="22"/>
                  <a:pt x="8" y="22"/>
                  <a:pt x="8" y="22"/>
                </a:cubicBezTo>
                <a:cubicBezTo>
                  <a:pt x="9" y="22"/>
                  <a:pt x="10" y="23"/>
                  <a:pt x="11" y="22"/>
                </a:cubicBezTo>
                <a:cubicBezTo>
                  <a:pt x="11" y="22"/>
                  <a:pt x="12" y="20"/>
                  <a:pt x="13" y="20"/>
                </a:cubicBezTo>
                <a:cubicBezTo>
                  <a:pt x="14" y="20"/>
                  <a:pt x="15" y="19"/>
                  <a:pt x="15" y="18"/>
                </a:cubicBezTo>
                <a:cubicBezTo>
                  <a:pt x="15" y="18"/>
                  <a:pt x="15" y="18"/>
                  <a:pt x="16" y="17"/>
                </a:cubicBezTo>
                <a:cubicBezTo>
                  <a:pt x="18" y="17"/>
                  <a:pt x="18" y="17"/>
                  <a:pt x="18" y="17"/>
                </a:cubicBezTo>
                <a:cubicBezTo>
                  <a:pt x="19" y="17"/>
                  <a:pt x="19" y="17"/>
                  <a:pt x="19" y="17"/>
                </a:cubicBezTo>
                <a:cubicBezTo>
                  <a:pt x="18" y="16"/>
                  <a:pt x="18" y="16"/>
                  <a:pt x="18" y="16"/>
                </a:cubicBezTo>
                <a:cubicBezTo>
                  <a:pt x="18" y="16"/>
                  <a:pt x="24" y="13"/>
                  <a:pt x="24" y="13"/>
                </a:cubicBezTo>
                <a:cubicBezTo>
                  <a:pt x="24" y="13"/>
                  <a:pt x="24" y="12"/>
                  <a:pt x="24" y="12"/>
                </a:cubicBezTo>
                <a:cubicBezTo>
                  <a:pt x="24" y="12"/>
                  <a:pt x="24" y="11"/>
                  <a:pt x="24" y="10"/>
                </a:cubicBezTo>
                <a:cubicBezTo>
                  <a:pt x="24" y="10"/>
                  <a:pt x="25" y="10"/>
                  <a:pt x="25" y="10"/>
                </a:cubicBezTo>
                <a:cubicBezTo>
                  <a:pt x="25" y="9"/>
                  <a:pt x="25" y="7"/>
                  <a:pt x="25" y="6"/>
                </a:cubicBezTo>
                <a:cubicBezTo>
                  <a:pt x="25" y="5"/>
                  <a:pt x="26" y="6"/>
                  <a:pt x="26" y="6"/>
                </a:cubicBezTo>
                <a:cubicBezTo>
                  <a:pt x="26" y="5"/>
                  <a:pt x="25" y="4"/>
                  <a:pt x="25" y="3"/>
                </a:cubicBezTo>
                <a:cubicBezTo>
                  <a:pt x="24" y="3"/>
                  <a:pt x="22" y="2"/>
                  <a:pt x="22" y="2"/>
                </a:cubicBezTo>
                <a:cubicBezTo>
                  <a:pt x="21" y="2"/>
                  <a:pt x="20" y="1"/>
                  <a:pt x="2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46"/>
          <p:cNvSpPr>
            <a:spLocks/>
          </p:cNvSpPr>
          <p:nvPr/>
        </p:nvSpPr>
        <p:spPr bwMode="auto">
          <a:xfrm>
            <a:off x="2498253" y="3289674"/>
            <a:ext cx="25024" cy="17874"/>
          </a:xfrm>
          <a:custGeom>
            <a:avLst/>
            <a:gdLst>
              <a:gd name="T0" fmla="*/ 4 w 5"/>
              <a:gd name="T1" fmla="*/ 0 h 4"/>
              <a:gd name="T2" fmla="*/ 3 w 5"/>
              <a:gd name="T3" fmla="*/ 1 h 4"/>
              <a:gd name="T4" fmla="*/ 2 w 5"/>
              <a:gd name="T5" fmla="*/ 1 h 4"/>
              <a:gd name="T6" fmla="*/ 1 w 5"/>
              <a:gd name="T7" fmla="*/ 1 h 4"/>
              <a:gd name="T8" fmla="*/ 1 w 5"/>
              <a:gd name="T9" fmla="*/ 3 h 4"/>
              <a:gd name="T10" fmla="*/ 0 w 5"/>
              <a:gd name="T11" fmla="*/ 3 h 4"/>
              <a:gd name="T12" fmla="*/ 1 w 5"/>
              <a:gd name="T13" fmla="*/ 4 h 4"/>
              <a:gd name="T14" fmla="*/ 2 w 5"/>
              <a:gd name="T15" fmla="*/ 4 h 4"/>
              <a:gd name="T16" fmla="*/ 3 w 5"/>
              <a:gd name="T17" fmla="*/ 3 h 4"/>
              <a:gd name="T18" fmla="*/ 5 w 5"/>
              <a:gd name="T19" fmla="*/ 3 h 4"/>
              <a:gd name="T20" fmla="*/ 4 w 5"/>
              <a:gd name="T21" fmla="*/ 1 h 4"/>
              <a:gd name="T22" fmla="*/ 4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4" y="0"/>
                </a:moveTo>
                <a:cubicBezTo>
                  <a:pt x="3" y="1"/>
                  <a:pt x="3" y="1"/>
                  <a:pt x="3" y="1"/>
                </a:cubicBezTo>
                <a:cubicBezTo>
                  <a:pt x="2" y="1"/>
                  <a:pt x="2" y="1"/>
                  <a:pt x="2" y="1"/>
                </a:cubicBezTo>
                <a:cubicBezTo>
                  <a:pt x="2" y="1"/>
                  <a:pt x="1" y="1"/>
                  <a:pt x="1" y="1"/>
                </a:cubicBezTo>
                <a:cubicBezTo>
                  <a:pt x="1" y="1"/>
                  <a:pt x="1" y="3"/>
                  <a:pt x="1" y="3"/>
                </a:cubicBezTo>
                <a:cubicBezTo>
                  <a:pt x="1" y="3"/>
                  <a:pt x="0" y="3"/>
                  <a:pt x="0" y="3"/>
                </a:cubicBezTo>
                <a:cubicBezTo>
                  <a:pt x="0" y="4"/>
                  <a:pt x="1" y="4"/>
                  <a:pt x="1" y="4"/>
                </a:cubicBezTo>
                <a:cubicBezTo>
                  <a:pt x="1" y="4"/>
                  <a:pt x="1" y="4"/>
                  <a:pt x="2" y="4"/>
                </a:cubicBezTo>
                <a:cubicBezTo>
                  <a:pt x="3" y="4"/>
                  <a:pt x="3" y="3"/>
                  <a:pt x="3" y="3"/>
                </a:cubicBezTo>
                <a:cubicBezTo>
                  <a:pt x="3" y="3"/>
                  <a:pt x="5" y="3"/>
                  <a:pt x="5" y="3"/>
                </a:cubicBezTo>
                <a:cubicBezTo>
                  <a:pt x="5" y="2"/>
                  <a:pt x="4" y="1"/>
                  <a:pt x="4" y="1"/>
                </a:cubicBezTo>
                <a:lnTo>
                  <a:pt x="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47"/>
          <p:cNvSpPr>
            <a:spLocks/>
          </p:cNvSpPr>
          <p:nvPr/>
        </p:nvSpPr>
        <p:spPr bwMode="auto">
          <a:xfrm>
            <a:off x="2630523" y="3150255"/>
            <a:ext cx="110820" cy="142994"/>
          </a:xfrm>
          <a:custGeom>
            <a:avLst/>
            <a:gdLst>
              <a:gd name="T0" fmla="*/ 5 w 23"/>
              <a:gd name="T1" fmla="*/ 6 h 30"/>
              <a:gd name="T2" fmla="*/ 7 w 23"/>
              <a:gd name="T3" fmla="*/ 7 h 30"/>
              <a:gd name="T4" fmla="*/ 11 w 23"/>
              <a:gd name="T5" fmla="*/ 8 h 30"/>
              <a:gd name="T6" fmla="*/ 14 w 23"/>
              <a:gd name="T7" fmla="*/ 9 h 30"/>
              <a:gd name="T8" fmla="*/ 15 w 23"/>
              <a:gd name="T9" fmla="*/ 10 h 30"/>
              <a:gd name="T10" fmla="*/ 9 w 23"/>
              <a:gd name="T11" fmla="*/ 15 h 30"/>
              <a:gd name="T12" fmla="*/ 7 w 23"/>
              <a:gd name="T13" fmla="*/ 16 h 30"/>
              <a:gd name="T14" fmla="*/ 4 w 23"/>
              <a:gd name="T15" fmla="*/ 17 h 30"/>
              <a:gd name="T16" fmla="*/ 2 w 23"/>
              <a:gd name="T17" fmla="*/ 18 h 30"/>
              <a:gd name="T18" fmla="*/ 1 w 23"/>
              <a:gd name="T19" fmla="*/ 19 h 30"/>
              <a:gd name="T20" fmla="*/ 0 w 23"/>
              <a:gd name="T21" fmla="*/ 21 h 30"/>
              <a:gd name="T22" fmla="*/ 0 w 23"/>
              <a:gd name="T23" fmla="*/ 29 h 30"/>
              <a:gd name="T24" fmla="*/ 1 w 23"/>
              <a:gd name="T25" fmla="*/ 30 h 30"/>
              <a:gd name="T26" fmla="*/ 6 w 23"/>
              <a:gd name="T27" fmla="*/ 25 h 30"/>
              <a:gd name="T28" fmla="*/ 10 w 23"/>
              <a:gd name="T29" fmla="*/ 22 h 30"/>
              <a:gd name="T30" fmla="*/ 15 w 23"/>
              <a:gd name="T31" fmla="*/ 17 h 30"/>
              <a:gd name="T32" fmla="*/ 18 w 23"/>
              <a:gd name="T33" fmla="*/ 13 h 30"/>
              <a:gd name="T34" fmla="*/ 20 w 23"/>
              <a:gd name="T35" fmla="*/ 9 h 30"/>
              <a:gd name="T36" fmla="*/ 22 w 23"/>
              <a:gd name="T37" fmla="*/ 5 h 30"/>
              <a:gd name="T38" fmla="*/ 23 w 23"/>
              <a:gd name="T39" fmla="*/ 1 h 30"/>
              <a:gd name="T40" fmla="*/ 21 w 23"/>
              <a:gd name="T41" fmla="*/ 0 h 30"/>
              <a:gd name="T42" fmla="*/ 16 w 23"/>
              <a:gd name="T43" fmla="*/ 2 h 30"/>
              <a:gd name="T44" fmla="*/ 13 w 23"/>
              <a:gd name="T45" fmla="*/ 3 h 30"/>
              <a:gd name="T46" fmla="*/ 10 w 23"/>
              <a:gd name="T47" fmla="*/ 3 h 30"/>
              <a:gd name="T48" fmla="*/ 6 w 23"/>
              <a:gd name="T49" fmla="*/ 3 h 30"/>
              <a:gd name="T50" fmla="*/ 5 w 23"/>
              <a:gd name="T51" fmla="*/ 2 h 30"/>
              <a:gd name="T52" fmla="*/ 4 w 23"/>
              <a:gd name="T53" fmla="*/ 4 h 30"/>
              <a:gd name="T54" fmla="*/ 5 w 23"/>
              <a:gd name="T5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30">
                <a:moveTo>
                  <a:pt x="5" y="6"/>
                </a:moveTo>
                <a:cubicBezTo>
                  <a:pt x="6" y="6"/>
                  <a:pt x="6" y="7"/>
                  <a:pt x="7" y="7"/>
                </a:cubicBezTo>
                <a:cubicBezTo>
                  <a:pt x="7" y="7"/>
                  <a:pt x="10" y="8"/>
                  <a:pt x="11" y="8"/>
                </a:cubicBezTo>
                <a:cubicBezTo>
                  <a:pt x="13" y="9"/>
                  <a:pt x="14" y="9"/>
                  <a:pt x="14" y="9"/>
                </a:cubicBezTo>
                <a:cubicBezTo>
                  <a:pt x="15" y="9"/>
                  <a:pt x="16" y="9"/>
                  <a:pt x="15" y="10"/>
                </a:cubicBezTo>
                <a:cubicBezTo>
                  <a:pt x="15" y="10"/>
                  <a:pt x="10" y="15"/>
                  <a:pt x="9" y="15"/>
                </a:cubicBezTo>
                <a:cubicBezTo>
                  <a:pt x="9" y="16"/>
                  <a:pt x="8" y="16"/>
                  <a:pt x="7" y="16"/>
                </a:cubicBezTo>
                <a:cubicBezTo>
                  <a:pt x="5" y="16"/>
                  <a:pt x="4" y="17"/>
                  <a:pt x="4" y="17"/>
                </a:cubicBezTo>
                <a:cubicBezTo>
                  <a:pt x="4" y="17"/>
                  <a:pt x="3" y="18"/>
                  <a:pt x="2" y="18"/>
                </a:cubicBezTo>
                <a:cubicBezTo>
                  <a:pt x="1" y="19"/>
                  <a:pt x="1" y="19"/>
                  <a:pt x="1" y="19"/>
                </a:cubicBezTo>
                <a:cubicBezTo>
                  <a:pt x="0" y="21"/>
                  <a:pt x="0" y="21"/>
                  <a:pt x="0" y="21"/>
                </a:cubicBezTo>
                <a:cubicBezTo>
                  <a:pt x="0" y="29"/>
                  <a:pt x="0" y="29"/>
                  <a:pt x="0" y="29"/>
                </a:cubicBezTo>
                <a:cubicBezTo>
                  <a:pt x="1" y="30"/>
                  <a:pt x="1" y="30"/>
                  <a:pt x="1" y="30"/>
                </a:cubicBezTo>
                <a:cubicBezTo>
                  <a:pt x="2" y="29"/>
                  <a:pt x="4" y="27"/>
                  <a:pt x="6" y="25"/>
                </a:cubicBezTo>
                <a:cubicBezTo>
                  <a:pt x="8" y="23"/>
                  <a:pt x="9" y="23"/>
                  <a:pt x="10" y="22"/>
                </a:cubicBezTo>
                <a:cubicBezTo>
                  <a:pt x="11" y="22"/>
                  <a:pt x="14" y="19"/>
                  <a:pt x="15" y="17"/>
                </a:cubicBezTo>
                <a:cubicBezTo>
                  <a:pt x="17" y="16"/>
                  <a:pt x="18" y="14"/>
                  <a:pt x="18" y="13"/>
                </a:cubicBezTo>
                <a:cubicBezTo>
                  <a:pt x="18" y="12"/>
                  <a:pt x="19" y="10"/>
                  <a:pt x="20" y="9"/>
                </a:cubicBezTo>
                <a:cubicBezTo>
                  <a:pt x="21" y="8"/>
                  <a:pt x="22" y="6"/>
                  <a:pt x="22" y="5"/>
                </a:cubicBezTo>
                <a:cubicBezTo>
                  <a:pt x="22" y="4"/>
                  <a:pt x="23" y="3"/>
                  <a:pt x="23" y="1"/>
                </a:cubicBezTo>
                <a:cubicBezTo>
                  <a:pt x="23" y="0"/>
                  <a:pt x="22" y="0"/>
                  <a:pt x="21" y="0"/>
                </a:cubicBezTo>
                <a:cubicBezTo>
                  <a:pt x="21" y="1"/>
                  <a:pt x="18" y="2"/>
                  <a:pt x="16" y="2"/>
                </a:cubicBezTo>
                <a:cubicBezTo>
                  <a:pt x="15" y="2"/>
                  <a:pt x="14" y="2"/>
                  <a:pt x="13" y="3"/>
                </a:cubicBezTo>
                <a:cubicBezTo>
                  <a:pt x="12" y="3"/>
                  <a:pt x="11" y="2"/>
                  <a:pt x="10" y="3"/>
                </a:cubicBezTo>
                <a:cubicBezTo>
                  <a:pt x="9" y="4"/>
                  <a:pt x="7" y="4"/>
                  <a:pt x="6" y="3"/>
                </a:cubicBezTo>
                <a:cubicBezTo>
                  <a:pt x="6" y="2"/>
                  <a:pt x="6" y="2"/>
                  <a:pt x="5" y="2"/>
                </a:cubicBezTo>
                <a:cubicBezTo>
                  <a:pt x="5" y="2"/>
                  <a:pt x="4" y="3"/>
                  <a:pt x="4" y="4"/>
                </a:cubicBezTo>
                <a:cubicBezTo>
                  <a:pt x="4" y="4"/>
                  <a:pt x="5" y="5"/>
                  <a:pt x="5"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48"/>
          <p:cNvSpPr>
            <a:spLocks/>
          </p:cNvSpPr>
          <p:nvPr/>
        </p:nvSpPr>
        <p:spPr bwMode="auto">
          <a:xfrm>
            <a:off x="2062122" y="2874992"/>
            <a:ext cx="128695" cy="107245"/>
          </a:xfrm>
          <a:custGeom>
            <a:avLst/>
            <a:gdLst>
              <a:gd name="T0" fmla="*/ 10 w 27"/>
              <a:gd name="T1" fmla="*/ 22 h 22"/>
              <a:gd name="T2" fmla="*/ 10 w 27"/>
              <a:gd name="T3" fmla="*/ 19 h 22"/>
              <a:gd name="T4" fmla="*/ 13 w 27"/>
              <a:gd name="T5" fmla="*/ 16 h 22"/>
              <a:gd name="T6" fmla="*/ 15 w 27"/>
              <a:gd name="T7" fmla="*/ 16 h 22"/>
              <a:gd name="T8" fmla="*/ 17 w 27"/>
              <a:gd name="T9" fmla="*/ 15 h 22"/>
              <a:gd name="T10" fmla="*/ 18 w 27"/>
              <a:gd name="T11" fmla="*/ 14 h 22"/>
              <a:gd name="T12" fmla="*/ 19 w 27"/>
              <a:gd name="T13" fmla="*/ 14 h 22"/>
              <a:gd name="T14" fmla="*/ 20 w 27"/>
              <a:gd name="T15" fmla="*/ 13 h 22"/>
              <a:gd name="T16" fmla="*/ 21 w 27"/>
              <a:gd name="T17" fmla="*/ 12 h 22"/>
              <a:gd name="T18" fmla="*/ 21 w 27"/>
              <a:gd name="T19" fmla="*/ 11 h 22"/>
              <a:gd name="T20" fmla="*/ 23 w 27"/>
              <a:gd name="T21" fmla="*/ 10 h 22"/>
              <a:gd name="T22" fmla="*/ 26 w 27"/>
              <a:gd name="T23" fmla="*/ 10 h 22"/>
              <a:gd name="T24" fmla="*/ 26 w 27"/>
              <a:gd name="T25" fmla="*/ 9 h 22"/>
              <a:gd name="T26" fmla="*/ 26 w 27"/>
              <a:gd name="T27" fmla="*/ 8 h 22"/>
              <a:gd name="T28" fmla="*/ 25 w 27"/>
              <a:gd name="T29" fmla="*/ 6 h 22"/>
              <a:gd name="T30" fmla="*/ 25 w 27"/>
              <a:gd name="T31" fmla="*/ 3 h 22"/>
              <a:gd name="T32" fmla="*/ 24 w 27"/>
              <a:gd name="T33" fmla="*/ 3 h 22"/>
              <a:gd name="T34" fmla="*/ 22 w 27"/>
              <a:gd name="T35" fmla="*/ 2 h 22"/>
              <a:gd name="T36" fmla="*/ 18 w 27"/>
              <a:gd name="T37" fmla="*/ 2 h 22"/>
              <a:gd name="T38" fmla="*/ 16 w 27"/>
              <a:gd name="T39" fmla="*/ 1 h 22"/>
              <a:gd name="T40" fmla="*/ 14 w 27"/>
              <a:gd name="T41" fmla="*/ 5 h 22"/>
              <a:gd name="T42" fmla="*/ 10 w 27"/>
              <a:gd name="T43" fmla="*/ 7 h 22"/>
              <a:gd name="T44" fmla="*/ 9 w 27"/>
              <a:gd name="T45" fmla="*/ 9 h 22"/>
              <a:gd name="T46" fmla="*/ 7 w 27"/>
              <a:gd name="T47" fmla="*/ 11 h 22"/>
              <a:gd name="T48" fmla="*/ 7 w 27"/>
              <a:gd name="T49" fmla="*/ 14 h 22"/>
              <a:gd name="T50" fmla="*/ 5 w 27"/>
              <a:gd name="T51" fmla="*/ 18 h 22"/>
              <a:gd name="T52" fmla="*/ 2 w 27"/>
              <a:gd name="T53" fmla="*/ 20 h 22"/>
              <a:gd name="T54" fmla="*/ 0 w 27"/>
              <a:gd name="T55" fmla="*/ 21 h 22"/>
              <a:gd name="T56" fmla="*/ 8 w 27"/>
              <a:gd name="T57" fmla="*/ 21 h 22"/>
              <a:gd name="T58" fmla="*/ 10 w 27"/>
              <a:gd name="T5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22">
                <a:moveTo>
                  <a:pt x="10" y="22"/>
                </a:moveTo>
                <a:cubicBezTo>
                  <a:pt x="10" y="20"/>
                  <a:pt x="10" y="19"/>
                  <a:pt x="10" y="19"/>
                </a:cubicBezTo>
                <a:cubicBezTo>
                  <a:pt x="10" y="18"/>
                  <a:pt x="13" y="17"/>
                  <a:pt x="13" y="16"/>
                </a:cubicBezTo>
                <a:cubicBezTo>
                  <a:pt x="14" y="16"/>
                  <a:pt x="15" y="16"/>
                  <a:pt x="15" y="16"/>
                </a:cubicBezTo>
                <a:cubicBezTo>
                  <a:pt x="15" y="15"/>
                  <a:pt x="16" y="16"/>
                  <a:pt x="17" y="15"/>
                </a:cubicBezTo>
                <a:cubicBezTo>
                  <a:pt x="17" y="15"/>
                  <a:pt x="18" y="15"/>
                  <a:pt x="18" y="14"/>
                </a:cubicBezTo>
                <a:cubicBezTo>
                  <a:pt x="18" y="13"/>
                  <a:pt x="19" y="14"/>
                  <a:pt x="19" y="14"/>
                </a:cubicBezTo>
                <a:cubicBezTo>
                  <a:pt x="20" y="13"/>
                  <a:pt x="20" y="13"/>
                  <a:pt x="20" y="13"/>
                </a:cubicBezTo>
                <a:cubicBezTo>
                  <a:pt x="21" y="13"/>
                  <a:pt x="21" y="12"/>
                  <a:pt x="21" y="12"/>
                </a:cubicBezTo>
                <a:cubicBezTo>
                  <a:pt x="21" y="11"/>
                  <a:pt x="21" y="11"/>
                  <a:pt x="21" y="11"/>
                </a:cubicBezTo>
                <a:cubicBezTo>
                  <a:pt x="22" y="11"/>
                  <a:pt x="23" y="11"/>
                  <a:pt x="23" y="10"/>
                </a:cubicBezTo>
                <a:cubicBezTo>
                  <a:pt x="23" y="10"/>
                  <a:pt x="26" y="10"/>
                  <a:pt x="26" y="10"/>
                </a:cubicBezTo>
                <a:cubicBezTo>
                  <a:pt x="26" y="10"/>
                  <a:pt x="27" y="10"/>
                  <a:pt x="26" y="9"/>
                </a:cubicBezTo>
                <a:cubicBezTo>
                  <a:pt x="26" y="9"/>
                  <a:pt x="26" y="8"/>
                  <a:pt x="26" y="8"/>
                </a:cubicBezTo>
                <a:cubicBezTo>
                  <a:pt x="25" y="8"/>
                  <a:pt x="25" y="6"/>
                  <a:pt x="25" y="6"/>
                </a:cubicBezTo>
                <a:cubicBezTo>
                  <a:pt x="25" y="5"/>
                  <a:pt x="25" y="4"/>
                  <a:pt x="25" y="3"/>
                </a:cubicBezTo>
                <a:cubicBezTo>
                  <a:pt x="25" y="3"/>
                  <a:pt x="25" y="3"/>
                  <a:pt x="24" y="3"/>
                </a:cubicBezTo>
                <a:cubicBezTo>
                  <a:pt x="24" y="3"/>
                  <a:pt x="23" y="2"/>
                  <a:pt x="22" y="2"/>
                </a:cubicBezTo>
                <a:cubicBezTo>
                  <a:pt x="21" y="2"/>
                  <a:pt x="19" y="3"/>
                  <a:pt x="18" y="2"/>
                </a:cubicBezTo>
                <a:cubicBezTo>
                  <a:pt x="17" y="1"/>
                  <a:pt x="17" y="0"/>
                  <a:pt x="16" y="1"/>
                </a:cubicBezTo>
                <a:cubicBezTo>
                  <a:pt x="15" y="1"/>
                  <a:pt x="14" y="4"/>
                  <a:pt x="14" y="5"/>
                </a:cubicBezTo>
                <a:cubicBezTo>
                  <a:pt x="13" y="6"/>
                  <a:pt x="11" y="7"/>
                  <a:pt x="10" y="7"/>
                </a:cubicBezTo>
                <a:cubicBezTo>
                  <a:pt x="9" y="7"/>
                  <a:pt x="9" y="8"/>
                  <a:pt x="9" y="9"/>
                </a:cubicBezTo>
                <a:cubicBezTo>
                  <a:pt x="8" y="9"/>
                  <a:pt x="8" y="10"/>
                  <a:pt x="7" y="11"/>
                </a:cubicBezTo>
                <a:cubicBezTo>
                  <a:pt x="7" y="11"/>
                  <a:pt x="7" y="13"/>
                  <a:pt x="7" y="14"/>
                </a:cubicBezTo>
                <a:cubicBezTo>
                  <a:pt x="8" y="15"/>
                  <a:pt x="6" y="17"/>
                  <a:pt x="5" y="18"/>
                </a:cubicBezTo>
                <a:cubicBezTo>
                  <a:pt x="4" y="18"/>
                  <a:pt x="3" y="20"/>
                  <a:pt x="2" y="20"/>
                </a:cubicBezTo>
                <a:cubicBezTo>
                  <a:pt x="1" y="20"/>
                  <a:pt x="0" y="20"/>
                  <a:pt x="0" y="21"/>
                </a:cubicBezTo>
                <a:cubicBezTo>
                  <a:pt x="8" y="21"/>
                  <a:pt x="8" y="21"/>
                  <a:pt x="8" y="21"/>
                </a:cubicBezTo>
                <a:cubicBezTo>
                  <a:pt x="10" y="21"/>
                  <a:pt x="9" y="21"/>
                  <a:pt x="10" y="2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9"/>
          <p:cNvSpPr>
            <a:spLocks/>
          </p:cNvSpPr>
          <p:nvPr/>
        </p:nvSpPr>
        <p:spPr bwMode="auto">
          <a:xfrm>
            <a:off x="2276613" y="2860692"/>
            <a:ext cx="50048" cy="85796"/>
          </a:xfrm>
          <a:custGeom>
            <a:avLst/>
            <a:gdLst>
              <a:gd name="T0" fmla="*/ 3 w 10"/>
              <a:gd name="T1" fmla="*/ 4 h 18"/>
              <a:gd name="T2" fmla="*/ 2 w 10"/>
              <a:gd name="T3" fmla="*/ 7 h 18"/>
              <a:gd name="T4" fmla="*/ 1 w 10"/>
              <a:gd name="T5" fmla="*/ 8 h 18"/>
              <a:gd name="T6" fmla="*/ 2 w 10"/>
              <a:gd name="T7" fmla="*/ 10 h 18"/>
              <a:gd name="T8" fmla="*/ 3 w 10"/>
              <a:gd name="T9" fmla="*/ 12 h 18"/>
              <a:gd name="T10" fmla="*/ 4 w 10"/>
              <a:gd name="T11" fmla="*/ 13 h 18"/>
              <a:gd name="T12" fmla="*/ 5 w 10"/>
              <a:gd name="T13" fmla="*/ 17 h 18"/>
              <a:gd name="T14" fmla="*/ 6 w 10"/>
              <a:gd name="T15" fmla="*/ 18 h 18"/>
              <a:gd name="T16" fmla="*/ 6 w 10"/>
              <a:gd name="T17" fmla="*/ 17 h 18"/>
              <a:gd name="T18" fmla="*/ 7 w 10"/>
              <a:gd name="T19" fmla="*/ 15 h 18"/>
              <a:gd name="T20" fmla="*/ 7 w 10"/>
              <a:gd name="T21" fmla="*/ 14 h 18"/>
              <a:gd name="T22" fmla="*/ 9 w 10"/>
              <a:gd name="T23" fmla="*/ 12 h 18"/>
              <a:gd name="T24" fmla="*/ 10 w 10"/>
              <a:gd name="T25" fmla="*/ 12 h 18"/>
              <a:gd name="T26" fmla="*/ 10 w 10"/>
              <a:gd name="T27" fmla="*/ 11 h 18"/>
              <a:gd name="T28" fmla="*/ 9 w 10"/>
              <a:gd name="T29" fmla="*/ 10 h 18"/>
              <a:gd name="T30" fmla="*/ 8 w 10"/>
              <a:gd name="T31" fmla="*/ 9 h 18"/>
              <a:gd name="T32" fmla="*/ 6 w 10"/>
              <a:gd name="T33" fmla="*/ 8 h 18"/>
              <a:gd name="T34" fmla="*/ 8 w 10"/>
              <a:gd name="T35" fmla="*/ 7 h 18"/>
              <a:gd name="T36" fmla="*/ 8 w 10"/>
              <a:gd name="T37" fmla="*/ 4 h 18"/>
              <a:gd name="T38" fmla="*/ 8 w 10"/>
              <a:gd name="T39" fmla="*/ 2 h 18"/>
              <a:gd name="T40" fmla="*/ 8 w 10"/>
              <a:gd name="T41" fmla="*/ 1 h 18"/>
              <a:gd name="T42" fmla="*/ 7 w 10"/>
              <a:gd name="T43" fmla="*/ 1 h 18"/>
              <a:gd name="T44" fmla="*/ 4 w 10"/>
              <a:gd name="T45" fmla="*/ 0 h 18"/>
              <a:gd name="T46" fmla="*/ 3 w 10"/>
              <a:gd name="T47" fmla="*/ 1 h 18"/>
              <a:gd name="T48" fmla="*/ 3 w 10"/>
              <a:gd name="T4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8">
                <a:moveTo>
                  <a:pt x="3" y="4"/>
                </a:moveTo>
                <a:cubicBezTo>
                  <a:pt x="3" y="5"/>
                  <a:pt x="3" y="6"/>
                  <a:pt x="2" y="7"/>
                </a:cubicBezTo>
                <a:cubicBezTo>
                  <a:pt x="2" y="7"/>
                  <a:pt x="1" y="8"/>
                  <a:pt x="1" y="8"/>
                </a:cubicBezTo>
                <a:cubicBezTo>
                  <a:pt x="0" y="8"/>
                  <a:pt x="1" y="10"/>
                  <a:pt x="2" y="10"/>
                </a:cubicBezTo>
                <a:cubicBezTo>
                  <a:pt x="3" y="11"/>
                  <a:pt x="3" y="11"/>
                  <a:pt x="3" y="12"/>
                </a:cubicBezTo>
                <a:cubicBezTo>
                  <a:pt x="3" y="12"/>
                  <a:pt x="4" y="13"/>
                  <a:pt x="4" y="13"/>
                </a:cubicBezTo>
                <a:cubicBezTo>
                  <a:pt x="5" y="14"/>
                  <a:pt x="5" y="16"/>
                  <a:pt x="5" y="17"/>
                </a:cubicBezTo>
                <a:cubicBezTo>
                  <a:pt x="5" y="17"/>
                  <a:pt x="5" y="17"/>
                  <a:pt x="6" y="18"/>
                </a:cubicBezTo>
                <a:cubicBezTo>
                  <a:pt x="6" y="17"/>
                  <a:pt x="6" y="17"/>
                  <a:pt x="6" y="17"/>
                </a:cubicBezTo>
                <a:cubicBezTo>
                  <a:pt x="7" y="16"/>
                  <a:pt x="7" y="15"/>
                  <a:pt x="7" y="15"/>
                </a:cubicBezTo>
                <a:cubicBezTo>
                  <a:pt x="7" y="15"/>
                  <a:pt x="7" y="14"/>
                  <a:pt x="7" y="14"/>
                </a:cubicBezTo>
                <a:cubicBezTo>
                  <a:pt x="7" y="14"/>
                  <a:pt x="9" y="12"/>
                  <a:pt x="9" y="12"/>
                </a:cubicBezTo>
                <a:cubicBezTo>
                  <a:pt x="9" y="12"/>
                  <a:pt x="10" y="12"/>
                  <a:pt x="10" y="12"/>
                </a:cubicBezTo>
                <a:cubicBezTo>
                  <a:pt x="10" y="11"/>
                  <a:pt x="10" y="11"/>
                  <a:pt x="10" y="11"/>
                </a:cubicBezTo>
                <a:cubicBezTo>
                  <a:pt x="9" y="10"/>
                  <a:pt x="9" y="10"/>
                  <a:pt x="9" y="10"/>
                </a:cubicBezTo>
                <a:cubicBezTo>
                  <a:pt x="9" y="9"/>
                  <a:pt x="8" y="8"/>
                  <a:pt x="8" y="9"/>
                </a:cubicBezTo>
                <a:cubicBezTo>
                  <a:pt x="8" y="9"/>
                  <a:pt x="6" y="9"/>
                  <a:pt x="6" y="8"/>
                </a:cubicBezTo>
                <a:cubicBezTo>
                  <a:pt x="6" y="7"/>
                  <a:pt x="7" y="7"/>
                  <a:pt x="8" y="7"/>
                </a:cubicBezTo>
                <a:cubicBezTo>
                  <a:pt x="9" y="6"/>
                  <a:pt x="9" y="4"/>
                  <a:pt x="8" y="4"/>
                </a:cubicBezTo>
                <a:cubicBezTo>
                  <a:pt x="7" y="3"/>
                  <a:pt x="8" y="2"/>
                  <a:pt x="8" y="2"/>
                </a:cubicBezTo>
                <a:cubicBezTo>
                  <a:pt x="9" y="1"/>
                  <a:pt x="9" y="1"/>
                  <a:pt x="8" y="1"/>
                </a:cubicBezTo>
                <a:cubicBezTo>
                  <a:pt x="8" y="1"/>
                  <a:pt x="7" y="1"/>
                  <a:pt x="7" y="1"/>
                </a:cubicBezTo>
                <a:cubicBezTo>
                  <a:pt x="7" y="0"/>
                  <a:pt x="5" y="0"/>
                  <a:pt x="4" y="0"/>
                </a:cubicBezTo>
                <a:cubicBezTo>
                  <a:pt x="4" y="1"/>
                  <a:pt x="3" y="1"/>
                  <a:pt x="3" y="1"/>
                </a:cubicBezTo>
                <a:cubicBezTo>
                  <a:pt x="3" y="2"/>
                  <a:pt x="3"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50"/>
          <p:cNvSpPr>
            <a:spLocks/>
          </p:cNvSpPr>
          <p:nvPr/>
        </p:nvSpPr>
        <p:spPr bwMode="auto">
          <a:xfrm>
            <a:off x="2108595" y="2860692"/>
            <a:ext cx="221641" cy="210916"/>
          </a:xfrm>
          <a:custGeom>
            <a:avLst/>
            <a:gdLst>
              <a:gd name="T0" fmla="*/ 15 w 46"/>
              <a:gd name="T1" fmla="*/ 9 h 44"/>
              <a:gd name="T2" fmla="*/ 16 w 46"/>
              <a:gd name="T3" fmla="*/ 11 h 44"/>
              <a:gd name="T4" fmla="*/ 16 w 46"/>
              <a:gd name="T5" fmla="*/ 12 h 44"/>
              <a:gd name="T6" fmla="*/ 16 w 46"/>
              <a:gd name="T7" fmla="*/ 13 h 44"/>
              <a:gd name="T8" fmla="*/ 13 w 46"/>
              <a:gd name="T9" fmla="*/ 13 h 44"/>
              <a:gd name="T10" fmla="*/ 11 w 46"/>
              <a:gd name="T11" fmla="*/ 14 h 44"/>
              <a:gd name="T12" fmla="*/ 11 w 46"/>
              <a:gd name="T13" fmla="*/ 15 h 44"/>
              <a:gd name="T14" fmla="*/ 10 w 46"/>
              <a:gd name="T15" fmla="*/ 16 h 44"/>
              <a:gd name="T16" fmla="*/ 9 w 46"/>
              <a:gd name="T17" fmla="*/ 17 h 44"/>
              <a:gd name="T18" fmla="*/ 8 w 46"/>
              <a:gd name="T19" fmla="*/ 17 h 44"/>
              <a:gd name="T20" fmla="*/ 7 w 46"/>
              <a:gd name="T21" fmla="*/ 18 h 44"/>
              <a:gd name="T22" fmla="*/ 5 w 46"/>
              <a:gd name="T23" fmla="*/ 19 h 44"/>
              <a:gd name="T24" fmla="*/ 3 w 46"/>
              <a:gd name="T25" fmla="*/ 19 h 44"/>
              <a:gd name="T26" fmla="*/ 0 w 46"/>
              <a:gd name="T27" fmla="*/ 22 h 44"/>
              <a:gd name="T28" fmla="*/ 0 w 46"/>
              <a:gd name="T29" fmla="*/ 25 h 44"/>
              <a:gd name="T30" fmla="*/ 0 w 46"/>
              <a:gd name="T31" fmla="*/ 25 h 44"/>
              <a:gd name="T32" fmla="*/ 22 w 46"/>
              <a:gd name="T33" fmla="*/ 39 h 44"/>
              <a:gd name="T34" fmla="*/ 23 w 46"/>
              <a:gd name="T35" fmla="*/ 41 h 44"/>
              <a:gd name="T36" fmla="*/ 25 w 46"/>
              <a:gd name="T37" fmla="*/ 42 h 44"/>
              <a:gd name="T38" fmla="*/ 27 w 46"/>
              <a:gd name="T39" fmla="*/ 44 h 44"/>
              <a:gd name="T40" fmla="*/ 29 w 46"/>
              <a:gd name="T41" fmla="*/ 44 h 44"/>
              <a:gd name="T42" fmla="*/ 32 w 46"/>
              <a:gd name="T43" fmla="*/ 43 h 44"/>
              <a:gd name="T44" fmla="*/ 36 w 46"/>
              <a:gd name="T45" fmla="*/ 40 h 44"/>
              <a:gd name="T46" fmla="*/ 46 w 46"/>
              <a:gd name="T47" fmla="*/ 34 h 44"/>
              <a:gd name="T48" fmla="*/ 46 w 46"/>
              <a:gd name="T49" fmla="*/ 34 h 44"/>
              <a:gd name="T50" fmla="*/ 45 w 46"/>
              <a:gd name="T51" fmla="*/ 32 h 44"/>
              <a:gd name="T52" fmla="*/ 43 w 46"/>
              <a:gd name="T53" fmla="*/ 31 h 44"/>
              <a:gd name="T54" fmla="*/ 41 w 46"/>
              <a:gd name="T55" fmla="*/ 30 h 44"/>
              <a:gd name="T56" fmla="*/ 41 w 46"/>
              <a:gd name="T57" fmla="*/ 29 h 44"/>
              <a:gd name="T58" fmla="*/ 40 w 46"/>
              <a:gd name="T59" fmla="*/ 27 h 44"/>
              <a:gd name="T60" fmla="*/ 41 w 46"/>
              <a:gd name="T61" fmla="*/ 26 h 44"/>
              <a:gd name="T62" fmla="*/ 41 w 46"/>
              <a:gd name="T63" fmla="*/ 25 h 44"/>
              <a:gd name="T64" fmla="*/ 41 w 46"/>
              <a:gd name="T65" fmla="*/ 24 h 44"/>
              <a:gd name="T66" fmla="*/ 41 w 46"/>
              <a:gd name="T67" fmla="*/ 22 h 44"/>
              <a:gd name="T68" fmla="*/ 41 w 46"/>
              <a:gd name="T69" fmla="*/ 20 h 44"/>
              <a:gd name="T70" fmla="*/ 40 w 46"/>
              <a:gd name="T71" fmla="*/ 18 h 44"/>
              <a:gd name="T72" fmla="*/ 41 w 46"/>
              <a:gd name="T73" fmla="*/ 18 h 44"/>
              <a:gd name="T74" fmla="*/ 40 w 46"/>
              <a:gd name="T75" fmla="*/ 17 h 44"/>
              <a:gd name="T76" fmla="*/ 39 w 46"/>
              <a:gd name="T77" fmla="*/ 13 h 44"/>
              <a:gd name="T78" fmla="*/ 38 w 46"/>
              <a:gd name="T79" fmla="*/ 12 h 44"/>
              <a:gd name="T80" fmla="*/ 37 w 46"/>
              <a:gd name="T81" fmla="*/ 10 h 44"/>
              <a:gd name="T82" fmla="*/ 36 w 46"/>
              <a:gd name="T83" fmla="*/ 8 h 44"/>
              <a:gd name="T84" fmla="*/ 37 w 46"/>
              <a:gd name="T85" fmla="*/ 7 h 44"/>
              <a:gd name="T86" fmla="*/ 38 w 46"/>
              <a:gd name="T87" fmla="*/ 4 h 44"/>
              <a:gd name="T88" fmla="*/ 38 w 46"/>
              <a:gd name="T89" fmla="*/ 1 h 44"/>
              <a:gd name="T90" fmla="*/ 36 w 46"/>
              <a:gd name="T91" fmla="*/ 0 h 44"/>
              <a:gd name="T92" fmla="*/ 34 w 46"/>
              <a:gd name="T93" fmla="*/ 1 h 44"/>
              <a:gd name="T94" fmla="*/ 30 w 46"/>
              <a:gd name="T95" fmla="*/ 1 h 44"/>
              <a:gd name="T96" fmla="*/ 22 w 46"/>
              <a:gd name="T97" fmla="*/ 2 h 44"/>
              <a:gd name="T98" fmla="*/ 19 w 46"/>
              <a:gd name="T99" fmla="*/ 3 h 44"/>
              <a:gd name="T100" fmla="*/ 15 w 46"/>
              <a:gd name="T101" fmla="*/ 5 h 44"/>
              <a:gd name="T102" fmla="*/ 14 w 46"/>
              <a:gd name="T103" fmla="*/ 6 h 44"/>
              <a:gd name="T104" fmla="*/ 15 w 46"/>
              <a:gd name="T105" fmla="*/ 6 h 44"/>
              <a:gd name="T106" fmla="*/ 15 w 46"/>
              <a:gd name="T10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 h="44">
                <a:moveTo>
                  <a:pt x="15" y="9"/>
                </a:moveTo>
                <a:cubicBezTo>
                  <a:pt x="15" y="9"/>
                  <a:pt x="15" y="11"/>
                  <a:pt x="16" y="11"/>
                </a:cubicBezTo>
                <a:cubicBezTo>
                  <a:pt x="16" y="11"/>
                  <a:pt x="16" y="12"/>
                  <a:pt x="16" y="12"/>
                </a:cubicBezTo>
                <a:cubicBezTo>
                  <a:pt x="17" y="13"/>
                  <a:pt x="16" y="13"/>
                  <a:pt x="16" y="13"/>
                </a:cubicBezTo>
                <a:cubicBezTo>
                  <a:pt x="16" y="13"/>
                  <a:pt x="13" y="13"/>
                  <a:pt x="13" y="13"/>
                </a:cubicBezTo>
                <a:cubicBezTo>
                  <a:pt x="13" y="14"/>
                  <a:pt x="12" y="14"/>
                  <a:pt x="11" y="14"/>
                </a:cubicBezTo>
                <a:cubicBezTo>
                  <a:pt x="11" y="14"/>
                  <a:pt x="11" y="14"/>
                  <a:pt x="11" y="15"/>
                </a:cubicBezTo>
                <a:cubicBezTo>
                  <a:pt x="11" y="15"/>
                  <a:pt x="11" y="16"/>
                  <a:pt x="10" y="16"/>
                </a:cubicBezTo>
                <a:cubicBezTo>
                  <a:pt x="10" y="16"/>
                  <a:pt x="10" y="16"/>
                  <a:pt x="9" y="17"/>
                </a:cubicBezTo>
                <a:cubicBezTo>
                  <a:pt x="9" y="17"/>
                  <a:pt x="8" y="16"/>
                  <a:pt x="8" y="17"/>
                </a:cubicBezTo>
                <a:cubicBezTo>
                  <a:pt x="8" y="18"/>
                  <a:pt x="7" y="18"/>
                  <a:pt x="7" y="18"/>
                </a:cubicBezTo>
                <a:cubicBezTo>
                  <a:pt x="6" y="19"/>
                  <a:pt x="5" y="18"/>
                  <a:pt x="5" y="19"/>
                </a:cubicBezTo>
                <a:cubicBezTo>
                  <a:pt x="5" y="19"/>
                  <a:pt x="4" y="19"/>
                  <a:pt x="3" y="19"/>
                </a:cubicBezTo>
                <a:cubicBezTo>
                  <a:pt x="3" y="20"/>
                  <a:pt x="0" y="21"/>
                  <a:pt x="0" y="22"/>
                </a:cubicBezTo>
                <a:cubicBezTo>
                  <a:pt x="0" y="22"/>
                  <a:pt x="0" y="23"/>
                  <a:pt x="0" y="25"/>
                </a:cubicBezTo>
                <a:cubicBezTo>
                  <a:pt x="0" y="25"/>
                  <a:pt x="0" y="25"/>
                  <a:pt x="0" y="25"/>
                </a:cubicBezTo>
                <a:cubicBezTo>
                  <a:pt x="1" y="26"/>
                  <a:pt x="21" y="39"/>
                  <a:pt x="22" y="39"/>
                </a:cubicBezTo>
                <a:cubicBezTo>
                  <a:pt x="22" y="40"/>
                  <a:pt x="23" y="41"/>
                  <a:pt x="23" y="41"/>
                </a:cubicBezTo>
                <a:cubicBezTo>
                  <a:pt x="23" y="41"/>
                  <a:pt x="24" y="41"/>
                  <a:pt x="25" y="42"/>
                </a:cubicBezTo>
                <a:cubicBezTo>
                  <a:pt x="27" y="43"/>
                  <a:pt x="27" y="44"/>
                  <a:pt x="27" y="44"/>
                </a:cubicBezTo>
                <a:cubicBezTo>
                  <a:pt x="27" y="44"/>
                  <a:pt x="28" y="44"/>
                  <a:pt x="29" y="44"/>
                </a:cubicBezTo>
                <a:cubicBezTo>
                  <a:pt x="30" y="44"/>
                  <a:pt x="32" y="43"/>
                  <a:pt x="32" y="43"/>
                </a:cubicBezTo>
                <a:cubicBezTo>
                  <a:pt x="36" y="40"/>
                  <a:pt x="36" y="40"/>
                  <a:pt x="36" y="40"/>
                </a:cubicBezTo>
                <a:cubicBezTo>
                  <a:pt x="46" y="34"/>
                  <a:pt x="46" y="34"/>
                  <a:pt x="46" y="34"/>
                </a:cubicBezTo>
                <a:cubicBezTo>
                  <a:pt x="46" y="34"/>
                  <a:pt x="46" y="34"/>
                  <a:pt x="46" y="34"/>
                </a:cubicBezTo>
                <a:cubicBezTo>
                  <a:pt x="45" y="33"/>
                  <a:pt x="45" y="32"/>
                  <a:pt x="45" y="32"/>
                </a:cubicBezTo>
                <a:cubicBezTo>
                  <a:pt x="44" y="32"/>
                  <a:pt x="44" y="31"/>
                  <a:pt x="43" y="31"/>
                </a:cubicBezTo>
                <a:cubicBezTo>
                  <a:pt x="42" y="31"/>
                  <a:pt x="41" y="31"/>
                  <a:pt x="41" y="30"/>
                </a:cubicBezTo>
                <a:cubicBezTo>
                  <a:pt x="41" y="30"/>
                  <a:pt x="42" y="29"/>
                  <a:pt x="41" y="29"/>
                </a:cubicBezTo>
                <a:cubicBezTo>
                  <a:pt x="41" y="28"/>
                  <a:pt x="40" y="28"/>
                  <a:pt x="40" y="27"/>
                </a:cubicBezTo>
                <a:cubicBezTo>
                  <a:pt x="40" y="27"/>
                  <a:pt x="41" y="26"/>
                  <a:pt x="41" y="26"/>
                </a:cubicBezTo>
                <a:cubicBezTo>
                  <a:pt x="41" y="26"/>
                  <a:pt x="41" y="26"/>
                  <a:pt x="41" y="25"/>
                </a:cubicBezTo>
                <a:cubicBezTo>
                  <a:pt x="41" y="25"/>
                  <a:pt x="40" y="24"/>
                  <a:pt x="41" y="24"/>
                </a:cubicBezTo>
                <a:cubicBezTo>
                  <a:pt x="41" y="23"/>
                  <a:pt x="41" y="23"/>
                  <a:pt x="41" y="22"/>
                </a:cubicBezTo>
                <a:cubicBezTo>
                  <a:pt x="41" y="22"/>
                  <a:pt x="41" y="21"/>
                  <a:pt x="41" y="20"/>
                </a:cubicBezTo>
                <a:cubicBezTo>
                  <a:pt x="41" y="19"/>
                  <a:pt x="40" y="18"/>
                  <a:pt x="40" y="18"/>
                </a:cubicBezTo>
                <a:cubicBezTo>
                  <a:pt x="40" y="18"/>
                  <a:pt x="40" y="18"/>
                  <a:pt x="41" y="18"/>
                </a:cubicBezTo>
                <a:cubicBezTo>
                  <a:pt x="40" y="17"/>
                  <a:pt x="40" y="17"/>
                  <a:pt x="40" y="17"/>
                </a:cubicBezTo>
                <a:cubicBezTo>
                  <a:pt x="40" y="16"/>
                  <a:pt x="40" y="14"/>
                  <a:pt x="39" y="13"/>
                </a:cubicBezTo>
                <a:cubicBezTo>
                  <a:pt x="39" y="13"/>
                  <a:pt x="38" y="12"/>
                  <a:pt x="38" y="12"/>
                </a:cubicBezTo>
                <a:cubicBezTo>
                  <a:pt x="38" y="11"/>
                  <a:pt x="38" y="11"/>
                  <a:pt x="37" y="10"/>
                </a:cubicBezTo>
                <a:cubicBezTo>
                  <a:pt x="36" y="10"/>
                  <a:pt x="35" y="8"/>
                  <a:pt x="36" y="8"/>
                </a:cubicBezTo>
                <a:cubicBezTo>
                  <a:pt x="36" y="8"/>
                  <a:pt x="37" y="7"/>
                  <a:pt x="37" y="7"/>
                </a:cubicBezTo>
                <a:cubicBezTo>
                  <a:pt x="38" y="6"/>
                  <a:pt x="38" y="5"/>
                  <a:pt x="38" y="4"/>
                </a:cubicBezTo>
                <a:cubicBezTo>
                  <a:pt x="38" y="4"/>
                  <a:pt x="38" y="2"/>
                  <a:pt x="38" y="1"/>
                </a:cubicBezTo>
                <a:cubicBezTo>
                  <a:pt x="37" y="1"/>
                  <a:pt x="36" y="0"/>
                  <a:pt x="36" y="0"/>
                </a:cubicBezTo>
                <a:cubicBezTo>
                  <a:pt x="35" y="0"/>
                  <a:pt x="34" y="0"/>
                  <a:pt x="34" y="1"/>
                </a:cubicBezTo>
                <a:cubicBezTo>
                  <a:pt x="33" y="1"/>
                  <a:pt x="31" y="2"/>
                  <a:pt x="30" y="1"/>
                </a:cubicBezTo>
                <a:cubicBezTo>
                  <a:pt x="30" y="1"/>
                  <a:pt x="24" y="2"/>
                  <a:pt x="22" y="2"/>
                </a:cubicBezTo>
                <a:cubicBezTo>
                  <a:pt x="20" y="2"/>
                  <a:pt x="20" y="3"/>
                  <a:pt x="19" y="3"/>
                </a:cubicBezTo>
                <a:cubicBezTo>
                  <a:pt x="18" y="3"/>
                  <a:pt x="16" y="4"/>
                  <a:pt x="15" y="5"/>
                </a:cubicBezTo>
                <a:cubicBezTo>
                  <a:pt x="15" y="6"/>
                  <a:pt x="15" y="6"/>
                  <a:pt x="14" y="6"/>
                </a:cubicBezTo>
                <a:cubicBezTo>
                  <a:pt x="15" y="6"/>
                  <a:pt x="15" y="6"/>
                  <a:pt x="15" y="6"/>
                </a:cubicBezTo>
                <a:cubicBezTo>
                  <a:pt x="15" y="7"/>
                  <a:pt x="15" y="8"/>
                  <a:pt x="1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1"/>
          <p:cNvSpPr>
            <a:spLocks/>
          </p:cNvSpPr>
          <p:nvPr/>
        </p:nvSpPr>
        <p:spPr bwMode="auto">
          <a:xfrm>
            <a:off x="2301637" y="2914315"/>
            <a:ext cx="164443" cy="153718"/>
          </a:xfrm>
          <a:custGeom>
            <a:avLst/>
            <a:gdLst>
              <a:gd name="T0" fmla="*/ 4 w 34"/>
              <a:gd name="T1" fmla="*/ 1 h 32"/>
              <a:gd name="T2" fmla="*/ 2 w 34"/>
              <a:gd name="T3" fmla="*/ 3 h 32"/>
              <a:gd name="T4" fmla="*/ 2 w 34"/>
              <a:gd name="T5" fmla="*/ 4 h 32"/>
              <a:gd name="T6" fmla="*/ 1 w 34"/>
              <a:gd name="T7" fmla="*/ 6 h 32"/>
              <a:gd name="T8" fmla="*/ 0 w 34"/>
              <a:gd name="T9" fmla="*/ 7 h 32"/>
              <a:gd name="T10" fmla="*/ 1 w 34"/>
              <a:gd name="T11" fmla="*/ 9 h 32"/>
              <a:gd name="T12" fmla="*/ 1 w 34"/>
              <a:gd name="T13" fmla="*/ 11 h 32"/>
              <a:gd name="T14" fmla="*/ 1 w 34"/>
              <a:gd name="T15" fmla="*/ 13 h 32"/>
              <a:gd name="T16" fmla="*/ 1 w 34"/>
              <a:gd name="T17" fmla="*/ 14 h 32"/>
              <a:gd name="T18" fmla="*/ 1 w 34"/>
              <a:gd name="T19" fmla="*/ 15 h 32"/>
              <a:gd name="T20" fmla="*/ 0 w 34"/>
              <a:gd name="T21" fmla="*/ 16 h 32"/>
              <a:gd name="T22" fmla="*/ 1 w 34"/>
              <a:gd name="T23" fmla="*/ 18 h 32"/>
              <a:gd name="T24" fmla="*/ 1 w 34"/>
              <a:gd name="T25" fmla="*/ 19 h 32"/>
              <a:gd name="T26" fmla="*/ 3 w 34"/>
              <a:gd name="T27" fmla="*/ 20 h 32"/>
              <a:gd name="T28" fmla="*/ 5 w 34"/>
              <a:gd name="T29" fmla="*/ 21 h 32"/>
              <a:gd name="T30" fmla="*/ 6 w 34"/>
              <a:gd name="T31" fmla="*/ 23 h 32"/>
              <a:gd name="T32" fmla="*/ 9 w 34"/>
              <a:gd name="T33" fmla="*/ 23 h 32"/>
              <a:gd name="T34" fmla="*/ 10 w 34"/>
              <a:gd name="T35" fmla="*/ 25 h 32"/>
              <a:gd name="T36" fmla="*/ 14 w 34"/>
              <a:gd name="T37" fmla="*/ 23 h 32"/>
              <a:gd name="T38" fmla="*/ 31 w 34"/>
              <a:gd name="T39" fmla="*/ 32 h 32"/>
              <a:gd name="T40" fmla="*/ 31 w 34"/>
              <a:gd name="T41" fmla="*/ 31 h 32"/>
              <a:gd name="T42" fmla="*/ 33 w 34"/>
              <a:gd name="T43" fmla="*/ 31 h 32"/>
              <a:gd name="T44" fmla="*/ 33 w 34"/>
              <a:gd name="T45" fmla="*/ 9 h 32"/>
              <a:gd name="T46" fmla="*/ 33 w 34"/>
              <a:gd name="T47" fmla="*/ 6 h 32"/>
              <a:gd name="T48" fmla="*/ 33 w 34"/>
              <a:gd name="T49" fmla="*/ 3 h 32"/>
              <a:gd name="T50" fmla="*/ 33 w 34"/>
              <a:gd name="T51" fmla="*/ 2 h 32"/>
              <a:gd name="T52" fmla="*/ 33 w 34"/>
              <a:gd name="T53" fmla="*/ 2 h 32"/>
              <a:gd name="T54" fmla="*/ 30 w 34"/>
              <a:gd name="T55" fmla="*/ 2 h 32"/>
              <a:gd name="T56" fmla="*/ 27 w 34"/>
              <a:gd name="T57" fmla="*/ 0 h 32"/>
              <a:gd name="T58" fmla="*/ 22 w 34"/>
              <a:gd name="T59" fmla="*/ 2 h 32"/>
              <a:gd name="T60" fmla="*/ 22 w 34"/>
              <a:gd name="T61" fmla="*/ 5 h 32"/>
              <a:gd name="T62" fmla="*/ 19 w 34"/>
              <a:gd name="T63" fmla="*/ 5 h 32"/>
              <a:gd name="T64" fmla="*/ 15 w 34"/>
              <a:gd name="T65" fmla="*/ 4 h 32"/>
              <a:gd name="T66" fmla="*/ 13 w 34"/>
              <a:gd name="T67" fmla="*/ 2 h 32"/>
              <a:gd name="T68" fmla="*/ 11 w 34"/>
              <a:gd name="T69" fmla="*/ 1 h 32"/>
              <a:gd name="T70" fmla="*/ 7 w 34"/>
              <a:gd name="T71" fmla="*/ 0 h 32"/>
              <a:gd name="T72" fmla="*/ 5 w 34"/>
              <a:gd name="T73" fmla="*/ 0 h 32"/>
              <a:gd name="T74" fmla="*/ 5 w 34"/>
              <a:gd name="T75" fmla="*/ 1 h 32"/>
              <a:gd name="T76" fmla="*/ 4 w 34"/>
              <a:gd name="T77"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2">
                <a:moveTo>
                  <a:pt x="4" y="1"/>
                </a:moveTo>
                <a:cubicBezTo>
                  <a:pt x="4" y="1"/>
                  <a:pt x="2" y="3"/>
                  <a:pt x="2" y="3"/>
                </a:cubicBezTo>
                <a:cubicBezTo>
                  <a:pt x="2" y="3"/>
                  <a:pt x="2" y="4"/>
                  <a:pt x="2" y="4"/>
                </a:cubicBezTo>
                <a:cubicBezTo>
                  <a:pt x="2" y="4"/>
                  <a:pt x="2" y="5"/>
                  <a:pt x="1" y="6"/>
                </a:cubicBezTo>
                <a:cubicBezTo>
                  <a:pt x="1" y="6"/>
                  <a:pt x="0" y="7"/>
                  <a:pt x="0" y="7"/>
                </a:cubicBezTo>
                <a:cubicBezTo>
                  <a:pt x="0" y="7"/>
                  <a:pt x="1" y="8"/>
                  <a:pt x="1" y="9"/>
                </a:cubicBezTo>
                <a:cubicBezTo>
                  <a:pt x="1" y="10"/>
                  <a:pt x="1" y="11"/>
                  <a:pt x="1" y="11"/>
                </a:cubicBezTo>
                <a:cubicBezTo>
                  <a:pt x="1" y="12"/>
                  <a:pt x="1" y="12"/>
                  <a:pt x="1" y="13"/>
                </a:cubicBezTo>
                <a:cubicBezTo>
                  <a:pt x="0" y="13"/>
                  <a:pt x="1" y="14"/>
                  <a:pt x="1" y="14"/>
                </a:cubicBezTo>
                <a:cubicBezTo>
                  <a:pt x="1" y="15"/>
                  <a:pt x="1" y="15"/>
                  <a:pt x="1" y="15"/>
                </a:cubicBezTo>
                <a:cubicBezTo>
                  <a:pt x="1" y="15"/>
                  <a:pt x="0" y="16"/>
                  <a:pt x="0" y="16"/>
                </a:cubicBezTo>
                <a:cubicBezTo>
                  <a:pt x="0" y="17"/>
                  <a:pt x="1" y="17"/>
                  <a:pt x="1" y="18"/>
                </a:cubicBezTo>
                <a:cubicBezTo>
                  <a:pt x="2" y="18"/>
                  <a:pt x="1" y="19"/>
                  <a:pt x="1" y="19"/>
                </a:cubicBezTo>
                <a:cubicBezTo>
                  <a:pt x="1" y="20"/>
                  <a:pt x="2" y="20"/>
                  <a:pt x="3" y="20"/>
                </a:cubicBezTo>
                <a:cubicBezTo>
                  <a:pt x="4" y="20"/>
                  <a:pt x="4" y="21"/>
                  <a:pt x="5" y="21"/>
                </a:cubicBezTo>
                <a:cubicBezTo>
                  <a:pt x="5" y="21"/>
                  <a:pt x="5" y="22"/>
                  <a:pt x="6" y="23"/>
                </a:cubicBezTo>
                <a:cubicBezTo>
                  <a:pt x="6" y="23"/>
                  <a:pt x="8" y="23"/>
                  <a:pt x="9" y="23"/>
                </a:cubicBezTo>
                <a:cubicBezTo>
                  <a:pt x="10" y="24"/>
                  <a:pt x="10" y="25"/>
                  <a:pt x="10" y="25"/>
                </a:cubicBezTo>
                <a:cubicBezTo>
                  <a:pt x="14" y="23"/>
                  <a:pt x="14" y="23"/>
                  <a:pt x="14" y="23"/>
                </a:cubicBezTo>
                <a:cubicBezTo>
                  <a:pt x="31" y="32"/>
                  <a:pt x="31" y="32"/>
                  <a:pt x="31" y="32"/>
                </a:cubicBezTo>
                <a:cubicBezTo>
                  <a:pt x="31" y="31"/>
                  <a:pt x="31" y="31"/>
                  <a:pt x="31" y="31"/>
                </a:cubicBezTo>
                <a:cubicBezTo>
                  <a:pt x="33" y="31"/>
                  <a:pt x="33" y="31"/>
                  <a:pt x="33" y="31"/>
                </a:cubicBezTo>
                <a:cubicBezTo>
                  <a:pt x="33" y="9"/>
                  <a:pt x="33" y="9"/>
                  <a:pt x="33" y="9"/>
                </a:cubicBezTo>
                <a:cubicBezTo>
                  <a:pt x="33" y="7"/>
                  <a:pt x="32" y="6"/>
                  <a:pt x="33" y="6"/>
                </a:cubicBezTo>
                <a:cubicBezTo>
                  <a:pt x="34" y="5"/>
                  <a:pt x="33" y="4"/>
                  <a:pt x="33" y="3"/>
                </a:cubicBezTo>
                <a:cubicBezTo>
                  <a:pt x="33" y="3"/>
                  <a:pt x="33" y="3"/>
                  <a:pt x="33" y="2"/>
                </a:cubicBezTo>
                <a:cubicBezTo>
                  <a:pt x="33" y="2"/>
                  <a:pt x="33" y="2"/>
                  <a:pt x="33" y="2"/>
                </a:cubicBezTo>
                <a:cubicBezTo>
                  <a:pt x="33" y="2"/>
                  <a:pt x="32" y="2"/>
                  <a:pt x="30" y="2"/>
                </a:cubicBezTo>
                <a:cubicBezTo>
                  <a:pt x="29" y="1"/>
                  <a:pt x="29" y="0"/>
                  <a:pt x="27" y="0"/>
                </a:cubicBezTo>
                <a:cubicBezTo>
                  <a:pt x="25" y="0"/>
                  <a:pt x="22" y="1"/>
                  <a:pt x="22" y="2"/>
                </a:cubicBezTo>
                <a:cubicBezTo>
                  <a:pt x="22" y="3"/>
                  <a:pt x="23" y="4"/>
                  <a:pt x="22" y="5"/>
                </a:cubicBezTo>
                <a:cubicBezTo>
                  <a:pt x="22" y="6"/>
                  <a:pt x="20" y="6"/>
                  <a:pt x="19" y="5"/>
                </a:cubicBezTo>
                <a:cubicBezTo>
                  <a:pt x="18" y="4"/>
                  <a:pt x="16" y="4"/>
                  <a:pt x="15" y="4"/>
                </a:cubicBezTo>
                <a:cubicBezTo>
                  <a:pt x="14" y="4"/>
                  <a:pt x="13" y="3"/>
                  <a:pt x="13" y="2"/>
                </a:cubicBezTo>
                <a:cubicBezTo>
                  <a:pt x="13" y="1"/>
                  <a:pt x="12" y="1"/>
                  <a:pt x="11" y="1"/>
                </a:cubicBezTo>
                <a:cubicBezTo>
                  <a:pt x="10" y="1"/>
                  <a:pt x="9" y="0"/>
                  <a:pt x="7" y="0"/>
                </a:cubicBezTo>
                <a:cubicBezTo>
                  <a:pt x="6" y="0"/>
                  <a:pt x="5" y="0"/>
                  <a:pt x="5" y="0"/>
                </a:cubicBezTo>
                <a:cubicBezTo>
                  <a:pt x="5" y="0"/>
                  <a:pt x="5" y="0"/>
                  <a:pt x="5" y="1"/>
                </a:cubicBezTo>
                <a:cubicBezTo>
                  <a:pt x="5" y="1"/>
                  <a:pt x="4" y="1"/>
                  <a:pt x="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52"/>
          <p:cNvSpPr>
            <a:spLocks/>
          </p:cNvSpPr>
          <p:nvPr/>
        </p:nvSpPr>
        <p:spPr bwMode="auto">
          <a:xfrm>
            <a:off x="2022799" y="3132381"/>
            <a:ext cx="28599" cy="7150"/>
          </a:xfrm>
          <a:custGeom>
            <a:avLst/>
            <a:gdLst>
              <a:gd name="T0" fmla="*/ 3 w 6"/>
              <a:gd name="T1" fmla="*/ 1 h 2"/>
              <a:gd name="T2" fmla="*/ 5 w 6"/>
              <a:gd name="T3" fmla="*/ 1 h 2"/>
              <a:gd name="T4" fmla="*/ 6 w 6"/>
              <a:gd name="T5" fmla="*/ 1 h 2"/>
              <a:gd name="T6" fmla="*/ 5 w 6"/>
              <a:gd name="T7" fmla="*/ 1 h 2"/>
              <a:gd name="T8" fmla="*/ 3 w 6"/>
              <a:gd name="T9" fmla="*/ 0 h 2"/>
              <a:gd name="T10" fmla="*/ 0 w 6"/>
              <a:gd name="T11" fmla="*/ 0 h 2"/>
              <a:gd name="T12" fmla="*/ 0 w 6"/>
              <a:gd name="T13" fmla="*/ 2 h 2"/>
              <a:gd name="T14" fmla="*/ 1 w 6"/>
              <a:gd name="T15" fmla="*/ 2 h 2"/>
              <a:gd name="T16" fmla="*/ 3 w 6"/>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3" y="1"/>
                </a:moveTo>
                <a:cubicBezTo>
                  <a:pt x="4" y="1"/>
                  <a:pt x="4" y="1"/>
                  <a:pt x="5" y="1"/>
                </a:cubicBezTo>
                <a:cubicBezTo>
                  <a:pt x="6" y="2"/>
                  <a:pt x="6" y="1"/>
                  <a:pt x="6" y="1"/>
                </a:cubicBezTo>
                <a:cubicBezTo>
                  <a:pt x="6" y="1"/>
                  <a:pt x="6" y="1"/>
                  <a:pt x="5" y="1"/>
                </a:cubicBezTo>
                <a:cubicBezTo>
                  <a:pt x="4" y="1"/>
                  <a:pt x="4" y="0"/>
                  <a:pt x="3" y="0"/>
                </a:cubicBezTo>
                <a:cubicBezTo>
                  <a:pt x="2" y="0"/>
                  <a:pt x="1" y="1"/>
                  <a:pt x="0" y="0"/>
                </a:cubicBezTo>
                <a:cubicBezTo>
                  <a:pt x="0" y="1"/>
                  <a:pt x="0" y="1"/>
                  <a:pt x="0" y="2"/>
                </a:cubicBezTo>
                <a:cubicBezTo>
                  <a:pt x="0" y="2"/>
                  <a:pt x="1" y="2"/>
                  <a:pt x="1" y="2"/>
                </a:cubicBezTo>
                <a:cubicBezTo>
                  <a:pt x="1" y="2"/>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3"/>
          <p:cNvSpPr>
            <a:spLocks/>
          </p:cNvSpPr>
          <p:nvPr/>
        </p:nvSpPr>
        <p:spPr bwMode="auto">
          <a:xfrm>
            <a:off x="2015649" y="3100207"/>
            <a:ext cx="64347" cy="50048"/>
          </a:xfrm>
          <a:custGeom>
            <a:avLst/>
            <a:gdLst>
              <a:gd name="T0" fmla="*/ 3 w 13"/>
              <a:gd name="T1" fmla="*/ 9 h 10"/>
              <a:gd name="T2" fmla="*/ 4 w 13"/>
              <a:gd name="T3" fmla="*/ 9 h 10"/>
              <a:gd name="T4" fmla="*/ 7 w 13"/>
              <a:gd name="T5" fmla="*/ 9 h 10"/>
              <a:gd name="T6" fmla="*/ 8 w 13"/>
              <a:gd name="T7" fmla="*/ 9 h 10"/>
              <a:gd name="T8" fmla="*/ 8 w 13"/>
              <a:gd name="T9" fmla="*/ 9 h 10"/>
              <a:gd name="T10" fmla="*/ 9 w 13"/>
              <a:gd name="T11" fmla="*/ 9 h 10"/>
              <a:gd name="T12" fmla="*/ 12 w 13"/>
              <a:gd name="T13" fmla="*/ 9 h 10"/>
              <a:gd name="T14" fmla="*/ 13 w 13"/>
              <a:gd name="T15" fmla="*/ 9 h 10"/>
              <a:gd name="T16" fmla="*/ 13 w 13"/>
              <a:gd name="T17" fmla="*/ 8 h 10"/>
              <a:gd name="T18" fmla="*/ 11 w 13"/>
              <a:gd name="T19" fmla="*/ 7 h 10"/>
              <a:gd name="T20" fmla="*/ 11 w 13"/>
              <a:gd name="T21" fmla="*/ 5 h 10"/>
              <a:gd name="T22" fmla="*/ 11 w 13"/>
              <a:gd name="T23" fmla="*/ 5 h 10"/>
              <a:gd name="T24" fmla="*/ 10 w 13"/>
              <a:gd name="T25" fmla="*/ 3 h 10"/>
              <a:gd name="T26" fmla="*/ 8 w 13"/>
              <a:gd name="T27" fmla="*/ 1 h 10"/>
              <a:gd name="T28" fmla="*/ 7 w 13"/>
              <a:gd name="T29" fmla="*/ 1 h 10"/>
              <a:gd name="T30" fmla="*/ 6 w 13"/>
              <a:gd name="T31" fmla="*/ 0 h 10"/>
              <a:gd name="T32" fmla="*/ 4 w 13"/>
              <a:gd name="T33" fmla="*/ 0 h 10"/>
              <a:gd name="T34" fmla="*/ 2 w 13"/>
              <a:gd name="T35" fmla="*/ 0 h 10"/>
              <a:gd name="T36" fmla="*/ 1 w 13"/>
              <a:gd name="T37" fmla="*/ 1 h 10"/>
              <a:gd name="T38" fmla="*/ 1 w 13"/>
              <a:gd name="T39" fmla="*/ 1 h 10"/>
              <a:gd name="T40" fmla="*/ 0 w 13"/>
              <a:gd name="T41" fmla="*/ 3 h 10"/>
              <a:gd name="T42" fmla="*/ 1 w 13"/>
              <a:gd name="T43" fmla="*/ 6 h 10"/>
              <a:gd name="T44" fmla="*/ 1 w 13"/>
              <a:gd name="T45" fmla="*/ 6 h 10"/>
              <a:gd name="T46" fmla="*/ 4 w 13"/>
              <a:gd name="T47" fmla="*/ 6 h 10"/>
              <a:gd name="T48" fmla="*/ 6 w 13"/>
              <a:gd name="T49" fmla="*/ 7 h 10"/>
              <a:gd name="T50" fmla="*/ 7 w 13"/>
              <a:gd name="T51" fmla="*/ 7 h 10"/>
              <a:gd name="T52" fmla="*/ 6 w 13"/>
              <a:gd name="T53" fmla="*/ 7 h 10"/>
              <a:gd name="T54" fmla="*/ 4 w 13"/>
              <a:gd name="T55" fmla="*/ 7 h 10"/>
              <a:gd name="T56" fmla="*/ 2 w 13"/>
              <a:gd name="T57" fmla="*/ 8 h 10"/>
              <a:gd name="T58" fmla="*/ 1 w 13"/>
              <a:gd name="T59" fmla="*/ 8 h 10"/>
              <a:gd name="T60" fmla="*/ 1 w 13"/>
              <a:gd name="T61" fmla="*/ 9 h 10"/>
              <a:gd name="T62" fmla="*/ 1 w 13"/>
              <a:gd name="T63" fmla="*/ 9 h 10"/>
              <a:gd name="T64" fmla="*/ 3 w 13"/>
              <a:gd name="T65"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0">
                <a:moveTo>
                  <a:pt x="3" y="9"/>
                </a:moveTo>
                <a:cubicBezTo>
                  <a:pt x="3" y="9"/>
                  <a:pt x="4" y="9"/>
                  <a:pt x="4" y="9"/>
                </a:cubicBezTo>
                <a:cubicBezTo>
                  <a:pt x="4" y="9"/>
                  <a:pt x="7" y="9"/>
                  <a:pt x="7" y="9"/>
                </a:cubicBezTo>
                <a:cubicBezTo>
                  <a:pt x="7" y="9"/>
                  <a:pt x="7" y="9"/>
                  <a:pt x="8" y="9"/>
                </a:cubicBezTo>
                <a:cubicBezTo>
                  <a:pt x="8" y="9"/>
                  <a:pt x="8" y="9"/>
                  <a:pt x="8" y="9"/>
                </a:cubicBezTo>
                <a:cubicBezTo>
                  <a:pt x="8" y="9"/>
                  <a:pt x="9" y="9"/>
                  <a:pt x="9" y="9"/>
                </a:cubicBezTo>
                <a:cubicBezTo>
                  <a:pt x="9" y="10"/>
                  <a:pt x="11" y="10"/>
                  <a:pt x="12" y="9"/>
                </a:cubicBezTo>
                <a:cubicBezTo>
                  <a:pt x="13" y="9"/>
                  <a:pt x="13" y="9"/>
                  <a:pt x="13" y="9"/>
                </a:cubicBezTo>
                <a:cubicBezTo>
                  <a:pt x="13" y="9"/>
                  <a:pt x="13" y="8"/>
                  <a:pt x="13" y="8"/>
                </a:cubicBezTo>
                <a:cubicBezTo>
                  <a:pt x="13" y="8"/>
                  <a:pt x="12" y="7"/>
                  <a:pt x="11" y="7"/>
                </a:cubicBezTo>
                <a:cubicBezTo>
                  <a:pt x="11" y="6"/>
                  <a:pt x="11" y="5"/>
                  <a:pt x="11" y="5"/>
                </a:cubicBezTo>
                <a:cubicBezTo>
                  <a:pt x="11" y="5"/>
                  <a:pt x="11" y="5"/>
                  <a:pt x="11" y="5"/>
                </a:cubicBezTo>
                <a:cubicBezTo>
                  <a:pt x="11" y="5"/>
                  <a:pt x="10" y="3"/>
                  <a:pt x="10" y="3"/>
                </a:cubicBezTo>
                <a:cubicBezTo>
                  <a:pt x="9" y="3"/>
                  <a:pt x="8" y="1"/>
                  <a:pt x="8" y="1"/>
                </a:cubicBezTo>
                <a:cubicBezTo>
                  <a:pt x="7" y="1"/>
                  <a:pt x="7" y="1"/>
                  <a:pt x="7" y="1"/>
                </a:cubicBezTo>
                <a:cubicBezTo>
                  <a:pt x="7" y="1"/>
                  <a:pt x="7" y="0"/>
                  <a:pt x="6" y="0"/>
                </a:cubicBezTo>
                <a:cubicBezTo>
                  <a:pt x="5" y="0"/>
                  <a:pt x="4" y="0"/>
                  <a:pt x="4" y="0"/>
                </a:cubicBezTo>
                <a:cubicBezTo>
                  <a:pt x="4" y="0"/>
                  <a:pt x="3" y="0"/>
                  <a:pt x="2" y="0"/>
                </a:cubicBezTo>
                <a:cubicBezTo>
                  <a:pt x="1" y="0"/>
                  <a:pt x="2" y="1"/>
                  <a:pt x="1" y="1"/>
                </a:cubicBezTo>
                <a:cubicBezTo>
                  <a:pt x="1" y="1"/>
                  <a:pt x="1" y="1"/>
                  <a:pt x="1" y="1"/>
                </a:cubicBezTo>
                <a:cubicBezTo>
                  <a:pt x="1" y="2"/>
                  <a:pt x="1" y="2"/>
                  <a:pt x="0" y="3"/>
                </a:cubicBezTo>
                <a:cubicBezTo>
                  <a:pt x="0" y="4"/>
                  <a:pt x="1" y="6"/>
                  <a:pt x="1" y="6"/>
                </a:cubicBezTo>
                <a:cubicBezTo>
                  <a:pt x="1" y="6"/>
                  <a:pt x="1" y="6"/>
                  <a:pt x="1" y="6"/>
                </a:cubicBezTo>
                <a:cubicBezTo>
                  <a:pt x="2" y="7"/>
                  <a:pt x="3" y="6"/>
                  <a:pt x="4" y="6"/>
                </a:cubicBezTo>
                <a:cubicBezTo>
                  <a:pt x="5" y="6"/>
                  <a:pt x="5" y="7"/>
                  <a:pt x="6" y="7"/>
                </a:cubicBezTo>
                <a:cubicBezTo>
                  <a:pt x="7" y="7"/>
                  <a:pt x="7" y="7"/>
                  <a:pt x="7" y="7"/>
                </a:cubicBezTo>
                <a:cubicBezTo>
                  <a:pt x="7" y="7"/>
                  <a:pt x="7" y="8"/>
                  <a:pt x="6" y="7"/>
                </a:cubicBezTo>
                <a:cubicBezTo>
                  <a:pt x="5" y="7"/>
                  <a:pt x="5" y="7"/>
                  <a:pt x="4" y="7"/>
                </a:cubicBezTo>
                <a:cubicBezTo>
                  <a:pt x="4" y="7"/>
                  <a:pt x="2" y="8"/>
                  <a:pt x="2" y="8"/>
                </a:cubicBezTo>
                <a:cubicBezTo>
                  <a:pt x="2" y="8"/>
                  <a:pt x="1" y="8"/>
                  <a:pt x="1" y="8"/>
                </a:cubicBezTo>
                <a:cubicBezTo>
                  <a:pt x="1" y="8"/>
                  <a:pt x="1" y="9"/>
                  <a:pt x="1" y="9"/>
                </a:cubicBezTo>
                <a:cubicBezTo>
                  <a:pt x="1" y="9"/>
                  <a:pt x="1" y="9"/>
                  <a:pt x="1" y="9"/>
                </a:cubicBezTo>
                <a:cubicBezTo>
                  <a:pt x="3" y="9"/>
                  <a:pt x="2" y="9"/>
                  <a:pt x="3"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54"/>
          <p:cNvSpPr>
            <a:spLocks/>
          </p:cNvSpPr>
          <p:nvPr/>
        </p:nvSpPr>
        <p:spPr bwMode="auto">
          <a:xfrm>
            <a:off x="2022799" y="3146680"/>
            <a:ext cx="32174" cy="14299"/>
          </a:xfrm>
          <a:custGeom>
            <a:avLst/>
            <a:gdLst>
              <a:gd name="T0" fmla="*/ 4 w 7"/>
              <a:gd name="T1" fmla="*/ 3 h 3"/>
              <a:gd name="T2" fmla="*/ 6 w 7"/>
              <a:gd name="T3" fmla="*/ 2 h 3"/>
              <a:gd name="T4" fmla="*/ 6 w 7"/>
              <a:gd name="T5" fmla="*/ 2 h 3"/>
              <a:gd name="T6" fmla="*/ 6 w 7"/>
              <a:gd name="T7" fmla="*/ 1 h 3"/>
              <a:gd name="T8" fmla="*/ 7 w 7"/>
              <a:gd name="T9" fmla="*/ 0 h 3"/>
              <a:gd name="T10" fmla="*/ 6 w 7"/>
              <a:gd name="T11" fmla="*/ 0 h 3"/>
              <a:gd name="T12" fmla="*/ 3 w 7"/>
              <a:gd name="T13" fmla="*/ 0 h 3"/>
              <a:gd name="T14" fmla="*/ 2 w 7"/>
              <a:gd name="T15" fmla="*/ 0 h 3"/>
              <a:gd name="T16" fmla="*/ 0 w 7"/>
              <a:gd name="T17" fmla="*/ 0 h 3"/>
              <a:gd name="T18" fmla="*/ 2 w 7"/>
              <a:gd name="T19" fmla="*/ 1 h 3"/>
              <a:gd name="T20" fmla="*/ 3 w 7"/>
              <a:gd name="T21" fmla="*/ 3 h 3"/>
              <a:gd name="T22" fmla="*/ 3 w 7"/>
              <a:gd name="T23" fmla="*/ 3 h 3"/>
              <a:gd name="T24" fmla="*/ 4 w 7"/>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4" y="3"/>
                </a:moveTo>
                <a:cubicBezTo>
                  <a:pt x="4" y="3"/>
                  <a:pt x="5" y="2"/>
                  <a:pt x="6" y="2"/>
                </a:cubicBezTo>
                <a:cubicBezTo>
                  <a:pt x="6" y="2"/>
                  <a:pt x="6" y="2"/>
                  <a:pt x="6" y="2"/>
                </a:cubicBezTo>
                <a:cubicBezTo>
                  <a:pt x="6" y="1"/>
                  <a:pt x="6" y="1"/>
                  <a:pt x="6" y="1"/>
                </a:cubicBezTo>
                <a:cubicBezTo>
                  <a:pt x="7" y="1"/>
                  <a:pt x="7" y="0"/>
                  <a:pt x="7" y="0"/>
                </a:cubicBezTo>
                <a:cubicBezTo>
                  <a:pt x="6" y="0"/>
                  <a:pt x="6" y="0"/>
                  <a:pt x="6" y="0"/>
                </a:cubicBezTo>
                <a:cubicBezTo>
                  <a:pt x="6" y="0"/>
                  <a:pt x="3" y="0"/>
                  <a:pt x="3" y="0"/>
                </a:cubicBezTo>
                <a:cubicBezTo>
                  <a:pt x="3" y="0"/>
                  <a:pt x="2" y="0"/>
                  <a:pt x="2" y="0"/>
                </a:cubicBezTo>
                <a:cubicBezTo>
                  <a:pt x="1" y="0"/>
                  <a:pt x="2" y="0"/>
                  <a:pt x="0" y="0"/>
                </a:cubicBezTo>
                <a:cubicBezTo>
                  <a:pt x="1" y="1"/>
                  <a:pt x="1" y="1"/>
                  <a:pt x="2" y="1"/>
                </a:cubicBezTo>
                <a:cubicBezTo>
                  <a:pt x="4" y="2"/>
                  <a:pt x="2" y="2"/>
                  <a:pt x="3" y="3"/>
                </a:cubicBezTo>
                <a:cubicBezTo>
                  <a:pt x="3" y="3"/>
                  <a:pt x="3" y="3"/>
                  <a:pt x="3" y="3"/>
                </a:cubicBezTo>
                <a:cubicBezTo>
                  <a:pt x="4"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55"/>
          <p:cNvSpPr>
            <a:spLocks/>
          </p:cNvSpPr>
          <p:nvPr/>
        </p:nvSpPr>
        <p:spPr bwMode="auto">
          <a:xfrm>
            <a:off x="2355260" y="3160979"/>
            <a:ext cx="128695" cy="89371"/>
          </a:xfrm>
          <a:custGeom>
            <a:avLst/>
            <a:gdLst>
              <a:gd name="T0" fmla="*/ 25 w 27"/>
              <a:gd name="T1" fmla="*/ 11 h 19"/>
              <a:gd name="T2" fmla="*/ 24 w 27"/>
              <a:gd name="T3" fmla="*/ 9 h 19"/>
              <a:gd name="T4" fmla="*/ 23 w 27"/>
              <a:gd name="T5" fmla="*/ 8 h 19"/>
              <a:gd name="T6" fmla="*/ 22 w 27"/>
              <a:gd name="T7" fmla="*/ 7 h 19"/>
              <a:gd name="T8" fmla="*/ 20 w 27"/>
              <a:gd name="T9" fmla="*/ 6 h 19"/>
              <a:gd name="T10" fmla="*/ 20 w 27"/>
              <a:gd name="T11" fmla="*/ 5 h 19"/>
              <a:gd name="T12" fmla="*/ 19 w 27"/>
              <a:gd name="T13" fmla="*/ 5 h 19"/>
              <a:gd name="T14" fmla="*/ 19 w 27"/>
              <a:gd name="T15" fmla="*/ 4 h 19"/>
              <a:gd name="T16" fmla="*/ 19 w 27"/>
              <a:gd name="T17" fmla="*/ 2 h 19"/>
              <a:gd name="T18" fmla="*/ 17 w 27"/>
              <a:gd name="T19" fmla="*/ 0 h 19"/>
              <a:gd name="T20" fmla="*/ 17 w 27"/>
              <a:gd name="T21" fmla="*/ 0 h 19"/>
              <a:gd name="T22" fmla="*/ 15 w 27"/>
              <a:gd name="T23" fmla="*/ 1 h 19"/>
              <a:gd name="T24" fmla="*/ 15 w 27"/>
              <a:gd name="T25" fmla="*/ 2 h 19"/>
              <a:gd name="T26" fmla="*/ 13 w 27"/>
              <a:gd name="T27" fmla="*/ 4 h 19"/>
              <a:gd name="T28" fmla="*/ 9 w 27"/>
              <a:gd name="T29" fmla="*/ 5 h 19"/>
              <a:gd name="T30" fmla="*/ 9 w 27"/>
              <a:gd name="T31" fmla="*/ 6 h 19"/>
              <a:gd name="T32" fmla="*/ 7 w 27"/>
              <a:gd name="T33" fmla="*/ 7 h 19"/>
              <a:gd name="T34" fmla="*/ 5 w 27"/>
              <a:gd name="T35" fmla="*/ 8 h 19"/>
              <a:gd name="T36" fmla="*/ 4 w 27"/>
              <a:gd name="T37" fmla="*/ 8 h 19"/>
              <a:gd name="T38" fmla="*/ 2 w 27"/>
              <a:gd name="T39" fmla="*/ 8 h 19"/>
              <a:gd name="T40" fmla="*/ 2 w 27"/>
              <a:gd name="T41" fmla="*/ 8 h 19"/>
              <a:gd name="T42" fmla="*/ 1 w 27"/>
              <a:gd name="T43" fmla="*/ 9 h 19"/>
              <a:gd name="T44" fmla="*/ 0 w 27"/>
              <a:gd name="T45" fmla="*/ 12 h 19"/>
              <a:gd name="T46" fmla="*/ 0 w 27"/>
              <a:gd name="T47" fmla="*/ 13 h 19"/>
              <a:gd name="T48" fmla="*/ 1 w 27"/>
              <a:gd name="T49" fmla="*/ 15 h 19"/>
              <a:gd name="T50" fmla="*/ 1 w 27"/>
              <a:gd name="T51" fmla="*/ 17 h 19"/>
              <a:gd name="T52" fmla="*/ 2 w 27"/>
              <a:gd name="T53" fmla="*/ 17 h 19"/>
              <a:gd name="T54" fmla="*/ 3 w 27"/>
              <a:gd name="T55" fmla="*/ 19 h 19"/>
              <a:gd name="T56" fmla="*/ 3 w 27"/>
              <a:gd name="T57" fmla="*/ 19 h 19"/>
              <a:gd name="T58" fmla="*/ 4 w 27"/>
              <a:gd name="T59" fmla="*/ 19 h 19"/>
              <a:gd name="T60" fmla="*/ 4 w 27"/>
              <a:gd name="T61" fmla="*/ 17 h 19"/>
              <a:gd name="T62" fmla="*/ 5 w 27"/>
              <a:gd name="T63" fmla="*/ 17 h 19"/>
              <a:gd name="T64" fmla="*/ 6 w 27"/>
              <a:gd name="T65" fmla="*/ 17 h 19"/>
              <a:gd name="T66" fmla="*/ 8 w 27"/>
              <a:gd name="T67" fmla="*/ 17 h 19"/>
              <a:gd name="T68" fmla="*/ 8 w 27"/>
              <a:gd name="T69" fmla="*/ 15 h 19"/>
              <a:gd name="T70" fmla="*/ 10 w 27"/>
              <a:gd name="T71" fmla="*/ 14 h 19"/>
              <a:gd name="T72" fmla="*/ 12 w 27"/>
              <a:gd name="T73" fmla="*/ 15 h 19"/>
              <a:gd name="T74" fmla="*/ 16 w 27"/>
              <a:gd name="T75" fmla="*/ 16 h 19"/>
              <a:gd name="T76" fmla="*/ 17 w 27"/>
              <a:gd name="T77" fmla="*/ 14 h 19"/>
              <a:gd name="T78" fmla="*/ 19 w 27"/>
              <a:gd name="T79" fmla="*/ 14 h 19"/>
              <a:gd name="T80" fmla="*/ 21 w 27"/>
              <a:gd name="T81" fmla="*/ 14 h 19"/>
              <a:gd name="T82" fmla="*/ 23 w 27"/>
              <a:gd name="T83" fmla="*/ 13 h 19"/>
              <a:gd name="T84" fmla="*/ 25 w 27"/>
              <a:gd name="T85" fmla="*/ 14 h 19"/>
              <a:gd name="T86" fmla="*/ 27 w 27"/>
              <a:gd name="T87" fmla="*/ 13 h 19"/>
              <a:gd name="T88" fmla="*/ 26 w 27"/>
              <a:gd name="T89" fmla="*/ 12 h 19"/>
              <a:gd name="T90" fmla="*/ 25 w 27"/>
              <a:gd name="T91"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19">
                <a:moveTo>
                  <a:pt x="25" y="11"/>
                </a:moveTo>
                <a:cubicBezTo>
                  <a:pt x="25" y="10"/>
                  <a:pt x="25" y="10"/>
                  <a:pt x="24" y="9"/>
                </a:cubicBezTo>
                <a:cubicBezTo>
                  <a:pt x="23" y="9"/>
                  <a:pt x="23" y="9"/>
                  <a:pt x="23" y="8"/>
                </a:cubicBezTo>
                <a:cubicBezTo>
                  <a:pt x="23" y="8"/>
                  <a:pt x="23" y="8"/>
                  <a:pt x="22" y="7"/>
                </a:cubicBezTo>
                <a:cubicBezTo>
                  <a:pt x="21" y="6"/>
                  <a:pt x="20" y="6"/>
                  <a:pt x="20" y="6"/>
                </a:cubicBezTo>
                <a:cubicBezTo>
                  <a:pt x="20" y="5"/>
                  <a:pt x="20" y="5"/>
                  <a:pt x="20" y="5"/>
                </a:cubicBezTo>
                <a:cubicBezTo>
                  <a:pt x="19" y="5"/>
                  <a:pt x="19" y="5"/>
                  <a:pt x="19" y="5"/>
                </a:cubicBezTo>
                <a:cubicBezTo>
                  <a:pt x="19" y="5"/>
                  <a:pt x="18" y="5"/>
                  <a:pt x="19" y="4"/>
                </a:cubicBezTo>
                <a:cubicBezTo>
                  <a:pt x="20" y="4"/>
                  <a:pt x="19" y="3"/>
                  <a:pt x="19" y="2"/>
                </a:cubicBezTo>
                <a:cubicBezTo>
                  <a:pt x="19" y="2"/>
                  <a:pt x="18" y="1"/>
                  <a:pt x="17" y="0"/>
                </a:cubicBezTo>
                <a:cubicBezTo>
                  <a:pt x="17" y="0"/>
                  <a:pt x="17" y="0"/>
                  <a:pt x="17" y="0"/>
                </a:cubicBezTo>
                <a:cubicBezTo>
                  <a:pt x="17" y="0"/>
                  <a:pt x="16" y="0"/>
                  <a:pt x="15" y="1"/>
                </a:cubicBezTo>
                <a:cubicBezTo>
                  <a:pt x="15" y="1"/>
                  <a:pt x="15" y="2"/>
                  <a:pt x="15" y="2"/>
                </a:cubicBezTo>
                <a:cubicBezTo>
                  <a:pt x="14" y="2"/>
                  <a:pt x="13" y="3"/>
                  <a:pt x="13" y="4"/>
                </a:cubicBezTo>
                <a:cubicBezTo>
                  <a:pt x="12" y="5"/>
                  <a:pt x="10" y="5"/>
                  <a:pt x="9" y="5"/>
                </a:cubicBezTo>
                <a:cubicBezTo>
                  <a:pt x="9" y="5"/>
                  <a:pt x="10" y="6"/>
                  <a:pt x="9" y="6"/>
                </a:cubicBezTo>
                <a:cubicBezTo>
                  <a:pt x="9" y="6"/>
                  <a:pt x="8" y="7"/>
                  <a:pt x="7" y="7"/>
                </a:cubicBezTo>
                <a:cubicBezTo>
                  <a:pt x="7" y="7"/>
                  <a:pt x="5" y="7"/>
                  <a:pt x="5" y="8"/>
                </a:cubicBezTo>
                <a:cubicBezTo>
                  <a:pt x="4" y="8"/>
                  <a:pt x="4" y="7"/>
                  <a:pt x="4" y="8"/>
                </a:cubicBezTo>
                <a:cubicBezTo>
                  <a:pt x="3" y="8"/>
                  <a:pt x="3" y="9"/>
                  <a:pt x="2" y="8"/>
                </a:cubicBezTo>
                <a:cubicBezTo>
                  <a:pt x="2" y="8"/>
                  <a:pt x="2" y="8"/>
                  <a:pt x="2" y="8"/>
                </a:cubicBezTo>
                <a:cubicBezTo>
                  <a:pt x="2" y="8"/>
                  <a:pt x="1" y="9"/>
                  <a:pt x="1" y="9"/>
                </a:cubicBezTo>
                <a:cubicBezTo>
                  <a:pt x="1" y="10"/>
                  <a:pt x="0" y="11"/>
                  <a:pt x="0" y="12"/>
                </a:cubicBezTo>
                <a:cubicBezTo>
                  <a:pt x="0" y="12"/>
                  <a:pt x="0" y="13"/>
                  <a:pt x="0" y="13"/>
                </a:cubicBezTo>
                <a:cubicBezTo>
                  <a:pt x="0" y="14"/>
                  <a:pt x="0" y="15"/>
                  <a:pt x="1" y="15"/>
                </a:cubicBezTo>
                <a:cubicBezTo>
                  <a:pt x="1" y="16"/>
                  <a:pt x="1" y="17"/>
                  <a:pt x="1" y="17"/>
                </a:cubicBezTo>
                <a:cubicBezTo>
                  <a:pt x="1" y="17"/>
                  <a:pt x="1" y="17"/>
                  <a:pt x="2" y="17"/>
                </a:cubicBezTo>
                <a:cubicBezTo>
                  <a:pt x="2" y="18"/>
                  <a:pt x="3" y="18"/>
                  <a:pt x="3" y="19"/>
                </a:cubicBezTo>
                <a:cubicBezTo>
                  <a:pt x="3" y="19"/>
                  <a:pt x="3" y="19"/>
                  <a:pt x="3" y="19"/>
                </a:cubicBezTo>
                <a:cubicBezTo>
                  <a:pt x="4" y="19"/>
                  <a:pt x="4" y="19"/>
                  <a:pt x="4" y="19"/>
                </a:cubicBezTo>
                <a:cubicBezTo>
                  <a:pt x="4" y="18"/>
                  <a:pt x="4" y="17"/>
                  <a:pt x="4" y="17"/>
                </a:cubicBezTo>
                <a:cubicBezTo>
                  <a:pt x="5" y="17"/>
                  <a:pt x="5" y="17"/>
                  <a:pt x="5" y="17"/>
                </a:cubicBezTo>
                <a:cubicBezTo>
                  <a:pt x="6" y="17"/>
                  <a:pt x="6" y="17"/>
                  <a:pt x="6" y="17"/>
                </a:cubicBezTo>
                <a:cubicBezTo>
                  <a:pt x="8" y="17"/>
                  <a:pt x="8" y="17"/>
                  <a:pt x="8" y="17"/>
                </a:cubicBezTo>
                <a:cubicBezTo>
                  <a:pt x="8" y="15"/>
                  <a:pt x="8" y="15"/>
                  <a:pt x="8" y="15"/>
                </a:cubicBezTo>
                <a:cubicBezTo>
                  <a:pt x="8" y="15"/>
                  <a:pt x="9" y="14"/>
                  <a:pt x="10" y="14"/>
                </a:cubicBezTo>
                <a:cubicBezTo>
                  <a:pt x="11" y="14"/>
                  <a:pt x="12" y="15"/>
                  <a:pt x="12" y="15"/>
                </a:cubicBezTo>
                <a:cubicBezTo>
                  <a:pt x="16" y="16"/>
                  <a:pt x="16" y="16"/>
                  <a:pt x="16" y="16"/>
                </a:cubicBezTo>
                <a:cubicBezTo>
                  <a:pt x="16" y="16"/>
                  <a:pt x="17" y="15"/>
                  <a:pt x="17" y="14"/>
                </a:cubicBezTo>
                <a:cubicBezTo>
                  <a:pt x="17" y="14"/>
                  <a:pt x="18" y="15"/>
                  <a:pt x="19" y="14"/>
                </a:cubicBezTo>
                <a:cubicBezTo>
                  <a:pt x="19" y="14"/>
                  <a:pt x="20" y="14"/>
                  <a:pt x="21" y="14"/>
                </a:cubicBezTo>
                <a:cubicBezTo>
                  <a:pt x="22" y="14"/>
                  <a:pt x="23" y="14"/>
                  <a:pt x="23" y="13"/>
                </a:cubicBezTo>
                <a:cubicBezTo>
                  <a:pt x="23" y="12"/>
                  <a:pt x="25" y="14"/>
                  <a:pt x="25" y="14"/>
                </a:cubicBezTo>
                <a:cubicBezTo>
                  <a:pt x="27" y="13"/>
                  <a:pt x="27" y="13"/>
                  <a:pt x="27" y="13"/>
                </a:cubicBezTo>
                <a:cubicBezTo>
                  <a:pt x="26" y="12"/>
                  <a:pt x="26" y="12"/>
                  <a:pt x="26" y="12"/>
                </a:cubicBezTo>
                <a:cubicBezTo>
                  <a:pt x="26" y="12"/>
                  <a:pt x="25" y="11"/>
                  <a:pt x="25"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6"/>
          <p:cNvSpPr>
            <a:spLocks/>
          </p:cNvSpPr>
          <p:nvPr/>
        </p:nvSpPr>
        <p:spPr bwMode="auto">
          <a:xfrm>
            <a:off x="2230140" y="3132381"/>
            <a:ext cx="125120" cy="100096"/>
          </a:xfrm>
          <a:custGeom>
            <a:avLst/>
            <a:gdLst>
              <a:gd name="T0" fmla="*/ 16 w 26"/>
              <a:gd name="T1" fmla="*/ 16 h 21"/>
              <a:gd name="T2" fmla="*/ 18 w 26"/>
              <a:gd name="T3" fmla="*/ 15 h 21"/>
              <a:gd name="T4" fmla="*/ 19 w 26"/>
              <a:gd name="T5" fmla="*/ 17 h 21"/>
              <a:gd name="T6" fmla="*/ 20 w 26"/>
              <a:gd name="T7" fmla="*/ 16 h 21"/>
              <a:gd name="T8" fmla="*/ 22 w 26"/>
              <a:gd name="T9" fmla="*/ 12 h 21"/>
              <a:gd name="T10" fmla="*/ 23 w 26"/>
              <a:gd name="T11" fmla="*/ 11 h 21"/>
              <a:gd name="T12" fmla="*/ 23 w 26"/>
              <a:gd name="T13" fmla="*/ 10 h 21"/>
              <a:gd name="T14" fmla="*/ 24 w 26"/>
              <a:gd name="T15" fmla="*/ 8 h 21"/>
              <a:gd name="T16" fmla="*/ 25 w 26"/>
              <a:gd name="T17" fmla="*/ 6 h 21"/>
              <a:gd name="T18" fmla="*/ 26 w 26"/>
              <a:gd name="T19" fmla="*/ 5 h 21"/>
              <a:gd name="T20" fmla="*/ 26 w 26"/>
              <a:gd name="T21" fmla="*/ 4 h 21"/>
              <a:gd name="T22" fmla="*/ 25 w 26"/>
              <a:gd name="T23" fmla="*/ 3 h 21"/>
              <a:gd name="T24" fmla="*/ 25 w 26"/>
              <a:gd name="T25" fmla="*/ 2 h 21"/>
              <a:gd name="T26" fmla="*/ 24 w 26"/>
              <a:gd name="T27" fmla="*/ 1 h 21"/>
              <a:gd name="T28" fmla="*/ 24 w 26"/>
              <a:gd name="T29" fmla="*/ 0 h 21"/>
              <a:gd name="T30" fmla="*/ 22 w 26"/>
              <a:gd name="T31" fmla="*/ 2 h 21"/>
              <a:gd name="T32" fmla="*/ 20 w 26"/>
              <a:gd name="T33" fmla="*/ 1 h 21"/>
              <a:gd name="T34" fmla="*/ 17 w 26"/>
              <a:gd name="T35" fmla="*/ 1 h 21"/>
              <a:gd name="T36" fmla="*/ 16 w 26"/>
              <a:gd name="T37" fmla="*/ 2 h 21"/>
              <a:gd name="T38" fmla="*/ 14 w 26"/>
              <a:gd name="T39" fmla="*/ 2 h 21"/>
              <a:gd name="T40" fmla="*/ 12 w 26"/>
              <a:gd name="T41" fmla="*/ 1 h 21"/>
              <a:gd name="T42" fmla="*/ 10 w 26"/>
              <a:gd name="T43" fmla="*/ 2 h 21"/>
              <a:gd name="T44" fmla="*/ 9 w 26"/>
              <a:gd name="T45" fmla="*/ 1 h 21"/>
              <a:gd name="T46" fmla="*/ 7 w 26"/>
              <a:gd name="T47" fmla="*/ 0 h 21"/>
              <a:gd name="T48" fmla="*/ 6 w 26"/>
              <a:gd name="T49" fmla="*/ 1 h 21"/>
              <a:gd name="T50" fmla="*/ 4 w 26"/>
              <a:gd name="T51" fmla="*/ 1 h 21"/>
              <a:gd name="T52" fmla="*/ 3 w 26"/>
              <a:gd name="T53" fmla="*/ 2 h 21"/>
              <a:gd name="T54" fmla="*/ 2 w 26"/>
              <a:gd name="T55" fmla="*/ 4 h 21"/>
              <a:gd name="T56" fmla="*/ 2 w 26"/>
              <a:gd name="T57" fmla="*/ 4 h 21"/>
              <a:gd name="T58" fmla="*/ 2 w 26"/>
              <a:gd name="T59" fmla="*/ 6 h 21"/>
              <a:gd name="T60" fmla="*/ 2 w 26"/>
              <a:gd name="T61" fmla="*/ 9 h 21"/>
              <a:gd name="T62" fmla="*/ 1 w 26"/>
              <a:gd name="T63" fmla="*/ 10 h 21"/>
              <a:gd name="T64" fmla="*/ 0 w 26"/>
              <a:gd name="T65" fmla="*/ 12 h 21"/>
              <a:gd name="T66" fmla="*/ 0 w 26"/>
              <a:gd name="T67" fmla="*/ 14 h 21"/>
              <a:gd name="T68" fmla="*/ 1 w 26"/>
              <a:gd name="T69" fmla="*/ 16 h 21"/>
              <a:gd name="T70" fmla="*/ 1 w 26"/>
              <a:gd name="T71" fmla="*/ 16 h 21"/>
              <a:gd name="T72" fmla="*/ 4 w 26"/>
              <a:gd name="T73" fmla="*/ 17 h 21"/>
              <a:gd name="T74" fmla="*/ 6 w 26"/>
              <a:gd name="T75" fmla="*/ 19 h 21"/>
              <a:gd name="T76" fmla="*/ 8 w 26"/>
              <a:gd name="T77" fmla="*/ 21 h 21"/>
              <a:gd name="T78" fmla="*/ 10 w 26"/>
              <a:gd name="T79" fmla="*/ 21 h 21"/>
              <a:gd name="T80" fmla="*/ 13 w 26"/>
              <a:gd name="T81" fmla="*/ 20 h 21"/>
              <a:gd name="T82" fmla="*/ 13 w 26"/>
              <a:gd name="T83" fmla="*/ 20 h 21"/>
              <a:gd name="T84" fmla="*/ 14 w 26"/>
              <a:gd name="T85" fmla="*/ 18 h 21"/>
              <a:gd name="T86" fmla="*/ 16 w 26"/>
              <a:gd name="T87"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21">
                <a:moveTo>
                  <a:pt x="16" y="16"/>
                </a:moveTo>
                <a:cubicBezTo>
                  <a:pt x="17" y="16"/>
                  <a:pt x="17" y="16"/>
                  <a:pt x="18" y="15"/>
                </a:cubicBezTo>
                <a:cubicBezTo>
                  <a:pt x="18" y="15"/>
                  <a:pt x="19" y="16"/>
                  <a:pt x="19" y="17"/>
                </a:cubicBezTo>
                <a:cubicBezTo>
                  <a:pt x="19" y="17"/>
                  <a:pt x="20" y="16"/>
                  <a:pt x="20" y="16"/>
                </a:cubicBezTo>
                <a:cubicBezTo>
                  <a:pt x="20" y="15"/>
                  <a:pt x="22" y="13"/>
                  <a:pt x="22" y="12"/>
                </a:cubicBezTo>
                <a:cubicBezTo>
                  <a:pt x="22" y="12"/>
                  <a:pt x="23" y="11"/>
                  <a:pt x="23" y="11"/>
                </a:cubicBezTo>
                <a:cubicBezTo>
                  <a:pt x="23" y="11"/>
                  <a:pt x="23" y="10"/>
                  <a:pt x="23" y="10"/>
                </a:cubicBezTo>
                <a:cubicBezTo>
                  <a:pt x="23" y="10"/>
                  <a:pt x="24" y="9"/>
                  <a:pt x="24" y="8"/>
                </a:cubicBezTo>
                <a:cubicBezTo>
                  <a:pt x="23" y="8"/>
                  <a:pt x="25" y="6"/>
                  <a:pt x="25" y="6"/>
                </a:cubicBezTo>
                <a:cubicBezTo>
                  <a:pt x="25" y="6"/>
                  <a:pt x="26" y="6"/>
                  <a:pt x="26" y="5"/>
                </a:cubicBezTo>
                <a:cubicBezTo>
                  <a:pt x="26" y="4"/>
                  <a:pt x="26" y="4"/>
                  <a:pt x="26" y="4"/>
                </a:cubicBezTo>
                <a:cubicBezTo>
                  <a:pt x="26" y="4"/>
                  <a:pt x="25" y="3"/>
                  <a:pt x="25" y="3"/>
                </a:cubicBezTo>
                <a:cubicBezTo>
                  <a:pt x="25" y="3"/>
                  <a:pt x="25" y="2"/>
                  <a:pt x="25" y="2"/>
                </a:cubicBezTo>
                <a:cubicBezTo>
                  <a:pt x="25" y="2"/>
                  <a:pt x="25" y="1"/>
                  <a:pt x="24" y="1"/>
                </a:cubicBezTo>
                <a:cubicBezTo>
                  <a:pt x="24" y="0"/>
                  <a:pt x="24" y="0"/>
                  <a:pt x="24" y="0"/>
                </a:cubicBezTo>
                <a:cubicBezTo>
                  <a:pt x="23" y="0"/>
                  <a:pt x="23" y="1"/>
                  <a:pt x="22" y="2"/>
                </a:cubicBezTo>
                <a:cubicBezTo>
                  <a:pt x="21" y="2"/>
                  <a:pt x="21" y="1"/>
                  <a:pt x="20" y="1"/>
                </a:cubicBezTo>
                <a:cubicBezTo>
                  <a:pt x="20" y="1"/>
                  <a:pt x="18" y="1"/>
                  <a:pt x="17" y="1"/>
                </a:cubicBezTo>
                <a:cubicBezTo>
                  <a:pt x="17" y="1"/>
                  <a:pt x="16" y="2"/>
                  <a:pt x="16" y="2"/>
                </a:cubicBezTo>
                <a:cubicBezTo>
                  <a:pt x="15" y="2"/>
                  <a:pt x="14" y="2"/>
                  <a:pt x="14" y="2"/>
                </a:cubicBezTo>
                <a:cubicBezTo>
                  <a:pt x="13" y="2"/>
                  <a:pt x="12" y="1"/>
                  <a:pt x="12" y="1"/>
                </a:cubicBezTo>
                <a:cubicBezTo>
                  <a:pt x="11" y="1"/>
                  <a:pt x="11" y="1"/>
                  <a:pt x="10" y="2"/>
                </a:cubicBezTo>
                <a:cubicBezTo>
                  <a:pt x="9" y="2"/>
                  <a:pt x="9" y="1"/>
                  <a:pt x="9" y="1"/>
                </a:cubicBezTo>
                <a:cubicBezTo>
                  <a:pt x="8" y="0"/>
                  <a:pt x="8" y="1"/>
                  <a:pt x="7" y="0"/>
                </a:cubicBezTo>
                <a:cubicBezTo>
                  <a:pt x="7" y="0"/>
                  <a:pt x="6" y="1"/>
                  <a:pt x="6" y="1"/>
                </a:cubicBezTo>
                <a:cubicBezTo>
                  <a:pt x="5" y="1"/>
                  <a:pt x="4" y="0"/>
                  <a:pt x="4" y="1"/>
                </a:cubicBezTo>
                <a:cubicBezTo>
                  <a:pt x="3" y="1"/>
                  <a:pt x="3" y="2"/>
                  <a:pt x="3" y="2"/>
                </a:cubicBezTo>
                <a:cubicBezTo>
                  <a:pt x="3" y="3"/>
                  <a:pt x="2" y="3"/>
                  <a:pt x="2" y="4"/>
                </a:cubicBezTo>
                <a:cubicBezTo>
                  <a:pt x="2" y="4"/>
                  <a:pt x="2" y="4"/>
                  <a:pt x="2" y="4"/>
                </a:cubicBezTo>
                <a:cubicBezTo>
                  <a:pt x="2" y="5"/>
                  <a:pt x="2" y="6"/>
                  <a:pt x="2" y="6"/>
                </a:cubicBezTo>
                <a:cubicBezTo>
                  <a:pt x="2" y="6"/>
                  <a:pt x="2" y="8"/>
                  <a:pt x="2" y="9"/>
                </a:cubicBezTo>
                <a:cubicBezTo>
                  <a:pt x="1" y="9"/>
                  <a:pt x="1" y="10"/>
                  <a:pt x="1" y="10"/>
                </a:cubicBezTo>
                <a:cubicBezTo>
                  <a:pt x="1" y="10"/>
                  <a:pt x="0" y="11"/>
                  <a:pt x="0" y="12"/>
                </a:cubicBezTo>
                <a:cubicBezTo>
                  <a:pt x="0" y="13"/>
                  <a:pt x="0" y="14"/>
                  <a:pt x="0" y="14"/>
                </a:cubicBezTo>
                <a:cubicBezTo>
                  <a:pt x="0" y="15"/>
                  <a:pt x="1" y="15"/>
                  <a:pt x="1" y="16"/>
                </a:cubicBezTo>
                <a:cubicBezTo>
                  <a:pt x="1" y="16"/>
                  <a:pt x="1" y="16"/>
                  <a:pt x="1" y="16"/>
                </a:cubicBezTo>
                <a:cubicBezTo>
                  <a:pt x="1" y="17"/>
                  <a:pt x="3" y="17"/>
                  <a:pt x="4" y="17"/>
                </a:cubicBezTo>
                <a:cubicBezTo>
                  <a:pt x="5" y="17"/>
                  <a:pt x="6" y="19"/>
                  <a:pt x="6" y="19"/>
                </a:cubicBezTo>
                <a:cubicBezTo>
                  <a:pt x="6" y="20"/>
                  <a:pt x="7" y="21"/>
                  <a:pt x="8" y="21"/>
                </a:cubicBezTo>
                <a:cubicBezTo>
                  <a:pt x="8" y="21"/>
                  <a:pt x="9" y="21"/>
                  <a:pt x="10" y="21"/>
                </a:cubicBezTo>
                <a:cubicBezTo>
                  <a:pt x="10" y="21"/>
                  <a:pt x="12" y="21"/>
                  <a:pt x="13" y="20"/>
                </a:cubicBezTo>
                <a:cubicBezTo>
                  <a:pt x="13" y="20"/>
                  <a:pt x="13" y="20"/>
                  <a:pt x="13" y="20"/>
                </a:cubicBezTo>
                <a:cubicBezTo>
                  <a:pt x="14" y="19"/>
                  <a:pt x="14" y="18"/>
                  <a:pt x="14" y="18"/>
                </a:cubicBezTo>
                <a:cubicBezTo>
                  <a:pt x="14" y="18"/>
                  <a:pt x="16" y="16"/>
                  <a:pt x="16" y="1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7"/>
          <p:cNvSpPr>
            <a:spLocks/>
          </p:cNvSpPr>
          <p:nvPr/>
        </p:nvSpPr>
        <p:spPr bwMode="auto">
          <a:xfrm>
            <a:off x="2208691" y="3146680"/>
            <a:ext cx="32174" cy="64347"/>
          </a:xfrm>
          <a:custGeom>
            <a:avLst/>
            <a:gdLst>
              <a:gd name="T0" fmla="*/ 4 w 6"/>
              <a:gd name="T1" fmla="*/ 9 h 14"/>
              <a:gd name="T2" fmla="*/ 5 w 6"/>
              <a:gd name="T3" fmla="*/ 7 h 14"/>
              <a:gd name="T4" fmla="*/ 6 w 6"/>
              <a:gd name="T5" fmla="*/ 6 h 14"/>
              <a:gd name="T6" fmla="*/ 6 w 6"/>
              <a:gd name="T7" fmla="*/ 3 h 14"/>
              <a:gd name="T8" fmla="*/ 6 w 6"/>
              <a:gd name="T9" fmla="*/ 1 h 14"/>
              <a:gd name="T10" fmla="*/ 5 w 6"/>
              <a:gd name="T11" fmla="*/ 1 h 14"/>
              <a:gd name="T12" fmla="*/ 5 w 6"/>
              <a:gd name="T13" fmla="*/ 0 h 14"/>
              <a:gd name="T14" fmla="*/ 4 w 6"/>
              <a:gd name="T15" fmla="*/ 1 h 14"/>
              <a:gd name="T16" fmla="*/ 3 w 6"/>
              <a:gd name="T17" fmla="*/ 2 h 14"/>
              <a:gd name="T18" fmla="*/ 1 w 6"/>
              <a:gd name="T19" fmla="*/ 3 h 14"/>
              <a:gd name="T20" fmla="*/ 0 w 6"/>
              <a:gd name="T21" fmla="*/ 3 h 14"/>
              <a:gd name="T22" fmla="*/ 0 w 6"/>
              <a:gd name="T23" fmla="*/ 3 h 14"/>
              <a:gd name="T24" fmla="*/ 1 w 6"/>
              <a:gd name="T25" fmla="*/ 5 h 14"/>
              <a:gd name="T26" fmla="*/ 1 w 6"/>
              <a:gd name="T27" fmla="*/ 7 h 14"/>
              <a:gd name="T28" fmla="*/ 2 w 6"/>
              <a:gd name="T29" fmla="*/ 10 h 14"/>
              <a:gd name="T30" fmla="*/ 2 w 6"/>
              <a:gd name="T31" fmla="*/ 14 h 14"/>
              <a:gd name="T32" fmla="*/ 3 w 6"/>
              <a:gd name="T33" fmla="*/ 14 h 14"/>
              <a:gd name="T34" fmla="*/ 5 w 6"/>
              <a:gd name="T35" fmla="*/ 13 h 14"/>
              <a:gd name="T36" fmla="*/ 4 w 6"/>
              <a:gd name="T37" fmla="*/ 11 h 14"/>
              <a:gd name="T38" fmla="*/ 4 w 6"/>
              <a:gd name="T3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14">
                <a:moveTo>
                  <a:pt x="4" y="9"/>
                </a:moveTo>
                <a:cubicBezTo>
                  <a:pt x="4" y="8"/>
                  <a:pt x="5" y="7"/>
                  <a:pt x="5" y="7"/>
                </a:cubicBezTo>
                <a:cubicBezTo>
                  <a:pt x="5" y="7"/>
                  <a:pt x="5" y="6"/>
                  <a:pt x="6" y="6"/>
                </a:cubicBezTo>
                <a:cubicBezTo>
                  <a:pt x="6" y="5"/>
                  <a:pt x="6" y="3"/>
                  <a:pt x="6" y="3"/>
                </a:cubicBezTo>
                <a:cubicBezTo>
                  <a:pt x="6" y="3"/>
                  <a:pt x="6" y="2"/>
                  <a:pt x="6" y="1"/>
                </a:cubicBezTo>
                <a:cubicBezTo>
                  <a:pt x="6" y="1"/>
                  <a:pt x="6" y="1"/>
                  <a:pt x="5" y="1"/>
                </a:cubicBezTo>
                <a:cubicBezTo>
                  <a:pt x="5" y="1"/>
                  <a:pt x="5" y="0"/>
                  <a:pt x="5" y="0"/>
                </a:cubicBezTo>
                <a:cubicBezTo>
                  <a:pt x="4" y="0"/>
                  <a:pt x="4" y="1"/>
                  <a:pt x="4" y="1"/>
                </a:cubicBezTo>
                <a:cubicBezTo>
                  <a:pt x="4" y="2"/>
                  <a:pt x="3" y="2"/>
                  <a:pt x="3" y="2"/>
                </a:cubicBezTo>
                <a:cubicBezTo>
                  <a:pt x="3" y="2"/>
                  <a:pt x="2" y="3"/>
                  <a:pt x="1" y="3"/>
                </a:cubicBezTo>
                <a:cubicBezTo>
                  <a:pt x="1" y="3"/>
                  <a:pt x="1" y="3"/>
                  <a:pt x="0" y="3"/>
                </a:cubicBezTo>
                <a:cubicBezTo>
                  <a:pt x="0" y="3"/>
                  <a:pt x="0" y="3"/>
                  <a:pt x="0" y="3"/>
                </a:cubicBezTo>
                <a:cubicBezTo>
                  <a:pt x="0" y="5"/>
                  <a:pt x="0" y="5"/>
                  <a:pt x="1" y="5"/>
                </a:cubicBezTo>
                <a:cubicBezTo>
                  <a:pt x="2" y="6"/>
                  <a:pt x="1" y="7"/>
                  <a:pt x="1" y="7"/>
                </a:cubicBezTo>
                <a:cubicBezTo>
                  <a:pt x="2" y="8"/>
                  <a:pt x="2" y="9"/>
                  <a:pt x="2" y="10"/>
                </a:cubicBezTo>
                <a:cubicBezTo>
                  <a:pt x="2" y="10"/>
                  <a:pt x="2" y="12"/>
                  <a:pt x="2" y="14"/>
                </a:cubicBezTo>
                <a:cubicBezTo>
                  <a:pt x="2" y="14"/>
                  <a:pt x="3" y="14"/>
                  <a:pt x="3" y="14"/>
                </a:cubicBezTo>
                <a:cubicBezTo>
                  <a:pt x="4" y="14"/>
                  <a:pt x="5" y="13"/>
                  <a:pt x="5" y="13"/>
                </a:cubicBezTo>
                <a:cubicBezTo>
                  <a:pt x="5" y="12"/>
                  <a:pt x="4" y="12"/>
                  <a:pt x="4" y="11"/>
                </a:cubicBezTo>
                <a:cubicBezTo>
                  <a:pt x="4" y="11"/>
                  <a:pt x="4" y="10"/>
                  <a:pt x="4"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58"/>
          <p:cNvSpPr>
            <a:spLocks/>
          </p:cNvSpPr>
          <p:nvPr/>
        </p:nvSpPr>
        <p:spPr bwMode="auto">
          <a:xfrm>
            <a:off x="2201541" y="3160979"/>
            <a:ext cx="17874" cy="57198"/>
          </a:xfrm>
          <a:custGeom>
            <a:avLst/>
            <a:gdLst>
              <a:gd name="T0" fmla="*/ 3 w 4"/>
              <a:gd name="T1" fmla="*/ 4 h 12"/>
              <a:gd name="T2" fmla="*/ 3 w 4"/>
              <a:gd name="T3" fmla="*/ 2 h 12"/>
              <a:gd name="T4" fmla="*/ 2 w 4"/>
              <a:gd name="T5" fmla="*/ 0 h 12"/>
              <a:gd name="T6" fmla="*/ 0 w 4"/>
              <a:gd name="T7" fmla="*/ 0 h 12"/>
              <a:gd name="T8" fmla="*/ 0 w 4"/>
              <a:gd name="T9" fmla="*/ 0 h 12"/>
              <a:gd name="T10" fmla="*/ 0 w 4"/>
              <a:gd name="T11" fmla="*/ 2 h 12"/>
              <a:gd name="T12" fmla="*/ 1 w 4"/>
              <a:gd name="T13" fmla="*/ 3 h 12"/>
              <a:gd name="T14" fmla="*/ 1 w 4"/>
              <a:gd name="T15" fmla="*/ 6 h 12"/>
              <a:gd name="T16" fmla="*/ 1 w 4"/>
              <a:gd name="T17" fmla="*/ 9 h 12"/>
              <a:gd name="T18" fmla="*/ 2 w 4"/>
              <a:gd name="T19" fmla="*/ 12 h 12"/>
              <a:gd name="T20" fmla="*/ 3 w 4"/>
              <a:gd name="T21" fmla="*/ 11 h 12"/>
              <a:gd name="T22" fmla="*/ 4 w 4"/>
              <a:gd name="T23" fmla="*/ 11 h 12"/>
              <a:gd name="T24" fmla="*/ 4 w 4"/>
              <a:gd name="T25" fmla="*/ 7 h 12"/>
              <a:gd name="T26" fmla="*/ 3 w 4"/>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2">
                <a:moveTo>
                  <a:pt x="3" y="4"/>
                </a:moveTo>
                <a:cubicBezTo>
                  <a:pt x="3" y="4"/>
                  <a:pt x="4" y="3"/>
                  <a:pt x="3" y="2"/>
                </a:cubicBezTo>
                <a:cubicBezTo>
                  <a:pt x="2" y="2"/>
                  <a:pt x="2" y="2"/>
                  <a:pt x="2" y="0"/>
                </a:cubicBezTo>
                <a:cubicBezTo>
                  <a:pt x="1" y="0"/>
                  <a:pt x="1" y="0"/>
                  <a:pt x="0" y="0"/>
                </a:cubicBezTo>
                <a:cubicBezTo>
                  <a:pt x="0" y="0"/>
                  <a:pt x="0" y="0"/>
                  <a:pt x="0" y="0"/>
                </a:cubicBezTo>
                <a:cubicBezTo>
                  <a:pt x="0" y="1"/>
                  <a:pt x="0" y="2"/>
                  <a:pt x="0" y="2"/>
                </a:cubicBezTo>
                <a:cubicBezTo>
                  <a:pt x="1" y="2"/>
                  <a:pt x="1" y="2"/>
                  <a:pt x="1" y="3"/>
                </a:cubicBezTo>
                <a:cubicBezTo>
                  <a:pt x="1" y="4"/>
                  <a:pt x="1" y="5"/>
                  <a:pt x="1" y="6"/>
                </a:cubicBezTo>
                <a:cubicBezTo>
                  <a:pt x="1" y="7"/>
                  <a:pt x="1" y="8"/>
                  <a:pt x="1" y="9"/>
                </a:cubicBezTo>
                <a:cubicBezTo>
                  <a:pt x="1" y="10"/>
                  <a:pt x="2" y="11"/>
                  <a:pt x="2" y="12"/>
                </a:cubicBezTo>
                <a:cubicBezTo>
                  <a:pt x="2" y="12"/>
                  <a:pt x="3" y="11"/>
                  <a:pt x="3" y="11"/>
                </a:cubicBezTo>
                <a:cubicBezTo>
                  <a:pt x="3" y="11"/>
                  <a:pt x="3" y="11"/>
                  <a:pt x="4" y="11"/>
                </a:cubicBezTo>
                <a:cubicBezTo>
                  <a:pt x="4" y="9"/>
                  <a:pt x="4" y="7"/>
                  <a:pt x="4" y="7"/>
                </a:cubicBezTo>
                <a:cubicBezTo>
                  <a:pt x="4" y="6"/>
                  <a:pt x="4" y="5"/>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59"/>
          <p:cNvSpPr>
            <a:spLocks/>
          </p:cNvSpPr>
          <p:nvPr/>
        </p:nvSpPr>
        <p:spPr bwMode="auto">
          <a:xfrm>
            <a:off x="2290912" y="3139530"/>
            <a:ext cx="78647" cy="121545"/>
          </a:xfrm>
          <a:custGeom>
            <a:avLst/>
            <a:gdLst>
              <a:gd name="T0" fmla="*/ 7 w 16"/>
              <a:gd name="T1" fmla="*/ 24 h 25"/>
              <a:gd name="T2" fmla="*/ 13 w 16"/>
              <a:gd name="T3" fmla="*/ 24 h 25"/>
              <a:gd name="T4" fmla="*/ 16 w 16"/>
              <a:gd name="T5" fmla="*/ 25 h 25"/>
              <a:gd name="T6" fmla="*/ 16 w 16"/>
              <a:gd name="T7" fmla="*/ 23 h 25"/>
              <a:gd name="T8" fmla="*/ 16 w 16"/>
              <a:gd name="T9" fmla="*/ 23 h 25"/>
              <a:gd name="T10" fmla="*/ 15 w 16"/>
              <a:gd name="T11" fmla="*/ 21 h 25"/>
              <a:gd name="T12" fmla="*/ 14 w 16"/>
              <a:gd name="T13" fmla="*/ 21 h 25"/>
              <a:gd name="T14" fmla="*/ 14 w 16"/>
              <a:gd name="T15" fmla="*/ 19 h 25"/>
              <a:gd name="T16" fmla="*/ 13 w 16"/>
              <a:gd name="T17" fmla="*/ 17 h 25"/>
              <a:gd name="T18" fmla="*/ 13 w 16"/>
              <a:gd name="T19" fmla="*/ 16 h 25"/>
              <a:gd name="T20" fmla="*/ 14 w 16"/>
              <a:gd name="T21" fmla="*/ 13 h 25"/>
              <a:gd name="T22" fmla="*/ 15 w 16"/>
              <a:gd name="T23" fmla="*/ 12 h 25"/>
              <a:gd name="T24" fmla="*/ 14 w 16"/>
              <a:gd name="T25" fmla="*/ 10 h 25"/>
              <a:gd name="T26" fmla="*/ 13 w 16"/>
              <a:gd name="T27" fmla="*/ 9 h 25"/>
              <a:gd name="T28" fmla="*/ 12 w 16"/>
              <a:gd name="T29" fmla="*/ 7 h 25"/>
              <a:gd name="T30" fmla="*/ 14 w 16"/>
              <a:gd name="T31" fmla="*/ 7 h 25"/>
              <a:gd name="T32" fmla="*/ 15 w 16"/>
              <a:gd name="T33" fmla="*/ 6 h 25"/>
              <a:gd name="T34" fmla="*/ 14 w 16"/>
              <a:gd name="T35" fmla="*/ 4 h 25"/>
              <a:gd name="T36" fmla="*/ 14 w 16"/>
              <a:gd name="T37" fmla="*/ 2 h 25"/>
              <a:gd name="T38" fmla="*/ 12 w 16"/>
              <a:gd name="T39" fmla="*/ 0 h 25"/>
              <a:gd name="T40" fmla="*/ 12 w 16"/>
              <a:gd name="T41" fmla="*/ 0 h 25"/>
              <a:gd name="T42" fmla="*/ 12 w 16"/>
              <a:gd name="T43" fmla="*/ 1 h 25"/>
              <a:gd name="T44" fmla="*/ 13 w 16"/>
              <a:gd name="T45" fmla="*/ 2 h 25"/>
              <a:gd name="T46" fmla="*/ 13 w 16"/>
              <a:gd name="T47" fmla="*/ 3 h 25"/>
              <a:gd name="T48" fmla="*/ 12 w 16"/>
              <a:gd name="T49" fmla="*/ 4 h 25"/>
              <a:gd name="T50" fmla="*/ 11 w 16"/>
              <a:gd name="T51" fmla="*/ 6 h 25"/>
              <a:gd name="T52" fmla="*/ 10 w 16"/>
              <a:gd name="T53" fmla="*/ 8 h 25"/>
              <a:gd name="T54" fmla="*/ 10 w 16"/>
              <a:gd name="T55" fmla="*/ 9 h 25"/>
              <a:gd name="T56" fmla="*/ 9 w 16"/>
              <a:gd name="T57" fmla="*/ 10 h 25"/>
              <a:gd name="T58" fmla="*/ 7 w 16"/>
              <a:gd name="T59" fmla="*/ 14 h 25"/>
              <a:gd name="T60" fmla="*/ 6 w 16"/>
              <a:gd name="T61" fmla="*/ 15 h 25"/>
              <a:gd name="T62" fmla="*/ 5 w 16"/>
              <a:gd name="T63" fmla="*/ 13 h 25"/>
              <a:gd name="T64" fmla="*/ 3 w 16"/>
              <a:gd name="T65" fmla="*/ 14 h 25"/>
              <a:gd name="T66" fmla="*/ 1 w 16"/>
              <a:gd name="T67" fmla="*/ 16 h 25"/>
              <a:gd name="T68" fmla="*/ 0 w 16"/>
              <a:gd name="T69" fmla="*/ 18 h 25"/>
              <a:gd name="T70" fmla="*/ 1 w 16"/>
              <a:gd name="T71" fmla="*/ 20 h 25"/>
              <a:gd name="T72" fmla="*/ 3 w 16"/>
              <a:gd name="T73" fmla="*/ 20 h 25"/>
              <a:gd name="T74" fmla="*/ 3 w 16"/>
              <a:gd name="T75" fmla="*/ 22 h 25"/>
              <a:gd name="T76" fmla="*/ 3 w 16"/>
              <a:gd name="T77" fmla="*/ 24 h 25"/>
              <a:gd name="T78" fmla="*/ 6 w 16"/>
              <a:gd name="T79" fmla="*/ 24 h 25"/>
              <a:gd name="T80" fmla="*/ 7 w 16"/>
              <a:gd name="T8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 h="25">
                <a:moveTo>
                  <a:pt x="7" y="24"/>
                </a:moveTo>
                <a:cubicBezTo>
                  <a:pt x="7" y="24"/>
                  <a:pt x="12" y="24"/>
                  <a:pt x="13" y="24"/>
                </a:cubicBezTo>
                <a:cubicBezTo>
                  <a:pt x="13" y="24"/>
                  <a:pt x="16" y="25"/>
                  <a:pt x="16" y="25"/>
                </a:cubicBezTo>
                <a:cubicBezTo>
                  <a:pt x="16" y="25"/>
                  <a:pt x="16" y="24"/>
                  <a:pt x="16" y="23"/>
                </a:cubicBezTo>
                <a:cubicBezTo>
                  <a:pt x="16" y="23"/>
                  <a:pt x="16" y="23"/>
                  <a:pt x="16" y="23"/>
                </a:cubicBezTo>
                <a:cubicBezTo>
                  <a:pt x="16" y="22"/>
                  <a:pt x="15" y="22"/>
                  <a:pt x="15" y="21"/>
                </a:cubicBezTo>
                <a:cubicBezTo>
                  <a:pt x="14" y="21"/>
                  <a:pt x="14" y="21"/>
                  <a:pt x="14" y="21"/>
                </a:cubicBezTo>
                <a:cubicBezTo>
                  <a:pt x="14" y="21"/>
                  <a:pt x="14" y="20"/>
                  <a:pt x="14" y="19"/>
                </a:cubicBezTo>
                <a:cubicBezTo>
                  <a:pt x="13" y="19"/>
                  <a:pt x="13" y="18"/>
                  <a:pt x="13" y="17"/>
                </a:cubicBezTo>
                <a:cubicBezTo>
                  <a:pt x="13" y="17"/>
                  <a:pt x="13" y="16"/>
                  <a:pt x="13" y="16"/>
                </a:cubicBezTo>
                <a:cubicBezTo>
                  <a:pt x="13" y="15"/>
                  <a:pt x="14" y="14"/>
                  <a:pt x="14" y="13"/>
                </a:cubicBezTo>
                <a:cubicBezTo>
                  <a:pt x="14" y="13"/>
                  <a:pt x="15" y="12"/>
                  <a:pt x="15" y="12"/>
                </a:cubicBezTo>
                <a:cubicBezTo>
                  <a:pt x="15" y="12"/>
                  <a:pt x="15" y="11"/>
                  <a:pt x="14" y="10"/>
                </a:cubicBezTo>
                <a:cubicBezTo>
                  <a:pt x="14" y="10"/>
                  <a:pt x="13" y="9"/>
                  <a:pt x="13" y="9"/>
                </a:cubicBezTo>
                <a:cubicBezTo>
                  <a:pt x="12" y="8"/>
                  <a:pt x="12" y="7"/>
                  <a:pt x="12" y="7"/>
                </a:cubicBezTo>
                <a:cubicBezTo>
                  <a:pt x="12" y="7"/>
                  <a:pt x="13" y="7"/>
                  <a:pt x="14" y="7"/>
                </a:cubicBezTo>
                <a:cubicBezTo>
                  <a:pt x="15" y="7"/>
                  <a:pt x="15" y="7"/>
                  <a:pt x="15" y="6"/>
                </a:cubicBezTo>
                <a:cubicBezTo>
                  <a:pt x="15" y="6"/>
                  <a:pt x="14" y="5"/>
                  <a:pt x="14" y="4"/>
                </a:cubicBezTo>
                <a:cubicBezTo>
                  <a:pt x="14" y="3"/>
                  <a:pt x="14" y="2"/>
                  <a:pt x="14" y="2"/>
                </a:cubicBezTo>
                <a:cubicBezTo>
                  <a:pt x="14" y="1"/>
                  <a:pt x="13" y="0"/>
                  <a:pt x="12" y="0"/>
                </a:cubicBezTo>
                <a:cubicBezTo>
                  <a:pt x="12" y="0"/>
                  <a:pt x="12" y="0"/>
                  <a:pt x="12" y="0"/>
                </a:cubicBezTo>
                <a:cubicBezTo>
                  <a:pt x="12" y="0"/>
                  <a:pt x="12" y="1"/>
                  <a:pt x="12" y="1"/>
                </a:cubicBezTo>
                <a:cubicBezTo>
                  <a:pt x="12" y="1"/>
                  <a:pt x="13" y="2"/>
                  <a:pt x="13" y="2"/>
                </a:cubicBezTo>
                <a:cubicBezTo>
                  <a:pt x="13" y="2"/>
                  <a:pt x="13" y="3"/>
                  <a:pt x="13" y="3"/>
                </a:cubicBezTo>
                <a:cubicBezTo>
                  <a:pt x="13" y="4"/>
                  <a:pt x="12" y="4"/>
                  <a:pt x="12" y="4"/>
                </a:cubicBezTo>
                <a:cubicBezTo>
                  <a:pt x="12" y="4"/>
                  <a:pt x="10" y="6"/>
                  <a:pt x="11" y="6"/>
                </a:cubicBezTo>
                <a:cubicBezTo>
                  <a:pt x="11" y="7"/>
                  <a:pt x="10" y="8"/>
                  <a:pt x="10" y="8"/>
                </a:cubicBezTo>
                <a:cubicBezTo>
                  <a:pt x="10" y="8"/>
                  <a:pt x="10" y="9"/>
                  <a:pt x="10" y="9"/>
                </a:cubicBezTo>
                <a:cubicBezTo>
                  <a:pt x="10" y="9"/>
                  <a:pt x="9" y="10"/>
                  <a:pt x="9" y="10"/>
                </a:cubicBezTo>
                <a:cubicBezTo>
                  <a:pt x="9" y="11"/>
                  <a:pt x="7" y="13"/>
                  <a:pt x="7" y="14"/>
                </a:cubicBezTo>
                <a:cubicBezTo>
                  <a:pt x="7" y="14"/>
                  <a:pt x="6" y="15"/>
                  <a:pt x="6" y="15"/>
                </a:cubicBezTo>
                <a:cubicBezTo>
                  <a:pt x="6" y="14"/>
                  <a:pt x="5" y="13"/>
                  <a:pt x="5" y="13"/>
                </a:cubicBezTo>
                <a:cubicBezTo>
                  <a:pt x="4" y="14"/>
                  <a:pt x="4" y="14"/>
                  <a:pt x="3" y="14"/>
                </a:cubicBezTo>
                <a:cubicBezTo>
                  <a:pt x="3" y="14"/>
                  <a:pt x="1" y="16"/>
                  <a:pt x="1" y="16"/>
                </a:cubicBezTo>
                <a:cubicBezTo>
                  <a:pt x="1" y="16"/>
                  <a:pt x="1" y="17"/>
                  <a:pt x="0" y="18"/>
                </a:cubicBezTo>
                <a:cubicBezTo>
                  <a:pt x="0" y="19"/>
                  <a:pt x="1" y="19"/>
                  <a:pt x="1" y="20"/>
                </a:cubicBezTo>
                <a:cubicBezTo>
                  <a:pt x="1" y="20"/>
                  <a:pt x="2" y="20"/>
                  <a:pt x="3" y="20"/>
                </a:cubicBezTo>
                <a:cubicBezTo>
                  <a:pt x="3" y="20"/>
                  <a:pt x="3" y="22"/>
                  <a:pt x="3" y="22"/>
                </a:cubicBezTo>
                <a:cubicBezTo>
                  <a:pt x="3" y="23"/>
                  <a:pt x="3" y="24"/>
                  <a:pt x="3" y="24"/>
                </a:cubicBezTo>
                <a:cubicBezTo>
                  <a:pt x="6" y="24"/>
                  <a:pt x="6" y="24"/>
                  <a:pt x="6" y="24"/>
                </a:cubicBezTo>
                <a:lnTo>
                  <a:pt x="7"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60"/>
          <p:cNvSpPr>
            <a:spLocks/>
          </p:cNvSpPr>
          <p:nvPr/>
        </p:nvSpPr>
        <p:spPr bwMode="auto">
          <a:xfrm>
            <a:off x="2108595" y="3164554"/>
            <a:ext cx="67922" cy="67922"/>
          </a:xfrm>
          <a:custGeom>
            <a:avLst/>
            <a:gdLst>
              <a:gd name="T0" fmla="*/ 13 w 14"/>
              <a:gd name="T1" fmla="*/ 12 h 14"/>
              <a:gd name="T2" fmla="*/ 12 w 14"/>
              <a:gd name="T3" fmla="*/ 9 h 14"/>
              <a:gd name="T4" fmla="*/ 13 w 14"/>
              <a:gd name="T5" fmla="*/ 7 h 14"/>
              <a:gd name="T6" fmla="*/ 14 w 14"/>
              <a:gd name="T7" fmla="*/ 6 h 14"/>
              <a:gd name="T8" fmla="*/ 13 w 14"/>
              <a:gd name="T9" fmla="*/ 2 h 14"/>
              <a:gd name="T10" fmla="*/ 12 w 14"/>
              <a:gd name="T11" fmla="*/ 2 h 14"/>
              <a:gd name="T12" fmla="*/ 10 w 14"/>
              <a:gd name="T13" fmla="*/ 2 h 14"/>
              <a:gd name="T14" fmla="*/ 8 w 14"/>
              <a:gd name="T15" fmla="*/ 1 h 14"/>
              <a:gd name="T16" fmla="*/ 6 w 14"/>
              <a:gd name="T17" fmla="*/ 1 h 14"/>
              <a:gd name="T18" fmla="*/ 5 w 14"/>
              <a:gd name="T19" fmla="*/ 1 h 14"/>
              <a:gd name="T20" fmla="*/ 4 w 14"/>
              <a:gd name="T21" fmla="*/ 1 h 14"/>
              <a:gd name="T22" fmla="*/ 3 w 14"/>
              <a:gd name="T23" fmla="*/ 1 h 14"/>
              <a:gd name="T24" fmla="*/ 2 w 14"/>
              <a:gd name="T25" fmla="*/ 1 h 14"/>
              <a:gd name="T26" fmla="*/ 1 w 14"/>
              <a:gd name="T27" fmla="*/ 1 h 14"/>
              <a:gd name="T28" fmla="*/ 1 w 14"/>
              <a:gd name="T29" fmla="*/ 3 h 14"/>
              <a:gd name="T30" fmla="*/ 1 w 14"/>
              <a:gd name="T31" fmla="*/ 4 h 14"/>
              <a:gd name="T32" fmla="*/ 2 w 14"/>
              <a:gd name="T33" fmla="*/ 5 h 14"/>
              <a:gd name="T34" fmla="*/ 1 w 14"/>
              <a:gd name="T35" fmla="*/ 5 h 14"/>
              <a:gd name="T36" fmla="*/ 1 w 14"/>
              <a:gd name="T37" fmla="*/ 7 h 14"/>
              <a:gd name="T38" fmla="*/ 0 w 14"/>
              <a:gd name="T39" fmla="*/ 8 h 14"/>
              <a:gd name="T40" fmla="*/ 0 w 14"/>
              <a:gd name="T41" fmla="*/ 10 h 14"/>
              <a:gd name="T42" fmla="*/ 1 w 14"/>
              <a:gd name="T43" fmla="*/ 10 h 14"/>
              <a:gd name="T44" fmla="*/ 3 w 14"/>
              <a:gd name="T45" fmla="*/ 12 h 14"/>
              <a:gd name="T46" fmla="*/ 2 w 14"/>
              <a:gd name="T47" fmla="*/ 14 h 14"/>
              <a:gd name="T48" fmla="*/ 8 w 14"/>
              <a:gd name="T49" fmla="*/ 13 h 14"/>
              <a:gd name="T50" fmla="*/ 13 w 14"/>
              <a:gd name="T51" fmla="*/ 13 h 14"/>
              <a:gd name="T52" fmla="*/ 13 w 14"/>
              <a:gd name="T5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4">
                <a:moveTo>
                  <a:pt x="13" y="12"/>
                </a:moveTo>
                <a:cubicBezTo>
                  <a:pt x="13" y="11"/>
                  <a:pt x="12" y="10"/>
                  <a:pt x="12" y="9"/>
                </a:cubicBezTo>
                <a:cubicBezTo>
                  <a:pt x="12" y="9"/>
                  <a:pt x="13" y="8"/>
                  <a:pt x="13" y="7"/>
                </a:cubicBezTo>
                <a:cubicBezTo>
                  <a:pt x="13" y="7"/>
                  <a:pt x="14" y="6"/>
                  <a:pt x="14" y="6"/>
                </a:cubicBezTo>
                <a:cubicBezTo>
                  <a:pt x="14" y="5"/>
                  <a:pt x="13" y="3"/>
                  <a:pt x="13" y="2"/>
                </a:cubicBezTo>
                <a:cubicBezTo>
                  <a:pt x="13" y="2"/>
                  <a:pt x="13" y="2"/>
                  <a:pt x="12" y="2"/>
                </a:cubicBezTo>
                <a:cubicBezTo>
                  <a:pt x="12" y="2"/>
                  <a:pt x="10" y="2"/>
                  <a:pt x="10" y="2"/>
                </a:cubicBezTo>
                <a:cubicBezTo>
                  <a:pt x="9" y="3"/>
                  <a:pt x="8" y="2"/>
                  <a:pt x="8" y="1"/>
                </a:cubicBezTo>
                <a:cubicBezTo>
                  <a:pt x="8" y="1"/>
                  <a:pt x="7" y="0"/>
                  <a:pt x="6" y="1"/>
                </a:cubicBezTo>
                <a:cubicBezTo>
                  <a:pt x="5" y="1"/>
                  <a:pt x="5" y="1"/>
                  <a:pt x="5" y="1"/>
                </a:cubicBezTo>
                <a:cubicBezTo>
                  <a:pt x="5" y="0"/>
                  <a:pt x="4" y="0"/>
                  <a:pt x="4" y="1"/>
                </a:cubicBezTo>
                <a:cubicBezTo>
                  <a:pt x="4" y="1"/>
                  <a:pt x="3" y="2"/>
                  <a:pt x="3" y="1"/>
                </a:cubicBezTo>
                <a:cubicBezTo>
                  <a:pt x="3" y="1"/>
                  <a:pt x="2" y="0"/>
                  <a:pt x="2" y="1"/>
                </a:cubicBezTo>
                <a:cubicBezTo>
                  <a:pt x="2" y="1"/>
                  <a:pt x="1" y="1"/>
                  <a:pt x="1" y="1"/>
                </a:cubicBezTo>
                <a:cubicBezTo>
                  <a:pt x="1" y="2"/>
                  <a:pt x="1" y="3"/>
                  <a:pt x="1" y="3"/>
                </a:cubicBezTo>
                <a:cubicBezTo>
                  <a:pt x="2" y="3"/>
                  <a:pt x="2" y="4"/>
                  <a:pt x="1" y="4"/>
                </a:cubicBezTo>
                <a:cubicBezTo>
                  <a:pt x="1" y="4"/>
                  <a:pt x="2" y="5"/>
                  <a:pt x="2" y="5"/>
                </a:cubicBezTo>
                <a:cubicBezTo>
                  <a:pt x="2" y="6"/>
                  <a:pt x="1" y="5"/>
                  <a:pt x="1" y="5"/>
                </a:cubicBezTo>
                <a:cubicBezTo>
                  <a:pt x="1" y="6"/>
                  <a:pt x="1" y="6"/>
                  <a:pt x="1" y="7"/>
                </a:cubicBezTo>
                <a:cubicBezTo>
                  <a:pt x="1" y="7"/>
                  <a:pt x="0" y="7"/>
                  <a:pt x="0" y="8"/>
                </a:cubicBezTo>
                <a:cubicBezTo>
                  <a:pt x="0" y="9"/>
                  <a:pt x="0" y="9"/>
                  <a:pt x="0" y="10"/>
                </a:cubicBezTo>
                <a:cubicBezTo>
                  <a:pt x="0" y="10"/>
                  <a:pt x="0" y="10"/>
                  <a:pt x="1" y="10"/>
                </a:cubicBezTo>
                <a:cubicBezTo>
                  <a:pt x="2" y="11"/>
                  <a:pt x="3" y="11"/>
                  <a:pt x="3" y="12"/>
                </a:cubicBezTo>
                <a:cubicBezTo>
                  <a:pt x="3" y="13"/>
                  <a:pt x="2" y="13"/>
                  <a:pt x="2" y="14"/>
                </a:cubicBezTo>
                <a:cubicBezTo>
                  <a:pt x="3" y="14"/>
                  <a:pt x="6" y="13"/>
                  <a:pt x="8" y="13"/>
                </a:cubicBezTo>
                <a:cubicBezTo>
                  <a:pt x="10" y="12"/>
                  <a:pt x="12" y="13"/>
                  <a:pt x="13" y="13"/>
                </a:cubicBezTo>
                <a:cubicBezTo>
                  <a:pt x="13" y="12"/>
                  <a:pt x="13" y="12"/>
                  <a:pt x="13"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1"/>
          <p:cNvSpPr>
            <a:spLocks/>
          </p:cNvSpPr>
          <p:nvPr/>
        </p:nvSpPr>
        <p:spPr bwMode="auto">
          <a:xfrm>
            <a:off x="2165793" y="3160979"/>
            <a:ext cx="42898" cy="71497"/>
          </a:xfrm>
          <a:custGeom>
            <a:avLst/>
            <a:gdLst>
              <a:gd name="T0" fmla="*/ 8 w 9"/>
              <a:gd name="T1" fmla="*/ 6 h 15"/>
              <a:gd name="T2" fmla="*/ 8 w 9"/>
              <a:gd name="T3" fmla="*/ 3 h 15"/>
              <a:gd name="T4" fmla="*/ 7 w 9"/>
              <a:gd name="T5" fmla="*/ 2 h 15"/>
              <a:gd name="T6" fmla="*/ 7 w 9"/>
              <a:gd name="T7" fmla="*/ 0 h 15"/>
              <a:gd name="T8" fmla="*/ 6 w 9"/>
              <a:gd name="T9" fmla="*/ 1 h 15"/>
              <a:gd name="T10" fmla="*/ 1 w 9"/>
              <a:gd name="T11" fmla="*/ 1 h 15"/>
              <a:gd name="T12" fmla="*/ 1 w 9"/>
              <a:gd name="T13" fmla="*/ 3 h 15"/>
              <a:gd name="T14" fmla="*/ 1 w 9"/>
              <a:gd name="T15" fmla="*/ 3 h 15"/>
              <a:gd name="T16" fmla="*/ 2 w 9"/>
              <a:gd name="T17" fmla="*/ 7 h 15"/>
              <a:gd name="T18" fmla="*/ 1 w 9"/>
              <a:gd name="T19" fmla="*/ 8 h 15"/>
              <a:gd name="T20" fmla="*/ 0 w 9"/>
              <a:gd name="T21" fmla="*/ 10 h 15"/>
              <a:gd name="T22" fmla="*/ 1 w 9"/>
              <a:gd name="T23" fmla="*/ 13 h 15"/>
              <a:gd name="T24" fmla="*/ 1 w 9"/>
              <a:gd name="T25" fmla="*/ 14 h 15"/>
              <a:gd name="T26" fmla="*/ 2 w 9"/>
              <a:gd name="T27" fmla="*/ 14 h 15"/>
              <a:gd name="T28" fmla="*/ 7 w 9"/>
              <a:gd name="T29" fmla="*/ 13 h 15"/>
              <a:gd name="T30" fmla="*/ 9 w 9"/>
              <a:gd name="T31" fmla="*/ 12 h 15"/>
              <a:gd name="T32" fmla="*/ 8 w 9"/>
              <a:gd name="T33" fmla="*/ 9 h 15"/>
              <a:gd name="T34" fmla="*/ 8 w 9"/>
              <a:gd name="T35"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5">
                <a:moveTo>
                  <a:pt x="8" y="6"/>
                </a:moveTo>
                <a:cubicBezTo>
                  <a:pt x="8" y="5"/>
                  <a:pt x="8" y="4"/>
                  <a:pt x="8" y="3"/>
                </a:cubicBezTo>
                <a:cubicBezTo>
                  <a:pt x="8" y="2"/>
                  <a:pt x="8" y="2"/>
                  <a:pt x="7" y="2"/>
                </a:cubicBezTo>
                <a:cubicBezTo>
                  <a:pt x="7" y="2"/>
                  <a:pt x="7" y="1"/>
                  <a:pt x="7" y="0"/>
                </a:cubicBezTo>
                <a:cubicBezTo>
                  <a:pt x="6" y="0"/>
                  <a:pt x="6" y="1"/>
                  <a:pt x="6" y="1"/>
                </a:cubicBezTo>
                <a:cubicBezTo>
                  <a:pt x="6" y="0"/>
                  <a:pt x="1" y="0"/>
                  <a:pt x="1" y="1"/>
                </a:cubicBezTo>
                <a:cubicBezTo>
                  <a:pt x="0" y="1"/>
                  <a:pt x="1" y="2"/>
                  <a:pt x="1" y="3"/>
                </a:cubicBezTo>
                <a:cubicBezTo>
                  <a:pt x="1" y="3"/>
                  <a:pt x="1" y="3"/>
                  <a:pt x="1" y="3"/>
                </a:cubicBezTo>
                <a:cubicBezTo>
                  <a:pt x="1" y="4"/>
                  <a:pt x="2" y="6"/>
                  <a:pt x="2" y="7"/>
                </a:cubicBezTo>
                <a:cubicBezTo>
                  <a:pt x="2" y="7"/>
                  <a:pt x="1" y="8"/>
                  <a:pt x="1" y="8"/>
                </a:cubicBezTo>
                <a:cubicBezTo>
                  <a:pt x="1" y="9"/>
                  <a:pt x="0" y="10"/>
                  <a:pt x="0" y="10"/>
                </a:cubicBezTo>
                <a:cubicBezTo>
                  <a:pt x="0" y="11"/>
                  <a:pt x="1" y="12"/>
                  <a:pt x="1" y="13"/>
                </a:cubicBezTo>
                <a:cubicBezTo>
                  <a:pt x="1" y="13"/>
                  <a:pt x="1" y="13"/>
                  <a:pt x="1" y="14"/>
                </a:cubicBezTo>
                <a:cubicBezTo>
                  <a:pt x="2" y="14"/>
                  <a:pt x="2" y="14"/>
                  <a:pt x="2" y="14"/>
                </a:cubicBezTo>
                <a:cubicBezTo>
                  <a:pt x="3" y="15"/>
                  <a:pt x="6" y="13"/>
                  <a:pt x="7" y="13"/>
                </a:cubicBezTo>
                <a:cubicBezTo>
                  <a:pt x="8" y="12"/>
                  <a:pt x="9" y="12"/>
                  <a:pt x="9" y="12"/>
                </a:cubicBezTo>
                <a:cubicBezTo>
                  <a:pt x="9" y="11"/>
                  <a:pt x="8" y="10"/>
                  <a:pt x="8" y="9"/>
                </a:cubicBezTo>
                <a:cubicBezTo>
                  <a:pt x="8" y="8"/>
                  <a:pt x="8"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62"/>
          <p:cNvSpPr>
            <a:spLocks/>
          </p:cNvSpPr>
          <p:nvPr/>
        </p:nvSpPr>
        <p:spPr bwMode="auto">
          <a:xfrm>
            <a:off x="2037098" y="3146680"/>
            <a:ext cx="82221" cy="57198"/>
          </a:xfrm>
          <a:custGeom>
            <a:avLst/>
            <a:gdLst>
              <a:gd name="T0" fmla="*/ 6 w 17"/>
              <a:gd name="T1" fmla="*/ 6 h 12"/>
              <a:gd name="T2" fmla="*/ 7 w 17"/>
              <a:gd name="T3" fmla="*/ 6 h 12"/>
              <a:gd name="T4" fmla="*/ 9 w 17"/>
              <a:gd name="T5" fmla="*/ 6 h 12"/>
              <a:gd name="T6" fmla="*/ 10 w 17"/>
              <a:gd name="T7" fmla="*/ 8 h 12"/>
              <a:gd name="T8" fmla="*/ 11 w 17"/>
              <a:gd name="T9" fmla="*/ 9 h 12"/>
              <a:gd name="T10" fmla="*/ 11 w 17"/>
              <a:gd name="T11" fmla="*/ 9 h 12"/>
              <a:gd name="T12" fmla="*/ 12 w 17"/>
              <a:gd name="T13" fmla="*/ 9 h 12"/>
              <a:gd name="T14" fmla="*/ 13 w 17"/>
              <a:gd name="T15" fmla="*/ 11 h 12"/>
              <a:gd name="T16" fmla="*/ 14 w 17"/>
              <a:gd name="T17" fmla="*/ 12 h 12"/>
              <a:gd name="T18" fmla="*/ 15 w 17"/>
              <a:gd name="T19" fmla="*/ 11 h 12"/>
              <a:gd name="T20" fmla="*/ 15 w 17"/>
              <a:gd name="T21" fmla="*/ 11 h 12"/>
              <a:gd name="T22" fmla="*/ 16 w 17"/>
              <a:gd name="T23" fmla="*/ 11 h 12"/>
              <a:gd name="T24" fmla="*/ 16 w 17"/>
              <a:gd name="T25" fmla="*/ 9 h 12"/>
              <a:gd name="T26" fmla="*/ 17 w 17"/>
              <a:gd name="T27" fmla="*/ 9 h 12"/>
              <a:gd name="T28" fmla="*/ 16 w 17"/>
              <a:gd name="T29" fmla="*/ 8 h 12"/>
              <a:gd name="T30" fmla="*/ 16 w 17"/>
              <a:gd name="T31" fmla="*/ 7 h 12"/>
              <a:gd name="T32" fmla="*/ 16 w 17"/>
              <a:gd name="T33" fmla="*/ 5 h 12"/>
              <a:gd name="T34" fmla="*/ 16 w 17"/>
              <a:gd name="T35" fmla="*/ 5 h 12"/>
              <a:gd name="T36" fmla="*/ 15 w 17"/>
              <a:gd name="T37" fmla="*/ 4 h 12"/>
              <a:gd name="T38" fmla="*/ 15 w 17"/>
              <a:gd name="T39" fmla="*/ 3 h 12"/>
              <a:gd name="T40" fmla="*/ 14 w 17"/>
              <a:gd name="T41" fmla="*/ 2 h 12"/>
              <a:gd name="T42" fmla="*/ 14 w 17"/>
              <a:gd name="T43" fmla="*/ 0 h 12"/>
              <a:gd name="T44" fmla="*/ 12 w 17"/>
              <a:gd name="T45" fmla="*/ 1 h 12"/>
              <a:gd name="T46" fmla="*/ 11 w 17"/>
              <a:gd name="T47" fmla="*/ 1 h 12"/>
              <a:gd name="T48" fmla="*/ 9 w 17"/>
              <a:gd name="T49" fmla="*/ 1 h 12"/>
              <a:gd name="T50" fmla="*/ 9 w 17"/>
              <a:gd name="T51" fmla="*/ 1 h 12"/>
              <a:gd name="T52" fmla="*/ 9 w 17"/>
              <a:gd name="T53" fmla="*/ 0 h 12"/>
              <a:gd name="T54" fmla="*/ 8 w 17"/>
              <a:gd name="T55" fmla="*/ 0 h 12"/>
              <a:gd name="T56" fmla="*/ 5 w 17"/>
              <a:gd name="T57" fmla="*/ 0 h 12"/>
              <a:gd name="T58" fmla="*/ 4 w 17"/>
              <a:gd name="T59" fmla="*/ 0 h 12"/>
              <a:gd name="T60" fmla="*/ 3 w 17"/>
              <a:gd name="T61" fmla="*/ 1 h 12"/>
              <a:gd name="T62" fmla="*/ 3 w 17"/>
              <a:gd name="T63" fmla="*/ 2 h 12"/>
              <a:gd name="T64" fmla="*/ 3 w 17"/>
              <a:gd name="T65" fmla="*/ 2 h 12"/>
              <a:gd name="T66" fmla="*/ 1 w 17"/>
              <a:gd name="T67" fmla="*/ 3 h 12"/>
              <a:gd name="T68" fmla="*/ 0 w 17"/>
              <a:gd name="T69" fmla="*/ 3 h 12"/>
              <a:gd name="T70" fmla="*/ 2 w 17"/>
              <a:gd name="T71" fmla="*/ 5 h 12"/>
              <a:gd name="T72" fmla="*/ 5 w 17"/>
              <a:gd name="T73" fmla="*/ 8 h 12"/>
              <a:gd name="T74" fmla="*/ 6 w 17"/>
              <a:gd name="T75"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12">
                <a:moveTo>
                  <a:pt x="6" y="6"/>
                </a:moveTo>
                <a:cubicBezTo>
                  <a:pt x="6" y="6"/>
                  <a:pt x="7" y="6"/>
                  <a:pt x="7" y="6"/>
                </a:cubicBezTo>
                <a:cubicBezTo>
                  <a:pt x="8" y="6"/>
                  <a:pt x="8" y="6"/>
                  <a:pt x="9" y="6"/>
                </a:cubicBezTo>
                <a:cubicBezTo>
                  <a:pt x="9" y="6"/>
                  <a:pt x="10" y="7"/>
                  <a:pt x="10" y="8"/>
                </a:cubicBezTo>
                <a:cubicBezTo>
                  <a:pt x="10" y="8"/>
                  <a:pt x="11" y="9"/>
                  <a:pt x="11" y="9"/>
                </a:cubicBezTo>
                <a:cubicBezTo>
                  <a:pt x="11" y="9"/>
                  <a:pt x="11" y="9"/>
                  <a:pt x="11" y="9"/>
                </a:cubicBezTo>
                <a:cubicBezTo>
                  <a:pt x="12" y="9"/>
                  <a:pt x="12" y="9"/>
                  <a:pt x="12" y="9"/>
                </a:cubicBezTo>
                <a:cubicBezTo>
                  <a:pt x="13" y="9"/>
                  <a:pt x="13" y="10"/>
                  <a:pt x="13" y="11"/>
                </a:cubicBezTo>
                <a:cubicBezTo>
                  <a:pt x="13" y="12"/>
                  <a:pt x="14" y="12"/>
                  <a:pt x="14" y="12"/>
                </a:cubicBezTo>
                <a:cubicBezTo>
                  <a:pt x="14" y="11"/>
                  <a:pt x="15" y="11"/>
                  <a:pt x="15" y="11"/>
                </a:cubicBezTo>
                <a:cubicBezTo>
                  <a:pt x="15" y="11"/>
                  <a:pt x="15" y="11"/>
                  <a:pt x="15" y="11"/>
                </a:cubicBezTo>
                <a:cubicBezTo>
                  <a:pt x="16" y="11"/>
                  <a:pt x="16" y="11"/>
                  <a:pt x="16" y="11"/>
                </a:cubicBezTo>
                <a:cubicBezTo>
                  <a:pt x="16" y="10"/>
                  <a:pt x="16" y="10"/>
                  <a:pt x="16" y="9"/>
                </a:cubicBezTo>
                <a:cubicBezTo>
                  <a:pt x="16" y="9"/>
                  <a:pt x="17" y="10"/>
                  <a:pt x="17" y="9"/>
                </a:cubicBezTo>
                <a:cubicBezTo>
                  <a:pt x="17" y="9"/>
                  <a:pt x="16" y="8"/>
                  <a:pt x="16" y="8"/>
                </a:cubicBezTo>
                <a:cubicBezTo>
                  <a:pt x="17" y="8"/>
                  <a:pt x="17" y="7"/>
                  <a:pt x="16" y="7"/>
                </a:cubicBezTo>
                <a:cubicBezTo>
                  <a:pt x="16" y="7"/>
                  <a:pt x="16" y="6"/>
                  <a:pt x="16" y="5"/>
                </a:cubicBezTo>
                <a:cubicBezTo>
                  <a:pt x="16" y="5"/>
                  <a:pt x="16" y="5"/>
                  <a:pt x="16" y="5"/>
                </a:cubicBezTo>
                <a:cubicBezTo>
                  <a:pt x="16" y="4"/>
                  <a:pt x="16" y="4"/>
                  <a:pt x="15" y="4"/>
                </a:cubicBezTo>
                <a:cubicBezTo>
                  <a:pt x="15" y="4"/>
                  <a:pt x="15" y="3"/>
                  <a:pt x="15" y="3"/>
                </a:cubicBezTo>
                <a:cubicBezTo>
                  <a:pt x="16" y="3"/>
                  <a:pt x="14" y="2"/>
                  <a:pt x="14" y="2"/>
                </a:cubicBezTo>
                <a:cubicBezTo>
                  <a:pt x="14" y="1"/>
                  <a:pt x="14" y="0"/>
                  <a:pt x="14" y="0"/>
                </a:cubicBezTo>
                <a:cubicBezTo>
                  <a:pt x="13" y="0"/>
                  <a:pt x="12" y="1"/>
                  <a:pt x="12" y="1"/>
                </a:cubicBezTo>
                <a:cubicBezTo>
                  <a:pt x="12" y="1"/>
                  <a:pt x="11" y="0"/>
                  <a:pt x="11" y="1"/>
                </a:cubicBezTo>
                <a:cubicBezTo>
                  <a:pt x="10" y="2"/>
                  <a:pt x="10" y="1"/>
                  <a:pt x="9" y="1"/>
                </a:cubicBezTo>
                <a:cubicBezTo>
                  <a:pt x="9" y="2"/>
                  <a:pt x="9" y="1"/>
                  <a:pt x="9" y="1"/>
                </a:cubicBezTo>
                <a:cubicBezTo>
                  <a:pt x="9" y="1"/>
                  <a:pt x="9" y="1"/>
                  <a:pt x="9" y="0"/>
                </a:cubicBezTo>
                <a:cubicBezTo>
                  <a:pt x="9" y="0"/>
                  <a:pt x="9" y="0"/>
                  <a:pt x="8" y="0"/>
                </a:cubicBezTo>
                <a:cubicBezTo>
                  <a:pt x="7" y="1"/>
                  <a:pt x="5" y="1"/>
                  <a:pt x="5" y="0"/>
                </a:cubicBezTo>
                <a:cubicBezTo>
                  <a:pt x="5" y="0"/>
                  <a:pt x="4" y="0"/>
                  <a:pt x="4" y="0"/>
                </a:cubicBezTo>
                <a:cubicBezTo>
                  <a:pt x="4" y="0"/>
                  <a:pt x="4" y="0"/>
                  <a:pt x="3" y="1"/>
                </a:cubicBezTo>
                <a:cubicBezTo>
                  <a:pt x="3" y="1"/>
                  <a:pt x="3" y="1"/>
                  <a:pt x="3" y="2"/>
                </a:cubicBezTo>
                <a:cubicBezTo>
                  <a:pt x="3" y="2"/>
                  <a:pt x="3" y="2"/>
                  <a:pt x="3" y="2"/>
                </a:cubicBezTo>
                <a:cubicBezTo>
                  <a:pt x="2" y="2"/>
                  <a:pt x="1" y="3"/>
                  <a:pt x="1" y="3"/>
                </a:cubicBezTo>
                <a:cubicBezTo>
                  <a:pt x="1" y="3"/>
                  <a:pt x="1" y="3"/>
                  <a:pt x="0" y="3"/>
                </a:cubicBezTo>
                <a:cubicBezTo>
                  <a:pt x="1" y="4"/>
                  <a:pt x="1" y="5"/>
                  <a:pt x="2" y="5"/>
                </a:cubicBezTo>
                <a:cubicBezTo>
                  <a:pt x="3" y="6"/>
                  <a:pt x="4" y="7"/>
                  <a:pt x="5" y="8"/>
                </a:cubicBezTo>
                <a:cubicBezTo>
                  <a:pt x="5" y="7"/>
                  <a:pt x="6" y="7"/>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63"/>
          <p:cNvSpPr>
            <a:spLocks/>
          </p:cNvSpPr>
          <p:nvPr/>
        </p:nvSpPr>
        <p:spPr bwMode="auto">
          <a:xfrm>
            <a:off x="2076421" y="3189578"/>
            <a:ext cx="46473" cy="42898"/>
          </a:xfrm>
          <a:custGeom>
            <a:avLst/>
            <a:gdLst>
              <a:gd name="T0" fmla="*/ 8 w 10"/>
              <a:gd name="T1" fmla="*/ 5 h 9"/>
              <a:gd name="T2" fmla="*/ 7 w 10"/>
              <a:gd name="T3" fmla="*/ 5 h 9"/>
              <a:gd name="T4" fmla="*/ 7 w 10"/>
              <a:gd name="T5" fmla="*/ 3 h 9"/>
              <a:gd name="T6" fmla="*/ 7 w 10"/>
              <a:gd name="T7" fmla="*/ 2 h 9"/>
              <a:gd name="T8" fmla="*/ 7 w 10"/>
              <a:gd name="T9" fmla="*/ 2 h 9"/>
              <a:gd name="T10" fmla="*/ 6 w 10"/>
              <a:gd name="T11" fmla="*/ 3 h 9"/>
              <a:gd name="T12" fmla="*/ 5 w 10"/>
              <a:gd name="T13" fmla="*/ 2 h 9"/>
              <a:gd name="T14" fmla="*/ 4 w 10"/>
              <a:gd name="T15" fmla="*/ 0 h 9"/>
              <a:gd name="T16" fmla="*/ 3 w 10"/>
              <a:gd name="T17" fmla="*/ 0 h 9"/>
              <a:gd name="T18" fmla="*/ 3 w 10"/>
              <a:gd name="T19" fmla="*/ 2 h 9"/>
              <a:gd name="T20" fmla="*/ 1 w 10"/>
              <a:gd name="T21" fmla="*/ 3 h 9"/>
              <a:gd name="T22" fmla="*/ 0 w 10"/>
              <a:gd name="T23" fmla="*/ 4 h 9"/>
              <a:gd name="T24" fmla="*/ 3 w 10"/>
              <a:gd name="T25" fmla="*/ 6 h 9"/>
              <a:gd name="T26" fmla="*/ 8 w 10"/>
              <a:gd name="T27" fmla="*/ 9 h 9"/>
              <a:gd name="T28" fmla="*/ 9 w 10"/>
              <a:gd name="T29" fmla="*/ 9 h 9"/>
              <a:gd name="T30" fmla="*/ 10 w 10"/>
              <a:gd name="T31" fmla="*/ 7 h 9"/>
              <a:gd name="T32" fmla="*/ 8 w 10"/>
              <a:gd name="T3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9">
                <a:moveTo>
                  <a:pt x="8" y="5"/>
                </a:moveTo>
                <a:cubicBezTo>
                  <a:pt x="7" y="5"/>
                  <a:pt x="7" y="5"/>
                  <a:pt x="7" y="5"/>
                </a:cubicBezTo>
                <a:cubicBezTo>
                  <a:pt x="7" y="4"/>
                  <a:pt x="7" y="4"/>
                  <a:pt x="7" y="3"/>
                </a:cubicBezTo>
                <a:cubicBezTo>
                  <a:pt x="7" y="3"/>
                  <a:pt x="7" y="3"/>
                  <a:pt x="7" y="2"/>
                </a:cubicBezTo>
                <a:cubicBezTo>
                  <a:pt x="7" y="2"/>
                  <a:pt x="7" y="2"/>
                  <a:pt x="7" y="2"/>
                </a:cubicBezTo>
                <a:cubicBezTo>
                  <a:pt x="7" y="2"/>
                  <a:pt x="6" y="2"/>
                  <a:pt x="6" y="3"/>
                </a:cubicBezTo>
                <a:cubicBezTo>
                  <a:pt x="6" y="3"/>
                  <a:pt x="5" y="3"/>
                  <a:pt x="5" y="2"/>
                </a:cubicBezTo>
                <a:cubicBezTo>
                  <a:pt x="5" y="1"/>
                  <a:pt x="5" y="0"/>
                  <a:pt x="4" y="0"/>
                </a:cubicBezTo>
                <a:cubicBezTo>
                  <a:pt x="4" y="0"/>
                  <a:pt x="4" y="0"/>
                  <a:pt x="3" y="0"/>
                </a:cubicBezTo>
                <a:cubicBezTo>
                  <a:pt x="3" y="1"/>
                  <a:pt x="3" y="1"/>
                  <a:pt x="3" y="2"/>
                </a:cubicBezTo>
                <a:cubicBezTo>
                  <a:pt x="3" y="2"/>
                  <a:pt x="1" y="3"/>
                  <a:pt x="1" y="3"/>
                </a:cubicBezTo>
                <a:cubicBezTo>
                  <a:pt x="1" y="3"/>
                  <a:pt x="1" y="3"/>
                  <a:pt x="0" y="4"/>
                </a:cubicBezTo>
                <a:cubicBezTo>
                  <a:pt x="1" y="4"/>
                  <a:pt x="2" y="5"/>
                  <a:pt x="3" y="6"/>
                </a:cubicBezTo>
                <a:cubicBezTo>
                  <a:pt x="5" y="7"/>
                  <a:pt x="7" y="8"/>
                  <a:pt x="8" y="9"/>
                </a:cubicBezTo>
                <a:cubicBezTo>
                  <a:pt x="9" y="9"/>
                  <a:pt x="9" y="9"/>
                  <a:pt x="9" y="9"/>
                </a:cubicBezTo>
                <a:cubicBezTo>
                  <a:pt x="9" y="8"/>
                  <a:pt x="10" y="8"/>
                  <a:pt x="10" y="7"/>
                </a:cubicBezTo>
                <a:cubicBezTo>
                  <a:pt x="10" y="6"/>
                  <a:pt x="9" y="6"/>
                  <a:pt x="8"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4"/>
          <p:cNvSpPr>
            <a:spLocks/>
          </p:cNvSpPr>
          <p:nvPr/>
        </p:nvSpPr>
        <p:spPr bwMode="auto">
          <a:xfrm>
            <a:off x="2062122" y="3175279"/>
            <a:ext cx="28599" cy="32174"/>
          </a:xfrm>
          <a:custGeom>
            <a:avLst/>
            <a:gdLst>
              <a:gd name="T0" fmla="*/ 6 w 6"/>
              <a:gd name="T1" fmla="*/ 5 h 7"/>
              <a:gd name="T2" fmla="*/ 6 w 6"/>
              <a:gd name="T3" fmla="*/ 3 h 7"/>
              <a:gd name="T4" fmla="*/ 5 w 6"/>
              <a:gd name="T5" fmla="*/ 2 h 7"/>
              <a:gd name="T6" fmla="*/ 4 w 6"/>
              <a:gd name="T7" fmla="*/ 0 h 7"/>
              <a:gd name="T8" fmla="*/ 2 w 6"/>
              <a:gd name="T9" fmla="*/ 0 h 7"/>
              <a:gd name="T10" fmla="*/ 1 w 6"/>
              <a:gd name="T11" fmla="*/ 0 h 7"/>
              <a:gd name="T12" fmla="*/ 0 w 6"/>
              <a:gd name="T13" fmla="*/ 2 h 7"/>
              <a:gd name="T14" fmla="*/ 0 w 6"/>
              <a:gd name="T15" fmla="*/ 3 h 7"/>
              <a:gd name="T16" fmla="*/ 2 w 6"/>
              <a:gd name="T17" fmla="*/ 6 h 7"/>
              <a:gd name="T18" fmla="*/ 3 w 6"/>
              <a:gd name="T19" fmla="*/ 7 h 7"/>
              <a:gd name="T20" fmla="*/ 4 w 6"/>
              <a:gd name="T21" fmla="*/ 6 h 7"/>
              <a:gd name="T22" fmla="*/ 6 w 6"/>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5"/>
                </a:moveTo>
                <a:cubicBezTo>
                  <a:pt x="6" y="4"/>
                  <a:pt x="6" y="4"/>
                  <a:pt x="6" y="3"/>
                </a:cubicBezTo>
                <a:cubicBezTo>
                  <a:pt x="6" y="3"/>
                  <a:pt x="5" y="2"/>
                  <a:pt x="5" y="2"/>
                </a:cubicBezTo>
                <a:cubicBezTo>
                  <a:pt x="5" y="1"/>
                  <a:pt x="4" y="0"/>
                  <a:pt x="4" y="0"/>
                </a:cubicBezTo>
                <a:cubicBezTo>
                  <a:pt x="3" y="0"/>
                  <a:pt x="3" y="0"/>
                  <a:pt x="2" y="0"/>
                </a:cubicBezTo>
                <a:cubicBezTo>
                  <a:pt x="2" y="0"/>
                  <a:pt x="1" y="0"/>
                  <a:pt x="1" y="0"/>
                </a:cubicBezTo>
                <a:cubicBezTo>
                  <a:pt x="1" y="1"/>
                  <a:pt x="0" y="1"/>
                  <a:pt x="0" y="2"/>
                </a:cubicBezTo>
                <a:cubicBezTo>
                  <a:pt x="0" y="2"/>
                  <a:pt x="0" y="2"/>
                  <a:pt x="0" y="3"/>
                </a:cubicBezTo>
                <a:cubicBezTo>
                  <a:pt x="0" y="5"/>
                  <a:pt x="1" y="5"/>
                  <a:pt x="2" y="6"/>
                </a:cubicBezTo>
                <a:cubicBezTo>
                  <a:pt x="2" y="6"/>
                  <a:pt x="3" y="6"/>
                  <a:pt x="3" y="7"/>
                </a:cubicBezTo>
                <a:cubicBezTo>
                  <a:pt x="4" y="6"/>
                  <a:pt x="4" y="6"/>
                  <a:pt x="4" y="6"/>
                </a:cubicBezTo>
                <a:cubicBezTo>
                  <a:pt x="4" y="6"/>
                  <a:pt x="6" y="5"/>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65"/>
          <p:cNvSpPr>
            <a:spLocks/>
          </p:cNvSpPr>
          <p:nvPr/>
        </p:nvSpPr>
        <p:spPr bwMode="auto">
          <a:xfrm>
            <a:off x="2015649" y="2975087"/>
            <a:ext cx="92946" cy="75072"/>
          </a:xfrm>
          <a:custGeom>
            <a:avLst/>
            <a:gdLst>
              <a:gd name="T0" fmla="*/ 9 w 19"/>
              <a:gd name="T1" fmla="*/ 11 h 15"/>
              <a:gd name="T2" fmla="*/ 11 w 19"/>
              <a:gd name="T3" fmla="*/ 10 h 15"/>
              <a:gd name="T4" fmla="*/ 11 w 19"/>
              <a:gd name="T5" fmla="*/ 4 h 15"/>
              <a:gd name="T6" fmla="*/ 19 w 19"/>
              <a:gd name="T7" fmla="*/ 4 h 15"/>
              <a:gd name="T8" fmla="*/ 19 w 19"/>
              <a:gd name="T9" fmla="*/ 1 h 15"/>
              <a:gd name="T10" fmla="*/ 17 w 19"/>
              <a:gd name="T11" fmla="*/ 0 h 15"/>
              <a:gd name="T12" fmla="*/ 9 w 19"/>
              <a:gd name="T13" fmla="*/ 0 h 15"/>
              <a:gd name="T14" fmla="*/ 8 w 19"/>
              <a:gd name="T15" fmla="*/ 2 h 15"/>
              <a:gd name="T16" fmla="*/ 5 w 19"/>
              <a:gd name="T17" fmla="*/ 6 h 15"/>
              <a:gd name="T18" fmla="*/ 1 w 19"/>
              <a:gd name="T19" fmla="*/ 13 h 15"/>
              <a:gd name="T20" fmla="*/ 0 w 19"/>
              <a:gd name="T21" fmla="*/ 15 h 15"/>
              <a:gd name="T22" fmla="*/ 9 w 19"/>
              <a:gd name="T23" fmla="*/ 15 h 15"/>
              <a:gd name="T24" fmla="*/ 9 w 19"/>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9" y="11"/>
                </a:moveTo>
                <a:cubicBezTo>
                  <a:pt x="9" y="11"/>
                  <a:pt x="11" y="10"/>
                  <a:pt x="11" y="10"/>
                </a:cubicBezTo>
                <a:cubicBezTo>
                  <a:pt x="11" y="4"/>
                  <a:pt x="11" y="4"/>
                  <a:pt x="11" y="4"/>
                </a:cubicBezTo>
                <a:cubicBezTo>
                  <a:pt x="11" y="4"/>
                  <a:pt x="18" y="4"/>
                  <a:pt x="19" y="4"/>
                </a:cubicBezTo>
                <a:cubicBezTo>
                  <a:pt x="19" y="4"/>
                  <a:pt x="19" y="2"/>
                  <a:pt x="19" y="1"/>
                </a:cubicBezTo>
                <a:cubicBezTo>
                  <a:pt x="18" y="0"/>
                  <a:pt x="19" y="0"/>
                  <a:pt x="17" y="0"/>
                </a:cubicBezTo>
                <a:cubicBezTo>
                  <a:pt x="9" y="0"/>
                  <a:pt x="9" y="0"/>
                  <a:pt x="9" y="0"/>
                </a:cubicBezTo>
                <a:cubicBezTo>
                  <a:pt x="8" y="0"/>
                  <a:pt x="8" y="1"/>
                  <a:pt x="8" y="2"/>
                </a:cubicBezTo>
                <a:cubicBezTo>
                  <a:pt x="7" y="3"/>
                  <a:pt x="5" y="4"/>
                  <a:pt x="5" y="6"/>
                </a:cubicBezTo>
                <a:cubicBezTo>
                  <a:pt x="5" y="7"/>
                  <a:pt x="2" y="10"/>
                  <a:pt x="1" y="13"/>
                </a:cubicBezTo>
                <a:cubicBezTo>
                  <a:pt x="0" y="14"/>
                  <a:pt x="0" y="14"/>
                  <a:pt x="0" y="15"/>
                </a:cubicBezTo>
                <a:cubicBezTo>
                  <a:pt x="9" y="15"/>
                  <a:pt x="9" y="15"/>
                  <a:pt x="9" y="15"/>
                </a:cubicBezTo>
                <a:lnTo>
                  <a:pt x="9"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66"/>
          <p:cNvSpPr>
            <a:spLocks/>
          </p:cNvSpPr>
          <p:nvPr/>
        </p:nvSpPr>
        <p:spPr bwMode="auto">
          <a:xfrm>
            <a:off x="2015649" y="2982237"/>
            <a:ext cx="132269" cy="139419"/>
          </a:xfrm>
          <a:custGeom>
            <a:avLst/>
            <a:gdLst>
              <a:gd name="T0" fmla="*/ 2 w 27"/>
              <a:gd name="T1" fmla="*/ 25 h 29"/>
              <a:gd name="T2" fmla="*/ 4 w 27"/>
              <a:gd name="T3" fmla="*/ 25 h 29"/>
              <a:gd name="T4" fmla="*/ 6 w 27"/>
              <a:gd name="T5" fmla="*/ 25 h 29"/>
              <a:gd name="T6" fmla="*/ 7 w 27"/>
              <a:gd name="T7" fmla="*/ 26 h 29"/>
              <a:gd name="T8" fmla="*/ 8 w 27"/>
              <a:gd name="T9" fmla="*/ 26 h 29"/>
              <a:gd name="T10" fmla="*/ 10 w 27"/>
              <a:gd name="T11" fmla="*/ 28 h 29"/>
              <a:gd name="T12" fmla="*/ 11 w 27"/>
              <a:gd name="T13" fmla="*/ 29 h 29"/>
              <a:gd name="T14" fmla="*/ 12 w 27"/>
              <a:gd name="T15" fmla="*/ 28 h 29"/>
              <a:gd name="T16" fmla="*/ 13 w 27"/>
              <a:gd name="T17" fmla="*/ 28 h 29"/>
              <a:gd name="T18" fmla="*/ 14 w 27"/>
              <a:gd name="T19" fmla="*/ 28 h 29"/>
              <a:gd name="T20" fmla="*/ 16 w 27"/>
              <a:gd name="T21" fmla="*/ 28 h 29"/>
              <a:gd name="T22" fmla="*/ 17 w 27"/>
              <a:gd name="T23" fmla="*/ 27 h 29"/>
              <a:gd name="T24" fmla="*/ 26 w 27"/>
              <a:gd name="T25" fmla="*/ 27 h 29"/>
              <a:gd name="T26" fmla="*/ 26 w 27"/>
              <a:gd name="T27" fmla="*/ 25 h 29"/>
              <a:gd name="T28" fmla="*/ 25 w 27"/>
              <a:gd name="T29" fmla="*/ 25 h 29"/>
              <a:gd name="T30" fmla="*/ 23 w 27"/>
              <a:gd name="T31" fmla="*/ 5 h 29"/>
              <a:gd name="T32" fmla="*/ 27 w 27"/>
              <a:gd name="T33" fmla="*/ 5 h 29"/>
              <a:gd name="T34" fmla="*/ 19 w 27"/>
              <a:gd name="T35" fmla="*/ 0 h 29"/>
              <a:gd name="T36" fmla="*/ 19 w 27"/>
              <a:gd name="T37" fmla="*/ 0 h 29"/>
              <a:gd name="T38" fmla="*/ 19 w 27"/>
              <a:gd name="T39" fmla="*/ 3 h 29"/>
              <a:gd name="T40" fmla="*/ 11 w 27"/>
              <a:gd name="T41" fmla="*/ 3 h 29"/>
              <a:gd name="T42" fmla="*/ 11 w 27"/>
              <a:gd name="T43" fmla="*/ 9 h 29"/>
              <a:gd name="T44" fmla="*/ 9 w 27"/>
              <a:gd name="T45" fmla="*/ 10 h 29"/>
              <a:gd name="T46" fmla="*/ 9 w 27"/>
              <a:gd name="T47" fmla="*/ 14 h 29"/>
              <a:gd name="T48" fmla="*/ 0 w 27"/>
              <a:gd name="T49" fmla="*/ 14 h 29"/>
              <a:gd name="T50" fmla="*/ 1 w 27"/>
              <a:gd name="T51" fmla="*/ 16 h 29"/>
              <a:gd name="T52" fmla="*/ 2 w 27"/>
              <a:gd name="T53" fmla="*/ 20 h 29"/>
              <a:gd name="T54" fmla="*/ 1 w 27"/>
              <a:gd name="T55" fmla="*/ 24 h 29"/>
              <a:gd name="T56" fmla="*/ 1 w 27"/>
              <a:gd name="T57" fmla="*/ 26 h 29"/>
              <a:gd name="T58" fmla="*/ 1 w 27"/>
              <a:gd name="T59" fmla="*/ 26 h 29"/>
              <a:gd name="T60" fmla="*/ 2 w 27"/>
              <a:gd name="T6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9">
                <a:moveTo>
                  <a:pt x="2" y="25"/>
                </a:moveTo>
                <a:cubicBezTo>
                  <a:pt x="3" y="25"/>
                  <a:pt x="4" y="25"/>
                  <a:pt x="4" y="25"/>
                </a:cubicBezTo>
                <a:cubicBezTo>
                  <a:pt x="4" y="25"/>
                  <a:pt x="5" y="25"/>
                  <a:pt x="6" y="25"/>
                </a:cubicBezTo>
                <a:cubicBezTo>
                  <a:pt x="7" y="25"/>
                  <a:pt x="7" y="26"/>
                  <a:pt x="7" y="26"/>
                </a:cubicBezTo>
                <a:cubicBezTo>
                  <a:pt x="8" y="26"/>
                  <a:pt x="8" y="26"/>
                  <a:pt x="8" y="26"/>
                </a:cubicBezTo>
                <a:cubicBezTo>
                  <a:pt x="8" y="26"/>
                  <a:pt x="9" y="28"/>
                  <a:pt x="10" y="28"/>
                </a:cubicBezTo>
                <a:cubicBezTo>
                  <a:pt x="10" y="28"/>
                  <a:pt x="10" y="29"/>
                  <a:pt x="11" y="29"/>
                </a:cubicBezTo>
                <a:cubicBezTo>
                  <a:pt x="11" y="29"/>
                  <a:pt x="12" y="29"/>
                  <a:pt x="12" y="28"/>
                </a:cubicBezTo>
                <a:cubicBezTo>
                  <a:pt x="12" y="28"/>
                  <a:pt x="12" y="27"/>
                  <a:pt x="13" y="28"/>
                </a:cubicBezTo>
                <a:cubicBezTo>
                  <a:pt x="14" y="29"/>
                  <a:pt x="14" y="28"/>
                  <a:pt x="14" y="28"/>
                </a:cubicBezTo>
                <a:cubicBezTo>
                  <a:pt x="14" y="27"/>
                  <a:pt x="15" y="28"/>
                  <a:pt x="16" y="28"/>
                </a:cubicBezTo>
                <a:cubicBezTo>
                  <a:pt x="16" y="28"/>
                  <a:pt x="17" y="27"/>
                  <a:pt x="17" y="27"/>
                </a:cubicBezTo>
                <a:cubicBezTo>
                  <a:pt x="17" y="27"/>
                  <a:pt x="25" y="27"/>
                  <a:pt x="26" y="27"/>
                </a:cubicBezTo>
                <a:cubicBezTo>
                  <a:pt x="26" y="27"/>
                  <a:pt x="26" y="25"/>
                  <a:pt x="26" y="25"/>
                </a:cubicBezTo>
                <a:cubicBezTo>
                  <a:pt x="25" y="25"/>
                  <a:pt x="25" y="25"/>
                  <a:pt x="25" y="25"/>
                </a:cubicBezTo>
                <a:cubicBezTo>
                  <a:pt x="23" y="5"/>
                  <a:pt x="23" y="5"/>
                  <a:pt x="23" y="5"/>
                </a:cubicBezTo>
                <a:cubicBezTo>
                  <a:pt x="27" y="5"/>
                  <a:pt x="27" y="5"/>
                  <a:pt x="27" y="5"/>
                </a:cubicBezTo>
                <a:cubicBezTo>
                  <a:pt x="23" y="2"/>
                  <a:pt x="20" y="0"/>
                  <a:pt x="19" y="0"/>
                </a:cubicBezTo>
                <a:cubicBezTo>
                  <a:pt x="19" y="0"/>
                  <a:pt x="19" y="0"/>
                  <a:pt x="19" y="0"/>
                </a:cubicBezTo>
                <a:cubicBezTo>
                  <a:pt x="19" y="1"/>
                  <a:pt x="19" y="3"/>
                  <a:pt x="19" y="3"/>
                </a:cubicBezTo>
                <a:cubicBezTo>
                  <a:pt x="18" y="3"/>
                  <a:pt x="11" y="3"/>
                  <a:pt x="11" y="3"/>
                </a:cubicBezTo>
                <a:cubicBezTo>
                  <a:pt x="11" y="9"/>
                  <a:pt x="11" y="9"/>
                  <a:pt x="11" y="9"/>
                </a:cubicBezTo>
                <a:cubicBezTo>
                  <a:pt x="11" y="9"/>
                  <a:pt x="9" y="10"/>
                  <a:pt x="9" y="10"/>
                </a:cubicBezTo>
                <a:cubicBezTo>
                  <a:pt x="9" y="14"/>
                  <a:pt x="9" y="14"/>
                  <a:pt x="9" y="14"/>
                </a:cubicBezTo>
                <a:cubicBezTo>
                  <a:pt x="0" y="14"/>
                  <a:pt x="0" y="14"/>
                  <a:pt x="0" y="14"/>
                </a:cubicBezTo>
                <a:cubicBezTo>
                  <a:pt x="0" y="15"/>
                  <a:pt x="1" y="16"/>
                  <a:pt x="1" y="16"/>
                </a:cubicBezTo>
                <a:cubicBezTo>
                  <a:pt x="2" y="17"/>
                  <a:pt x="1" y="18"/>
                  <a:pt x="2" y="20"/>
                </a:cubicBezTo>
                <a:cubicBezTo>
                  <a:pt x="3" y="21"/>
                  <a:pt x="2" y="23"/>
                  <a:pt x="1" y="24"/>
                </a:cubicBezTo>
                <a:cubicBezTo>
                  <a:pt x="1" y="25"/>
                  <a:pt x="1" y="25"/>
                  <a:pt x="1" y="26"/>
                </a:cubicBezTo>
                <a:cubicBezTo>
                  <a:pt x="1" y="26"/>
                  <a:pt x="1" y="26"/>
                  <a:pt x="1" y="26"/>
                </a:cubicBezTo>
                <a:cubicBezTo>
                  <a:pt x="2" y="26"/>
                  <a:pt x="1" y="25"/>
                  <a:pt x="2"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7"/>
          <p:cNvSpPr>
            <a:spLocks/>
          </p:cNvSpPr>
          <p:nvPr/>
        </p:nvSpPr>
        <p:spPr bwMode="auto">
          <a:xfrm>
            <a:off x="2069272" y="3003686"/>
            <a:ext cx="178742" cy="171593"/>
          </a:xfrm>
          <a:custGeom>
            <a:avLst/>
            <a:gdLst>
              <a:gd name="T0" fmla="*/ 35 w 37"/>
              <a:gd name="T1" fmla="*/ 14 h 35"/>
              <a:gd name="T2" fmla="*/ 33 w 37"/>
              <a:gd name="T3" fmla="*/ 12 h 35"/>
              <a:gd name="T4" fmla="*/ 31 w 37"/>
              <a:gd name="T5" fmla="*/ 11 h 35"/>
              <a:gd name="T6" fmla="*/ 30 w 37"/>
              <a:gd name="T7" fmla="*/ 9 h 35"/>
              <a:gd name="T8" fmla="*/ 16 w 37"/>
              <a:gd name="T9" fmla="*/ 0 h 35"/>
              <a:gd name="T10" fmla="*/ 12 w 37"/>
              <a:gd name="T11" fmla="*/ 0 h 35"/>
              <a:gd name="T12" fmla="*/ 14 w 37"/>
              <a:gd name="T13" fmla="*/ 20 h 35"/>
              <a:gd name="T14" fmla="*/ 15 w 37"/>
              <a:gd name="T15" fmla="*/ 20 h 35"/>
              <a:gd name="T16" fmla="*/ 15 w 37"/>
              <a:gd name="T17" fmla="*/ 22 h 35"/>
              <a:gd name="T18" fmla="*/ 6 w 37"/>
              <a:gd name="T19" fmla="*/ 22 h 35"/>
              <a:gd name="T20" fmla="*/ 5 w 37"/>
              <a:gd name="T21" fmla="*/ 23 h 35"/>
              <a:gd name="T22" fmla="*/ 3 w 37"/>
              <a:gd name="T23" fmla="*/ 23 h 35"/>
              <a:gd name="T24" fmla="*/ 2 w 37"/>
              <a:gd name="T25" fmla="*/ 23 h 35"/>
              <a:gd name="T26" fmla="*/ 1 w 37"/>
              <a:gd name="T27" fmla="*/ 23 h 35"/>
              <a:gd name="T28" fmla="*/ 0 w 37"/>
              <a:gd name="T29" fmla="*/ 24 h 35"/>
              <a:gd name="T30" fmla="*/ 0 w 37"/>
              <a:gd name="T31" fmla="*/ 25 h 35"/>
              <a:gd name="T32" fmla="*/ 0 w 37"/>
              <a:gd name="T33" fmla="*/ 25 h 35"/>
              <a:gd name="T34" fmla="*/ 0 w 37"/>
              <a:gd name="T35" fmla="*/ 27 h 35"/>
              <a:gd name="T36" fmla="*/ 2 w 37"/>
              <a:gd name="T37" fmla="*/ 28 h 35"/>
              <a:gd name="T38" fmla="*/ 2 w 37"/>
              <a:gd name="T39" fmla="*/ 30 h 35"/>
              <a:gd name="T40" fmla="*/ 2 w 37"/>
              <a:gd name="T41" fmla="*/ 30 h 35"/>
              <a:gd name="T42" fmla="*/ 4 w 37"/>
              <a:gd name="T43" fmla="*/ 30 h 35"/>
              <a:gd name="T44" fmla="*/ 5 w 37"/>
              <a:gd name="T45" fmla="*/ 30 h 35"/>
              <a:gd name="T46" fmla="*/ 7 w 37"/>
              <a:gd name="T47" fmla="*/ 29 h 35"/>
              <a:gd name="T48" fmla="*/ 7 w 37"/>
              <a:gd name="T49" fmla="*/ 31 h 35"/>
              <a:gd name="T50" fmla="*/ 8 w 37"/>
              <a:gd name="T51" fmla="*/ 32 h 35"/>
              <a:gd name="T52" fmla="*/ 8 w 37"/>
              <a:gd name="T53" fmla="*/ 33 h 35"/>
              <a:gd name="T54" fmla="*/ 9 w 37"/>
              <a:gd name="T55" fmla="*/ 34 h 35"/>
              <a:gd name="T56" fmla="*/ 10 w 37"/>
              <a:gd name="T57" fmla="*/ 34 h 35"/>
              <a:gd name="T58" fmla="*/ 11 w 37"/>
              <a:gd name="T59" fmla="*/ 34 h 35"/>
              <a:gd name="T60" fmla="*/ 12 w 37"/>
              <a:gd name="T61" fmla="*/ 34 h 35"/>
              <a:gd name="T62" fmla="*/ 13 w 37"/>
              <a:gd name="T63" fmla="*/ 34 h 35"/>
              <a:gd name="T64" fmla="*/ 14 w 37"/>
              <a:gd name="T65" fmla="*/ 34 h 35"/>
              <a:gd name="T66" fmla="*/ 15 w 37"/>
              <a:gd name="T67" fmla="*/ 34 h 35"/>
              <a:gd name="T68" fmla="*/ 15 w 37"/>
              <a:gd name="T69" fmla="*/ 32 h 35"/>
              <a:gd name="T70" fmla="*/ 15 w 37"/>
              <a:gd name="T71" fmla="*/ 31 h 35"/>
              <a:gd name="T72" fmla="*/ 17 w 37"/>
              <a:gd name="T73" fmla="*/ 30 h 35"/>
              <a:gd name="T74" fmla="*/ 18 w 37"/>
              <a:gd name="T75" fmla="*/ 28 h 35"/>
              <a:gd name="T76" fmla="*/ 18 w 37"/>
              <a:gd name="T77" fmla="*/ 27 h 35"/>
              <a:gd name="T78" fmla="*/ 20 w 37"/>
              <a:gd name="T79" fmla="*/ 27 h 35"/>
              <a:gd name="T80" fmla="*/ 21 w 37"/>
              <a:gd name="T81" fmla="*/ 26 h 35"/>
              <a:gd name="T82" fmla="*/ 22 w 37"/>
              <a:gd name="T83" fmla="*/ 25 h 35"/>
              <a:gd name="T84" fmla="*/ 23 w 37"/>
              <a:gd name="T85" fmla="*/ 25 h 35"/>
              <a:gd name="T86" fmla="*/ 25 w 37"/>
              <a:gd name="T87" fmla="*/ 24 h 35"/>
              <a:gd name="T88" fmla="*/ 26 w 37"/>
              <a:gd name="T89" fmla="*/ 23 h 35"/>
              <a:gd name="T90" fmla="*/ 29 w 37"/>
              <a:gd name="T91" fmla="*/ 23 h 35"/>
              <a:gd name="T92" fmla="*/ 31 w 37"/>
              <a:gd name="T93" fmla="*/ 23 h 35"/>
              <a:gd name="T94" fmla="*/ 34 w 37"/>
              <a:gd name="T95" fmla="*/ 23 h 35"/>
              <a:gd name="T96" fmla="*/ 36 w 37"/>
              <a:gd name="T97" fmla="*/ 22 h 35"/>
              <a:gd name="T98" fmla="*/ 36 w 37"/>
              <a:gd name="T99" fmla="*/ 20 h 35"/>
              <a:gd name="T100" fmla="*/ 36 w 37"/>
              <a:gd name="T101" fmla="*/ 14 h 35"/>
              <a:gd name="T102" fmla="*/ 35 w 37"/>
              <a:gd name="T103"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35">
                <a:moveTo>
                  <a:pt x="35" y="14"/>
                </a:moveTo>
                <a:cubicBezTo>
                  <a:pt x="35" y="14"/>
                  <a:pt x="35" y="13"/>
                  <a:pt x="33" y="12"/>
                </a:cubicBezTo>
                <a:cubicBezTo>
                  <a:pt x="32" y="11"/>
                  <a:pt x="31" y="11"/>
                  <a:pt x="31" y="11"/>
                </a:cubicBezTo>
                <a:cubicBezTo>
                  <a:pt x="31" y="11"/>
                  <a:pt x="30" y="10"/>
                  <a:pt x="30" y="9"/>
                </a:cubicBezTo>
                <a:cubicBezTo>
                  <a:pt x="29" y="9"/>
                  <a:pt x="22" y="4"/>
                  <a:pt x="16" y="0"/>
                </a:cubicBezTo>
                <a:cubicBezTo>
                  <a:pt x="12" y="0"/>
                  <a:pt x="12" y="0"/>
                  <a:pt x="12" y="0"/>
                </a:cubicBezTo>
                <a:cubicBezTo>
                  <a:pt x="14" y="20"/>
                  <a:pt x="14" y="20"/>
                  <a:pt x="14" y="20"/>
                </a:cubicBezTo>
                <a:cubicBezTo>
                  <a:pt x="15" y="20"/>
                  <a:pt x="15" y="20"/>
                  <a:pt x="15" y="20"/>
                </a:cubicBezTo>
                <a:cubicBezTo>
                  <a:pt x="15" y="20"/>
                  <a:pt x="15" y="22"/>
                  <a:pt x="15" y="22"/>
                </a:cubicBezTo>
                <a:cubicBezTo>
                  <a:pt x="14" y="22"/>
                  <a:pt x="6" y="22"/>
                  <a:pt x="6" y="22"/>
                </a:cubicBezTo>
                <a:cubicBezTo>
                  <a:pt x="6" y="22"/>
                  <a:pt x="5" y="23"/>
                  <a:pt x="5" y="23"/>
                </a:cubicBezTo>
                <a:cubicBezTo>
                  <a:pt x="4" y="23"/>
                  <a:pt x="3" y="22"/>
                  <a:pt x="3" y="23"/>
                </a:cubicBezTo>
                <a:cubicBezTo>
                  <a:pt x="3" y="23"/>
                  <a:pt x="3" y="24"/>
                  <a:pt x="2" y="23"/>
                </a:cubicBezTo>
                <a:cubicBezTo>
                  <a:pt x="1" y="22"/>
                  <a:pt x="1" y="23"/>
                  <a:pt x="1" y="23"/>
                </a:cubicBezTo>
                <a:cubicBezTo>
                  <a:pt x="1" y="24"/>
                  <a:pt x="0" y="24"/>
                  <a:pt x="0" y="24"/>
                </a:cubicBezTo>
                <a:cubicBezTo>
                  <a:pt x="0" y="24"/>
                  <a:pt x="0" y="25"/>
                  <a:pt x="0" y="25"/>
                </a:cubicBezTo>
                <a:cubicBezTo>
                  <a:pt x="0" y="25"/>
                  <a:pt x="0" y="25"/>
                  <a:pt x="0" y="25"/>
                </a:cubicBezTo>
                <a:cubicBezTo>
                  <a:pt x="0" y="25"/>
                  <a:pt x="0" y="26"/>
                  <a:pt x="0" y="27"/>
                </a:cubicBezTo>
                <a:cubicBezTo>
                  <a:pt x="1" y="27"/>
                  <a:pt x="2" y="28"/>
                  <a:pt x="2" y="28"/>
                </a:cubicBezTo>
                <a:cubicBezTo>
                  <a:pt x="2" y="28"/>
                  <a:pt x="2" y="30"/>
                  <a:pt x="2" y="30"/>
                </a:cubicBezTo>
                <a:cubicBezTo>
                  <a:pt x="2" y="30"/>
                  <a:pt x="2" y="31"/>
                  <a:pt x="2" y="30"/>
                </a:cubicBezTo>
                <a:cubicBezTo>
                  <a:pt x="3" y="30"/>
                  <a:pt x="3" y="31"/>
                  <a:pt x="4" y="30"/>
                </a:cubicBezTo>
                <a:cubicBezTo>
                  <a:pt x="4" y="29"/>
                  <a:pt x="5" y="30"/>
                  <a:pt x="5" y="30"/>
                </a:cubicBezTo>
                <a:cubicBezTo>
                  <a:pt x="5" y="30"/>
                  <a:pt x="6" y="29"/>
                  <a:pt x="7" y="29"/>
                </a:cubicBezTo>
                <a:cubicBezTo>
                  <a:pt x="7" y="29"/>
                  <a:pt x="7" y="30"/>
                  <a:pt x="7" y="31"/>
                </a:cubicBezTo>
                <a:cubicBezTo>
                  <a:pt x="7" y="31"/>
                  <a:pt x="9" y="32"/>
                  <a:pt x="8" y="32"/>
                </a:cubicBezTo>
                <a:cubicBezTo>
                  <a:pt x="8" y="32"/>
                  <a:pt x="8" y="33"/>
                  <a:pt x="8" y="33"/>
                </a:cubicBezTo>
                <a:cubicBezTo>
                  <a:pt x="9" y="33"/>
                  <a:pt x="9" y="33"/>
                  <a:pt x="9" y="34"/>
                </a:cubicBezTo>
                <a:cubicBezTo>
                  <a:pt x="9" y="34"/>
                  <a:pt x="10" y="35"/>
                  <a:pt x="10" y="34"/>
                </a:cubicBezTo>
                <a:cubicBezTo>
                  <a:pt x="10" y="33"/>
                  <a:pt x="11" y="34"/>
                  <a:pt x="11" y="34"/>
                </a:cubicBezTo>
                <a:cubicBezTo>
                  <a:pt x="11" y="35"/>
                  <a:pt x="12" y="34"/>
                  <a:pt x="12" y="34"/>
                </a:cubicBezTo>
                <a:cubicBezTo>
                  <a:pt x="12" y="33"/>
                  <a:pt x="13" y="33"/>
                  <a:pt x="13" y="34"/>
                </a:cubicBezTo>
                <a:cubicBezTo>
                  <a:pt x="13" y="34"/>
                  <a:pt x="13" y="34"/>
                  <a:pt x="14" y="34"/>
                </a:cubicBezTo>
                <a:cubicBezTo>
                  <a:pt x="14" y="34"/>
                  <a:pt x="14" y="34"/>
                  <a:pt x="15" y="34"/>
                </a:cubicBezTo>
                <a:cubicBezTo>
                  <a:pt x="15" y="33"/>
                  <a:pt x="15" y="32"/>
                  <a:pt x="15" y="32"/>
                </a:cubicBezTo>
                <a:cubicBezTo>
                  <a:pt x="16" y="32"/>
                  <a:pt x="15" y="31"/>
                  <a:pt x="15" y="31"/>
                </a:cubicBezTo>
                <a:cubicBezTo>
                  <a:pt x="16" y="30"/>
                  <a:pt x="17" y="31"/>
                  <a:pt x="17" y="30"/>
                </a:cubicBezTo>
                <a:cubicBezTo>
                  <a:pt x="17" y="29"/>
                  <a:pt x="18" y="28"/>
                  <a:pt x="18" y="28"/>
                </a:cubicBezTo>
                <a:cubicBezTo>
                  <a:pt x="18" y="28"/>
                  <a:pt x="18" y="26"/>
                  <a:pt x="18" y="27"/>
                </a:cubicBezTo>
                <a:cubicBezTo>
                  <a:pt x="19" y="27"/>
                  <a:pt x="20" y="28"/>
                  <a:pt x="20" y="27"/>
                </a:cubicBezTo>
                <a:cubicBezTo>
                  <a:pt x="20" y="26"/>
                  <a:pt x="21" y="27"/>
                  <a:pt x="21" y="26"/>
                </a:cubicBezTo>
                <a:cubicBezTo>
                  <a:pt x="21" y="25"/>
                  <a:pt x="21" y="25"/>
                  <a:pt x="22" y="25"/>
                </a:cubicBezTo>
                <a:cubicBezTo>
                  <a:pt x="22" y="25"/>
                  <a:pt x="23" y="25"/>
                  <a:pt x="23" y="25"/>
                </a:cubicBezTo>
                <a:cubicBezTo>
                  <a:pt x="23" y="24"/>
                  <a:pt x="24" y="25"/>
                  <a:pt x="25" y="24"/>
                </a:cubicBezTo>
                <a:cubicBezTo>
                  <a:pt x="25" y="23"/>
                  <a:pt x="26" y="23"/>
                  <a:pt x="26" y="23"/>
                </a:cubicBezTo>
                <a:cubicBezTo>
                  <a:pt x="27" y="24"/>
                  <a:pt x="29" y="24"/>
                  <a:pt x="29" y="23"/>
                </a:cubicBezTo>
                <a:cubicBezTo>
                  <a:pt x="29" y="23"/>
                  <a:pt x="30" y="23"/>
                  <a:pt x="31" y="23"/>
                </a:cubicBezTo>
                <a:cubicBezTo>
                  <a:pt x="32" y="23"/>
                  <a:pt x="33" y="23"/>
                  <a:pt x="34" y="23"/>
                </a:cubicBezTo>
                <a:cubicBezTo>
                  <a:pt x="35" y="23"/>
                  <a:pt x="35" y="22"/>
                  <a:pt x="36" y="22"/>
                </a:cubicBezTo>
                <a:cubicBezTo>
                  <a:pt x="36" y="21"/>
                  <a:pt x="36" y="20"/>
                  <a:pt x="36" y="20"/>
                </a:cubicBezTo>
                <a:cubicBezTo>
                  <a:pt x="37" y="20"/>
                  <a:pt x="36" y="16"/>
                  <a:pt x="36" y="14"/>
                </a:cubicBezTo>
                <a:cubicBezTo>
                  <a:pt x="36" y="14"/>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68"/>
          <p:cNvSpPr>
            <a:spLocks/>
          </p:cNvSpPr>
          <p:nvPr/>
        </p:nvSpPr>
        <p:spPr bwMode="auto">
          <a:xfrm>
            <a:off x="2144344" y="3114506"/>
            <a:ext cx="85796" cy="64347"/>
          </a:xfrm>
          <a:custGeom>
            <a:avLst/>
            <a:gdLst>
              <a:gd name="T0" fmla="*/ 18 w 18"/>
              <a:gd name="T1" fmla="*/ 7 h 13"/>
              <a:gd name="T2" fmla="*/ 17 w 18"/>
              <a:gd name="T3" fmla="*/ 7 h 13"/>
              <a:gd name="T4" fmla="*/ 17 w 18"/>
              <a:gd name="T5" fmla="*/ 6 h 13"/>
              <a:gd name="T6" fmla="*/ 16 w 18"/>
              <a:gd name="T7" fmla="*/ 6 h 13"/>
              <a:gd name="T8" fmla="*/ 15 w 18"/>
              <a:gd name="T9" fmla="*/ 5 h 13"/>
              <a:gd name="T10" fmla="*/ 14 w 18"/>
              <a:gd name="T11" fmla="*/ 4 h 13"/>
              <a:gd name="T12" fmla="*/ 13 w 18"/>
              <a:gd name="T13" fmla="*/ 3 h 13"/>
              <a:gd name="T14" fmla="*/ 13 w 18"/>
              <a:gd name="T15" fmla="*/ 2 h 13"/>
              <a:gd name="T16" fmla="*/ 13 w 18"/>
              <a:gd name="T17" fmla="*/ 1 h 13"/>
              <a:gd name="T18" fmla="*/ 11 w 18"/>
              <a:gd name="T19" fmla="*/ 0 h 13"/>
              <a:gd name="T20" fmla="*/ 10 w 18"/>
              <a:gd name="T21" fmla="*/ 1 h 13"/>
              <a:gd name="T22" fmla="*/ 8 w 18"/>
              <a:gd name="T23" fmla="*/ 2 h 13"/>
              <a:gd name="T24" fmla="*/ 7 w 18"/>
              <a:gd name="T25" fmla="*/ 2 h 13"/>
              <a:gd name="T26" fmla="*/ 6 w 18"/>
              <a:gd name="T27" fmla="*/ 3 h 13"/>
              <a:gd name="T28" fmla="*/ 5 w 18"/>
              <a:gd name="T29" fmla="*/ 4 h 13"/>
              <a:gd name="T30" fmla="*/ 3 w 18"/>
              <a:gd name="T31" fmla="*/ 4 h 13"/>
              <a:gd name="T32" fmla="*/ 3 w 18"/>
              <a:gd name="T33" fmla="*/ 5 h 13"/>
              <a:gd name="T34" fmla="*/ 2 w 18"/>
              <a:gd name="T35" fmla="*/ 7 h 13"/>
              <a:gd name="T36" fmla="*/ 0 w 18"/>
              <a:gd name="T37" fmla="*/ 8 h 13"/>
              <a:gd name="T38" fmla="*/ 0 w 18"/>
              <a:gd name="T39" fmla="*/ 9 h 13"/>
              <a:gd name="T40" fmla="*/ 0 w 18"/>
              <a:gd name="T41" fmla="*/ 11 h 13"/>
              <a:gd name="T42" fmla="*/ 1 w 18"/>
              <a:gd name="T43" fmla="*/ 11 h 13"/>
              <a:gd name="T44" fmla="*/ 3 w 18"/>
              <a:gd name="T45" fmla="*/ 12 h 13"/>
              <a:gd name="T46" fmla="*/ 5 w 18"/>
              <a:gd name="T47" fmla="*/ 12 h 13"/>
              <a:gd name="T48" fmla="*/ 6 w 18"/>
              <a:gd name="T49" fmla="*/ 12 h 13"/>
              <a:gd name="T50" fmla="*/ 6 w 18"/>
              <a:gd name="T51" fmla="*/ 10 h 13"/>
              <a:gd name="T52" fmla="*/ 11 w 18"/>
              <a:gd name="T53" fmla="*/ 10 h 13"/>
              <a:gd name="T54" fmla="*/ 12 w 18"/>
              <a:gd name="T55" fmla="*/ 9 h 13"/>
              <a:gd name="T56" fmla="*/ 14 w 18"/>
              <a:gd name="T57" fmla="*/ 9 h 13"/>
              <a:gd name="T58" fmla="*/ 15 w 18"/>
              <a:gd name="T59" fmla="*/ 9 h 13"/>
              <a:gd name="T60" fmla="*/ 17 w 18"/>
              <a:gd name="T61" fmla="*/ 8 h 13"/>
              <a:gd name="T62" fmla="*/ 18 w 18"/>
              <a:gd name="T63" fmla="*/ 7 h 13"/>
              <a:gd name="T64" fmla="*/ 18 w 18"/>
              <a:gd name="T65"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13">
                <a:moveTo>
                  <a:pt x="18" y="7"/>
                </a:moveTo>
                <a:cubicBezTo>
                  <a:pt x="17" y="7"/>
                  <a:pt x="17" y="7"/>
                  <a:pt x="17" y="7"/>
                </a:cubicBezTo>
                <a:cubicBezTo>
                  <a:pt x="17" y="7"/>
                  <a:pt x="17" y="6"/>
                  <a:pt x="17" y="6"/>
                </a:cubicBezTo>
                <a:cubicBezTo>
                  <a:pt x="17" y="6"/>
                  <a:pt x="16" y="6"/>
                  <a:pt x="16" y="6"/>
                </a:cubicBezTo>
                <a:cubicBezTo>
                  <a:pt x="15" y="6"/>
                  <a:pt x="15" y="5"/>
                  <a:pt x="15" y="5"/>
                </a:cubicBezTo>
                <a:cubicBezTo>
                  <a:pt x="14" y="5"/>
                  <a:pt x="14" y="5"/>
                  <a:pt x="14" y="4"/>
                </a:cubicBezTo>
                <a:cubicBezTo>
                  <a:pt x="14" y="4"/>
                  <a:pt x="14" y="3"/>
                  <a:pt x="13" y="3"/>
                </a:cubicBezTo>
                <a:cubicBezTo>
                  <a:pt x="13" y="3"/>
                  <a:pt x="13" y="2"/>
                  <a:pt x="13" y="2"/>
                </a:cubicBezTo>
                <a:cubicBezTo>
                  <a:pt x="12" y="2"/>
                  <a:pt x="12" y="1"/>
                  <a:pt x="13" y="1"/>
                </a:cubicBezTo>
                <a:cubicBezTo>
                  <a:pt x="12" y="1"/>
                  <a:pt x="11" y="0"/>
                  <a:pt x="11" y="0"/>
                </a:cubicBezTo>
                <a:cubicBezTo>
                  <a:pt x="11" y="0"/>
                  <a:pt x="10" y="0"/>
                  <a:pt x="10" y="1"/>
                </a:cubicBezTo>
                <a:cubicBezTo>
                  <a:pt x="9" y="2"/>
                  <a:pt x="8" y="1"/>
                  <a:pt x="8" y="2"/>
                </a:cubicBezTo>
                <a:cubicBezTo>
                  <a:pt x="8" y="2"/>
                  <a:pt x="7" y="2"/>
                  <a:pt x="7" y="2"/>
                </a:cubicBezTo>
                <a:cubicBezTo>
                  <a:pt x="6" y="2"/>
                  <a:pt x="6" y="2"/>
                  <a:pt x="6" y="3"/>
                </a:cubicBezTo>
                <a:cubicBezTo>
                  <a:pt x="6" y="4"/>
                  <a:pt x="5" y="3"/>
                  <a:pt x="5" y="4"/>
                </a:cubicBezTo>
                <a:cubicBezTo>
                  <a:pt x="5" y="5"/>
                  <a:pt x="4" y="4"/>
                  <a:pt x="3" y="4"/>
                </a:cubicBezTo>
                <a:cubicBezTo>
                  <a:pt x="3" y="3"/>
                  <a:pt x="3" y="5"/>
                  <a:pt x="3" y="5"/>
                </a:cubicBezTo>
                <a:cubicBezTo>
                  <a:pt x="3" y="5"/>
                  <a:pt x="2" y="6"/>
                  <a:pt x="2" y="7"/>
                </a:cubicBezTo>
                <a:cubicBezTo>
                  <a:pt x="2" y="8"/>
                  <a:pt x="1" y="7"/>
                  <a:pt x="0" y="8"/>
                </a:cubicBezTo>
                <a:cubicBezTo>
                  <a:pt x="0" y="8"/>
                  <a:pt x="1" y="9"/>
                  <a:pt x="0" y="9"/>
                </a:cubicBezTo>
                <a:cubicBezTo>
                  <a:pt x="0" y="9"/>
                  <a:pt x="0" y="10"/>
                  <a:pt x="0" y="11"/>
                </a:cubicBezTo>
                <a:cubicBezTo>
                  <a:pt x="0" y="11"/>
                  <a:pt x="1" y="11"/>
                  <a:pt x="1" y="11"/>
                </a:cubicBezTo>
                <a:cubicBezTo>
                  <a:pt x="1" y="12"/>
                  <a:pt x="2" y="13"/>
                  <a:pt x="3" y="12"/>
                </a:cubicBezTo>
                <a:cubicBezTo>
                  <a:pt x="3" y="12"/>
                  <a:pt x="5" y="12"/>
                  <a:pt x="5" y="12"/>
                </a:cubicBezTo>
                <a:cubicBezTo>
                  <a:pt x="6" y="12"/>
                  <a:pt x="6" y="12"/>
                  <a:pt x="6" y="12"/>
                </a:cubicBezTo>
                <a:cubicBezTo>
                  <a:pt x="6" y="11"/>
                  <a:pt x="5" y="10"/>
                  <a:pt x="6" y="10"/>
                </a:cubicBezTo>
                <a:cubicBezTo>
                  <a:pt x="6" y="9"/>
                  <a:pt x="11" y="9"/>
                  <a:pt x="11" y="10"/>
                </a:cubicBezTo>
                <a:cubicBezTo>
                  <a:pt x="11" y="10"/>
                  <a:pt x="11" y="9"/>
                  <a:pt x="12" y="9"/>
                </a:cubicBezTo>
                <a:cubicBezTo>
                  <a:pt x="13" y="9"/>
                  <a:pt x="14" y="10"/>
                  <a:pt x="14" y="9"/>
                </a:cubicBezTo>
                <a:cubicBezTo>
                  <a:pt x="15" y="9"/>
                  <a:pt x="15" y="9"/>
                  <a:pt x="15" y="9"/>
                </a:cubicBezTo>
                <a:cubicBezTo>
                  <a:pt x="16" y="9"/>
                  <a:pt x="17" y="8"/>
                  <a:pt x="17" y="8"/>
                </a:cubicBezTo>
                <a:cubicBezTo>
                  <a:pt x="17" y="8"/>
                  <a:pt x="18" y="8"/>
                  <a:pt x="18" y="7"/>
                </a:cubicBezTo>
                <a:cubicBezTo>
                  <a:pt x="18" y="7"/>
                  <a:pt x="18" y="7"/>
                  <a:pt x="1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69"/>
          <p:cNvSpPr>
            <a:spLocks/>
          </p:cNvSpPr>
          <p:nvPr/>
        </p:nvSpPr>
        <p:spPr bwMode="auto">
          <a:xfrm>
            <a:off x="2201541" y="3025135"/>
            <a:ext cx="168018" cy="128695"/>
          </a:xfrm>
          <a:custGeom>
            <a:avLst/>
            <a:gdLst>
              <a:gd name="T0" fmla="*/ 33 w 35"/>
              <a:gd name="T1" fmla="*/ 4 h 27"/>
              <a:gd name="T2" fmla="*/ 33 w 35"/>
              <a:gd name="T3" fmla="*/ 1 h 27"/>
              <a:gd name="T4" fmla="*/ 31 w 35"/>
              <a:gd name="T5" fmla="*/ 2 h 27"/>
              <a:gd name="T6" fmla="*/ 30 w 35"/>
              <a:gd name="T7" fmla="*/ 0 h 27"/>
              <a:gd name="T8" fmla="*/ 27 w 35"/>
              <a:gd name="T9" fmla="*/ 0 h 27"/>
              <a:gd name="T10" fmla="*/ 17 w 35"/>
              <a:gd name="T11" fmla="*/ 6 h 27"/>
              <a:gd name="T12" fmla="*/ 13 w 35"/>
              <a:gd name="T13" fmla="*/ 9 h 27"/>
              <a:gd name="T14" fmla="*/ 10 w 35"/>
              <a:gd name="T15" fmla="*/ 10 h 27"/>
              <a:gd name="T16" fmla="*/ 9 w 35"/>
              <a:gd name="T17" fmla="*/ 10 h 27"/>
              <a:gd name="T18" fmla="*/ 9 w 35"/>
              <a:gd name="T19" fmla="*/ 16 h 27"/>
              <a:gd name="T20" fmla="*/ 9 w 35"/>
              <a:gd name="T21" fmla="*/ 18 h 27"/>
              <a:gd name="T22" fmla="*/ 7 w 35"/>
              <a:gd name="T23" fmla="*/ 19 h 27"/>
              <a:gd name="T24" fmla="*/ 4 w 35"/>
              <a:gd name="T25" fmla="*/ 19 h 27"/>
              <a:gd name="T26" fmla="*/ 2 w 35"/>
              <a:gd name="T27" fmla="*/ 19 h 27"/>
              <a:gd name="T28" fmla="*/ 1 w 35"/>
              <a:gd name="T29" fmla="*/ 20 h 27"/>
              <a:gd name="T30" fmla="*/ 1 w 35"/>
              <a:gd name="T31" fmla="*/ 21 h 27"/>
              <a:gd name="T32" fmla="*/ 1 w 35"/>
              <a:gd name="T33" fmla="*/ 22 h 27"/>
              <a:gd name="T34" fmla="*/ 2 w 35"/>
              <a:gd name="T35" fmla="*/ 23 h 27"/>
              <a:gd name="T36" fmla="*/ 3 w 35"/>
              <a:gd name="T37" fmla="*/ 24 h 27"/>
              <a:gd name="T38" fmla="*/ 4 w 35"/>
              <a:gd name="T39" fmla="*/ 25 h 27"/>
              <a:gd name="T40" fmla="*/ 5 w 35"/>
              <a:gd name="T41" fmla="*/ 25 h 27"/>
              <a:gd name="T42" fmla="*/ 5 w 35"/>
              <a:gd name="T43" fmla="*/ 26 h 27"/>
              <a:gd name="T44" fmla="*/ 6 w 35"/>
              <a:gd name="T45" fmla="*/ 26 h 27"/>
              <a:gd name="T46" fmla="*/ 7 w 35"/>
              <a:gd name="T47" fmla="*/ 25 h 27"/>
              <a:gd name="T48" fmla="*/ 7 w 35"/>
              <a:gd name="T49" fmla="*/ 26 h 27"/>
              <a:gd name="T50" fmla="*/ 8 w 35"/>
              <a:gd name="T51" fmla="*/ 26 h 27"/>
              <a:gd name="T52" fmla="*/ 9 w 35"/>
              <a:gd name="T53" fmla="*/ 24 h 27"/>
              <a:gd name="T54" fmla="*/ 10 w 35"/>
              <a:gd name="T55" fmla="*/ 23 h 27"/>
              <a:gd name="T56" fmla="*/ 12 w 35"/>
              <a:gd name="T57" fmla="*/ 23 h 27"/>
              <a:gd name="T58" fmla="*/ 13 w 35"/>
              <a:gd name="T59" fmla="*/ 22 h 27"/>
              <a:gd name="T60" fmla="*/ 15 w 35"/>
              <a:gd name="T61" fmla="*/ 23 h 27"/>
              <a:gd name="T62" fmla="*/ 16 w 35"/>
              <a:gd name="T63" fmla="*/ 24 h 27"/>
              <a:gd name="T64" fmla="*/ 18 w 35"/>
              <a:gd name="T65" fmla="*/ 23 h 27"/>
              <a:gd name="T66" fmla="*/ 20 w 35"/>
              <a:gd name="T67" fmla="*/ 24 h 27"/>
              <a:gd name="T68" fmla="*/ 22 w 35"/>
              <a:gd name="T69" fmla="*/ 24 h 27"/>
              <a:gd name="T70" fmla="*/ 23 w 35"/>
              <a:gd name="T71" fmla="*/ 23 h 27"/>
              <a:gd name="T72" fmla="*/ 26 w 35"/>
              <a:gd name="T73" fmla="*/ 23 h 27"/>
              <a:gd name="T74" fmla="*/ 28 w 35"/>
              <a:gd name="T75" fmla="*/ 24 h 27"/>
              <a:gd name="T76" fmla="*/ 30 w 35"/>
              <a:gd name="T77" fmla="*/ 22 h 27"/>
              <a:gd name="T78" fmla="*/ 30 w 35"/>
              <a:gd name="T79" fmla="*/ 22 h 27"/>
              <a:gd name="T80" fmla="*/ 30 w 35"/>
              <a:gd name="T81" fmla="*/ 22 h 27"/>
              <a:gd name="T82" fmla="*/ 30 w 35"/>
              <a:gd name="T83" fmla="*/ 20 h 27"/>
              <a:gd name="T84" fmla="*/ 34 w 35"/>
              <a:gd name="T85" fmla="*/ 15 h 27"/>
              <a:gd name="T86" fmla="*/ 34 w 35"/>
              <a:gd name="T87" fmla="*/ 10 h 27"/>
              <a:gd name="T88" fmla="*/ 35 w 35"/>
              <a:gd name="T89" fmla="*/ 7 h 27"/>
              <a:gd name="T90" fmla="*/ 34 w 35"/>
              <a:gd name="T91" fmla="*/ 6 h 27"/>
              <a:gd name="T92" fmla="*/ 33 w 35"/>
              <a:gd name="T9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 h="27">
                <a:moveTo>
                  <a:pt x="33" y="4"/>
                </a:moveTo>
                <a:cubicBezTo>
                  <a:pt x="33" y="3"/>
                  <a:pt x="33" y="2"/>
                  <a:pt x="33" y="1"/>
                </a:cubicBezTo>
                <a:cubicBezTo>
                  <a:pt x="31" y="2"/>
                  <a:pt x="31" y="2"/>
                  <a:pt x="31" y="2"/>
                </a:cubicBezTo>
                <a:cubicBezTo>
                  <a:pt x="31" y="2"/>
                  <a:pt x="31" y="1"/>
                  <a:pt x="30" y="0"/>
                </a:cubicBezTo>
                <a:cubicBezTo>
                  <a:pt x="29" y="0"/>
                  <a:pt x="27" y="0"/>
                  <a:pt x="27" y="0"/>
                </a:cubicBezTo>
                <a:cubicBezTo>
                  <a:pt x="17" y="6"/>
                  <a:pt x="17" y="6"/>
                  <a:pt x="17" y="6"/>
                </a:cubicBezTo>
                <a:cubicBezTo>
                  <a:pt x="13" y="9"/>
                  <a:pt x="13" y="9"/>
                  <a:pt x="13" y="9"/>
                </a:cubicBezTo>
                <a:cubicBezTo>
                  <a:pt x="13" y="9"/>
                  <a:pt x="11" y="10"/>
                  <a:pt x="10" y="10"/>
                </a:cubicBezTo>
                <a:cubicBezTo>
                  <a:pt x="10" y="10"/>
                  <a:pt x="10" y="10"/>
                  <a:pt x="9" y="10"/>
                </a:cubicBezTo>
                <a:cubicBezTo>
                  <a:pt x="9" y="12"/>
                  <a:pt x="10" y="16"/>
                  <a:pt x="9" y="16"/>
                </a:cubicBezTo>
                <a:cubicBezTo>
                  <a:pt x="9" y="16"/>
                  <a:pt x="9" y="17"/>
                  <a:pt x="9" y="18"/>
                </a:cubicBezTo>
                <a:cubicBezTo>
                  <a:pt x="8" y="18"/>
                  <a:pt x="8" y="19"/>
                  <a:pt x="7" y="19"/>
                </a:cubicBezTo>
                <a:cubicBezTo>
                  <a:pt x="6" y="19"/>
                  <a:pt x="5" y="19"/>
                  <a:pt x="4" y="19"/>
                </a:cubicBezTo>
                <a:cubicBezTo>
                  <a:pt x="3" y="19"/>
                  <a:pt x="2" y="19"/>
                  <a:pt x="2" y="19"/>
                </a:cubicBezTo>
                <a:cubicBezTo>
                  <a:pt x="2" y="20"/>
                  <a:pt x="1" y="20"/>
                  <a:pt x="1" y="20"/>
                </a:cubicBezTo>
                <a:cubicBezTo>
                  <a:pt x="0" y="20"/>
                  <a:pt x="0" y="21"/>
                  <a:pt x="1" y="21"/>
                </a:cubicBezTo>
                <a:cubicBezTo>
                  <a:pt x="1" y="21"/>
                  <a:pt x="1" y="22"/>
                  <a:pt x="1" y="22"/>
                </a:cubicBezTo>
                <a:cubicBezTo>
                  <a:pt x="2" y="22"/>
                  <a:pt x="2" y="23"/>
                  <a:pt x="2" y="23"/>
                </a:cubicBezTo>
                <a:cubicBezTo>
                  <a:pt x="2" y="24"/>
                  <a:pt x="2" y="24"/>
                  <a:pt x="3" y="24"/>
                </a:cubicBezTo>
                <a:cubicBezTo>
                  <a:pt x="3" y="24"/>
                  <a:pt x="3" y="25"/>
                  <a:pt x="4" y="25"/>
                </a:cubicBezTo>
                <a:cubicBezTo>
                  <a:pt x="4" y="25"/>
                  <a:pt x="5" y="25"/>
                  <a:pt x="5" y="25"/>
                </a:cubicBezTo>
                <a:cubicBezTo>
                  <a:pt x="5" y="25"/>
                  <a:pt x="5" y="26"/>
                  <a:pt x="5" y="26"/>
                </a:cubicBezTo>
                <a:cubicBezTo>
                  <a:pt x="5" y="26"/>
                  <a:pt x="5" y="26"/>
                  <a:pt x="6" y="26"/>
                </a:cubicBezTo>
                <a:cubicBezTo>
                  <a:pt x="6" y="26"/>
                  <a:pt x="6" y="25"/>
                  <a:pt x="7" y="25"/>
                </a:cubicBezTo>
                <a:cubicBezTo>
                  <a:pt x="7" y="25"/>
                  <a:pt x="7" y="26"/>
                  <a:pt x="7" y="26"/>
                </a:cubicBezTo>
                <a:cubicBezTo>
                  <a:pt x="8" y="27"/>
                  <a:pt x="8" y="26"/>
                  <a:pt x="8" y="26"/>
                </a:cubicBezTo>
                <a:cubicBezTo>
                  <a:pt x="8" y="25"/>
                  <a:pt x="9" y="25"/>
                  <a:pt x="9" y="24"/>
                </a:cubicBezTo>
                <a:cubicBezTo>
                  <a:pt x="9" y="24"/>
                  <a:pt x="9" y="23"/>
                  <a:pt x="10" y="23"/>
                </a:cubicBezTo>
                <a:cubicBezTo>
                  <a:pt x="10" y="22"/>
                  <a:pt x="11" y="23"/>
                  <a:pt x="12" y="23"/>
                </a:cubicBezTo>
                <a:cubicBezTo>
                  <a:pt x="12" y="23"/>
                  <a:pt x="13" y="22"/>
                  <a:pt x="13" y="22"/>
                </a:cubicBezTo>
                <a:cubicBezTo>
                  <a:pt x="14" y="23"/>
                  <a:pt x="14" y="22"/>
                  <a:pt x="15" y="23"/>
                </a:cubicBezTo>
                <a:cubicBezTo>
                  <a:pt x="15" y="23"/>
                  <a:pt x="15" y="24"/>
                  <a:pt x="16" y="24"/>
                </a:cubicBezTo>
                <a:cubicBezTo>
                  <a:pt x="17" y="23"/>
                  <a:pt x="17" y="23"/>
                  <a:pt x="18" y="23"/>
                </a:cubicBezTo>
                <a:cubicBezTo>
                  <a:pt x="18" y="23"/>
                  <a:pt x="19" y="24"/>
                  <a:pt x="20" y="24"/>
                </a:cubicBezTo>
                <a:cubicBezTo>
                  <a:pt x="20" y="24"/>
                  <a:pt x="21" y="24"/>
                  <a:pt x="22" y="24"/>
                </a:cubicBezTo>
                <a:cubicBezTo>
                  <a:pt x="22" y="24"/>
                  <a:pt x="23" y="23"/>
                  <a:pt x="23" y="23"/>
                </a:cubicBezTo>
                <a:cubicBezTo>
                  <a:pt x="24" y="23"/>
                  <a:pt x="26" y="23"/>
                  <a:pt x="26" y="23"/>
                </a:cubicBezTo>
                <a:cubicBezTo>
                  <a:pt x="27" y="23"/>
                  <a:pt x="27" y="24"/>
                  <a:pt x="28" y="24"/>
                </a:cubicBezTo>
                <a:cubicBezTo>
                  <a:pt x="29" y="23"/>
                  <a:pt x="29" y="22"/>
                  <a:pt x="30" y="22"/>
                </a:cubicBezTo>
                <a:cubicBezTo>
                  <a:pt x="30" y="22"/>
                  <a:pt x="30" y="22"/>
                  <a:pt x="30" y="22"/>
                </a:cubicBezTo>
                <a:cubicBezTo>
                  <a:pt x="30" y="22"/>
                  <a:pt x="30" y="22"/>
                  <a:pt x="30" y="22"/>
                </a:cubicBezTo>
                <a:cubicBezTo>
                  <a:pt x="30" y="20"/>
                  <a:pt x="30" y="21"/>
                  <a:pt x="30" y="20"/>
                </a:cubicBezTo>
                <a:cubicBezTo>
                  <a:pt x="31" y="18"/>
                  <a:pt x="34" y="15"/>
                  <a:pt x="34" y="15"/>
                </a:cubicBezTo>
                <a:cubicBezTo>
                  <a:pt x="34" y="15"/>
                  <a:pt x="34" y="10"/>
                  <a:pt x="34" y="10"/>
                </a:cubicBezTo>
                <a:cubicBezTo>
                  <a:pt x="34" y="9"/>
                  <a:pt x="34" y="8"/>
                  <a:pt x="35" y="7"/>
                </a:cubicBezTo>
                <a:cubicBezTo>
                  <a:pt x="35" y="6"/>
                  <a:pt x="34" y="6"/>
                  <a:pt x="34" y="6"/>
                </a:cubicBezTo>
                <a:cubicBezTo>
                  <a:pt x="34" y="5"/>
                  <a:pt x="33" y="4"/>
                  <a:pt x="3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70"/>
          <p:cNvSpPr>
            <a:spLocks/>
          </p:cNvSpPr>
          <p:nvPr/>
        </p:nvSpPr>
        <p:spPr bwMode="auto">
          <a:xfrm>
            <a:off x="2344535" y="3025135"/>
            <a:ext cx="107245" cy="178742"/>
          </a:xfrm>
          <a:custGeom>
            <a:avLst/>
            <a:gdLst>
              <a:gd name="T0" fmla="*/ 22 w 22"/>
              <a:gd name="T1" fmla="*/ 9 h 37"/>
              <a:gd name="T2" fmla="*/ 5 w 22"/>
              <a:gd name="T3" fmla="*/ 0 h 37"/>
              <a:gd name="T4" fmla="*/ 3 w 22"/>
              <a:gd name="T5" fmla="*/ 1 h 37"/>
              <a:gd name="T6" fmla="*/ 3 w 22"/>
              <a:gd name="T7" fmla="*/ 4 h 37"/>
              <a:gd name="T8" fmla="*/ 4 w 22"/>
              <a:gd name="T9" fmla="*/ 6 h 37"/>
              <a:gd name="T10" fmla="*/ 5 w 22"/>
              <a:gd name="T11" fmla="*/ 7 h 37"/>
              <a:gd name="T12" fmla="*/ 4 w 22"/>
              <a:gd name="T13" fmla="*/ 10 h 37"/>
              <a:gd name="T14" fmla="*/ 4 w 22"/>
              <a:gd name="T15" fmla="*/ 15 h 37"/>
              <a:gd name="T16" fmla="*/ 0 w 22"/>
              <a:gd name="T17" fmla="*/ 20 h 37"/>
              <a:gd name="T18" fmla="*/ 0 w 22"/>
              <a:gd name="T19" fmla="*/ 22 h 37"/>
              <a:gd name="T20" fmla="*/ 0 w 22"/>
              <a:gd name="T21" fmla="*/ 22 h 37"/>
              <a:gd name="T22" fmla="*/ 0 w 22"/>
              <a:gd name="T23" fmla="*/ 23 h 37"/>
              <a:gd name="T24" fmla="*/ 1 w 22"/>
              <a:gd name="T25" fmla="*/ 24 h 37"/>
              <a:gd name="T26" fmla="*/ 3 w 22"/>
              <a:gd name="T27" fmla="*/ 26 h 37"/>
              <a:gd name="T28" fmla="*/ 3 w 22"/>
              <a:gd name="T29" fmla="*/ 28 h 37"/>
              <a:gd name="T30" fmla="*/ 4 w 22"/>
              <a:gd name="T31" fmla="*/ 30 h 37"/>
              <a:gd name="T32" fmla="*/ 3 w 22"/>
              <a:gd name="T33" fmla="*/ 31 h 37"/>
              <a:gd name="T34" fmla="*/ 1 w 22"/>
              <a:gd name="T35" fmla="*/ 31 h 37"/>
              <a:gd name="T36" fmla="*/ 2 w 22"/>
              <a:gd name="T37" fmla="*/ 33 h 37"/>
              <a:gd name="T38" fmla="*/ 3 w 22"/>
              <a:gd name="T39" fmla="*/ 34 h 37"/>
              <a:gd name="T40" fmla="*/ 4 w 22"/>
              <a:gd name="T41" fmla="*/ 36 h 37"/>
              <a:gd name="T42" fmla="*/ 6 w 22"/>
              <a:gd name="T43" fmla="*/ 36 h 37"/>
              <a:gd name="T44" fmla="*/ 7 w 22"/>
              <a:gd name="T45" fmla="*/ 36 h 37"/>
              <a:gd name="T46" fmla="*/ 9 w 22"/>
              <a:gd name="T47" fmla="*/ 35 h 37"/>
              <a:gd name="T48" fmla="*/ 11 w 22"/>
              <a:gd name="T49" fmla="*/ 34 h 37"/>
              <a:gd name="T50" fmla="*/ 11 w 22"/>
              <a:gd name="T51" fmla="*/ 33 h 37"/>
              <a:gd name="T52" fmla="*/ 15 w 22"/>
              <a:gd name="T53" fmla="*/ 32 h 37"/>
              <a:gd name="T54" fmla="*/ 17 w 22"/>
              <a:gd name="T55" fmla="*/ 30 h 37"/>
              <a:gd name="T56" fmla="*/ 17 w 22"/>
              <a:gd name="T57" fmla="*/ 29 h 37"/>
              <a:gd name="T58" fmla="*/ 19 w 22"/>
              <a:gd name="T59" fmla="*/ 28 h 37"/>
              <a:gd name="T60" fmla="*/ 19 w 22"/>
              <a:gd name="T61" fmla="*/ 28 h 37"/>
              <a:gd name="T62" fmla="*/ 19 w 22"/>
              <a:gd name="T63" fmla="*/ 28 h 37"/>
              <a:gd name="T64" fmla="*/ 20 w 22"/>
              <a:gd name="T65" fmla="*/ 27 h 37"/>
              <a:gd name="T66" fmla="*/ 19 w 22"/>
              <a:gd name="T67" fmla="*/ 26 h 37"/>
              <a:gd name="T68" fmla="*/ 18 w 22"/>
              <a:gd name="T69" fmla="*/ 24 h 37"/>
              <a:gd name="T70" fmla="*/ 18 w 22"/>
              <a:gd name="T71" fmla="*/ 23 h 37"/>
              <a:gd name="T72" fmla="*/ 18 w 22"/>
              <a:gd name="T73" fmla="*/ 21 h 37"/>
              <a:gd name="T74" fmla="*/ 19 w 22"/>
              <a:gd name="T75" fmla="*/ 20 h 37"/>
              <a:gd name="T76" fmla="*/ 20 w 22"/>
              <a:gd name="T77" fmla="*/ 18 h 37"/>
              <a:gd name="T78" fmla="*/ 22 w 22"/>
              <a:gd name="T79" fmla="*/ 17 h 37"/>
              <a:gd name="T80" fmla="*/ 22 w 22"/>
              <a:gd name="T81" fmla="*/ 15 h 37"/>
              <a:gd name="T82" fmla="*/ 22 w 22"/>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37">
                <a:moveTo>
                  <a:pt x="22" y="9"/>
                </a:moveTo>
                <a:cubicBezTo>
                  <a:pt x="5" y="0"/>
                  <a:pt x="5" y="0"/>
                  <a:pt x="5" y="0"/>
                </a:cubicBezTo>
                <a:cubicBezTo>
                  <a:pt x="3" y="1"/>
                  <a:pt x="3" y="1"/>
                  <a:pt x="3" y="1"/>
                </a:cubicBezTo>
                <a:cubicBezTo>
                  <a:pt x="3" y="2"/>
                  <a:pt x="3" y="3"/>
                  <a:pt x="3" y="4"/>
                </a:cubicBezTo>
                <a:cubicBezTo>
                  <a:pt x="3" y="4"/>
                  <a:pt x="4" y="5"/>
                  <a:pt x="4" y="6"/>
                </a:cubicBezTo>
                <a:cubicBezTo>
                  <a:pt x="4" y="6"/>
                  <a:pt x="5" y="6"/>
                  <a:pt x="5" y="7"/>
                </a:cubicBezTo>
                <a:cubicBezTo>
                  <a:pt x="4" y="8"/>
                  <a:pt x="4" y="9"/>
                  <a:pt x="4" y="10"/>
                </a:cubicBezTo>
                <a:cubicBezTo>
                  <a:pt x="4" y="10"/>
                  <a:pt x="4" y="15"/>
                  <a:pt x="4" y="15"/>
                </a:cubicBezTo>
                <a:cubicBezTo>
                  <a:pt x="4" y="15"/>
                  <a:pt x="1" y="18"/>
                  <a:pt x="0" y="20"/>
                </a:cubicBezTo>
                <a:cubicBezTo>
                  <a:pt x="0" y="21"/>
                  <a:pt x="0" y="20"/>
                  <a:pt x="0" y="22"/>
                </a:cubicBezTo>
                <a:cubicBezTo>
                  <a:pt x="0" y="22"/>
                  <a:pt x="0" y="22"/>
                  <a:pt x="0" y="22"/>
                </a:cubicBezTo>
                <a:cubicBezTo>
                  <a:pt x="0" y="22"/>
                  <a:pt x="0" y="22"/>
                  <a:pt x="0" y="23"/>
                </a:cubicBezTo>
                <a:cubicBezTo>
                  <a:pt x="1" y="23"/>
                  <a:pt x="1" y="24"/>
                  <a:pt x="1" y="24"/>
                </a:cubicBezTo>
                <a:cubicBezTo>
                  <a:pt x="2" y="24"/>
                  <a:pt x="3" y="25"/>
                  <a:pt x="3" y="26"/>
                </a:cubicBezTo>
                <a:cubicBezTo>
                  <a:pt x="3" y="26"/>
                  <a:pt x="3" y="27"/>
                  <a:pt x="3" y="28"/>
                </a:cubicBezTo>
                <a:cubicBezTo>
                  <a:pt x="3" y="29"/>
                  <a:pt x="4" y="30"/>
                  <a:pt x="4" y="30"/>
                </a:cubicBezTo>
                <a:cubicBezTo>
                  <a:pt x="4" y="31"/>
                  <a:pt x="4" y="31"/>
                  <a:pt x="3" y="31"/>
                </a:cubicBezTo>
                <a:cubicBezTo>
                  <a:pt x="2" y="31"/>
                  <a:pt x="1" y="31"/>
                  <a:pt x="1" y="31"/>
                </a:cubicBezTo>
                <a:cubicBezTo>
                  <a:pt x="1" y="31"/>
                  <a:pt x="1" y="32"/>
                  <a:pt x="2" y="33"/>
                </a:cubicBezTo>
                <a:cubicBezTo>
                  <a:pt x="2" y="33"/>
                  <a:pt x="3" y="34"/>
                  <a:pt x="3" y="34"/>
                </a:cubicBezTo>
                <a:cubicBezTo>
                  <a:pt x="4" y="35"/>
                  <a:pt x="4" y="36"/>
                  <a:pt x="4" y="36"/>
                </a:cubicBezTo>
                <a:cubicBezTo>
                  <a:pt x="5" y="37"/>
                  <a:pt x="5" y="36"/>
                  <a:pt x="6" y="36"/>
                </a:cubicBezTo>
                <a:cubicBezTo>
                  <a:pt x="6" y="35"/>
                  <a:pt x="6" y="36"/>
                  <a:pt x="7" y="36"/>
                </a:cubicBezTo>
                <a:cubicBezTo>
                  <a:pt x="7" y="35"/>
                  <a:pt x="9" y="35"/>
                  <a:pt x="9" y="35"/>
                </a:cubicBezTo>
                <a:cubicBezTo>
                  <a:pt x="10" y="35"/>
                  <a:pt x="11" y="34"/>
                  <a:pt x="11" y="34"/>
                </a:cubicBezTo>
                <a:cubicBezTo>
                  <a:pt x="12" y="34"/>
                  <a:pt x="11" y="33"/>
                  <a:pt x="11" y="33"/>
                </a:cubicBezTo>
                <a:cubicBezTo>
                  <a:pt x="12" y="33"/>
                  <a:pt x="14" y="33"/>
                  <a:pt x="15" y="32"/>
                </a:cubicBezTo>
                <a:cubicBezTo>
                  <a:pt x="15" y="31"/>
                  <a:pt x="16" y="30"/>
                  <a:pt x="17" y="30"/>
                </a:cubicBezTo>
                <a:cubicBezTo>
                  <a:pt x="17" y="30"/>
                  <a:pt x="17" y="29"/>
                  <a:pt x="17" y="29"/>
                </a:cubicBezTo>
                <a:cubicBezTo>
                  <a:pt x="18" y="28"/>
                  <a:pt x="19" y="28"/>
                  <a:pt x="19" y="28"/>
                </a:cubicBezTo>
                <a:cubicBezTo>
                  <a:pt x="19" y="28"/>
                  <a:pt x="19" y="28"/>
                  <a:pt x="19" y="28"/>
                </a:cubicBezTo>
                <a:cubicBezTo>
                  <a:pt x="19" y="28"/>
                  <a:pt x="19" y="28"/>
                  <a:pt x="19" y="28"/>
                </a:cubicBezTo>
                <a:cubicBezTo>
                  <a:pt x="20" y="27"/>
                  <a:pt x="20" y="27"/>
                  <a:pt x="20" y="27"/>
                </a:cubicBezTo>
                <a:cubicBezTo>
                  <a:pt x="20" y="27"/>
                  <a:pt x="19" y="27"/>
                  <a:pt x="19" y="26"/>
                </a:cubicBezTo>
                <a:cubicBezTo>
                  <a:pt x="19" y="25"/>
                  <a:pt x="19" y="24"/>
                  <a:pt x="18" y="24"/>
                </a:cubicBezTo>
                <a:cubicBezTo>
                  <a:pt x="17" y="24"/>
                  <a:pt x="17" y="24"/>
                  <a:pt x="18" y="23"/>
                </a:cubicBezTo>
                <a:cubicBezTo>
                  <a:pt x="18" y="22"/>
                  <a:pt x="17" y="21"/>
                  <a:pt x="18" y="21"/>
                </a:cubicBezTo>
                <a:cubicBezTo>
                  <a:pt x="19" y="21"/>
                  <a:pt x="18" y="20"/>
                  <a:pt x="19" y="20"/>
                </a:cubicBezTo>
                <a:cubicBezTo>
                  <a:pt x="20" y="20"/>
                  <a:pt x="20" y="19"/>
                  <a:pt x="20" y="18"/>
                </a:cubicBezTo>
                <a:cubicBezTo>
                  <a:pt x="20" y="18"/>
                  <a:pt x="21" y="17"/>
                  <a:pt x="22" y="17"/>
                </a:cubicBezTo>
                <a:cubicBezTo>
                  <a:pt x="22" y="17"/>
                  <a:pt x="22" y="15"/>
                  <a:pt x="22" y="15"/>
                </a:cubicBezTo>
                <a:lnTo>
                  <a:pt x="22"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71"/>
          <p:cNvSpPr>
            <a:spLocks/>
          </p:cNvSpPr>
          <p:nvPr/>
        </p:nvSpPr>
        <p:spPr bwMode="auto">
          <a:xfrm>
            <a:off x="2455355" y="2921465"/>
            <a:ext cx="121545" cy="117970"/>
          </a:xfrm>
          <a:custGeom>
            <a:avLst/>
            <a:gdLst>
              <a:gd name="T0" fmla="*/ 23 w 25"/>
              <a:gd name="T1" fmla="*/ 6 h 24"/>
              <a:gd name="T2" fmla="*/ 21 w 25"/>
              <a:gd name="T3" fmla="*/ 2 h 24"/>
              <a:gd name="T4" fmla="*/ 21 w 25"/>
              <a:gd name="T5" fmla="*/ 2 h 24"/>
              <a:gd name="T6" fmla="*/ 19 w 25"/>
              <a:gd name="T7" fmla="*/ 2 h 24"/>
              <a:gd name="T8" fmla="*/ 16 w 25"/>
              <a:gd name="T9" fmla="*/ 1 h 24"/>
              <a:gd name="T10" fmla="*/ 11 w 25"/>
              <a:gd name="T11" fmla="*/ 2 h 24"/>
              <a:gd name="T12" fmla="*/ 9 w 25"/>
              <a:gd name="T13" fmla="*/ 2 h 24"/>
              <a:gd name="T14" fmla="*/ 5 w 25"/>
              <a:gd name="T15" fmla="*/ 1 h 24"/>
              <a:gd name="T16" fmla="*/ 1 w 25"/>
              <a:gd name="T17" fmla="*/ 0 h 24"/>
              <a:gd name="T18" fmla="*/ 1 w 25"/>
              <a:gd name="T19" fmla="*/ 1 h 24"/>
              <a:gd name="T20" fmla="*/ 1 w 25"/>
              <a:gd name="T21" fmla="*/ 4 h 24"/>
              <a:gd name="T22" fmla="*/ 1 w 25"/>
              <a:gd name="T23" fmla="*/ 7 h 24"/>
              <a:gd name="T24" fmla="*/ 1 w 25"/>
              <a:gd name="T25" fmla="*/ 24 h 24"/>
              <a:gd name="T26" fmla="*/ 14 w 25"/>
              <a:gd name="T27" fmla="*/ 24 h 24"/>
              <a:gd name="T28" fmla="*/ 15 w 25"/>
              <a:gd name="T29" fmla="*/ 23 h 24"/>
              <a:gd name="T30" fmla="*/ 16 w 25"/>
              <a:gd name="T31" fmla="*/ 24 h 24"/>
              <a:gd name="T32" fmla="*/ 19 w 25"/>
              <a:gd name="T33" fmla="*/ 24 h 24"/>
              <a:gd name="T34" fmla="*/ 20 w 25"/>
              <a:gd name="T35" fmla="*/ 24 h 24"/>
              <a:gd name="T36" fmla="*/ 22 w 25"/>
              <a:gd name="T37" fmla="*/ 23 h 24"/>
              <a:gd name="T38" fmla="*/ 23 w 25"/>
              <a:gd name="T39" fmla="*/ 22 h 24"/>
              <a:gd name="T40" fmla="*/ 24 w 25"/>
              <a:gd name="T41" fmla="*/ 21 h 24"/>
              <a:gd name="T42" fmla="*/ 24 w 25"/>
              <a:gd name="T43" fmla="*/ 21 h 24"/>
              <a:gd name="T44" fmla="*/ 24 w 25"/>
              <a:gd name="T45" fmla="*/ 20 h 24"/>
              <a:gd name="T46" fmla="*/ 23 w 25"/>
              <a:gd name="T47" fmla="*/ 18 h 24"/>
              <a:gd name="T48" fmla="*/ 21 w 25"/>
              <a:gd name="T49" fmla="*/ 13 h 24"/>
              <a:gd name="T50" fmla="*/ 20 w 25"/>
              <a:gd name="T51" fmla="*/ 11 h 24"/>
              <a:gd name="T52" fmla="*/ 18 w 25"/>
              <a:gd name="T53" fmla="*/ 8 h 24"/>
              <a:gd name="T54" fmla="*/ 17 w 25"/>
              <a:gd name="T55" fmla="*/ 4 h 24"/>
              <a:gd name="T56" fmla="*/ 19 w 25"/>
              <a:gd name="T57" fmla="*/ 7 h 24"/>
              <a:gd name="T58" fmla="*/ 21 w 25"/>
              <a:gd name="T59" fmla="*/ 10 h 24"/>
              <a:gd name="T60" fmla="*/ 22 w 25"/>
              <a:gd name="T61" fmla="*/ 7 h 24"/>
              <a:gd name="T62" fmla="*/ 23 w 25"/>
              <a:gd name="T63" fmla="*/ 7 h 24"/>
              <a:gd name="T64" fmla="*/ 23 w 25"/>
              <a:gd name="T65" fmla="*/ 7 h 24"/>
              <a:gd name="T66" fmla="*/ 23 w 25"/>
              <a:gd name="T67"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24">
                <a:moveTo>
                  <a:pt x="23" y="6"/>
                </a:moveTo>
                <a:cubicBezTo>
                  <a:pt x="21" y="2"/>
                  <a:pt x="21" y="2"/>
                  <a:pt x="21" y="2"/>
                </a:cubicBezTo>
                <a:cubicBezTo>
                  <a:pt x="21" y="2"/>
                  <a:pt x="21" y="2"/>
                  <a:pt x="21" y="2"/>
                </a:cubicBezTo>
                <a:cubicBezTo>
                  <a:pt x="21" y="2"/>
                  <a:pt x="20" y="2"/>
                  <a:pt x="19" y="2"/>
                </a:cubicBezTo>
                <a:cubicBezTo>
                  <a:pt x="18" y="2"/>
                  <a:pt x="17" y="2"/>
                  <a:pt x="16" y="1"/>
                </a:cubicBezTo>
                <a:cubicBezTo>
                  <a:pt x="15" y="1"/>
                  <a:pt x="12" y="1"/>
                  <a:pt x="11" y="2"/>
                </a:cubicBezTo>
                <a:cubicBezTo>
                  <a:pt x="11" y="3"/>
                  <a:pt x="10" y="3"/>
                  <a:pt x="9" y="2"/>
                </a:cubicBezTo>
                <a:cubicBezTo>
                  <a:pt x="8" y="2"/>
                  <a:pt x="7" y="1"/>
                  <a:pt x="5" y="1"/>
                </a:cubicBezTo>
                <a:cubicBezTo>
                  <a:pt x="3" y="1"/>
                  <a:pt x="2" y="1"/>
                  <a:pt x="1" y="0"/>
                </a:cubicBezTo>
                <a:cubicBezTo>
                  <a:pt x="1" y="1"/>
                  <a:pt x="1" y="1"/>
                  <a:pt x="1" y="1"/>
                </a:cubicBezTo>
                <a:cubicBezTo>
                  <a:pt x="1" y="2"/>
                  <a:pt x="2" y="3"/>
                  <a:pt x="1" y="4"/>
                </a:cubicBezTo>
                <a:cubicBezTo>
                  <a:pt x="0" y="4"/>
                  <a:pt x="1" y="5"/>
                  <a:pt x="1" y="7"/>
                </a:cubicBezTo>
                <a:cubicBezTo>
                  <a:pt x="1" y="24"/>
                  <a:pt x="1" y="24"/>
                  <a:pt x="1" y="24"/>
                </a:cubicBezTo>
                <a:cubicBezTo>
                  <a:pt x="14" y="24"/>
                  <a:pt x="14" y="24"/>
                  <a:pt x="14" y="24"/>
                </a:cubicBezTo>
                <a:cubicBezTo>
                  <a:pt x="14" y="24"/>
                  <a:pt x="15" y="24"/>
                  <a:pt x="15" y="23"/>
                </a:cubicBezTo>
                <a:cubicBezTo>
                  <a:pt x="16" y="23"/>
                  <a:pt x="16" y="24"/>
                  <a:pt x="16" y="24"/>
                </a:cubicBezTo>
                <a:cubicBezTo>
                  <a:pt x="19" y="24"/>
                  <a:pt x="19" y="24"/>
                  <a:pt x="19" y="24"/>
                </a:cubicBezTo>
                <a:cubicBezTo>
                  <a:pt x="19" y="24"/>
                  <a:pt x="20" y="24"/>
                  <a:pt x="20" y="24"/>
                </a:cubicBezTo>
                <a:cubicBezTo>
                  <a:pt x="21" y="24"/>
                  <a:pt x="21" y="23"/>
                  <a:pt x="22" y="23"/>
                </a:cubicBezTo>
                <a:cubicBezTo>
                  <a:pt x="23" y="23"/>
                  <a:pt x="22" y="22"/>
                  <a:pt x="23" y="22"/>
                </a:cubicBezTo>
                <a:cubicBezTo>
                  <a:pt x="24" y="22"/>
                  <a:pt x="24" y="22"/>
                  <a:pt x="24" y="21"/>
                </a:cubicBezTo>
                <a:cubicBezTo>
                  <a:pt x="24" y="21"/>
                  <a:pt x="24" y="21"/>
                  <a:pt x="24" y="21"/>
                </a:cubicBezTo>
                <a:cubicBezTo>
                  <a:pt x="24" y="21"/>
                  <a:pt x="24" y="20"/>
                  <a:pt x="24" y="20"/>
                </a:cubicBezTo>
                <a:cubicBezTo>
                  <a:pt x="25" y="19"/>
                  <a:pt x="24" y="19"/>
                  <a:pt x="23" y="18"/>
                </a:cubicBezTo>
                <a:cubicBezTo>
                  <a:pt x="23" y="16"/>
                  <a:pt x="21" y="14"/>
                  <a:pt x="21" y="13"/>
                </a:cubicBezTo>
                <a:cubicBezTo>
                  <a:pt x="21" y="12"/>
                  <a:pt x="20" y="12"/>
                  <a:pt x="20" y="11"/>
                </a:cubicBezTo>
                <a:cubicBezTo>
                  <a:pt x="20" y="10"/>
                  <a:pt x="19" y="10"/>
                  <a:pt x="18" y="8"/>
                </a:cubicBezTo>
                <a:cubicBezTo>
                  <a:pt x="17" y="7"/>
                  <a:pt x="17" y="4"/>
                  <a:pt x="17" y="4"/>
                </a:cubicBezTo>
                <a:cubicBezTo>
                  <a:pt x="18" y="4"/>
                  <a:pt x="19" y="7"/>
                  <a:pt x="19" y="7"/>
                </a:cubicBezTo>
                <a:cubicBezTo>
                  <a:pt x="19" y="8"/>
                  <a:pt x="20" y="10"/>
                  <a:pt x="21" y="10"/>
                </a:cubicBezTo>
                <a:cubicBezTo>
                  <a:pt x="22" y="10"/>
                  <a:pt x="22" y="7"/>
                  <a:pt x="22" y="7"/>
                </a:cubicBezTo>
                <a:cubicBezTo>
                  <a:pt x="22" y="7"/>
                  <a:pt x="22" y="7"/>
                  <a:pt x="23" y="7"/>
                </a:cubicBezTo>
                <a:cubicBezTo>
                  <a:pt x="23" y="7"/>
                  <a:pt x="23" y="7"/>
                  <a:pt x="23" y="7"/>
                </a:cubicBezTo>
                <a:lnTo>
                  <a:pt x="23"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72"/>
          <p:cNvSpPr>
            <a:spLocks/>
          </p:cNvSpPr>
          <p:nvPr/>
        </p:nvSpPr>
        <p:spPr bwMode="auto">
          <a:xfrm>
            <a:off x="2290912" y="3257500"/>
            <a:ext cx="64347" cy="67922"/>
          </a:xfrm>
          <a:custGeom>
            <a:avLst/>
            <a:gdLst>
              <a:gd name="T0" fmla="*/ 7 w 13"/>
              <a:gd name="T1" fmla="*/ 13 h 14"/>
              <a:gd name="T2" fmla="*/ 7 w 13"/>
              <a:gd name="T3" fmla="*/ 11 h 14"/>
              <a:gd name="T4" fmla="*/ 8 w 13"/>
              <a:gd name="T5" fmla="*/ 10 h 14"/>
              <a:gd name="T6" fmla="*/ 9 w 13"/>
              <a:gd name="T7" fmla="*/ 9 h 14"/>
              <a:gd name="T8" fmla="*/ 11 w 13"/>
              <a:gd name="T9" fmla="*/ 10 h 14"/>
              <a:gd name="T10" fmla="*/ 12 w 13"/>
              <a:gd name="T11" fmla="*/ 11 h 14"/>
              <a:gd name="T12" fmla="*/ 13 w 13"/>
              <a:gd name="T13" fmla="*/ 8 h 14"/>
              <a:gd name="T14" fmla="*/ 12 w 13"/>
              <a:gd name="T15" fmla="*/ 6 h 14"/>
              <a:gd name="T16" fmla="*/ 12 w 13"/>
              <a:gd name="T17" fmla="*/ 4 h 14"/>
              <a:gd name="T18" fmla="*/ 12 w 13"/>
              <a:gd name="T19" fmla="*/ 2 h 14"/>
              <a:gd name="T20" fmla="*/ 10 w 13"/>
              <a:gd name="T21" fmla="*/ 2 h 14"/>
              <a:gd name="T22" fmla="*/ 10 w 13"/>
              <a:gd name="T23" fmla="*/ 0 h 14"/>
              <a:gd name="T24" fmla="*/ 7 w 13"/>
              <a:gd name="T25" fmla="*/ 0 h 14"/>
              <a:gd name="T26" fmla="*/ 7 w 13"/>
              <a:gd name="T27" fmla="*/ 0 h 14"/>
              <a:gd name="T28" fmla="*/ 6 w 13"/>
              <a:gd name="T29" fmla="*/ 3 h 14"/>
              <a:gd name="T30" fmla="*/ 3 w 13"/>
              <a:gd name="T31" fmla="*/ 3 h 14"/>
              <a:gd name="T32" fmla="*/ 2 w 13"/>
              <a:gd name="T33" fmla="*/ 3 h 14"/>
              <a:gd name="T34" fmla="*/ 2 w 13"/>
              <a:gd name="T35" fmla="*/ 4 h 14"/>
              <a:gd name="T36" fmla="*/ 3 w 13"/>
              <a:gd name="T37" fmla="*/ 5 h 14"/>
              <a:gd name="T38" fmla="*/ 2 w 13"/>
              <a:gd name="T39" fmla="*/ 6 h 14"/>
              <a:gd name="T40" fmla="*/ 1 w 13"/>
              <a:gd name="T41" fmla="*/ 7 h 14"/>
              <a:gd name="T42" fmla="*/ 2 w 13"/>
              <a:gd name="T43" fmla="*/ 9 h 14"/>
              <a:gd name="T44" fmla="*/ 3 w 13"/>
              <a:gd name="T45" fmla="*/ 11 h 14"/>
              <a:gd name="T46" fmla="*/ 6 w 13"/>
              <a:gd name="T47" fmla="*/ 14 h 14"/>
              <a:gd name="T48" fmla="*/ 7 w 13"/>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 h="14">
                <a:moveTo>
                  <a:pt x="7" y="13"/>
                </a:moveTo>
                <a:cubicBezTo>
                  <a:pt x="8" y="13"/>
                  <a:pt x="7" y="12"/>
                  <a:pt x="7" y="11"/>
                </a:cubicBezTo>
                <a:cubicBezTo>
                  <a:pt x="7" y="10"/>
                  <a:pt x="8" y="10"/>
                  <a:pt x="8" y="10"/>
                </a:cubicBezTo>
                <a:cubicBezTo>
                  <a:pt x="9" y="10"/>
                  <a:pt x="9" y="9"/>
                  <a:pt x="9" y="9"/>
                </a:cubicBezTo>
                <a:cubicBezTo>
                  <a:pt x="10" y="9"/>
                  <a:pt x="10" y="11"/>
                  <a:pt x="11" y="10"/>
                </a:cubicBezTo>
                <a:cubicBezTo>
                  <a:pt x="11" y="10"/>
                  <a:pt x="11" y="11"/>
                  <a:pt x="12" y="11"/>
                </a:cubicBezTo>
                <a:cubicBezTo>
                  <a:pt x="13" y="11"/>
                  <a:pt x="13" y="9"/>
                  <a:pt x="13" y="8"/>
                </a:cubicBezTo>
                <a:cubicBezTo>
                  <a:pt x="13" y="7"/>
                  <a:pt x="13" y="6"/>
                  <a:pt x="12" y="6"/>
                </a:cubicBezTo>
                <a:cubicBezTo>
                  <a:pt x="12" y="5"/>
                  <a:pt x="11" y="4"/>
                  <a:pt x="12" y="4"/>
                </a:cubicBezTo>
                <a:cubicBezTo>
                  <a:pt x="13" y="4"/>
                  <a:pt x="13" y="3"/>
                  <a:pt x="12" y="2"/>
                </a:cubicBezTo>
                <a:cubicBezTo>
                  <a:pt x="11" y="2"/>
                  <a:pt x="10" y="3"/>
                  <a:pt x="10" y="2"/>
                </a:cubicBezTo>
                <a:cubicBezTo>
                  <a:pt x="10" y="2"/>
                  <a:pt x="10" y="1"/>
                  <a:pt x="10" y="0"/>
                </a:cubicBezTo>
                <a:cubicBezTo>
                  <a:pt x="9" y="0"/>
                  <a:pt x="7" y="0"/>
                  <a:pt x="7" y="0"/>
                </a:cubicBezTo>
                <a:cubicBezTo>
                  <a:pt x="7" y="0"/>
                  <a:pt x="7" y="0"/>
                  <a:pt x="7" y="0"/>
                </a:cubicBezTo>
                <a:cubicBezTo>
                  <a:pt x="7" y="2"/>
                  <a:pt x="6" y="3"/>
                  <a:pt x="6" y="3"/>
                </a:cubicBezTo>
                <a:cubicBezTo>
                  <a:pt x="6" y="3"/>
                  <a:pt x="4" y="3"/>
                  <a:pt x="3" y="3"/>
                </a:cubicBezTo>
                <a:cubicBezTo>
                  <a:pt x="3" y="3"/>
                  <a:pt x="3" y="3"/>
                  <a:pt x="2" y="3"/>
                </a:cubicBezTo>
                <a:cubicBezTo>
                  <a:pt x="2" y="3"/>
                  <a:pt x="2" y="3"/>
                  <a:pt x="2" y="4"/>
                </a:cubicBezTo>
                <a:cubicBezTo>
                  <a:pt x="2" y="4"/>
                  <a:pt x="3" y="4"/>
                  <a:pt x="3" y="5"/>
                </a:cubicBezTo>
                <a:cubicBezTo>
                  <a:pt x="3" y="5"/>
                  <a:pt x="2" y="5"/>
                  <a:pt x="2" y="6"/>
                </a:cubicBezTo>
                <a:cubicBezTo>
                  <a:pt x="2" y="6"/>
                  <a:pt x="1" y="7"/>
                  <a:pt x="1" y="7"/>
                </a:cubicBezTo>
                <a:cubicBezTo>
                  <a:pt x="0" y="7"/>
                  <a:pt x="2" y="9"/>
                  <a:pt x="2" y="9"/>
                </a:cubicBezTo>
                <a:cubicBezTo>
                  <a:pt x="2" y="9"/>
                  <a:pt x="2" y="10"/>
                  <a:pt x="3" y="11"/>
                </a:cubicBezTo>
                <a:cubicBezTo>
                  <a:pt x="5" y="12"/>
                  <a:pt x="4" y="12"/>
                  <a:pt x="6" y="14"/>
                </a:cubicBezTo>
                <a:cubicBezTo>
                  <a:pt x="6" y="13"/>
                  <a:pt x="6" y="13"/>
                  <a:pt x="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3"/>
          <p:cNvSpPr>
            <a:spLocks/>
          </p:cNvSpPr>
          <p:nvPr/>
        </p:nvSpPr>
        <p:spPr bwMode="auto">
          <a:xfrm>
            <a:off x="2301637" y="3257500"/>
            <a:ext cx="25024" cy="14299"/>
          </a:xfrm>
          <a:custGeom>
            <a:avLst/>
            <a:gdLst>
              <a:gd name="T0" fmla="*/ 4 w 5"/>
              <a:gd name="T1" fmla="*/ 3 h 3"/>
              <a:gd name="T2" fmla="*/ 5 w 5"/>
              <a:gd name="T3" fmla="*/ 0 h 3"/>
              <a:gd name="T4" fmla="*/ 4 w 5"/>
              <a:gd name="T5" fmla="*/ 0 h 3"/>
              <a:gd name="T6" fmla="*/ 1 w 5"/>
              <a:gd name="T7" fmla="*/ 0 h 3"/>
              <a:gd name="T8" fmla="*/ 1 w 5"/>
              <a:gd name="T9" fmla="*/ 0 h 3"/>
              <a:gd name="T10" fmla="*/ 0 w 5"/>
              <a:gd name="T11" fmla="*/ 2 h 3"/>
              <a:gd name="T12" fmla="*/ 0 w 5"/>
              <a:gd name="T13" fmla="*/ 2 h 3"/>
              <a:gd name="T14" fmla="*/ 0 w 5"/>
              <a:gd name="T15" fmla="*/ 3 h 3"/>
              <a:gd name="T16" fmla="*/ 1 w 5"/>
              <a:gd name="T17" fmla="*/ 3 h 3"/>
              <a:gd name="T18" fmla="*/ 4 w 5"/>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4" y="3"/>
                </a:moveTo>
                <a:cubicBezTo>
                  <a:pt x="4" y="3"/>
                  <a:pt x="5" y="2"/>
                  <a:pt x="5" y="0"/>
                </a:cubicBezTo>
                <a:cubicBezTo>
                  <a:pt x="4" y="0"/>
                  <a:pt x="4" y="0"/>
                  <a:pt x="4" y="0"/>
                </a:cubicBezTo>
                <a:cubicBezTo>
                  <a:pt x="1" y="0"/>
                  <a:pt x="1" y="0"/>
                  <a:pt x="1" y="0"/>
                </a:cubicBezTo>
                <a:cubicBezTo>
                  <a:pt x="1" y="0"/>
                  <a:pt x="1" y="0"/>
                  <a:pt x="1" y="0"/>
                </a:cubicBezTo>
                <a:cubicBezTo>
                  <a:pt x="1" y="1"/>
                  <a:pt x="1" y="1"/>
                  <a:pt x="0" y="2"/>
                </a:cubicBezTo>
                <a:cubicBezTo>
                  <a:pt x="0" y="2"/>
                  <a:pt x="0" y="2"/>
                  <a:pt x="0" y="2"/>
                </a:cubicBezTo>
                <a:cubicBezTo>
                  <a:pt x="1" y="3"/>
                  <a:pt x="1" y="3"/>
                  <a:pt x="0" y="3"/>
                </a:cubicBezTo>
                <a:cubicBezTo>
                  <a:pt x="1" y="3"/>
                  <a:pt x="1" y="3"/>
                  <a:pt x="1" y="3"/>
                </a:cubicBezTo>
                <a:cubicBezTo>
                  <a:pt x="2"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74"/>
          <p:cNvSpPr>
            <a:spLocks/>
          </p:cNvSpPr>
          <p:nvPr/>
        </p:nvSpPr>
        <p:spPr bwMode="auto">
          <a:xfrm>
            <a:off x="2323086" y="3243201"/>
            <a:ext cx="71497" cy="89371"/>
          </a:xfrm>
          <a:custGeom>
            <a:avLst/>
            <a:gdLst>
              <a:gd name="T0" fmla="*/ 4 w 15"/>
              <a:gd name="T1" fmla="*/ 18 h 19"/>
              <a:gd name="T2" fmla="*/ 5 w 15"/>
              <a:gd name="T3" fmla="*/ 18 h 19"/>
              <a:gd name="T4" fmla="*/ 7 w 15"/>
              <a:gd name="T5" fmla="*/ 18 h 19"/>
              <a:gd name="T6" fmla="*/ 8 w 15"/>
              <a:gd name="T7" fmla="*/ 18 h 19"/>
              <a:gd name="T8" fmla="*/ 9 w 15"/>
              <a:gd name="T9" fmla="*/ 17 h 19"/>
              <a:gd name="T10" fmla="*/ 10 w 15"/>
              <a:gd name="T11" fmla="*/ 15 h 19"/>
              <a:gd name="T12" fmla="*/ 10 w 15"/>
              <a:gd name="T13" fmla="*/ 12 h 19"/>
              <a:gd name="T14" fmla="*/ 12 w 15"/>
              <a:gd name="T15" fmla="*/ 9 h 19"/>
              <a:gd name="T16" fmla="*/ 14 w 15"/>
              <a:gd name="T17" fmla="*/ 5 h 19"/>
              <a:gd name="T18" fmla="*/ 15 w 15"/>
              <a:gd name="T19" fmla="*/ 2 h 19"/>
              <a:gd name="T20" fmla="*/ 15 w 15"/>
              <a:gd name="T21" fmla="*/ 0 h 19"/>
              <a:gd name="T22" fmla="*/ 15 w 15"/>
              <a:gd name="T23" fmla="*/ 0 h 19"/>
              <a:gd name="T24" fmla="*/ 13 w 15"/>
              <a:gd name="T25" fmla="*/ 0 h 19"/>
              <a:gd name="T26" fmla="*/ 12 w 15"/>
              <a:gd name="T27" fmla="*/ 0 h 19"/>
              <a:gd name="T28" fmla="*/ 11 w 15"/>
              <a:gd name="T29" fmla="*/ 0 h 19"/>
              <a:gd name="T30" fmla="*/ 11 w 15"/>
              <a:gd name="T31" fmla="*/ 2 h 19"/>
              <a:gd name="T32" fmla="*/ 10 w 15"/>
              <a:gd name="T33" fmla="*/ 4 h 19"/>
              <a:gd name="T34" fmla="*/ 7 w 15"/>
              <a:gd name="T35" fmla="*/ 3 h 19"/>
              <a:gd name="T36" fmla="*/ 4 w 15"/>
              <a:gd name="T37" fmla="*/ 3 h 19"/>
              <a:gd name="T38" fmla="*/ 4 w 15"/>
              <a:gd name="T39" fmla="*/ 5 h 19"/>
              <a:gd name="T40" fmla="*/ 6 w 15"/>
              <a:gd name="T41" fmla="*/ 5 h 19"/>
              <a:gd name="T42" fmla="*/ 6 w 15"/>
              <a:gd name="T43" fmla="*/ 7 h 19"/>
              <a:gd name="T44" fmla="*/ 6 w 15"/>
              <a:gd name="T45" fmla="*/ 9 h 19"/>
              <a:gd name="T46" fmla="*/ 7 w 15"/>
              <a:gd name="T47" fmla="*/ 11 h 19"/>
              <a:gd name="T48" fmla="*/ 6 w 15"/>
              <a:gd name="T49" fmla="*/ 14 h 19"/>
              <a:gd name="T50" fmla="*/ 5 w 15"/>
              <a:gd name="T51" fmla="*/ 13 h 19"/>
              <a:gd name="T52" fmla="*/ 3 w 15"/>
              <a:gd name="T53" fmla="*/ 12 h 19"/>
              <a:gd name="T54" fmla="*/ 2 w 15"/>
              <a:gd name="T55" fmla="*/ 13 h 19"/>
              <a:gd name="T56" fmla="*/ 1 w 15"/>
              <a:gd name="T57" fmla="*/ 14 h 19"/>
              <a:gd name="T58" fmla="*/ 1 w 15"/>
              <a:gd name="T59" fmla="*/ 16 h 19"/>
              <a:gd name="T60" fmla="*/ 0 w 15"/>
              <a:gd name="T61" fmla="*/ 17 h 19"/>
              <a:gd name="T62" fmla="*/ 0 w 15"/>
              <a:gd name="T63" fmla="*/ 17 h 19"/>
              <a:gd name="T64" fmla="*/ 2 w 15"/>
              <a:gd name="T65" fmla="*/ 19 h 19"/>
              <a:gd name="T66" fmla="*/ 4 w 15"/>
              <a:gd name="T6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9">
                <a:moveTo>
                  <a:pt x="4" y="18"/>
                </a:moveTo>
                <a:cubicBezTo>
                  <a:pt x="4" y="18"/>
                  <a:pt x="5" y="19"/>
                  <a:pt x="5" y="18"/>
                </a:cubicBezTo>
                <a:cubicBezTo>
                  <a:pt x="6" y="18"/>
                  <a:pt x="7" y="18"/>
                  <a:pt x="7" y="18"/>
                </a:cubicBezTo>
                <a:cubicBezTo>
                  <a:pt x="7" y="19"/>
                  <a:pt x="7" y="19"/>
                  <a:pt x="8" y="18"/>
                </a:cubicBezTo>
                <a:cubicBezTo>
                  <a:pt x="9" y="18"/>
                  <a:pt x="9" y="18"/>
                  <a:pt x="9" y="17"/>
                </a:cubicBezTo>
                <a:cubicBezTo>
                  <a:pt x="9" y="16"/>
                  <a:pt x="10" y="17"/>
                  <a:pt x="10" y="15"/>
                </a:cubicBezTo>
                <a:cubicBezTo>
                  <a:pt x="10" y="14"/>
                  <a:pt x="10" y="12"/>
                  <a:pt x="10" y="12"/>
                </a:cubicBezTo>
                <a:cubicBezTo>
                  <a:pt x="10" y="11"/>
                  <a:pt x="12" y="10"/>
                  <a:pt x="12" y="9"/>
                </a:cubicBezTo>
                <a:cubicBezTo>
                  <a:pt x="12" y="8"/>
                  <a:pt x="14" y="6"/>
                  <a:pt x="14" y="5"/>
                </a:cubicBezTo>
                <a:cubicBezTo>
                  <a:pt x="14" y="3"/>
                  <a:pt x="14" y="3"/>
                  <a:pt x="15" y="2"/>
                </a:cubicBezTo>
                <a:cubicBezTo>
                  <a:pt x="15" y="2"/>
                  <a:pt x="15" y="1"/>
                  <a:pt x="15" y="0"/>
                </a:cubicBezTo>
                <a:cubicBezTo>
                  <a:pt x="15" y="0"/>
                  <a:pt x="15" y="0"/>
                  <a:pt x="15" y="0"/>
                </a:cubicBezTo>
                <a:cubicBezTo>
                  <a:pt x="13" y="0"/>
                  <a:pt x="13" y="0"/>
                  <a:pt x="13" y="0"/>
                </a:cubicBezTo>
                <a:cubicBezTo>
                  <a:pt x="12" y="0"/>
                  <a:pt x="12" y="0"/>
                  <a:pt x="12" y="0"/>
                </a:cubicBezTo>
                <a:cubicBezTo>
                  <a:pt x="11" y="0"/>
                  <a:pt x="11" y="0"/>
                  <a:pt x="11" y="0"/>
                </a:cubicBezTo>
                <a:cubicBezTo>
                  <a:pt x="11" y="0"/>
                  <a:pt x="11" y="1"/>
                  <a:pt x="11" y="2"/>
                </a:cubicBezTo>
                <a:cubicBezTo>
                  <a:pt x="10" y="3"/>
                  <a:pt x="10" y="4"/>
                  <a:pt x="10" y="4"/>
                </a:cubicBezTo>
                <a:cubicBezTo>
                  <a:pt x="10" y="4"/>
                  <a:pt x="7" y="3"/>
                  <a:pt x="7" y="3"/>
                </a:cubicBezTo>
                <a:cubicBezTo>
                  <a:pt x="6" y="3"/>
                  <a:pt x="5" y="3"/>
                  <a:pt x="4" y="3"/>
                </a:cubicBezTo>
                <a:cubicBezTo>
                  <a:pt x="4" y="4"/>
                  <a:pt x="4" y="5"/>
                  <a:pt x="4" y="5"/>
                </a:cubicBezTo>
                <a:cubicBezTo>
                  <a:pt x="4" y="6"/>
                  <a:pt x="5" y="5"/>
                  <a:pt x="6" y="5"/>
                </a:cubicBezTo>
                <a:cubicBezTo>
                  <a:pt x="7" y="6"/>
                  <a:pt x="7" y="7"/>
                  <a:pt x="6" y="7"/>
                </a:cubicBezTo>
                <a:cubicBezTo>
                  <a:pt x="5" y="7"/>
                  <a:pt x="6" y="8"/>
                  <a:pt x="6" y="9"/>
                </a:cubicBezTo>
                <a:cubicBezTo>
                  <a:pt x="7" y="9"/>
                  <a:pt x="7" y="10"/>
                  <a:pt x="7" y="11"/>
                </a:cubicBezTo>
                <a:cubicBezTo>
                  <a:pt x="7" y="12"/>
                  <a:pt x="7" y="14"/>
                  <a:pt x="6" y="14"/>
                </a:cubicBezTo>
                <a:cubicBezTo>
                  <a:pt x="5" y="14"/>
                  <a:pt x="5" y="13"/>
                  <a:pt x="5" y="13"/>
                </a:cubicBezTo>
                <a:cubicBezTo>
                  <a:pt x="4" y="14"/>
                  <a:pt x="4" y="12"/>
                  <a:pt x="3" y="12"/>
                </a:cubicBezTo>
                <a:cubicBezTo>
                  <a:pt x="3" y="12"/>
                  <a:pt x="3" y="13"/>
                  <a:pt x="2" y="13"/>
                </a:cubicBezTo>
                <a:cubicBezTo>
                  <a:pt x="2" y="13"/>
                  <a:pt x="1" y="13"/>
                  <a:pt x="1" y="14"/>
                </a:cubicBezTo>
                <a:cubicBezTo>
                  <a:pt x="1" y="15"/>
                  <a:pt x="2" y="16"/>
                  <a:pt x="1" y="16"/>
                </a:cubicBezTo>
                <a:cubicBezTo>
                  <a:pt x="0" y="16"/>
                  <a:pt x="0" y="16"/>
                  <a:pt x="0" y="17"/>
                </a:cubicBezTo>
                <a:cubicBezTo>
                  <a:pt x="0" y="17"/>
                  <a:pt x="0" y="17"/>
                  <a:pt x="0" y="17"/>
                </a:cubicBezTo>
                <a:cubicBezTo>
                  <a:pt x="1" y="18"/>
                  <a:pt x="1" y="18"/>
                  <a:pt x="2" y="19"/>
                </a:cubicBezTo>
                <a:cubicBezTo>
                  <a:pt x="3" y="19"/>
                  <a:pt x="4" y="18"/>
                  <a:pt x="4"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75"/>
          <p:cNvSpPr>
            <a:spLocks/>
          </p:cNvSpPr>
          <p:nvPr/>
        </p:nvSpPr>
        <p:spPr bwMode="auto">
          <a:xfrm>
            <a:off x="2426756" y="3025135"/>
            <a:ext cx="178742" cy="218066"/>
          </a:xfrm>
          <a:custGeom>
            <a:avLst/>
            <a:gdLst>
              <a:gd name="T0" fmla="*/ 28 w 37"/>
              <a:gd name="T1" fmla="*/ 2 h 45"/>
              <a:gd name="T2" fmla="*/ 25 w 37"/>
              <a:gd name="T3" fmla="*/ 3 h 45"/>
              <a:gd name="T4" fmla="*/ 21 w 37"/>
              <a:gd name="T5" fmla="*/ 2 h 45"/>
              <a:gd name="T6" fmla="*/ 7 w 37"/>
              <a:gd name="T7" fmla="*/ 3 h 45"/>
              <a:gd name="T8" fmla="*/ 5 w 37"/>
              <a:gd name="T9" fmla="*/ 8 h 45"/>
              <a:gd name="T10" fmla="*/ 5 w 37"/>
              <a:gd name="T11" fmla="*/ 17 h 45"/>
              <a:gd name="T12" fmla="*/ 2 w 37"/>
              <a:gd name="T13" fmla="*/ 20 h 45"/>
              <a:gd name="T14" fmla="*/ 1 w 37"/>
              <a:gd name="T15" fmla="*/ 23 h 45"/>
              <a:gd name="T16" fmla="*/ 2 w 37"/>
              <a:gd name="T17" fmla="*/ 26 h 45"/>
              <a:gd name="T18" fmla="*/ 2 w 37"/>
              <a:gd name="T19" fmla="*/ 28 h 45"/>
              <a:gd name="T20" fmla="*/ 4 w 37"/>
              <a:gd name="T21" fmla="*/ 32 h 45"/>
              <a:gd name="T22" fmla="*/ 5 w 37"/>
              <a:gd name="T23" fmla="*/ 33 h 45"/>
              <a:gd name="T24" fmla="*/ 7 w 37"/>
              <a:gd name="T25" fmla="*/ 35 h 45"/>
              <a:gd name="T26" fmla="*/ 9 w 37"/>
              <a:gd name="T27" fmla="*/ 37 h 45"/>
              <a:gd name="T28" fmla="*/ 11 w 37"/>
              <a:gd name="T29" fmla="*/ 40 h 45"/>
              <a:gd name="T30" fmla="*/ 13 w 37"/>
              <a:gd name="T31" fmla="*/ 42 h 45"/>
              <a:gd name="T32" fmla="*/ 15 w 37"/>
              <a:gd name="T33" fmla="*/ 43 h 45"/>
              <a:gd name="T34" fmla="*/ 17 w 37"/>
              <a:gd name="T35" fmla="*/ 43 h 45"/>
              <a:gd name="T36" fmla="*/ 21 w 37"/>
              <a:gd name="T37" fmla="*/ 44 h 45"/>
              <a:gd name="T38" fmla="*/ 24 w 37"/>
              <a:gd name="T39" fmla="*/ 44 h 45"/>
              <a:gd name="T40" fmla="*/ 27 w 37"/>
              <a:gd name="T41" fmla="*/ 44 h 45"/>
              <a:gd name="T42" fmla="*/ 29 w 37"/>
              <a:gd name="T43" fmla="*/ 42 h 45"/>
              <a:gd name="T44" fmla="*/ 30 w 37"/>
              <a:gd name="T45" fmla="*/ 42 h 45"/>
              <a:gd name="T46" fmla="*/ 28 w 37"/>
              <a:gd name="T47" fmla="*/ 39 h 45"/>
              <a:gd name="T48" fmla="*/ 24 w 37"/>
              <a:gd name="T49" fmla="*/ 35 h 45"/>
              <a:gd name="T50" fmla="*/ 27 w 37"/>
              <a:gd name="T51" fmla="*/ 34 h 45"/>
              <a:gd name="T52" fmla="*/ 28 w 37"/>
              <a:gd name="T53" fmla="*/ 29 h 45"/>
              <a:gd name="T54" fmla="*/ 29 w 37"/>
              <a:gd name="T55" fmla="*/ 26 h 45"/>
              <a:gd name="T56" fmla="*/ 32 w 37"/>
              <a:gd name="T57" fmla="*/ 23 h 45"/>
              <a:gd name="T58" fmla="*/ 33 w 37"/>
              <a:gd name="T59" fmla="*/ 18 h 45"/>
              <a:gd name="T60" fmla="*/ 35 w 37"/>
              <a:gd name="T61" fmla="*/ 14 h 45"/>
              <a:gd name="T62" fmla="*/ 35 w 37"/>
              <a:gd name="T63" fmla="*/ 11 h 45"/>
              <a:gd name="T64" fmla="*/ 34 w 37"/>
              <a:gd name="T65" fmla="*/ 4 h 45"/>
              <a:gd name="T66" fmla="*/ 30 w 37"/>
              <a:gd name="T67" fmla="*/ 0 h 45"/>
              <a:gd name="T68" fmla="*/ 29 w 37"/>
              <a:gd name="T69"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45">
                <a:moveTo>
                  <a:pt x="29" y="1"/>
                </a:moveTo>
                <a:cubicBezTo>
                  <a:pt x="28" y="1"/>
                  <a:pt x="29" y="2"/>
                  <a:pt x="28" y="2"/>
                </a:cubicBezTo>
                <a:cubicBezTo>
                  <a:pt x="27" y="2"/>
                  <a:pt x="27" y="3"/>
                  <a:pt x="26" y="3"/>
                </a:cubicBezTo>
                <a:cubicBezTo>
                  <a:pt x="26" y="3"/>
                  <a:pt x="25" y="3"/>
                  <a:pt x="25" y="3"/>
                </a:cubicBezTo>
                <a:cubicBezTo>
                  <a:pt x="22" y="3"/>
                  <a:pt x="22" y="3"/>
                  <a:pt x="22" y="3"/>
                </a:cubicBezTo>
                <a:cubicBezTo>
                  <a:pt x="22" y="3"/>
                  <a:pt x="22" y="2"/>
                  <a:pt x="21" y="2"/>
                </a:cubicBezTo>
                <a:cubicBezTo>
                  <a:pt x="21" y="3"/>
                  <a:pt x="20" y="3"/>
                  <a:pt x="20" y="3"/>
                </a:cubicBezTo>
                <a:cubicBezTo>
                  <a:pt x="7" y="3"/>
                  <a:pt x="7" y="3"/>
                  <a:pt x="7" y="3"/>
                </a:cubicBezTo>
                <a:cubicBezTo>
                  <a:pt x="7" y="8"/>
                  <a:pt x="7" y="8"/>
                  <a:pt x="7" y="8"/>
                </a:cubicBezTo>
                <a:cubicBezTo>
                  <a:pt x="5" y="8"/>
                  <a:pt x="5" y="8"/>
                  <a:pt x="5" y="8"/>
                </a:cubicBezTo>
                <a:cubicBezTo>
                  <a:pt x="5" y="15"/>
                  <a:pt x="5" y="15"/>
                  <a:pt x="5" y="15"/>
                </a:cubicBezTo>
                <a:cubicBezTo>
                  <a:pt x="5" y="15"/>
                  <a:pt x="5" y="17"/>
                  <a:pt x="5" y="17"/>
                </a:cubicBezTo>
                <a:cubicBezTo>
                  <a:pt x="4" y="17"/>
                  <a:pt x="3" y="18"/>
                  <a:pt x="3" y="18"/>
                </a:cubicBezTo>
                <a:cubicBezTo>
                  <a:pt x="3" y="19"/>
                  <a:pt x="3" y="20"/>
                  <a:pt x="2" y="20"/>
                </a:cubicBezTo>
                <a:cubicBezTo>
                  <a:pt x="1" y="20"/>
                  <a:pt x="2" y="21"/>
                  <a:pt x="1" y="21"/>
                </a:cubicBezTo>
                <a:cubicBezTo>
                  <a:pt x="0" y="21"/>
                  <a:pt x="1" y="22"/>
                  <a:pt x="1" y="23"/>
                </a:cubicBezTo>
                <a:cubicBezTo>
                  <a:pt x="0" y="24"/>
                  <a:pt x="0" y="24"/>
                  <a:pt x="1" y="24"/>
                </a:cubicBezTo>
                <a:cubicBezTo>
                  <a:pt x="2" y="24"/>
                  <a:pt x="2" y="25"/>
                  <a:pt x="2" y="26"/>
                </a:cubicBezTo>
                <a:cubicBezTo>
                  <a:pt x="2" y="27"/>
                  <a:pt x="3" y="27"/>
                  <a:pt x="3" y="27"/>
                </a:cubicBezTo>
                <a:cubicBezTo>
                  <a:pt x="2" y="28"/>
                  <a:pt x="2" y="28"/>
                  <a:pt x="2" y="28"/>
                </a:cubicBezTo>
                <a:cubicBezTo>
                  <a:pt x="2" y="28"/>
                  <a:pt x="4" y="30"/>
                  <a:pt x="4" y="30"/>
                </a:cubicBezTo>
                <a:cubicBezTo>
                  <a:pt x="4" y="31"/>
                  <a:pt x="5" y="32"/>
                  <a:pt x="4" y="32"/>
                </a:cubicBezTo>
                <a:cubicBezTo>
                  <a:pt x="3" y="33"/>
                  <a:pt x="4" y="33"/>
                  <a:pt x="4" y="33"/>
                </a:cubicBezTo>
                <a:cubicBezTo>
                  <a:pt x="5" y="33"/>
                  <a:pt x="5" y="33"/>
                  <a:pt x="5" y="33"/>
                </a:cubicBezTo>
                <a:cubicBezTo>
                  <a:pt x="5" y="34"/>
                  <a:pt x="5" y="34"/>
                  <a:pt x="5" y="34"/>
                </a:cubicBezTo>
                <a:cubicBezTo>
                  <a:pt x="5" y="34"/>
                  <a:pt x="6" y="34"/>
                  <a:pt x="7" y="35"/>
                </a:cubicBezTo>
                <a:cubicBezTo>
                  <a:pt x="8" y="36"/>
                  <a:pt x="8" y="36"/>
                  <a:pt x="8" y="36"/>
                </a:cubicBezTo>
                <a:cubicBezTo>
                  <a:pt x="8" y="37"/>
                  <a:pt x="8" y="37"/>
                  <a:pt x="9" y="37"/>
                </a:cubicBezTo>
                <a:cubicBezTo>
                  <a:pt x="10" y="38"/>
                  <a:pt x="10" y="38"/>
                  <a:pt x="10" y="39"/>
                </a:cubicBezTo>
                <a:cubicBezTo>
                  <a:pt x="10" y="39"/>
                  <a:pt x="11" y="40"/>
                  <a:pt x="11" y="40"/>
                </a:cubicBezTo>
                <a:cubicBezTo>
                  <a:pt x="12" y="41"/>
                  <a:pt x="12" y="41"/>
                  <a:pt x="12" y="41"/>
                </a:cubicBezTo>
                <a:cubicBezTo>
                  <a:pt x="12" y="41"/>
                  <a:pt x="12" y="41"/>
                  <a:pt x="13" y="42"/>
                </a:cubicBezTo>
                <a:cubicBezTo>
                  <a:pt x="13" y="42"/>
                  <a:pt x="14" y="43"/>
                  <a:pt x="14" y="43"/>
                </a:cubicBezTo>
                <a:cubicBezTo>
                  <a:pt x="14" y="43"/>
                  <a:pt x="14" y="43"/>
                  <a:pt x="15" y="43"/>
                </a:cubicBezTo>
                <a:cubicBezTo>
                  <a:pt x="15" y="42"/>
                  <a:pt x="16" y="43"/>
                  <a:pt x="16" y="43"/>
                </a:cubicBezTo>
                <a:cubicBezTo>
                  <a:pt x="16" y="43"/>
                  <a:pt x="17" y="42"/>
                  <a:pt x="17" y="43"/>
                </a:cubicBezTo>
                <a:cubicBezTo>
                  <a:pt x="18" y="43"/>
                  <a:pt x="19" y="44"/>
                  <a:pt x="20" y="45"/>
                </a:cubicBezTo>
                <a:cubicBezTo>
                  <a:pt x="20" y="45"/>
                  <a:pt x="21" y="44"/>
                  <a:pt x="21" y="44"/>
                </a:cubicBezTo>
                <a:cubicBezTo>
                  <a:pt x="22" y="44"/>
                  <a:pt x="23" y="45"/>
                  <a:pt x="23" y="45"/>
                </a:cubicBezTo>
                <a:cubicBezTo>
                  <a:pt x="23" y="45"/>
                  <a:pt x="24" y="44"/>
                  <a:pt x="24" y="44"/>
                </a:cubicBezTo>
                <a:cubicBezTo>
                  <a:pt x="25" y="45"/>
                  <a:pt x="26" y="45"/>
                  <a:pt x="26" y="44"/>
                </a:cubicBezTo>
                <a:cubicBezTo>
                  <a:pt x="26" y="44"/>
                  <a:pt x="26" y="44"/>
                  <a:pt x="27" y="44"/>
                </a:cubicBezTo>
                <a:cubicBezTo>
                  <a:pt x="27" y="43"/>
                  <a:pt x="27" y="43"/>
                  <a:pt x="27" y="43"/>
                </a:cubicBezTo>
                <a:cubicBezTo>
                  <a:pt x="27" y="43"/>
                  <a:pt x="28" y="42"/>
                  <a:pt x="29" y="42"/>
                </a:cubicBezTo>
                <a:cubicBezTo>
                  <a:pt x="29" y="42"/>
                  <a:pt x="30" y="42"/>
                  <a:pt x="30" y="42"/>
                </a:cubicBezTo>
                <a:cubicBezTo>
                  <a:pt x="30" y="42"/>
                  <a:pt x="30" y="42"/>
                  <a:pt x="30" y="42"/>
                </a:cubicBezTo>
                <a:cubicBezTo>
                  <a:pt x="31" y="41"/>
                  <a:pt x="31" y="41"/>
                  <a:pt x="30" y="41"/>
                </a:cubicBezTo>
                <a:cubicBezTo>
                  <a:pt x="30" y="41"/>
                  <a:pt x="29" y="40"/>
                  <a:pt x="28" y="39"/>
                </a:cubicBezTo>
                <a:cubicBezTo>
                  <a:pt x="28" y="38"/>
                  <a:pt x="27" y="37"/>
                  <a:pt x="27" y="36"/>
                </a:cubicBezTo>
                <a:cubicBezTo>
                  <a:pt x="26" y="36"/>
                  <a:pt x="25" y="36"/>
                  <a:pt x="24" y="35"/>
                </a:cubicBezTo>
                <a:cubicBezTo>
                  <a:pt x="24" y="35"/>
                  <a:pt x="25" y="35"/>
                  <a:pt x="25" y="34"/>
                </a:cubicBezTo>
                <a:cubicBezTo>
                  <a:pt x="25" y="33"/>
                  <a:pt x="27" y="34"/>
                  <a:pt x="27" y="34"/>
                </a:cubicBezTo>
                <a:cubicBezTo>
                  <a:pt x="27" y="34"/>
                  <a:pt x="27" y="32"/>
                  <a:pt x="27" y="31"/>
                </a:cubicBezTo>
                <a:cubicBezTo>
                  <a:pt x="27" y="30"/>
                  <a:pt x="28" y="30"/>
                  <a:pt x="28" y="29"/>
                </a:cubicBezTo>
                <a:cubicBezTo>
                  <a:pt x="27" y="29"/>
                  <a:pt x="28" y="29"/>
                  <a:pt x="29" y="28"/>
                </a:cubicBezTo>
                <a:cubicBezTo>
                  <a:pt x="29" y="28"/>
                  <a:pt x="29" y="27"/>
                  <a:pt x="29" y="26"/>
                </a:cubicBezTo>
                <a:cubicBezTo>
                  <a:pt x="30" y="26"/>
                  <a:pt x="30" y="24"/>
                  <a:pt x="31" y="24"/>
                </a:cubicBezTo>
                <a:cubicBezTo>
                  <a:pt x="31" y="24"/>
                  <a:pt x="32" y="24"/>
                  <a:pt x="32" y="23"/>
                </a:cubicBezTo>
                <a:cubicBezTo>
                  <a:pt x="32" y="23"/>
                  <a:pt x="33" y="22"/>
                  <a:pt x="32" y="21"/>
                </a:cubicBezTo>
                <a:cubicBezTo>
                  <a:pt x="32" y="20"/>
                  <a:pt x="32" y="19"/>
                  <a:pt x="33" y="18"/>
                </a:cubicBezTo>
                <a:cubicBezTo>
                  <a:pt x="33" y="17"/>
                  <a:pt x="33" y="16"/>
                  <a:pt x="33" y="16"/>
                </a:cubicBezTo>
                <a:cubicBezTo>
                  <a:pt x="33" y="15"/>
                  <a:pt x="34" y="15"/>
                  <a:pt x="35" y="14"/>
                </a:cubicBezTo>
                <a:cubicBezTo>
                  <a:pt x="35" y="14"/>
                  <a:pt x="36" y="14"/>
                  <a:pt x="37" y="12"/>
                </a:cubicBezTo>
                <a:cubicBezTo>
                  <a:pt x="36" y="12"/>
                  <a:pt x="36" y="11"/>
                  <a:pt x="35" y="11"/>
                </a:cubicBezTo>
                <a:cubicBezTo>
                  <a:pt x="35" y="11"/>
                  <a:pt x="34" y="9"/>
                  <a:pt x="34" y="8"/>
                </a:cubicBezTo>
                <a:cubicBezTo>
                  <a:pt x="34" y="6"/>
                  <a:pt x="34" y="5"/>
                  <a:pt x="34" y="4"/>
                </a:cubicBezTo>
                <a:cubicBezTo>
                  <a:pt x="33" y="3"/>
                  <a:pt x="33" y="2"/>
                  <a:pt x="32" y="2"/>
                </a:cubicBezTo>
                <a:cubicBezTo>
                  <a:pt x="31" y="1"/>
                  <a:pt x="30" y="1"/>
                  <a:pt x="30" y="0"/>
                </a:cubicBezTo>
                <a:cubicBezTo>
                  <a:pt x="30" y="0"/>
                  <a:pt x="30" y="0"/>
                  <a:pt x="30" y="0"/>
                </a:cubicBezTo>
                <a:cubicBezTo>
                  <a:pt x="30" y="1"/>
                  <a:pt x="30" y="1"/>
                  <a:pt x="2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76"/>
          <p:cNvSpPr>
            <a:spLocks/>
          </p:cNvSpPr>
          <p:nvPr/>
        </p:nvSpPr>
        <p:spPr bwMode="auto">
          <a:xfrm>
            <a:off x="2641247" y="3146680"/>
            <a:ext cx="17874" cy="17874"/>
          </a:xfrm>
          <a:custGeom>
            <a:avLst/>
            <a:gdLst>
              <a:gd name="T0" fmla="*/ 1 w 4"/>
              <a:gd name="T1" fmla="*/ 0 h 4"/>
              <a:gd name="T2" fmla="*/ 0 w 4"/>
              <a:gd name="T3" fmla="*/ 2 h 4"/>
              <a:gd name="T4" fmla="*/ 0 w 4"/>
              <a:gd name="T5" fmla="*/ 3 h 4"/>
              <a:gd name="T6" fmla="*/ 1 w 4"/>
              <a:gd name="T7" fmla="*/ 3 h 4"/>
              <a:gd name="T8" fmla="*/ 2 w 4"/>
              <a:gd name="T9" fmla="*/ 4 h 4"/>
              <a:gd name="T10" fmla="*/ 3 w 4"/>
              <a:gd name="T11" fmla="*/ 3 h 4"/>
              <a:gd name="T12" fmla="*/ 2 w 4"/>
              <a:gd name="T13" fmla="*/ 2 h 4"/>
              <a:gd name="T14" fmla="*/ 3 w 4"/>
              <a:gd name="T15" fmla="*/ 1 h 4"/>
              <a:gd name="T16" fmla="*/ 3 w 4"/>
              <a:gd name="T17" fmla="*/ 0 h 4"/>
              <a:gd name="T18" fmla="*/ 3 w 4"/>
              <a:gd name="T19" fmla="*/ 0 h 4"/>
              <a:gd name="T20" fmla="*/ 2 w 4"/>
              <a:gd name="T21" fmla="*/ 0 h 4"/>
              <a:gd name="T22" fmla="*/ 1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1" y="0"/>
                </a:moveTo>
                <a:cubicBezTo>
                  <a:pt x="1" y="0"/>
                  <a:pt x="1" y="1"/>
                  <a:pt x="0" y="2"/>
                </a:cubicBezTo>
                <a:cubicBezTo>
                  <a:pt x="0" y="2"/>
                  <a:pt x="0" y="3"/>
                  <a:pt x="0" y="3"/>
                </a:cubicBezTo>
                <a:cubicBezTo>
                  <a:pt x="0" y="4"/>
                  <a:pt x="1" y="4"/>
                  <a:pt x="1" y="3"/>
                </a:cubicBezTo>
                <a:cubicBezTo>
                  <a:pt x="2" y="3"/>
                  <a:pt x="2" y="3"/>
                  <a:pt x="2" y="4"/>
                </a:cubicBezTo>
                <a:cubicBezTo>
                  <a:pt x="3" y="3"/>
                  <a:pt x="3" y="3"/>
                  <a:pt x="3" y="3"/>
                </a:cubicBezTo>
                <a:cubicBezTo>
                  <a:pt x="3" y="2"/>
                  <a:pt x="2" y="2"/>
                  <a:pt x="2" y="2"/>
                </a:cubicBezTo>
                <a:cubicBezTo>
                  <a:pt x="2" y="2"/>
                  <a:pt x="3" y="1"/>
                  <a:pt x="3" y="1"/>
                </a:cubicBezTo>
                <a:cubicBezTo>
                  <a:pt x="4" y="1"/>
                  <a:pt x="4" y="0"/>
                  <a:pt x="3" y="0"/>
                </a:cubicBezTo>
                <a:cubicBezTo>
                  <a:pt x="3" y="0"/>
                  <a:pt x="3" y="0"/>
                  <a:pt x="3" y="0"/>
                </a:cubicBezTo>
                <a:cubicBezTo>
                  <a:pt x="3" y="0"/>
                  <a:pt x="2" y="0"/>
                  <a:pt x="2" y="0"/>
                </a:cubicBezTo>
                <a:cubicBezTo>
                  <a:pt x="2" y="0"/>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77"/>
          <p:cNvSpPr>
            <a:spLocks/>
          </p:cNvSpPr>
          <p:nvPr/>
        </p:nvSpPr>
        <p:spPr bwMode="auto">
          <a:xfrm>
            <a:off x="2580475" y="3082333"/>
            <a:ext cx="75072" cy="64347"/>
          </a:xfrm>
          <a:custGeom>
            <a:avLst/>
            <a:gdLst>
              <a:gd name="T0" fmla="*/ 3 w 15"/>
              <a:gd name="T1" fmla="*/ 2 h 13"/>
              <a:gd name="T2" fmla="*/ 1 w 15"/>
              <a:gd name="T3" fmla="*/ 4 h 13"/>
              <a:gd name="T4" fmla="*/ 1 w 15"/>
              <a:gd name="T5" fmla="*/ 6 h 13"/>
              <a:gd name="T6" fmla="*/ 0 w 15"/>
              <a:gd name="T7" fmla="*/ 9 h 13"/>
              <a:gd name="T8" fmla="*/ 2 w 15"/>
              <a:gd name="T9" fmla="*/ 9 h 13"/>
              <a:gd name="T10" fmla="*/ 3 w 15"/>
              <a:gd name="T11" fmla="*/ 8 h 13"/>
              <a:gd name="T12" fmla="*/ 4 w 15"/>
              <a:gd name="T13" fmla="*/ 8 h 13"/>
              <a:gd name="T14" fmla="*/ 5 w 15"/>
              <a:gd name="T15" fmla="*/ 8 h 13"/>
              <a:gd name="T16" fmla="*/ 6 w 15"/>
              <a:gd name="T17" fmla="*/ 8 h 13"/>
              <a:gd name="T18" fmla="*/ 9 w 15"/>
              <a:gd name="T19" fmla="*/ 8 h 13"/>
              <a:gd name="T20" fmla="*/ 13 w 15"/>
              <a:gd name="T21" fmla="*/ 13 h 13"/>
              <a:gd name="T22" fmla="*/ 13 w 15"/>
              <a:gd name="T23" fmla="*/ 13 h 13"/>
              <a:gd name="T24" fmla="*/ 14 w 15"/>
              <a:gd name="T25" fmla="*/ 13 h 13"/>
              <a:gd name="T26" fmla="*/ 15 w 15"/>
              <a:gd name="T27" fmla="*/ 12 h 13"/>
              <a:gd name="T28" fmla="*/ 12 w 15"/>
              <a:gd name="T29" fmla="*/ 10 h 13"/>
              <a:gd name="T30" fmla="*/ 9 w 15"/>
              <a:gd name="T31" fmla="*/ 7 h 13"/>
              <a:gd name="T32" fmla="*/ 8 w 15"/>
              <a:gd name="T33" fmla="*/ 6 h 13"/>
              <a:gd name="T34" fmla="*/ 6 w 15"/>
              <a:gd name="T35" fmla="*/ 3 h 13"/>
              <a:gd name="T36" fmla="*/ 5 w 15"/>
              <a:gd name="T37" fmla="*/ 0 h 13"/>
              <a:gd name="T38" fmla="*/ 3 w 15"/>
              <a:gd name="T39"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3" y="2"/>
                </a:moveTo>
                <a:cubicBezTo>
                  <a:pt x="2" y="3"/>
                  <a:pt x="1" y="3"/>
                  <a:pt x="1" y="4"/>
                </a:cubicBezTo>
                <a:cubicBezTo>
                  <a:pt x="1" y="4"/>
                  <a:pt x="1" y="5"/>
                  <a:pt x="1" y="6"/>
                </a:cubicBezTo>
                <a:cubicBezTo>
                  <a:pt x="0" y="7"/>
                  <a:pt x="0" y="8"/>
                  <a:pt x="0" y="9"/>
                </a:cubicBezTo>
                <a:cubicBezTo>
                  <a:pt x="1" y="9"/>
                  <a:pt x="2" y="9"/>
                  <a:pt x="2" y="9"/>
                </a:cubicBezTo>
                <a:cubicBezTo>
                  <a:pt x="3" y="9"/>
                  <a:pt x="3" y="9"/>
                  <a:pt x="3" y="8"/>
                </a:cubicBezTo>
                <a:cubicBezTo>
                  <a:pt x="3" y="7"/>
                  <a:pt x="4" y="8"/>
                  <a:pt x="4" y="8"/>
                </a:cubicBezTo>
                <a:cubicBezTo>
                  <a:pt x="4" y="8"/>
                  <a:pt x="5" y="9"/>
                  <a:pt x="5" y="8"/>
                </a:cubicBezTo>
                <a:cubicBezTo>
                  <a:pt x="6" y="8"/>
                  <a:pt x="6" y="8"/>
                  <a:pt x="6" y="8"/>
                </a:cubicBezTo>
                <a:cubicBezTo>
                  <a:pt x="7" y="9"/>
                  <a:pt x="8" y="8"/>
                  <a:pt x="9" y="8"/>
                </a:cubicBezTo>
                <a:cubicBezTo>
                  <a:pt x="9" y="8"/>
                  <a:pt x="13" y="13"/>
                  <a:pt x="13" y="13"/>
                </a:cubicBezTo>
                <a:cubicBezTo>
                  <a:pt x="13" y="13"/>
                  <a:pt x="13" y="13"/>
                  <a:pt x="13" y="13"/>
                </a:cubicBezTo>
                <a:cubicBezTo>
                  <a:pt x="14" y="13"/>
                  <a:pt x="14" y="13"/>
                  <a:pt x="14" y="13"/>
                </a:cubicBezTo>
                <a:cubicBezTo>
                  <a:pt x="14" y="13"/>
                  <a:pt x="15" y="13"/>
                  <a:pt x="15" y="12"/>
                </a:cubicBezTo>
                <a:cubicBezTo>
                  <a:pt x="14" y="12"/>
                  <a:pt x="14" y="11"/>
                  <a:pt x="12" y="10"/>
                </a:cubicBezTo>
                <a:cubicBezTo>
                  <a:pt x="11" y="8"/>
                  <a:pt x="10" y="7"/>
                  <a:pt x="9" y="7"/>
                </a:cubicBezTo>
                <a:cubicBezTo>
                  <a:pt x="8" y="7"/>
                  <a:pt x="8" y="6"/>
                  <a:pt x="8" y="6"/>
                </a:cubicBezTo>
                <a:cubicBezTo>
                  <a:pt x="7" y="6"/>
                  <a:pt x="6" y="4"/>
                  <a:pt x="6" y="3"/>
                </a:cubicBezTo>
                <a:cubicBezTo>
                  <a:pt x="6" y="2"/>
                  <a:pt x="5" y="1"/>
                  <a:pt x="5" y="0"/>
                </a:cubicBezTo>
                <a:cubicBezTo>
                  <a:pt x="4" y="2"/>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78"/>
          <p:cNvSpPr>
            <a:spLocks/>
          </p:cNvSpPr>
          <p:nvPr/>
        </p:nvSpPr>
        <p:spPr bwMode="auto">
          <a:xfrm>
            <a:off x="2544726" y="3114506"/>
            <a:ext cx="160868" cy="128695"/>
          </a:xfrm>
          <a:custGeom>
            <a:avLst/>
            <a:gdLst>
              <a:gd name="T0" fmla="*/ 3 w 34"/>
              <a:gd name="T1" fmla="*/ 17 h 26"/>
              <a:gd name="T2" fmla="*/ 4 w 34"/>
              <a:gd name="T3" fmla="*/ 20 h 26"/>
              <a:gd name="T4" fmla="*/ 6 w 34"/>
              <a:gd name="T5" fmla="*/ 22 h 26"/>
              <a:gd name="T6" fmla="*/ 6 w 34"/>
              <a:gd name="T7" fmla="*/ 23 h 26"/>
              <a:gd name="T8" fmla="*/ 7 w 34"/>
              <a:gd name="T9" fmla="*/ 24 h 26"/>
              <a:gd name="T10" fmla="*/ 9 w 34"/>
              <a:gd name="T11" fmla="*/ 24 h 26"/>
              <a:gd name="T12" fmla="*/ 12 w 34"/>
              <a:gd name="T13" fmla="*/ 26 h 26"/>
              <a:gd name="T14" fmla="*/ 15 w 34"/>
              <a:gd name="T15" fmla="*/ 26 h 26"/>
              <a:gd name="T16" fmla="*/ 16 w 34"/>
              <a:gd name="T17" fmla="*/ 25 h 26"/>
              <a:gd name="T18" fmla="*/ 18 w 34"/>
              <a:gd name="T19" fmla="*/ 25 h 26"/>
              <a:gd name="T20" fmla="*/ 19 w 34"/>
              <a:gd name="T21" fmla="*/ 25 h 26"/>
              <a:gd name="T22" fmla="*/ 20 w 34"/>
              <a:gd name="T23" fmla="*/ 25 h 26"/>
              <a:gd name="T24" fmla="*/ 22 w 34"/>
              <a:gd name="T25" fmla="*/ 24 h 26"/>
              <a:gd name="T26" fmla="*/ 25 w 34"/>
              <a:gd name="T27" fmla="*/ 23 h 26"/>
              <a:gd name="T28" fmla="*/ 27 w 34"/>
              <a:gd name="T29" fmla="*/ 22 h 26"/>
              <a:gd name="T30" fmla="*/ 33 w 34"/>
              <a:gd name="T31" fmla="*/ 17 h 26"/>
              <a:gd name="T32" fmla="*/ 32 w 34"/>
              <a:gd name="T33" fmla="*/ 16 h 26"/>
              <a:gd name="T34" fmla="*/ 29 w 34"/>
              <a:gd name="T35" fmla="*/ 15 h 26"/>
              <a:gd name="T36" fmla="*/ 25 w 34"/>
              <a:gd name="T37" fmla="*/ 14 h 26"/>
              <a:gd name="T38" fmla="*/ 23 w 34"/>
              <a:gd name="T39" fmla="*/ 13 h 26"/>
              <a:gd name="T40" fmla="*/ 22 w 34"/>
              <a:gd name="T41" fmla="*/ 11 h 26"/>
              <a:gd name="T42" fmla="*/ 22 w 34"/>
              <a:gd name="T43" fmla="*/ 10 h 26"/>
              <a:gd name="T44" fmla="*/ 21 w 34"/>
              <a:gd name="T45" fmla="*/ 9 h 26"/>
              <a:gd name="T46" fmla="*/ 20 w 34"/>
              <a:gd name="T47" fmla="*/ 9 h 26"/>
              <a:gd name="T48" fmla="*/ 20 w 34"/>
              <a:gd name="T49" fmla="*/ 8 h 26"/>
              <a:gd name="T50" fmla="*/ 21 w 34"/>
              <a:gd name="T51" fmla="*/ 6 h 26"/>
              <a:gd name="T52" fmla="*/ 17 w 34"/>
              <a:gd name="T53" fmla="*/ 1 h 26"/>
              <a:gd name="T54" fmla="*/ 14 w 34"/>
              <a:gd name="T55" fmla="*/ 1 h 26"/>
              <a:gd name="T56" fmla="*/ 13 w 34"/>
              <a:gd name="T57" fmla="*/ 1 h 26"/>
              <a:gd name="T58" fmla="*/ 12 w 34"/>
              <a:gd name="T59" fmla="*/ 1 h 26"/>
              <a:gd name="T60" fmla="*/ 11 w 34"/>
              <a:gd name="T61" fmla="*/ 1 h 26"/>
              <a:gd name="T62" fmla="*/ 10 w 34"/>
              <a:gd name="T63" fmla="*/ 2 h 26"/>
              <a:gd name="T64" fmla="*/ 8 w 34"/>
              <a:gd name="T65" fmla="*/ 2 h 26"/>
              <a:gd name="T66" fmla="*/ 8 w 34"/>
              <a:gd name="T67" fmla="*/ 2 h 26"/>
              <a:gd name="T68" fmla="*/ 8 w 34"/>
              <a:gd name="T69" fmla="*/ 4 h 26"/>
              <a:gd name="T70" fmla="*/ 7 w 34"/>
              <a:gd name="T71" fmla="*/ 5 h 26"/>
              <a:gd name="T72" fmla="*/ 5 w 34"/>
              <a:gd name="T73" fmla="*/ 7 h 26"/>
              <a:gd name="T74" fmla="*/ 5 w 34"/>
              <a:gd name="T75" fmla="*/ 9 h 26"/>
              <a:gd name="T76" fmla="*/ 4 w 34"/>
              <a:gd name="T77" fmla="*/ 10 h 26"/>
              <a:gd name="T78" fmla="*/ 3 w 34"/>
              <a:gd name="T79" fmla="*/ 12 h 26"/>
              <a:gd name="T80" fmla="*/ 3 w 34"/>
              <a:gd name="T81" fmla="*/ 15 h 26"/>
              <a:gd name="T82" fmla="*/ 1 w 34"/>
              <a:gd name="T83" fmla="*/ 15 h 26"/>
              <a:gd name="T84" fmla="*/ 0 w 34"/>
              <a:gd name="T85" fmla="*/ 16 h 26"/>
              <a:gd name="T86" fmla="*/ 3 w 34"/>
              <a:gd name="T8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26">
                <a:moveTo>
                  <a:pt x="3" y="17"/>
                </a:moveTo>
                <a:cubicBezTo>
                  <a:pt x="3" y="18"/>
                  <a:pt x="4" y="19"/>
                  <a:pt x="4" y="20"/>
                </a:cubicBezTo>
                <a:cubicBezTo>
                  <a:pt x="5" y="21"/>
                  <a:pt x="6" y="22"/>
                  <a:pt x="6" y="22"/>
                </a:cubicBezTo>
                <a:cubicBezTo>
                  <a:pt x="7" y="22"/>
                  <a:pt x="7" y="22"/>
                  <a:pt x="6" y="23"/>
                </a:cubicBezTo>
                <a:cubicBezTo>
                  <a:pt x="7" y="24"/>
                  <a:pt x="7" y="24"/>
                  <a:pt x="7" y="24"/>
                </a:cubicBezTo>
                <a:cubicBezTo>
                  <a:pt x="8" y="24"/>
                  <a:pt x="9" y="24"/>
                  <a:pt x="9" y="24"/>
                </a:cubicBezTo>
                <a:cubicBezTo>
                  <a:pt x="10" y="25"/>
                  <a:pt x="11" y="26"/>
                  <a:pt x="12" y="26"/>
                </a:cubicBezTo>
                <a:cubicBezTo>
                  <a:pt x="12" y="26"/>
                  <a:pt x="14" y="26"/>
                  <a:pt x="15" y="26"/>
                </a:cubicBezTo>
                <a:cubicBezTo>
                  <a:pt x="15" y="26"/>
                  <a:pt x="15" y="25"/>
                  <a:pt x="16" y="25"/>
                </a:cubicBezTo>
                <a:cubicBezTo>
                  <a:pt x="17" y="25"/>
                  <a:pt x="18" y="24"/>
                  <a:pt x="18" y="25"/>
                </a:cubicBezTo>
                <a:cubicBezTo>
                  <a:pt x="18" y="25"/>
                  <a:pt x="19" y="25"/>
                  <a:pt x="19" y="25"/>
                </a:cubicBezTo>
                <a:cubicBezTo>
                  <a:pt x="19" y="25"/>
                  <a:pt x="20" y="25"/>
                  <a:pt x="20" y="25"/>
                </a:cubicBezTo>
                <a:cubicBezTo>
                  <a:pt x="21" y="25"/>
                  <a:pt x="22" y="24"/>
                  <a:pt x="22" y="24"/>
                </a:cubicBezTo>
                <a:cubicBezTo>
                  <a:pt x="22" y="24"/>
                  <a:pt x="23" y="23"/>
                  <a:pt x="25" y="23"/>
                </a:cubicBezTo>
                <a:cubicBezTo>
                  <a:pt x="26" y="23"/>
                  <a:pt x="27" y="23"/>
                  <a:pt x="27" y="22"/>
                </a:cubicBezTo>
                <a:cubicBezTo>
                  <a:pt x="28" y="22"/>
                  <a:pt x="33" y="17"/>
                  <a:pt x="33" y="17"/>
                </a:cubicBezTo>
                <a:cubicBezTo>
                  <a:pt x="34" y="16"/>
                  <a:pt x="33" y="16"/>
                  <a:pt x="32" y="16"/>
                </a:cubicBezTo>
                <a:cubicBezTo>
                  <a:pt x="32" y="16"/>
                  <a:pt x="31" y="16"/>
                  <a:pt x="29" y="15"/>
                </a:cubicBezTo>
                <a:cubicBezTo>
                  <a:pt x="28" y="15"/>
                  <a:pt x="25" y="14"/>
                  <a:pt x="25" y="14"/>
                </a:cubicBezTo>
                <a:cubicBezTo>
                  <a:pt x="24" y="14"/>
                  <a:pt x="24" y="13"/>
                  <a:pt x="23" y="13"/>
                </a:cubicBezTo>
                <a:cubicBezTo>
                  <a:pt x="23" y="12"/>
                  <a:pt x="22" y="11"/>
                  <a:pt x="22" y="11"/>
                </a:cubicBezTo>
                <a:cubicBezTo>
                  <a:pt x="22" y="10"/>
                  <a:pt x="22" y="10"/>
                  <a:pt x="22" y="10"/>
                </a:cubicBezTo>
                <a:cubicBezTo>
                  <a:pt x="22" y="9"/>
                  <a:pt x="22" y="9"/>
                  <a:pt x="21" y="9"/>
                </a:cubicBezTo>
                <a:cubicBezTo>
                  <a:pt x="21" y="10"/>
                  <a:pt x="20" y="10"/>
                  <a:pt x="20" y="9"/>
                </a:cubicBezTo>
                <a:cubicBezTo>
                  <a:pt x="20" y="9"/>
                  <a:pt x="20" y="8"/>
                  <a:pt x="20" y="8"/>
                </a:cubicBezTo>
                <a:cubicBezTo>
                  <a:pt x="21" y="7"/>
                  <a:pt x="21" y="6"/>
                  <a:pt x="21" y="6"/>
                </a:cubicBezTo>
                <a:cubicBezTo>
                  <a:pt x="21" y="6"/>
                  <a:pt x="17" y="1"/>
                  <a:pt x="17" y="1"/>
                </a:cubicBezTo>
                <a:cubicBezTo>
                  <a:pt x="16" y="1"/>
                  <a:pt x="15" y="2"/>
                  <a:pt x="14" y="1"/>
                </a:cubicBezTo>
                <a:cubicBezTo>
                  <a:pt x="14" y="1"/>
                  <a:pt x="14" y="1"/>
                  <a:pt x="13" y="1"/>
                </a:cubicBezTo>
                <a:cubicBezTo>
                  <a:pt x="13" y="2"/>
                  <a:pt x="12" y="1"/>
                  <a:pt x="12" y="1"/>
                </a:cubicBezTo>
                <a:cubicBezTo>
                  <a:pt x="12" y="1"/>
                  <a:pt x="11" y="0"/>
                  <a:pt x="11" y="1"/>
                </a:cubicBezTo>
                <a:cubicBezTo>
                  <a:pt x="11" y="2"/>
                  <a:pt x="11" y="2"/>
                  <a:pt x="10" y="2"/>
                </a:cubicBezTo>
                <a:cubicBezTo>
                  <a:pt x="10" y="2"/>
                  <a:pt x="9" y="2"/>
                  <a:pt x="8" y="2"/>
                </a:cubicBezTo>
                <a:cubicBezTo>
                  <a:pt x="8" y="2"/>
                  <a:pt x="8" y="2"/>
                  <a:pt x="8" y="2"/>
                </a:cubicBezTo>
                <a:cubicBezTo>
                  <a:pt x="9" y="3"/>
                  <a:pt x="8" y="4"/>
                  <a:pt x="8" y="4"/>
                </a:cubicBezTo>
                <a:cubicBezTo>
                  <a:pt x="8" y="5"/>
                  <a:pt x="7" y="5"/>
                  <a:pt x="7" y="5"/>
                </a:cubicBezTo>
                <a:cubicBezTo>
                  <a:pt x="6" y="5"/>
                  <a:pt x="6" y="7"/>
                  <a:pt x="5" y="7"/>
                </a:cubicBezTo>
                <a:cubicBezTo>
                  <a:pt x="5" y="8"/>
                  <a:pt x="5" y="9"/>
                  <a:pt x="5" y="9"/>
                </a:cubicBezTo>
                <a:cubicBezTo>
                  <a:pt x="4" y="10"/>
                  <a:pt x="3" y="10"/>
                  <a:pt x="4" y="10"/>
                </a:cubicBezTo>
                <a:cubicBezTo>
                  <a:pt x="4" y="11"/>
                  <a:pt x="3" y="11"/>
                  <a:pt x="3" y="12"/>
                </a:cubicBezTo>
                <a:cubicBezTo>
                  <a:pt x="3" y="13"/>
                  <a:pt x="3" y="15"/>
                  <a:pt x="3" y="15"/>
                </a:cubicBezTo>
                <a:cubicBezTo>
                  <a:pt x="3" y="15"/>
                  <a:pt x="1" y="14"/>
                  <a:pt x="1" y="15"/>
                </a:cubicBezTo>
                <a:cubicBezTo>
                  <a:pt x="1" y="16"/>
                  <a:pt x="0" y="16"/>
                  <a:pt x="0" y="16"/>
                </a:cubicBezTo>
                <a:cubicBezTo>
                  <a:pt x="1" y="17"/>
                  <a:pt x="2" y="17"/>
                  <a:pt x="3"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9"/>
          <p:cNvSpPr>
            <a:spLocks/>
          </p:cNvSpPr>
          <p:nvPr/>
        </p:nvSpPr>
        <p:spPr bwMode="auto">
          <a:xfrm>
            <a:off x="2566176" y="2889291"/>
            <a:ext cx="21449" cy="17874"/>
          </a:xfrm>
          <a:custGeom>
            <a:avLst/>
            <a:gdLst>
              <a:gd name="T0" fmla="*/ 3 w 4"/>
              <a:gd name="T1" fmla="*/ 2 h 4"/>
              <a:gd name="T2" fmla="*/ 2 w 4"/>
              <a:gd name="T3" fmla="*/ 0 h 4"/>
              <a:gd name="T4" fmla="*/ 2 w 4"/>
              <a:gd name="T5" fmla="*/ 0 h 4"/>
              <a:gd name="T6" fmla="*/ 0 w 4"/>
              <a:gd name="T7" fmla="*/ 4 h 4"/>
              <a:gd name="T8" fmla="*/ 1 w 4"/>
              <a:gd name="T9" fmla="*/ 4 h 4"/>
              <a:gd name="T10" fmla="*/ 3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3" y="2"/>
                </a:moveTo>
                <a:cubicBezTo>
                  <a:pt x="4" y="2"/>
                  <a:pt x="4" y="0"/>
                  <a:pt x="2" y="0"/>
                </a:cubicBezTo>
                <a:cubicBezTo>
                  <a:pt x="2" y="0"/>
                  <a:pt x="2" y="0"/>
                  <a:pt x="2" y="0"/>
                </a:cubicBezTo>
                <a:cubicBezTo>
                  <a:pt x="2" y="1"/>
                  <a:pt x="1" y="2"/>
                  <a:pt x="0" y="4"/>
                </a:cubicBezTo>
                <a:cubicBezTo>
                  <a:pt x="1" y="4"/>
                  <a:pt x="1" y="4"/>
                  <a:pt x="1" y="4"/>
                </a:cubicBezTo>
                <a:cubicBezTo>
                  <a:pt x="2" y="3"/>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0"/>
          <p:cNvSpPr>
            <a:spLocks/>
          </p:cNvSpPr>
          <p:nvPr/>
        </p:nvSpPr>
        <p:spPr bwMode="auto">
          <a:xfrm>
            <a:off x="2573325" y="2860692"/>
            <a:ext cx="75072" cy="57198"/>
          </a:xfrm>
          <a:custGeom>
            <a:avLst/>
            <a:gdLst>
              <a:gd name="T0" fmla="*/ 2 w 16"/>
              <a:gd name="T1" fmla="*/ 8 h 12"/>
              <a:gd name="T2" fmla="*/ 0 w 16"/>
              <a:gd name="T3" fmla="*/ 10 h 12"/>
              <a:gd name="T4" fmla="*/ 1 w 16"/>
              <a:gd name="T5" fmla="*/ 10 h 12"/>
              <a:gd name="T6" fmla="*/ 1 w 16"/>
              <a:gd name="T7" fmla="*/ 11 h 12"/>
              <a:gd name="T8" fmla="*/ 3 w 16"/>
              <a:gd name="T9" fmla="*/ 12 h 12"/>
              <a:gd name="T10" fmla="*/ 5 w 16"/>
              <a:gd name="T11" fmla="*/ 11 h 12"/>
              <a:gd name="T12" fmla="*/ 12 w 16"/>
              <a:gd name="T13" fmla="*/ 7 h 12"/>
              <a:gd name="T14" fmla="*/ 13 w 16"/>
              <a:gd name="T15" fmla="*/ 6 h 12"/>
              <a:gd name="T16" fmla="*/ 13 w 16"/>
              <a:gd name="T17" fmla="*/ 4 h 12"/>
              <a:gd name="T18" fmla="*/ 13 w 16"/>
              <a:gd name="T19" fmla="*/ 2 h 12"/>
              <a:gd name="T20" fmla="*/ 14 w 16"/>
              <a:gd name="T21" fmla="*/ 1 h 12"/>
              <a:gd name="T22" fmla="*/ 16 w 16"/>
              <a:gd name="T23" fmla="*/ 0 h 12"/>
              <a:gd name="T24" fmla="*/ 15 w 16"/>
              <a:gd name="T25" fmla="*/ 0 h 12"/>
              <a:gd name="T26" fmla="*/ 12 w 16"/>
              <a:gd name="T27" fmla="*/ 0 h 12"/>
              <a:gd name="T28" fmla="*/ 9 w 16"/>
              <a:gd name="T29" fmla="*/ 1 h 12"/>
              <a:gd name="T30" fmla="*/ 7 w 16"/>
              <a:gd name="T31" fmla="*/ 1 h 12"/>
              <a:gd name="T32" fmla="*/ 5 w 16"/>
              <a:gd name="T33" fmla="*/ 1 h 12"/>
              <a:gd name="T34" fmla="*/ 3 w 16"/>
              <a:gd name="T35" fmla="*/ 1 h 12"/>
              <a:gd name="T36" fmla="*/ 3 w 16"/>
              <a:gd name="T37" fmla="*/ 2 h 12"/>
              <a:gd name="T38" fmla="*/ 1 w 16"/>
              <a:gd name="T39" fmla="*/ 3 h 12"/>
              <a:gd name="T40" fmla="*/ 1 w 16"/>
              <a:gd name="T41" fmla="*/ 5 h 12"/>
              <a:gd name="T42" fmla="*/ 1 w 16"/>
              <a:gd name="T43" fmla="*/ 6 h 12"/>
              <a:gd name="T44" fmla="*/ 2 w 16"/>
              <a:gd name="T4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12">
                <a:moveTo>
                  <a:pt x="2" y="8"/>
                </a:moveTo>
                <a:cubicBezTo>
                  <a:pt x="2" y="8"/>
                  <a:pt x="1" y="9"/>
                  <a:pt x="0" y="10"/>
                </a:cubicBezTo>
                <a:cubicBezTo>
                  <a:pt x="1" y="10"/>
                  <a:pt x="1" y="10"/>
                  <a:pt x="1" y="10"/>
                </a:cubicBezTo>
                <a:cubicBezTo>
                  <a:pt x="1" y="11"/>
                  <a:pt x="1" y="11"/>
                  <a:pt x="1" y="11"/>
                </a:cubicBezTo>
                <a:cubicBezTo>
                  <a:pt x="3" y="12"/>
                  <a:pt x="3" y="12"/>
                  <a:pt x="3" y="12"/>
                </a:cubicBezTo>
                <a:cubicBezTo>
                  <a:pt x="3" y="12"/>
                  <a:pt x="4" y="11"/>
                  <a:pt x="5" y="11"/>
                </a:cubicBezTo>
                <a:cubicBezTo>
                  <a:pt x="5" y="11"/>
                  <a:pt x="12" y="7"/>
                  <a:pt x="12" y="7"/>
                </a:cubicBezTo>
                <a:cubicBezTo>
                  <a:pt x="12" y="7"/>
                  <a:pt x="13" y="6"/>
                  <a:pt x="13" y="6"/>
                </a:cubicBezTo>
                <a:cubicBezTo>
                  <a:pt x="13" y="5"/>
                  <a:pt x="13" y="4"/>
                  <a:pt x="13" y="4"/>
                </a:cubicBezTo>
                <a:cubicBezTo>
                  <a:pt x="14" y="4"/>
                  <a:pt x="13" y="3"/>
                  <a:pt x="13" y="2"/>
                </a:cubicBezTo>
                <a:cubicBezTo>
                  <a:pt x="13" y="2"/>
                  <a:pt x="14" y="1"/>
                  <a:pt x="14" y="1"/>
                </a:cubicBezTo>
                <a:cubicBezTo>
                  <a:pt x="16" y="0"/>
                  <a:pt x="16" y="0"/>
                  <a:pt x="16" y="0"/>
                </a:cubicBezTo>
                <a:cubicBezTo>
                  <a:pt x="15" y="0"/>
                  <a:pt x="15" y="0"/>
                  <a:pt x="15" y="0"/>
                </a:cubicBezTo>
                <a:cubicBezTo>
                  <a:pt x="15" y="0"/>
                  <a:pt x="14" y="0"/>
                  <a:pt x="12" y="0"/>
                </a:cubicBezTo>
                <a:cubicBezTo>
                  <a:pt x="11" y="0"/>
                  <a:pt x="11" y="1"/>
                  <a:pt x="9" y="1"/>
                </a:cubicBezTo>
                <a:cubicBezTo>
                  <a:pt x="8" y="1"/>
                  <a:pt x="7" y="2"/>
                  <a:pt x="7" y="1"/>
                </a:cubicBezTo>
                <a:cubicBezTo>
                  <a:pt x="7" y="1"/>
                  <a:pt x="6" y="1"/>
                  <a:pt x="5" y="1"/>
                </a:cubicBezTo>
                <a:cubicBezTo>
                  <a:pt x="5" y="2"/>
                  <a:pt x="4" y="2"/>
                  <a:pt x="3" y="1"/>
                </a:cubicBezTo>
                <a:cubicBezTo>
                  <a:pt x="3" y="1"/>
                  <a:pt x="3" y="1"/>
                  <a:pt x="3" y="2"/>
                </a:cubicBezTo>
                <a:cubicBezTo>
                  <a:pt x="3" y="2"/>
                  <a:pt x="3" y="3"/>
                  <a:pt x="1" y="3"/>
                </a:cubicBezTo>
                <a:cubicBezTo>
                  <a:pt x="1" y="4"/>
                  <a:pt x="1" y="4"/>
                  <a:pt x="1" y="5"/>
                </a:cubicBezTo>
                <a:cubicBezTo>
                  <a:pt x="2" y="5"/>
                  <a:pt x="1" y="5"/>
                  <a:pt x="1" y="6"/>
                </a:cubicBezTo>
                <a:cubicBezTo>
                  <a:pt x="3" y="6"/>
                  <a:pt x="3" y="8"/>
                  <a:pt x="2"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81"/>
          <p:cNvSpPr>
            <a:spLocks/>
          </p:cNvSpPr>
          <p:nvPr/>
        </p:nvSpPr>
        <p:spPr bwMode="auto">
          <a:xfrm>
            <a:off x="3531384" y="2846393"/>
            <a:ext cx="42898" cy="53623"/>
          </a:xfrm>
          <a:custGeom>
            <a:avLst/>
            <a:gdLst>
              <a:gd name="T0" fmla="*/ 3 w 9"/>
              <a:gd name="T1" fmla="*/ 1 h 11"/>
              <a:gd name="T2" fmla="*/ 1 w 9"/>
              <a:gd name="T3" fmla="*/ 2 h 11"/>
              <a:gd name="T4" fmla="*/ 2 w 9"/>
              <a:gd name="T5" fmla="*/ 3 h 11"/>
              <a:gd name="T6" fmla="*/ 2 w 9"/>
              <a:gd name="T7" fmla="*/ 4 h 11"/>
              <a:gd name="T8" fmla="*/ 2 w 9"/>
              <a:gd name="T9" fmla="*/ 6 h 11"/>
              <a:gd name="T10" fmla="*/ 1 w 9"/>
              <a:gd name="T11" fmla="*/ 9 h 11"/>
              <a:gd name="T12" fmla="*/ 1 w 9"/>
              <a:gd name="T13" fmla="*/ 10 h 11"/>
              <a:gd name="T14" fmla="*/ 5 w 9"/>
              <a:gd name="T15" fmla="*/ 9 h 11"/>
              <a:gd name="T16" fmla="*/ 8 w 9"/>
              <a:gd name="T17" fmla="*/ 8 h 11"/>
              <a:gd name="T18" fmla="*/ 9 w 9"/>
              <a:gd name="T19" fmla="*/ 7 h 11"/>
              <a:gd name="T20" fmla="*/ 8 w 9"/>
              <a:gd name="T21" fmla="*/ 4 h 11"/>
              <a:gd name="T22" fmla="*/ 6 w 9"/>
              <a:gd name="T23" fmla="*/ 0 h 11"/>
              <a:gd name="T24" fmla="*/ 5 w 9"/>
              <a:gd name="T25" fmla="*/ 1 h 11"/>
              <a:gd name="T26" fmla="*/ 3 w 9"/>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3" y="1"/>
                </a:moveTo>
                <a:cubicBezTo>
                  <a:pt x="2" y="1"/>
                  <a:pt x="2" y="2"/>
                  <a:pt x="1" y="2"/>
                </a:cubicBezTo>
                <a:cubicBezTo>
                  <a:pt x="1" y="3"/>
                  <a:pt x="1" y="3"/>
                  <a:pt x="2" y="3"/>
                </a:cubicBezTo>
                <a:cubicBezTo>
                  <a:pt x="3" y="3"/>
                  <a:pt x="3" y="4"/>
                  <a:pt x="2" y="4"/>
                </a:cubicBezTo>
                <a:cubicBezTo>
                  <a:pt x="1" y="4"/>
                  <a:pt x="1" y="5"/>
                  <a:pt x="2" y="6"/>
                </a:cubicBezTo>
                <a:cubicBezTo>
                  <a:pt x="2" y="7"/>
                  <a:pt x="0" y="8"/>
                  <a:pt x="1" y="9"/>
                </a:cubicBezTo>
                <a:cubicBezTo>
                  <a:pt x="1" y="9"/>
                  <a:pt x="1" y="10"/>
                  <a:pt x="1" y="10"/>
                </a:cubicBezTo>
                <a:cubicBezTo>
                  <a:pt x="2" y="11"/>
                  <a:pt x="4" y="10"/>
                  <a:pt x="5" y="9"/>
                </a:cubicBezTo>
                <a:cubicBezTo>
                  <a:pt x="7" y="8"/>
                  <a:pt x="7" y="8"/>
                  <a:pt x="8" y="8"/>
                </a:cubicBezTo>
                <a:cubicBezTo>
                  <a:pt x="8" y="8"/>
                  <a:pt x="9" y="8"/>
                  <a:pt x="9" y="7"/>
                </a:cubicBezTo>
                <a:cubicBezTo>
                  <a:pt x="8" y="7"/>
                  <a:pt x="8" y="5"/>
                  <a:pt x="8" y="4"/>
                </a:cubicBezTo>
                <a:cubicBezTo>
                  <a:pt x="8" y="3"/>
                  <a:pt x="7" y="1"/>
                  <a:pt x="6" y="0"/>
                </a:cubicBezTo>
                <a:cubicBezTo>
                  <a:pt x="5" y="1"/>
                  <a:pt x="5" y="1"/>
                  <a:pt x="5" y="1"/>
                </a:cubicBezTo>
                <a:cubicBezTo>
                  <a:pt x="4"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82"/>
          <p:cNvSpPr>
            <a:spLocks/>
          </p:cNvSpPr>
          <p:nvPr/>
        </p:nvSpPr>
        <p:spPr bwMode="auto">
          <a:xfrm>
            <a:off x="3131001" y="2989387"/>
            <a:ext cx="50048" cy="64347"/>
          </a:xfrm>
          <a:custGeom>
            <a:avLst/>
            <a:gdLst>
              <a:gd name="T0" fmla="*/ 10 w 10"/>
              <a:gd name="T1" fmla="*/ 11 h 13"/>
              <a:gd name="T2" fmla="*/ 9 w 10"/>
              <a:gd name="T3" fmla="*/ 6 h 13"/>
              <a:gd name="T4" fmla="*/ 8 w 10"/>
              <a:gd name="T5" fmla="*/ 8 h 13"/>
              <a:gd name="T6" fmla="*/ 8 w 10"/>
              <a:gd name="T7" fmla="*/ 6 h 13"/>
              <a:gd name="T8" fmla="*/ 9 w 10"/>
              <a:gd name="T9" fmla="*/ 4 h 13"/>
              <a:gd name="T10" fmla="*/ 8 w 10"/>
              <a:gd name="T11" fmla="*/ 3 h 13"/>
              <a:gd name="T12" fmla="*/ 5 w 10"/>
              <a:gd name="T13" fmla="*/ 3 h 13"/>
              <a:gd name="T14" fmla="*/ 4 w 10"/>
              <a:gd name="T15" fmla="*/ 2 h 13"/>
              <a:gd name="T16" fmla="*/ 3 w 10"/>
              <a:gd name="T17" fmla="*/ 1 h 13"/>
              <a:gd name="T18" fmla="*/ 1 w 10"/>
              <a:gd name="T19" fmla="*/ 1 h 13"/>
              <a:gd name="T20" fmla="*/ 2 w 10"/>
              <a:gd name="T21" fmla="*/ 3 h 13"/>
              <a:gd name="T22" fmla="*/ 1 w 10"/>
              <a:gd name="T23" fmla="*/ 4 h 13"/>
              <a:gd name="T24" fmla="*/ 2 w 10"/>
              <a:gd name="T25" fmla="*/ 7 h 13"/>
              <a:gd name="T26" fmla="*/ 3 w 10"/>
              <a:gd name="T27" fmla="*/ 11 h 13"/>
              <a:gd name="T28" fmla="*/ 4 w 10"/>
              <a:gd name="T29" fmla="*/ 11 h 13"/>
              <a:gd name="T30" fmla="*/ 6 w 10"/>
              <a:gd name="T31" fmla="*/ 10 h 13"/>
              <a:gd name="T32" fmla="*/ 7 w 10"/>
              <a:gd name="T33" fmla="*/ 9 h 13"/>
              <a:gd name="T34" fmla="*/ 8 w 10"/>
              <a:gd name="T35" fmla="*/ 12 h 13"/>
              <a:gd name="T36" fmla="*/ 9 w 10"/>
              <a:gd name="T37" fmla="*/ 13 h 13"/>
              <a:gd name="T38" fmla="*/ 9 w 10"/>
              <a:gd name="T39" fmla="*/ 12 h 13"/>
              <a:gd name="T40" fmla="*/ 10 w 10"/>
              <a:gd name="T4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3">
                <a:moveTo>
                  <a:pt x="10" y="11"/>
                </a:moveTo>
                <a:cubicBezTo>
                  <a:pt x="10" y="9"/>
                  <a:pt x="10" y="6"/>
                  <a:pt x="9" y="6"/>
                </a:cubicBezTo>
                <a:cubicBezTo>
                  <a:pt x="9" y="6"/>
                  <a:pt x="8" y="8"/>
                  <a:pt x="8" y="8"/>
                </a:cubicBezTo>
                <a:cubicBezTo>
                  <a:pt x="7" y="8"/>
                  <a:pt x="7" y="6"/>
                  <a:pt x="8" y="6"/>
                </a:cubicBezTo>
                <a:cubicBezTo>
                  <a:pt x="9" y="6"/>
                  <a:pt x="9" y="4"/>
                  <a:pt x="9" y="4"/>
                </a:cubicBezTo>
                <a:cubicBezTo>
                  <a:pt x="9" y="3"/>
                  <a:pt x="9" y="3"/>
                  <a:pt x="8" y="3"/>
                </a:cubicBezTo>
                <a:cubicBezTo>
                  <a:pt x="7" y="3"/>
                  <a:pt x="5" y="3"/>
                  <a:pt x="5" y="3"/>
                </a:cubicBezTo>
                <a:cubicBezTo>
                  <a:pt x="5" y="3"/>
                  <a:pt x="4" y="3"/>
                  <a:pt x="4" y="2"/>
                </a:cubicBezTo>
                <a:cubicBezTo>
                  <a:pt x="4" y="1"/>
                  <a:pt x="4" y="1"/>
                  <a:pt x="3" y="1"/>
                </a:cubicBezTo>
                <a:cubicBezTo>
                  <a:pt x="2" y="1"/>
                  <a:pt x="2" y="0"/>
                  <a:pt x="1" y="1"/>
                </a:cubicBezTo>
                <a:cubicBezTo>
                  <a:pt x="0" y="2"/>
                  <a:pt x="3" y="2"/>
                  <a:pt x="2" y="3"/>
                </a:cubicBezTo>
                <a:cubicBezTo>
                  <a:pt x="2" y="4"/>
                  <a:pt x="1" y="3"/>
                  <a:pt x="1" y="4"/>
                </a:cubicBezTo>
                <a:cubicBezTo>
                  <a:pt x="1" y="4"/>
                  <a:pt x="1" y="6"/>
                  <a:pt x="2" y="7"/>
                </a:cubicBezTo>
                <a:cubicBezTo>
                  <a:pt x="2" y="8"/>
                  <a:pt x="3" y="9"/>
                  <a:pt x="3" y="11"/>
                </a:cubicBezTo>
                <a:cubicBezTo>
                  <a:pt x="3" y="11"/>
                  <a:pt x="3" y="11"/>
                  <a:pt x="4" y="11"/>
                </a:cubicBezTo>
                <a:cubicBezTo>
                  <a:pt x="5" y="11"/>
                  <a:pt x="6" y="10"/>
                  <a:pt x="6" y="10"/>
                </a:cubicBezTo>
                <a:cubicBezTo>
                  <a:pt x="6" y="9"/>
                  <a:pt x="7" y="8"/>
                  <a:pt x="7" y="9"/>
                </a:cubicBezTo>
                <a:cubicBezTo>
                  <a:pt x="8" y="9"/>
                  <a:pt x="8" y="11"/>
                  <a:pt x="8" y="12"/>
                </a:cubicBezTo>
                <a:cubicBezTo>
                  <a:pt x="8" y="12"/>
                  <a:pt x="8" y="12"/>
                  <a:pt x="9" y="13"/>
                </a:cubicBezTo>
                <a:cubicBezTo>
                  <a:pt x="9" y="12"/>
                  <a:pt x="9" y="12"/>
                  <a:pt x="9" y="12"/>
                </a:cubicBezTo>
                <a:cubicBezTo>
                  <a:pt x="9" y="12"/>
                  <a:pt x="10" y="11"/>
                  <a:pt x="10"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83"/>
          <p:cNvSpPr>
            <a:spLocks/>
          </p:cNvSpPr>
          <p:nvPr/>
        </p:nvSpPr>
        <p:spPr bwMode="auto">
          <a:xfrm>
            <a:off x="2930810" y="2885716"/>
            <a:ext cx="293138" cy="311012"/>
          </a:xfrm>
          <a:custGeom>
            <a:avLst/>
            <a:gdLst>
              <a:gd name="T0" fmla="*/ 43 w 61"/>
              <a:gd name="T1" fmla="*/ 26 h 65"/>
              <a:gd name="T2" fmla="*/ 43 w 61"/>
              <a:gd name="T3" fmla="*/ 23 h 65"/>
              <a:gd name="T4" fmla="*/ 46 w 61"/>
              <a:gd name="T5" fmla="*/ 24 h 65"/>
              <a:gd name="T6" fmla="*/ 50 w 61"/>
              <a:gd name="T7" fmla="*/ 25 h 65"/>
              <a:gd name="T8" fmla="*/ 50 w 61"/>
              <a:gd name="T9" fmla="*/ 28 h 65"/>
              <a:gd name="T10" fmla="*/ 51 w 61"/>
              <a:gd name="T11" fmla="*/ 28 h 65"/>
              <a:gd name="T12" fmla="*/ 52 w 61"/>
              <a:gd name="T13" fmla="*/ 32 h 65"/>
              <a:gd name="T14" fmla="*/ 53 w 61"/>
              <a:gd name="T15" fmla="*/ 28 h 65"/>
              <a:gd name="T16" fmla="*/ 56 w 61"/>
              <a:gd name="T17" fmla="*/ 25 h 65"/>
              <a:gd name="T18" fmla="*/ 58 w 61"/>
              <a:gd name="T19" fmla="*/ 21 h 65"/>
              <a:gd name="T20" fmla="*/ 61 w 61"/>
              <a:gd name="T21" fmla="*/ 20 h 65"/>
              <a:gd name="T22" fmla="*/ 61 w 61"/>
              <a:gd name="T23" fmla="*/ 18 h 65"/>
              <a:gd name="T24" fmla="*/ 59 w 61"/>
              <a:gd name="T25" fmla="*/ 15 h 65"/>
              <a:gd name="T26" fmla="*/ 55 w 61"/>
              <a:gd name="T27" fmla="*/ 16 h 65"/>
              <a:gd name="T28" fmla="*/ 53 w 61"/>
              <a:gd name="T29" fmla="*/ 18 h 65"/>
              <a:gd name="T30" fmla="*/ 50 w 61"/>
              <a:gd name="T31" fmla="*/ 19 h 65"/>
              <a:gd name="T32" fmla="*/ 48 w 61"/>
              <a:gd name="T33" fmla="*/ 21 h 65"/>
              <a:gd name="T34" fmla="*/ 45 w 61"/>
              <a:gd name="T35" fmla="*/ 21 h 65"/>
              <a:gd name="T36" fmla="*/ 43 w 61"/>
              <a:gd name="T37" fmla="*/ 18 h 65"/>
              <a:gd name="T38" fmla="*/ 42 w 61"/>
              <a:gd name="T39" fmla="*/ 21 h 65"/>
              <a:gd name="T40" fmla="*/ 36 w 61"/>
              <a:gd name="T41" fmla="*/ 21 h 65"/>
              <a:gd name="T42" fmla="*/ 32 w 61"/>
              <a:gd name="T43" fmla="*/ 20 h 65"/>
              <a:gd name="T44" fmla="*/ 29 w 61"/>
              <a:gd name="T45" fmla="*/ 18 h 65"/>
              <a:gd name="T46" fmla="*/ 26 w 61"/>
              <a:gd name="T47" fmla="*/ 16 h 65"/>
              <a:gd name="T48" fmla="*/ 27 w 61"/>
              <a:gd name="T49" fmla="*/ 13 h 65"/>
              <a:gd name="T50" fmla="*/ 25 w 61"/>
              <a:gd name="T51" fmla="*/ 11 h 65"/>
              <a:gd name="T52" fmla="*/ 23 w 61"/>
              <a:gd name="T53" fmla="*/ 8 h 65"/>
              <a:gd name="T54" fmla="*/ 24 w 61"/>
              <a:gd name="T55" fmla="*/ 6 h 65"/>
              <a:gd name="T56" fmla="*/ 23 w 61"/>
              <a:gd name="T57" fmla="*/ 2 h 65"/>
              <a:gd name="T58" fmla="*/ 21 w 61"/>
              <a:gd name="T59" fmla="*/ 0 h 65"/>
              <a:gd name="T60" fmla="*/ 19 w 61"/>
              <a:gd name="T61" fmla="*/ 1 h 65"/>
              <a:gd name="T62" fmla="*/ 14 w 61"/>
              <a:gd name="T63" fmla="*/ 2 h 65"/>
              <a:gd name="T64" fmla="*/ 13 w 61"/>
              <a:gd name="T65" fmla="*/ 5 h 65"/>
              <a:gd name="T66" fmla="*/ 15 w 61"/>
              <a:gd name="T67" fmla="*/ 8 h 65"/>
              <a:gd name="T68" fmla="*/ 14 w 61"/>
              <a:gd name="T69" fmla="*/ 11 h 65"/>
              <a:gd name="T70" fmla="*/ 11 w 61"/>
              <a:gd name="T71" fmla="*/ 14 h 65"/>
              <a:gd name="T72" fmla="*/ 9 w 61"/>
              <a:gd name="T73" fmla="*/ 17 h 65"/>
              <a:gd name="T74" fmla="*/ 6 w 61"/>
              <a:gd name="T75" fmla="*/ 19 h 65"/>
              <a:gd name="T76" fmla="*/ 3 w 61"/>
              <a:gd name="T77" fmla="*/ 21 h 65"/>
              <a:gd name="T78" fmla="*/ 5 w 61"/>
              <a:gd name="T79" fmla="*/ 25 h 65"/>
              <a:gd name="T80" fmla="*/ 4 w 61"/>
              <a:gd name="T81" fmla="*/ 27 h 65"/>
              <a:gd name="T82" fmla="*/ 0 w 61"/>
              <a:gd name="T83" fmla="*/ 28 h 65"/>
              <a:gd name="T84" fmla="*/ 2 w 61"/>
              <a:gd name="T85" fmla="*/ 30 h 65"/>
              <a:gd name="T86" fmla="*/ 1 w 61"/>
              <a:gd name="T87" fmla="*/ 32 h 65"/>
              <a:gd name="T88" fmla="*/ 8 w 61"/>
              <a:gd name="T89" fmla="*/ 33 h 65"/>
              <a:gd name="T90" fmla="*/ 9 w 61"/>
              <a:gd name="T91" fmla="*/ 34 h 65"/>
              <a:gd name="T92" fmla="*/ 10 w 61"/>
              <a:gd name="T93" fmla="*/ 40 h 65"/>
              <a:gd name="T94" fmla="*/ 13 w 61"/>
              <a:gd name="T95" fmla="*/ 50 h 65"/>
              <a:gd name="T96" fmla="*/ 17 w 61"/>
              <a:gd name="T97" fmla="*/ 60 h 65"/>
              <a:gd name="T98" fmla="*/ 21 w 61"/>
              <a:gd name="T99" fmla="*/ 63 h 65"/>
              <a:gd name="T100" fmla="*/ 24 w 61"/>
              <a:gd name="T101" fmla="*/ 59 h 65"/>
              <a:gd name="T102" fmla="*/ 26 w 61"/>
              <a:gd name="T103" fmla="*/ 55 h 65"/>
              <a:gd name="T104" fmla="*/ 26 w 61"/>
              <a:gd name="T105" fmla="*/ 49 h 65"/>
              <a:gd name="T106" fmla="*/ 29 w 61"/>
              <a:gd name="T107" fmla="*/ 45 h 65"/>
              <a:gd name="T108" fmla="*/ 36 w 61"/>
              <a:gd name="T109" fmla="*/ 39 h 65"/>
              <a:gd name="T110" fmla="*/ 40 w 61"/>
              <a:gd name="T111" fmla="*/ 34 h 65"/>
              <a:gd name="T112" fmla="*/ 45 w 61"/>
              <a:gd name="T11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65">
                <a:moveTo>
                  <a:pt x="44" y="29"/>
                </a:moveTo>
                <a:cubicBezTo>
                  <a:pt x="43" y="28"/>
                  <a:pt x="43" y="26"/>
                  <a:pt x="43" y="26"/>
                </a:cubicBezTo>
                <a:cubicBezTo>
                  <a:pt x="43" y="25"/>
                  <a:pt x="44" y="26"/>
                  <a:pt x="44" y="25"/>
                </a:cubicBezTo>
                <a:cubicBezTo>
                  <a:pt x="45" y="24"/>
                  <a:pt x="42" y="24"/>
                  <a:pt x="43" y="23"/>
                </a:cubicBezTo>
                <a:cubicBezTo>
                  <a:pt x="44" y="22"/>
                  <a:pt x="44" y="23"/>
                  <a:pt x="45" y="23"/>
                </a:cubicBezTo>
                <a:cubicBezTo>
                  <a:pt x="46" y="23"/>
                  <a:pt x="46" y="23"/>
                  <a:pt x="46" y="24"/>
                </a:cubicBezTo>
                <a:cubicBezTo>
                  <a:pt x="46" y="25"/>
                  <a:pt x="47" y="25"/>
                  <a:pt x="47" y="25"/>
                </a:cubicBezTo>
                <a:cubicBezTo>
                  <a:pt x="47" y="25"/>
                  <a:pt x="49" y="25"/>
                  <a:pt x="50" y="25"/>
                </a:cubicBezTo>
                <a:cubicBezTo>
                  <a:pt x="51" y="25"/>
                  <a:pt x="51" y="25"/>
                  <a:pt x="51" y="26"/>
                </a:cubicBezTo>
                <a:cubicBezTo>
                  <a:pt x="51" y="26"/>
                  <a:pt x="51" y="28"/>
                  <a:pt x="50" y="28"/>
                </a:cubicBezTo>
                <a:cubicBezTo>
                  <a:pt x="49" y="28"/>
                  <a:pt x="49" y="30"/>
                  <a:pt x="50" y="30"/>
                </a:cubicBezTo>
                <a:cubicBezTo>
                  <a:pt x="50" y="30"/>
                  <a:pt x="51" y="28"/>
                  <a:pt x="51" y="28"/>
                </a:cubicBezTo>
                <a:cubicBezTo>
                  <a:pt x="52" y="28"/>
                  <a:pt x="52" y="31"/>
                  <a:pt x="52" y="33"/>
                </a:cubicBezTo>
                <a:cubicBezTo>
                  <a:pt x="52" y="33"/>
                  <a:pt x="52" y="32"/>
                  <a:pt x="52" y="32"/>
                </a:cubicBezTo>
                <a:cubicBezTo>
                  <a:pt x="53" y="32"/>
                  <a:pt x="53" y="31"/>
                  <a:pt x="53" y="30"/>
                </a:cubicBezTo>
                <a:cubicBezTo>
                  <a:pt x="53" y="30"/>
                  <a:pt x="53" y="28"/>
                  <a:pt x="53" y="28"/>
                </a:cubicBezTo>
                <a:cubicBezTo>
                  <a:pt x="54" y="28"/>
                  <a:pt x="55" y="28"/>
                  <a:pt x="55" y="28"/>
                </a:cubicBezTo>
                <a:cubicBezTo>
                  <a:pt x="55" y="28"/>
                  <a:pt x="56" y="26"/>
                  <a:pt x="56" y="25"/>
                </a:cubicBezTo>
                <a:cubicBezTo>
                  <a:pt x="56" y="25"/>
                  <a:pt x="57" y="24"/>
                  <a:pt x="57" y="23"/>
                </a:cubicBezTo>
                <a:cubicBezTo>
                  <a:pt x="57" y="22"/>
                  <a:pt x="58" y="21"/>
                  <a:pt x="58" y="21"/>
                </a:cubicBezTo>
                <a:cubicBezTo>
                  <a:pt x="59" y="20"/>
                  <a:pt x="60" y="20"/>
                  <a:pt x="60" y="20"/>
                </a:cubicBezTo>
                <a:cubicBezTo>
                  <a:pt x="60" y="21"/>
                  <a:pt x="61" y="21"/>
                  <a:pt x="61" y="20"/>
                </a:cubicBezTo>
                <a:cubicBezTo>
                  <a:pt x="60" y="19"/>
                  <a:pt x="60" y="19"/>
                  <a:pt x="61" y="19"/>
                </a:cubicBezTo>
                <a:cubicBezTo>
                  <a:pt x="61" y="18"/>
                  <a:pt x="61" y="18"/>
                  <a:pt x="61" y="18"/>
                </a:cubicBezTo>
                <a:cubicBezTo>
                  <a:pt x="61" y="18"/>
                  <a:pt x="60" y="17"/>
                  <a:pt x="60" y="17"/>
                </a:cubicBezTo>
                <a:cubicBezTo>
                  <a:pt x="60" y="16"/>
                  <a:pt x="59" y="16"/>
                  <a:pt x="59" y="15"/>
                </a:cubicBezTo>
                <a:cubicBezTo>
                  <a:pt x="59" y="15"/>
                  <a:pt x="58" y="15"/>
                  <a:pt x="58" y="16"/>
                </a:cubicBezTo>
                <a:cubicBezTo>
                  <a:pt x="57" y="16"/>
                  <a:pt x="56" y="15"/>
                  <a:pt x="55" y="16"/>
                </a:cubicBezTo>
                <a:cubicBezTo>
                  <a:pt x="54" y="16"/>
                  <a:pt x="54" y="17"/>
                  <a:pt x="53" y="17"/>
                </a:cubicBezTo>
                <a:cubicBezTo>
                  <a:pt x="53" y="17"/>
                  <a:pt x="53" y="17"/>
                  <a:pt x="53" y="18"/>
                </a:cubicBezTo>
                <a:cubicBezTo>
                  <a:pt x="52" y="18"/>
                  <a:pt x="52" y="19"/>
                  <a:pt x="51" y="19"/>
                </a:cubicBezTo>
                <a:cubicBezTo>
                  <a:pt x="51" y="19"/>
                  <a:pt x="50" y="19"/>
                  <a:pt x="50" y="19"/>
                </a:cubicBezTo>
                <a:cubicBezTo>
                  <a:pt x="50" y="19"/>
                  <a:pt x="51" y="20"/>
                  <a:pt x="51" y="21"/>
                </a:cubicBezTo>
                <a:cubicBezTo>
                  <a:pt x="50" y="22"/>
                  <a:pt x="49" y="21"/>
                  <a:pt x="48" y="21"/>
                </a:cubicBezTo>
                <a:cubicBezTo>
                  <a:pt x="47" y="22"/>
                  <a:pt x="47" y="21"/>
                  <a:pt x="46" y="21"/>
                </a:cubicBezTo>
                <a:cubicBezTo>
                  <a:pt x="46" y="21"/>
                  <a:pt x="45" y="21"/>
                  <a:pt x="45" y="21"/>
                </a:cubicBezTo>
                <a:cubicBezTo>
                  <a:pt x="45" y="21"/>
                  <a:pt x="44" y="20"/>
                  <a:pt x="44" y="19"/>
                </a:cubicBezTo>
                <a:cubicBezTo>
                  <a:pt x="44" y="19"/>
                  <a:pt x="44" y="18"/>
                  <a:pt x="43" y="18"/>
                </a:cubicBezTo>
                <a:cubicBezTo>
                  <a:pt x="43" y="19"/>
                  <a:pt x="43" y="18"/>
                  <a:pt x="43" y="19"/>
                </a:cubicBezTo>
                <a:cubicBezTo>
                  <a:pt x="43" y="20"/>
                  <a:pt x="43" y="21"/>
                  <a:pt x="42" y="21"/>
                </a:cubicBezTo>
                <a:cubicBezTo>
                  <a:pt x="42" y="22"/>
                  <a:pt x="39" y="22"/>
                  <a:pt x="39" y="22"/>
                </a:cubicBezTo>
                <a:cubicBezTo>
                  <a:pt x="38" y="21"/>
                  <a:pt x="36" y="21"/>
                  <a:pt x="36" y="21"/>
                </a:cubicBezTo>
                <a:cubicBezTo>
                  <a:pt x="36" y="20"/>
                  <a:pt x="35" y="19"/>
                  <a:pt x="35" y="19"/>
                </a:cubicBezTo>
                <a:cubicBezTo>
                  <a:pt x="34" y="19"/>
                  <a:pt x="33" y="20"/>
                  <a:pt x="32" y="20"/>
                </a:cubicBezTo>
                <a:cubicBezTo>
                  <a:pt x="32" y="20"/>
                  <a:pt x="31" y="19"/>
                  <a:pt x="31" y="19"/>
                </a:cubicBezTo>
                <a:cubicBezTo>
                  <a:pt x="30" y="19"/>
                  <a:pt x="29" y="18"/>
                  <a:pt x="29" y="18"/>
                </a:cubicBezTo>
                <a:cubicBezTo>
                  <a:pt x="29" y="18"/>
                  <a:pt x="27" y="17"/>
                  <a:pt x="27" y="17"/>
                </a:cubicBezTo>
                <a:cubicBezTo>
                  <a:pt x="27" y="17"/>
                  <a:pt x="26" y="17"/>
                  <a:pt x="26" y="16"/>
                </a:cubicBezTo>
                <a:cubicBezTo>
                  <a:pt x="26" y="16"/>
                  <a:pt x="26" y="15"/>
                  <a:pt x="26" y="14"/>
                </a:cubicBezTo>
                <a:cubicBezTo>
                  <a:pt x="26" y="14"/>
                  <a:pt x="27" y="13"/>
                  <a:pt x="27" y="13"/>
                </a:cubicBezTo>
                <a:cubicBezTo>
                  <a:pt x="27" y="13"/>
                  <a:pt x="27" y="12"/>
                  <a:pt x="27" y="12"/>
                </a:cubicBezTo>
                <a:cubicBezTo>
                  <a:pt x="27" y="12"/>
                  <a:pt x="26" y="11"/>
                  <a:pt x="25" y="11"/>
                </a:cubicBezTo>
                <a:cubicBezTo>
                  <a:pt x="25" y="11"/>
                  <a:pt x="24" y="10"/>
                  <a:pt x="23" y="10"/>
                </a:cubicBezTo>
                <a:cubicBezTo>
                  <a:pt x="23" y="10"/>
                  <a:pt x="23" y="8"/>
                  <a:pt x="23" y="8"/>
                </a:cubicBezTo>
                <a:cubicBezTo>
                  <a:pt x="22" y="8"/>
                  <a:pt x="23" y="6"/>
                  <a:pt x="23" y="7"/>
                </a:cubicBezTo>
                <a:cubicBezTo>
                  <a:pt x="24" y="8"/>
                  <a:pt x="25" y="7"/>
                  <a:pt x="24" y="6"/>
                </a:cubicBezTo>
                <a:cubicBezTo>
                  <a:pt x="24" y="5"/>
                  <a:pt x="23" y="5"/>
                  <a:pt x="23" y="4"/>
                </a:cubicBezTo>
                <a:cubicBezTo>
                  <a:pt x="23" y="4"/>
                  <a:pt x="24" y="3"/>
                  <a:pt x="23" y="2"/>
                </a:cubicBezTo>
                <a:cubicBezTo>
                  <a:pt x="23" y="2"/>
                  <a:pt x="22" y="1"/>
                  <a:pt x="22" y="1"/>
                </a:cubicBezTo>
                <a:cubicBezTo>
                  <a:pt x="22" y="0"/>
                  <a:pt x="21" y="0"/>
                  <a:pt x="21" y="0"/>
                </a:cubicBezTo>
                <a:cubicBezTo>
                  <a:pt x="20" y="0"/>
                  <a:pt x="20" y="0"/>
                  <a:pt x="20" y="0"/>
                </a:cubicBezTo>
                <a:cubicBezTo>
                  <a:pt x="20" y="0"/>
                  <a:pt x="20" y="1"/>
                  <a:pt x="19" y="1"/>
                </a:cubicBezTo>
                <a:cubicBezTo>
                  <a:pt x="19" y="1"/>
                  <a:pt x="18" y="2"/>
                  <a:pt x="17" y="2"/>
                </a:cubicBezTo>
                <a:cubicBezTo>
                  <a:pt x="16" y="3"/>
                  <a:pt x="15" y="2"/>
                  <a:pt x="14" y="2"/>
                </a:cubicBezTo>
                <a:cubicBezTo>
                  <a:pt x="13" y="2"/>
                  <a:pt x="12" y="3"/>
                  <a:pt x="13" y="3"/>
                </a:cubicBezTo>
                <a:cubicBezTo>
                  <a:pt x="13" y="3"/>
                  <a:pt x="13" y="5"/>
                  <a:pt x="13" y="5"/>
                </a:cubicBezTo>
                <a:cubicBezTo>
                  <a:pt x="13" y="5"/>
                  <a:pt x="13" y="7"/>
                  <a:pt x="14" y="7"/>
                </a:cubicBezTo>
                <a:cubicBezTo>
                  <a:pt x="15" y="7"/>
                  <a:pt x="16" y="8"/>
                  <a:pt x="15" y="8"/>
                </a:cubicBezTo>
                <a:cubicBezTo>
                  <a:pt x="15" y="8"/>
                  <a:pt x="14" y="9"/>
                  <a:pt x="14" y="10"/>
                </a:cubicBezTo>
                <a:cubicBezTo>
                  <a:pt x="14" y="10"/>
                  <a:pt x="14" y="11"/>
                  <a:pt x="14" y="11"/>
                </a:cubicBezTo>
                <a:cubicBezTo>
                  <a:pt x="13" y="11"/>
                  <a:pt x="13" y="12"/>
                  <a:pt x="13" y="12"/>
                </a:cubicBezTo>
                <a:cubicBezTo>
                  <a:pt x="13" y="13"/>
                  <a:pt x="12" y="13"/>
                  <a:pt x="11" y="14"/>
                </a:cubicBezTo>
                <a:cubicBezTo>
                  <a:pt x="11" y="14"/>
                  <a:pt x="11" y="16"/>
                  <a:pt x="10" y="16"/>
                </a:cubicBezTo>
                <a:cubicBezTo>
                  <a:pt x="10" y="16"/>
                  <a:pt x="9" y="16"/>
                  <a:pt x="9" y="17"/>
                </a:cubicBezTo>
                <a:cubicBezTo>
                  <a:pt x="9" y="18"/>
                  <a:pt x="8" y="19"/>
                  <a:pt x="7" y="19"/>
                </a:cubicBezTo>
                <a:cubicBezTo>
                  <a:pt x="7" y="19"/>
                  <a:pt x="6" y="18"/>
                  <a:pt x="6" y="19"/>
                </a:cubicBezTo>
                <a:cubicBezTo>
                  <a:pt x="6" y="19"/>
                  <a:pt x="5" y="18"/>
                  <a:pt x="4" y="19"/>
                </a:cubicBezTo>
                <a:cubicBezTo>
                  <a:pt x="4" y="19"/>
                  <a:pt x="3" y="20"/>
                  <a:pt x="3" y="21"/>
                </a:cubicBezTo>
                <a:cubicBezTo>
                  <a:pt x="3" y="21"/>
                  <a:pt x="4" y="21"/>
                  <a:pt x="4" y="22"/>
                </a:cubicBezTo>
                <a:cubicBezTo>
                  <a:pt x="4" y="23"/>
                  <a:pt x="5" y="24"/>
                  <a:pt x="5" y="25"/>
                </a:cubicBezTo>
                <a:cubicBezTo>
                  <a:pt x="5" y="25"/>
                  <a:pt x="6" y="26"/>
                  <a:pt x="6" y="27"/>
                </a:cubicBezTo>
                <a:cubicBezTo>
                  <a:pt x="5" y="27"/>
                  <a:pt x="5" y="27"/>
                  <a:pt x="4" y="27"/>
                </a:cubicBezTo>
                <a:cubicBezTo>
                  <a:pt x="3" y="27"/>
                  <a:pt x="3" y="27"/>
                  <a:pt x="2" y="27"/>
                </a:cubicBezTo>
                <a:cubicBezTo>
                  <a:pt x="1" y="27"/>
                  <a:pt x="1" y="28"/>
                  <a:pt x="0" y="28"/>
                </a:cubicBezTo>
                <a:cubicBezTo>
                  <a:pt x="0" y="29"/>
                  <a:pt x="0" y="29"/>
                  <a:pt x="0" y="29"/>
                </a:cubicBezTo>
                <a:cubicBezTo>
                  <a:pt x="1" y="29"/>
                  <a:pt x="1" y="30"/>
                  <a:pt x="2" y="30"/>
                </a:cubicBezTo>
                <a:cubicBezTo>
                  <a:pt x="3" y="31"/>
                  <a:pt x="4" y="30"/>
                  <a:pt x="4" y="31"/>
                </a:cubicBezTo>
                <a:cubicBezTo>
                  <a:pt x="4" y="32"/>
                  <a:pt x="1" y="31"/>
                  <a:pt x="1" y="32"/>
                </a:cubicBezTo>
                <a:cubicBezTo>
                  <a:pt x="1" y="32"/>
                  <a:pt x="4" y="36"/>
                  <a:pt x="6" y="36"/>
                </a:cubicBezTo>
                <a:cubicBezTo>
                  <a:pt x="8" y="35"/>
                  <a:pt x="9" y="33"/>
                  <a:pt x="8" y="33"/>
                </a:cubicBezTo>
                <a:cubicBezTo>
                  <a:pt x="8" y="33"/>
                  <a:pt x="9" y="32"/>
                  <a:pt x="9" y="32"/>
                </a:cubicBezTo>
                <a:cubicBezTo>
                  <a:pt x="9" y="32"/>
                  <a:pt x="9" y="34"/>
                  <a:pt x="9" y="34"/>
                </a:cubicBezTo>
                <a:cubicBezTo>
                  <a:pt x="10" y="35"/>
                  <a:pt x="10" y="35"/>
                  <a:pt x="9" y="36"/>
                </a:cubicBezTo>
                <a:cubicBezTo>
                  <a:pt x="9" y="37"/>
                  <a:pt x="10" y="39"/>
                  <a:pt x="10" y="40"/>
                </a:cubicBezTo>
                <a:cubicBezTo>
                  <a:pt x="10" y="41"/>
                  <a:pt x="11" y="43"/>
                  <a:pt x="11" y="44"/>
                </a:cubicBezTo>
                <a:cubicBezTo>
                  <a:pt x="11" y="46"/>
                  <a:pt x="12" y="48"/>
                  <a:pt x="13" y="50"/>
                </a:cubicBezTo>
                <a:cubicBezTo>
                  <a:pt x="14" y="52"/>
                  <a:pt x="15" y="55"/>
                  <a:pt x="15" y="56"/>
                </a:cubicBezTo>
                <a:cubicBezTo>
                  <a:pt x="16" y="57"/>
                  <a:pt x="17" y="59"/>
                  <a:pt x="17" y="60"/>
                </a:cubicBezTo>
                <a:cubicBezTo>
                  <a:pt x="17" y="62"/>
                  <a:pt x="19" y="64"/>
                  <a:pt x="19" y="64"/>
                </a:cubicBezTo>
                <a:cubicBezTo>
                  <a:pt x="20" y="65"/>
                  <a:pt x="21" y="64"/>
                  <a:pt x="21" y="63"/>
                </a:cubicBezTo>
                <a:cubicBezTo>
                  <a:pt x="22" y="62"/>
                  <a:pt x="23" y="62"/>
                  <a:pt x="24" y="61"/>
                </a:cubicBezTo>
                <a:cubicBezTo>
                  <a:pt x="24" y="60"/>
                  <a:pt x="24" y="59"/>
                  <a:pt x="24" y="59"/>
                </a:cubicBezTo>
                <a:cubicBezTo>
                  <a:pt x="25" y="59"/>
                  <a:pt x="25" y="59"/>
                  <a:pt x="25" y="58"/>
                </a:cubicBezTo>
                <a:cubicBezTo>
                  <a:pt x="25" y="57"/>
                  <a:pt x="25" y="56"/>
                  <a:pt x="26" y="55"/>
                </a:cubicBezTo>
                <a:cubicBezTo>
                  <a:pt x="26" y="54"/>
                  <a:pt x="26" y="52"/>
                  <a:pt x="26" y="51"/>
                </a:cubicBezTo>
                <a:cubicBezTo>
                  <a:pt x="26" y="51"/>
                  <a:pt x="26" y="49"/>
                  <a:pt x="26" y="49"/>
                </a:cubicBezTo>
                <a:cubicBezTo>
                  <a:pt x="26" y="48"/>
                  <a:pt x="26" y="47"/>
                  <a:pt x="27" y="47"/>
                </a:cubicBezTo>
                <a:cubicBezTo>
                  <a:pt x="28" y="47"/>
                  <a:pt x="28" y="46"/>
                  <a:pt x="29" y="45"/>
                </a:cubicBezTo>
                <a:cubicBezTo>
                  <a:pt x="30" y="44"/>
                  <a:pt x="32" y="43"/>
                  <a:pt x="32" y="43"/>
                </a:cubicBezTo>
                <a:cubicBezTo>
                  <a:pt x="33" y="42"/>
                  <a:pt x="35" y="40"/>
                  <a:pt x="36" y="39"/>
                </a:cubicBezTo>
                <a:cubicBezTo>
                  <a:pt x="37" y="38"/>
                  <a:pt x="39" y="38"/>
                  <a:pt x="39" y="37"/>
                </a:cubicBezTo>
                <a:cubicBezTo>
                  <a:pt x="40" y="36"/>
                  <a:pt x="40" y="35"/>
                  <a:pt x="40" y="34"/>
                </a:cubicBezTo>
                <a:cubicBezTo>
                  <a:pt x="40" y="33"/>
                  <a:pt x="43" y="33"/>
                  <a:pt x="44" y="33"/>
                </a:cubicBezTo>
                <a:cubicBezTo>
                  <a:pt x="44" y="33"/>
                  <a:pt x="44" y="33"/>
                  <a:pt x="45" y="33"/>
                </a:cubicBezTo>
                <a:cubicBezTo>
                  <a:pt x="45" y="31"/>
                  <a:pt x="44" y="30"/>
                  <a:pt x="44"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84"/>
          <p:cNvSpPr>
            <a:spLocks/>
          </p:cNvSpPr>
          <p:nvPr/>
        </p:nvSpPr>
        <p:spPr bwMode="auto">
          <a:xfrm>
            <a:off x="3131001" y="2664076"/>
            <a:ext cx="339611" cy="142994"/>
          </a:xfrm>
          <a:custGeom>
            <a:avLst/>
            <a:gdLst>
              <a:gd name="T0" fmla="*/ 65 w 70"/>
              <a:gd name="T1" fmla="*/ 13 h 30"/>
              <a:gd name="T2" fmla="*/ 60 w 70"/>
              <a:gd name="T3" fmla="*/ 13 h 30"/>
              <a:gd name="T4" fmla="*/ 61 w 70"/>
              <a:gd name="T5" fmla="*/ 10 h 30"/>
              <a:gd name="T6" fmla="*/ 61 w 70"/>
              <a:gd name="T7" fmla="*/ 7 h 30"/>
              <a:gd name="T8" fmla="*/ 56 w 70"/>
              <a:gd name="T9" fmla="*/ 6 h 30"/>
              <a:gd name="T10" fmla="*/ 53 w 70"/>
              <a:gd name="T11" fmla="*/ 8 h 30"/>
              <a:gd name="T12" fmla="*/ 47 w 70"/>
              <a:gd name="T13" fmla="*/ 9 h 30"/>
              <a:gd name="T14" fmla="*/ 43 w 70"/>
              <a:gd name="T15" fmla="*/ 7 h 30"/>
              <a:gd name="T16" fmla="*/ 39 w 70"/>
              <a:gd name="T17" fmla="*/ 6 h 30"/>
              <a:gd name="T18" fmla="*/ 35 w 70"/>
              <a:gd name="T19" fmla="*/ 5 h 30"/>
              <a:gd name="T20" fmla="*/ 32 w 70"/>
              <a:gd name="T21" fmla="*/ 6 h 30"/>
              <a:gd name="T22" fmla="*/ 30 w 70"/>
              <a:gd name="T23" fmla="*/ 3 h 30"/>
              <a:gd name="T24" fmla="*/ 26 w 70"/>
              <a:gd name="T25" fmla="*/ 1 h 30"/>
              <a:gd name="T26" fmla="*/ 23 w 70"/>
              <a:gd name="T27" fmla="*/ 0 h 30"/>
              <a:gd name="T28" fmla="*/ 21 w 70"/>
              <a:gd name="T29" fmla="*/ 2 h 30"/>
              <a:gd name="T30" fmla="*/ 21 w 70"/>
              <a:gd name="T31" fmla="*/ 5 h 30"/>
              <a:gd name="T32" fmla="*/ 19 w 70"/>
              <a:gd name="T33" fmla="*/ 7 h 30"/>
              <a:gd name="T34" fmla="*/ 16 w 70"/>
              <a:gd name="T35" fmla="*/ 7 h 30"/>
              <a:gd name="T36" fmla="*/ 14 w 70"/>
              <a:gd name="T37" fmla="*/ 5 h 30"/>
              <a:gd name="T38" fmla="*/ 9 w 70"/>
              <a:gd name="T39" fmla="*/ 5 h 30"/>
              <a:gd name="T40" fmla="*/ 6 w 70"/>
              <a:gd name="T41" fmla="*/ 6 h 30"/>
              <a:gd name="T42" fmla="*/ 2 w 70"/>
              <a:gd name="T43" fmla="*/ 8 h 30"/>
              <a:gd name="T44" fmla="*/ 0 w 70"/>
              <a:gd name="T45" fmla="*/ 9 h 30"/>
              <a:gd name="T46" fmla="*/ 2 w 70"/>
              <a:gd name="T47" fmla="*/ 11 h 30"/>
              <a:gd name="T48" fmla="*/ 6 w 70"/>
              <a:gd name="T49" fmla="*/ 14 h 30"/>
              <a:gd name="T50" fmla="*/ 7 w 70"/>
              <a:gd name="T51" fmla="*/ 18 h 30"/>
              <a:gd name="T52" fmla="*/ 11 w 70"/>
              <a:gd name="T53" fmla="*/ 21 h 30"/>
              <a:gd name="T54" fmla="*/ 15 w 70"/>
              <a:gd name="T55" fmla="*/ 23 h 30"/>
              <a:gd name="T56" fmla="*/ 18 w 70"/>
              <a:gd name="T57" fmla="*/ 27 h 30"/>
              <a:gd name="T58" fmla="*/ 26 w 70"/>
              <a:gd name="T59" fmla="*/ 27 h 30"/>
              <a:gd name="T60" fmla="*/ 32 w 70"/>
              <a:gd name="T61" fmla="*/ 29 h 30"/>
              <a:gd name="T62" fmla="*/ 36 w 70"/>
              <a:gd name="T63" fmla="*/ 30 h 30"/>
              <a:gd name="T64" fmla="*/ 45 w 70"/>
              <a:gd name="T65" fmla="*/ 28 h 30"/>
              <a:gd name="T66" fmla="*/ 52 w 70"/>
              <a:gd name="T67" fmla="*/ 24 h 30"/>
              <a:gd name="T68" fmla="*/ 53 w 70"/>
              <a:gd name="T69" fmla="*/ 21 h 30"/>
              <a:gd name="T70" fmla="*/ 60 w 70"/>
              <a:gd name="T71" fmla="*/ 20 h 30"/>
              <a:gd name="T72" fmla="*/ 65 w 70"/>
              <a:gd name="T73" fmla="*/ 17 h 30"/>
              <a:gd name="T74" fmla="*/ 70 w 70"/>
              <a:gd name="T75"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30">
                <a:moveTo>
                  <a:pt x="67" y="13"/>
                </a:moveTo>
                <a:cubicBezTo>
                  <a:pt x="66" y="12"/>
                  <a:pt x="65" y="12"/>
                  <a:pt x="65" y="13"/>
                </a:cubicBezTo>
                <a:cubicBezTo>
                  <a:pt x="65" y="14"/>
                  <a:pt x="64" y="13"/>
                  <a:pt x="63" y="13"/>
                </a:cubicBezTo>
                <a:cubicBezTo>
                  <a:pt x="61" y="13"/>
                  <a:pt x="61" y="14"/>
                  <a:pt x="60" y="13"/>
                </a:cubicBezTo>
                <a:cubicBezTo>
                  <a:pt x="60" y="12"/>
                  <a:pt x="61" y="12"/>
                  <a:pt x="61" y="12"/>
                </a:cubicBezTo>
                <a:cubicBezTo>
                  <a:pt x="61" y="10"/>
                  <a:pt x="61" y="10"/>
                  <a:pt x="61" y="10"/>
                </a:cubicBezTo>
                <a:cubicBezTo>
                  <a:pt x="63" y="7"/>
                  <a:pt x="63" y="7"/>
                  <a:pt x="63" y="7"/>
                </a:cubicBezTo>
                <a:cubicBezTo>
                  <a:pt x="62" y="7"/>
                  <a:pt x="61" y="7"/>
                  <a:pt x="61" y="7"/>
                </a:cubicBezTo>
                <a:cubicBezTo>
                  <a:pt x="60" y="7"/>
                  <a:pt x="59" y="7"/>
                  <a:pt x="59" y="6"/>
                </a:cubicBezTo>
                <a:cubicBezTo>
                  <a:pt x="59" y="6"/>
                  <a:pt x="57" y="6"/>
                  <a:pt x="56" y="6"/>
                </a:cubicBezTo>
                <a:cubicBezTo>
                  <a:pt x="56" y="7"/>
                  <a:pt x="55" y="7"/>
                  <a:pt x="55" y="7"/>
                </a:cubicBezTo>
                <a:cubicBezTo>
                  <a:pt x="55" y="8"/>
                  <a:pt x="53" y="8"/>
                  <a:pt x="53" y="8"/>
                </a:cubicBezTo>
                <a:cubicBezTo>
                  <a:pt x="52" y="8"/>
                  <a:pt x="50" y="8"/>
                  <a:pt x="50" y="9"/>
                </a:cubicBezTo>
                <a:cubicBezTo>
                  <a:pt x="50" y="9"/>
                  <a:pt x="47" y="9"/>
                  <a:pt x="47" y="9"/>
                </a:cubicBezTo>
                <a:cubicBezTo>
                  <a:pt x="47" y="8"/>
                  <a:pt x="44" y="9"/>
                  <a:pt x="44" y="8"/>
                </a:cubicBezTo>
                <a:cubicBezTo>
                  <a:pt x="44" y="8"/>
                  <a:pt x="43" y="7"/>
                  <a:pt x="43" y="7"/>
                </a:cubicBezTo>
                <a:cubicBezTo>
                  <a:pt x="43" y="7"/>
                  <a:pt x="41" y="7"/>
                  <a:pt x="41" y="6"/>
                </a:cubicBezTo>
                <a:cubicBezTo>
                  <a:pt x="41" y="6"/>
                  <a:pt x="40" y="6"/>
                  <a:pt x="39" y="6"/>
                </a:cubicBezTo>
                <a:cubicBezTo>
                  <a:pt x="39" y="6"/>
                  <a:pt x="38" y="5"/>
                  <a:pt x="37" y="5"/>
                </a:cubicBezTo>
                <a:cubicBezTo>
                  <a:pt x="37" y="5"/>
                  <a:pt x="36" y="5"/>
                  <a:pt x="35" y="5"/>
                </a:cubicBezTo>
                <a:cubicBezTo>
                  <a:pt x="35" y="5"/>
                  <a:pt x="34" y="6"/>
                  <a:pt x="34" y="6"/>
                </a:cubicBezTo>
                <a:cubicBezTo>
                  <a:pt x="33" y="6"/>
                  <a:pt x="32" y="5"/>
                  <a:pt x="32" y="6"/>
                </a:cubicBezTo>
                <a:cubicBezTo>
                  <a:pt x="32" y="6"/>
                  <a:pt x="31" y="5"/>
                  <a:pt x="31" y="5"/>
                </a:cubicBezTo>
                <a:cubicBezTo>
                  <a:pt x="30" y="4"/>
                  <a:pt x="31" y="3"/>
                  <a:pt x="30" y="3"/>
                </a:cubicBezTo>
                <a:cubicBezTo>
                  <a:pt x="30" y="2"/>
                  <a:pt x="29" y="2"/>
                  <a:pt x="28" y="2"/>
                </a:cubicBezTo>
                <a:cubicBezTo>
                  <a:pt x="28" y="2"/>
                  <a:pt x="27" y="1"/>
                  <a:pt x="26" y="1"/>
                </a:cubicBezTo>
                <a:cubicBezTo>
                  <a:pt x="26" y="1"/>
                  <a:pt x="25" y="1"/>
                  <a:pt x="25" y="1"/>
                </a:cubicBezTo>
                <a:cubicBezTo>
                  <a:pt x="25" y="1"/>
                  <a:pt x="24" y="1"/>
                  <a:pt x="23" y="0"/>
                </a:cubicBezTo>
                <a:cubicBezTo>
                  <a:pt x="23" y="0"/>
                  <a:pt x="23" y="1"/>
                  <a:pt x="23" y="1"/>
                </a:cubicBezTo>
                <a:cubicBezTo>
                  <a:pt x="22" y="1"/>
                  <a:pt x="22" y="1"/>
                  <a:pt x="21" y="2"/>
                </a:cubicBezTo>
                <a:cubicBezTo>
                  <a:pt x="21" y="2"/>
                  <a:pt x="20" y="3"/>
                  <a:pt x="21" y="3"/>
                </a:cubicBezTo>
                <a:cubicBezTo>
                  <a:pt x="21" y="4"/>
                  <a:pt x="21" y="5"/>
                  <a:pt x="21" y="5"/>
                </a:cubicBezTo>
                <a:cubicBezTo>
                  <a:pt x="22" y="5"/>
                  <a:pt x="21" y="6"/>
                  <a:pt x="21" y="6"/>
                </a:cubicBezTo>
                <a:cubicBezTo>
                  <a:pt x="21" y="6"/>
                  <a:pt x="20" y="7"/>
                  <a:pt x="19" y="7"/>
                </a:cubicBezTo>
                <a:cubicBezTo>
                  <a:pt x="19" y="8"/>
                  <a:pt x="19" y="7"/>
                  <a:pt x="18" y="7"/>
                </a:cubicBezTo>
                <a:cubicBezTo>
                  <a:pt x="17" y="6"/>
                  <a:pt x="16" y="7"/>
                  <a:pt x="16" y="7"/>
                </a:cubicBezTo>
                <a:cubicBezTo>
                  <a:pt x="16" y="7"/>
                  <a:pt x="15" y="6"/>
                  <a:pt x="14" y="6"/>
                </a:cubicBezTo>
                <a:cubicBezTo>
                  <a:pt x="14" y="6"/>
                  <a:pt x="14" y="5"/>
                  <a:pt x="14" y="5"/>
                </a:cubicBezTo>
                <a:cubicBezTo>
                  <a:pt x="13" y="5"/>
                  <a:pt x="11" y="4"/>
                  <a:pt x="11" y="4"/>
                </a:cubicBezTo>
                <a:cubicBezTo>
                  <a:pt x="10" y="4"/>
                  <a:pt x="9" y="4"/>
                  <a:pt x="9" y="5"/>
                </a:cubicBezTo>
                <a:cubicBezTo>
                  <a:pt x="9" y="5"/>
                  <a:pt x="8" y="5"/>
                  <a:pt x="7" y="5"/>
                </a:cubicBezTo>
                <a:cubicBezTo>
                  <a:pt x="7" y="6"/>
                  <a:pt x="6" y="6"/>
                  <a:pt x="6" y="6"/>
                </a:cubicBezTo>
                <a:cubicBezTo>
                  <a:pt x="6" y="7"/>
                  <a:pt x="5" y="7"/>
                  <a:pt x="4" y="7"/>
                </a:cubicBezTo>
                <a:cubicBezTo>
                  <a:pt x="4" y="8"/>
                  <a:pt x="3" y="8"/>
                  <a:pt x="2" y="8"/>
                </a:cubicBezTo>
                <a:cubicBezTo>
                  <a:pt x="2" y="8"/>
                  <a:pt x="1" y="8"/>
                  <a:pt x="1" y="9"/>
                </a:cubicBezTo>
                <a:cubicBezTo>
                  <a:pt x="1" y="9"/>
                  <a:pt x="1" y="9"/>
                  <a:pt x="0" y="9"/>
                </a:cubicBezTo>
                <a:cubicBezTo>
                  <a:pt x="0" y="9"/>
                  <a:pt x="0" y="9"/>
                  <a:pt x="0" y="9"/>
                </a:cubicBezTo>
                <a:cubicBezTo>
                  <a:pt x="1" y="11"/>
                  <a:pt x="1" y="11"/>
                  <a:pt x="2" y="11"/>
                </a:cubicBezTo>
                <a:cubicBezTo>
                  <a:pt x="3" y="12"/>
                  <a:pt x="3" y="12"/>
                  <a:pt x="4" y="12"/>
                </a:cubicBezTo>
                <a:cubicBezTo>
                  <a:pt x="5" y="12"/>
                  <a:pt x="6" y="13"/>
                  <a:pt x="6" y="14"/>
                </a:cubicBezTo>
                <a:cubicBezTo>
                  <a:pt x="6" y="14"/>
                  <a:pt x="7" y="15"/>
                  <a:pt x="7" y="15"/>
                </a:cubicBezTo>
                <a:cubicBezTo>
                  <a:pt x="8" y="16"/>
                  <a:pt x="7" y="17"/>
                  <a:pt x="7" y="18"/>
                </a:cubicBezTo>
                <a:cubicBezTo>
                  <a:pt x="7" y="18"/>
                  <a:pt x="6" y="19"/>
                  <a:pt x="6" y="19"/>
                </a:cubicBezTo>
                <a:cubicBezTo>
                  <a:pt x="7" y="20"/>
                  <a:pt x="10" y="21"/>
                  <a:pt x="11" y="21"/>
                </a:cubicBezTo>
                <a:cubicBezTo>
                  <a:pt x="12" y="21"/>
                  <a:pt x="13" y="22"/>
                  <a:pt x="13" y="22"/>
                </a:cubicBezTo>
                <a:cubicBezTo>
                  <a:pt x="14" y="22"/>
                  <a:pt x="14" y="23"/>
                  <a:pt x="15" y="23"/>
                </a:cubicBezTo>
                <a:cubicBezTo>
                  <a:pt x="15" y="23"/>
                  <a:pt x="16" y="23"/>
                  <a:pt x="16" y="25"/>
                </a:cubicBezTo>
                <a:cubicBezTo>
                  <a:pt x="17" y="26"/>
                  <a:pt x="17" y="26"/>
                  <a:pt x="18" y="27"/>
                </a:cubicBezTo>
                <a:cubicBezTo>
                  <a:pt x="18" y="27"/>
                  <a:pt x="19" y="27"/>
                  <a:pt x="20" y="27"/>
                </a:cubicBezTo>
                <a:cubicBezTo>
                  <a:pt x="21" y="27"/>
                  <a:pt x="25" y="27"/>
                  <a:pt x="26" y="27"/>
                </a:cubicBezTo>
                <a:cubicBezTo>
                  <a:pt x="26" y="27"/>
                  <a:pt x="28" y="27"/>
                  <a:pt x="30" y="28"/>
                </a:cubicBezTo>
                <a:cubicBezTo>
                  <a:pt x="31" y="29"/>
                  <a:pt x="31" y="28"/>
                  <a:pt x="32" y="29"/>
                </a:cubicBezTo>
                <a:cubicBezTo>
                  <a:pt x="33" y="29"/>
                  <a:pt x="33" y="29"/>
                  <a:pt x="34" y="29"/>
                </a:cubicBezTo>
                <a:cubicBezTo>
                  <a:pt x="35" y="29"/>
                  <a:pt x="35" y="30"/>
                  <a:pt x="36" y="30"/>
                </a:cubicBezTo>
                <a:cubicBezTo>
                  <a:pt x="37" y="30"/>
                  <a:pt x="38" y="29"/>
                  <a:pt x="40" y="28"/>
                </a:cubicBezTo>
                <a:cubicBezTo>
                  <a:pt x="42" y="27"/>
                  <a:pt x="44" y="28"/>
                  <a:pt x="45" y="28"/>
                </a:cubicBezTo>
                <a:cubicBezTo>
                  <a:pt x="46" y="28"/>
                  <a:pt x="48" y="27"/>
                  <a:pt x="49" y="26"/>
                </a:cubicBezTo>
                <a:cubicBezTo>
                  <a:pt x="50" y="25"/>
                  <a:pt x="51" y="25"/>
                  <a:pt x="52" y="24"/>
                </a:cubicBezTo>
                <a:cubicBezTo>
                  <a:pt x="52" y="23"/>
                  <a:pt x="50" y="23"/>
                  <a:pt x="51" y="22"/>
                </a:cubicBezTo>
                <a:cubicBezTo>
                  <a:pt x="52" y="21"/>
                  <a:pt x="53" y="21"/>
                  <a:pt x="53" y="21"/>
                </a:cubicBezTo>
                <a:cubicBezTo>
                  <a:pt x="54" y="21"/>
                  <a:pt x="55" y="22"/>
                  <a:pt x="57" y="21"/>
                </a:cubicBezTo>
                <a:cubicBezTo>
                  <a:pt x="58" y="20"/>
                  <a:pt x="59" y="20"/>
                  <a:pt x="60" y="20"/>
                </a:cubicBezTo>
                <a:cubicBezTo>
                  <a:pt x="61" y="20"/>
                  <a:pt x="61" y="19"/>
                  <a:pt x="62" y="18"/>
                </a:cubicBezTo>
                <a:cubicBezTo>
                  <a:pt x="63" y="17"/>
                  <a:pt x="64" y="17"/>
                  <a:pt x="65" y="17"/>
                </a:cubicBezTo>
                <a:cubicBezTo>
                  <a:pt x="66" y="17"/>
                  <a:pt x="67" y="16"/>
                  <a:pt x="67" y="16"/>
                </a:cubicBezTo>
                <a:cubicBezTo>
                  <a:pt x="68" y="16"/>
                  <a:pt x="70" y="17"/>
                  <a:pt x="70" y="16"/>
                </a:cubicBezTo>
                <a:cubicBezTo>
                  <a:pt x="70" y="15"/>
                  <a:pt x="68" y="14"/>
                  <a:pt x="6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285"/>
          <p:cNvSpPr>
            <a:spLocks/>
          </p:cNvSpPr>
          <p:nvPr/>
        </p:nvSpPr>
        <p:spPr bwMode="auto">
          <a:xfrm>
            <a:off x="2566176" y="2917890"/>
            <a:ext cx="7150" cy="14299"/>
          </a:xfrm>
          <a:custGeom>
            <a:avLst/>
            <a:gdLst>
              <a:gd name="T0" fmla="*/ 1 w 1"/>
              <a:gd name="T1" fmla="*/ 0 h 3"/>
              <a:gd name="T2" fmla="*/ 0 w 1"/>
              <a:gd name="T3" fmla="*/ 1 h 3"/>
              <a:gd name="T4" fmla="*/ 1 w 1"/>
              <a:gd name="T5" fmla="*/ 3 h 3"/>
              <a:gd name="T6" fmla="*/ 1 w 1"/>
              <a:gd name="T7" fmla="*/ 0 h 3"/>
              <a:gd name="T8" fmla="*/ 1 w 1"/>
              <a:gd name="T9" fmla="*/ 0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0" y="0"/>
                  <a:pt x="0" y="1"/>
                  <a:pt x="0" y="1"/>
                </a:cubicBezTo>
                <a:cubicBezTo>
                  <a:pt x="0" y="1"/>
                  <a:pt x="0" y="2"/>
                  <a:pt x="1" y="3"/>
                </a:cubicBezTo>
                <a:cubicBezTo>
                  <a:pt x="1" y="2"/>
                  <a:pt x="1" y="0"/>
                  <a:pt x="1" y="0"/>
                </a:cubicBezTo>
                <a:cubicBezTo>
                  <a:pt x="1" y="0"/>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86"/>
          <p:cNvSpPr>
            <a:spLocks/>
          </p:cNvSpPr>
          <p:nvPr/>
        </p:nvSpPr>
        <p:spPr bwMode="auto">
          <a:xfrm>
            <a:off x="2559026" y="2907165"/>
            <a:ext cx="17874" cy="46473"/>
          </a:xfrm>
          <a:custGeom>
            <a:avLst/>
            <a:gdLst>
              <a:gd name="T0" fmla="*/ 2 w 4"/>
              <a:gd name="T1" fmla="*/ 9 h 9"/>
              <a:gd name="T2" fmla="*/ 2 w 4"/>
              <a:gd name="T3" fmla="*/ 9 h 9"/>
              <a:gd name="T4" fmla="*/ 3 w 4"/>
              <a:gd name="T5" fmla="*/ 6 h 9"/>
              <a:gd name="T6" fmla="*/ 3 w 4"/>
              <a:gd name="T7" fmla="*/ 5 h 9"/>
              <a:gd name="T8" fmla="*/ 2 w 4"/>
              <a:gd name="T9" fmla="*/ 3 h 9"/>
              <a:gd name="T10" fmla="*/ 3 w 4"/>
              <a:gd name="T11" fmla="*/ 2 h 9"/>
              <a:gd name="T12" fmla="*/ 3 w 4"/>
              <a:gd name="T13" fmla="*/ 2 h 9"/>
              <a:gd name="T14" fmla="*/ 4 w 4"/>
              <a:gd name="T15" fmla="*/ 0 h 9"/>
              <a:gd name="T16" fmla="*/ 2 w 4"/>
              <a:gd name="T17" fmla="*/ 0 h 9"/>
              <a:gd name="T18" fmla="*/ 2 w 4"/>
              <a:gd name="T19" fmla="*/ 1 h 9"/>
              <a:gd name="T20" fmla="*/ 0 w 4"/>
              <a:gd name="T21" fmla="*/ 5 h 9"/>
              <a:gd name="T22" fmla="*/ 2 w 4"/>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9">
                <a:moveTo>
                  <a:pt x="2" y="9"/>
                </a:moveTo>
                <a:cubicBezTo>
                  <a:pt x="2" y="9"/>
                  <a:pt x="2" y="9"/>
                  <a:pt x="2" y="9"/>
                </a:cubicBezTo>
                <a:cubicBezTo>
                  <a:pt x="2" y="8"/>
                  <a:pt x="3" y="6"/>
                  <a:pt x="3" y="6"/>
                </a:cubicBezTo>
                <a:cubicBezTo>
                  <a:pt x="3" y="6"/>
                  <a:pt x="3" y="5"/>
                  <a:pt x="3" y="5"/>
                </a:cubicBezTo>
                <a:cubicBezTo>
                  <a:pt x="2" y="4"/>
                  <a:pt x="2" y="3"/>
                  <a:pt x="2" y="3"/>
                </a:cubicBezTo>
                <a:cubicBezTo>
                  <a:pt x="2" y="3"/>
                  <a:pt x="2" y="2"/>
                  <a:pt x="3" y="2"/>
                </a:cubicBezTo>
                <a:cubicBezTo>
                  <a:pt x="3" y="2"/>
                  <a:pt x="3" y="2"/>
                  <a:pt x="3" y="2"/>
                </a:cubicBezTo>
                <a:cubicBezTo>
                  <a:pt x="3" y="1"/>
                  <a:pt x="3" y="1"/>
                  <a:pt x="4" y="0"/>
                </a:cubicBezTo>
                <a:cubicBezTo>
                  <a:pt x="2" y="0"/>
                  <a:pt x="2" y="0"/>
                  <a:pt x="2" y="0"/>
                </a:cubicBezTo>
                <a:cubicBezTo>
                  <a:pt x="2" y="0"/>
                  <a:pt x="2" y="0"/>
                  <a:pt x="2" y="1"/>
                </a:cubicBezTo>
                <a:cubicBezTo>
                  <a:pt x="2" y="2"/>
                  <a:pt x="1" y="4"/>
                  <a:pt x="0" y="5"/>
                </a:cubicBezTo>
                <a:cubicBezTo>
                  <a:pt x="2" y="9"/>
                  <a:pt x="2" y="9"/>
                  <a:pt x="2"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87"/>
          <p:cNvSpPr>
            <a:spLocks/>
          </p:cNvSpPr>
          <p:nvPr/>
        </p:nvSpPr>
        <p:spPr bwMode="auto">
          <a:xfrm>
            <a:off x="2566176" y="2907165"/>
            <a:ext cx="42898" cy="50048"/>
          </a:xfrm>
          <a:custGeom>
            <a:avLst/>
            <a:gdLst>
              <a:gd name="T0" fmla="*/ 9 w 9"/>
              <a:gd name="T1" fmla="*/ 0 h 10"/>
              <a:gd name="T2" fmla="*/ 6 w 9"/>
              <a:gd name="T3" fmla="*/ 1 h 10"/>
              <a:gd name="T4" fmla="*/ 4 w 9"/>
              <a:gd name="T5" fmla="*/ 2 h 10"/>
              <a:gd name="T6" fmla="*/ 2 w 9"/>
              <a:gd name="T7" fmla="*/ 1 h 10"/>
              <a:gd name="T8" fmla="*/ 2 w 9"/>
              <a:gd name="T9" fmla="*/ 0 h 10"/>
              <a:gd name="T10" fmla="*/ 2 w 9"/>
              <a:gd name="T11" fmla="*/ 0 h 10"/>
              <a:gd name="T12" fmla="*/ 1 w 9"/>
              <a:gd name="T13" fmla="*/ 2 h 10"/>
              <a:gd name="T14" fmla="*/ 1 w 9"/>
              <a:gd name="T15" fmla="*/ 6 h 10"/>
              <a:gd name="T16" fmla="*/ 0 w 9"/>
              <a:gd name="T17" fmla="*/ 9 h 10"/>
              <a:gd name="T18" fmla="*/ 2 w 9"/>
              <a:gd name="T19" fmla="*/ 10 h 10"/>
              <a:gd name="T20" fmla="*/ 4 w 9"/>
              <a:gd name="T21" fmla="*/ 9 h 10"/>
              <a:gd name="T22" fmla="*/ 5 w 9"/>
              <a:gd name="T23" fmla="*/ 8 h 10"/>
              <a:gd name="T24" fmla="*/ 6 w 9"/>
              <a:gd name="T25" fmla="*/ 7 h 10"/>
              <a:gd name="T26" fmla="*/ 5 w 9"/>
              <a:gd name="T27" fmla="*/ 5 h 10"/>
              <a:gd name="T28" fmla="*/ 7 w 9"/>
              <a:gd name="T29" fmla="*/ 4 h 10"/>
              <a:gd name="T30" fmla="*/ 9 w 9"/>
              <a:gd name="T31" fmla="*/ 3 h 10"/>
              <a:gd name="T32" fmla="*/ 9 w 9"/>
              <a:gd name="T33" fmla="*/ 3 h 10"/>
              <a:gd name="T34" fmla="*/ 9 w 9"/>
              <a:gd name="T35" fmla="*/ 1 h 10"/>
              <a:gd name="T36" fmla="*/ 9 w 9"/>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0">
                <a:moveTo>
                  <a:pt x="9" y="0"/>
                </a:moveTo>
                <a:cubicBezTo>
                  <a:pt x="7" y="0"/>
                  <a:pt x="6" y="1"/>
                  <a:pt x="6" y="1"/>
                </a:cubicBezTo>
                <a:cubicBezTo>
                  <a:pt x="5" y="1"/>
                  <a:pt x="4" y="2"/>
                  <a:pt x="4" y="2"/>
                </a:cubicBezTo>
                <a:cubicBezTo>
                  <a:pt x="2" y="1"/>
                  <a:pt x="2" y="1"/>
                  <a:pt x="2" y="1"/>
                </a:cubicBezTo>
                <a:cubicBezTo>
                  <a:pt x="2" y="0"/>
                  <a:pt x="2" y="0"/>
                  <a:pt x="2" y="0"/>
                </a:cubicBezTo>
                <a:cubicBezTo>
                  <a:pt x="2" y="0"/>
                  <a:pt x="2" y="0"/>
                  <a:pt x="2" y="0"/>
                </a:cubicBezTo>
                <a:cubicBezTo>
                  <a:pt x="1" y="1"/>
                  <a:pt x="1" y="2"/>
                  <a:pt x="1" y="2"/>
                </a:cubicBezTo>
                <a:cubicBezTo>
                  <a:pt x="1" y="3"/>
                  <a:pt x="1" y="5"/>
                  <a:pt x="1" y="6"/>
                </a:cubicBezTo>
                <a:cubicBezTo>
                  <a:pt x="1" y="6"/>
                  <a:pt x="0" y="8"/>
                  <a:pt x="0" y="9"/>
                </a:cubicBezTo>
                <a:cubicBezTo>
                  <a:pt x="1" y="9"/>
                  <a:pt x="2" y="10"/>
                  <a:pt x="2" y="10"/>
                </a:cubicBezTo>
                <a:cubicBezTo>
                  <a:pt x="3" y="10"/>
                  <a:pt x="4" y="9"/>
                  <a:pt x="4" y="9"/>
                </a:cubicBezTo>
                <a:cubicBezTo>
                  <a:pt x="4" y="8"/>
                  <a:pt x="4" y="8"/>
                  <a:pt x="5" y="8"/>
                </a:cubicBezTo>
                <a:cubicBezTo>
                  <a:pt x="6" y="8"/>
                  <a:pt x="6" y="7"/>
                  <a:pt x="6" y="7"/>
                </a:cubicBezTo>
                <a:cubicBezTo>
                  <a:pt x="7" y="7"/>
                  <a:pt x="5" y="5"/>
                  <a:pt x="5" y="5"/>
                </a:cubicBezTo>
                <a:cubicBezTo>
                  <a:pt x="4" y="5"/>
                  <a:pt x="5" y="4"/>
                  <a:pt x="7" y="4"/>
                </a:cubicBezTo>
                <a:cubicBezTo>
                  <a:pt x="9" y="3"/>
                  <a:pt x="8" y="3"/>
                  <a:pt x="9" y="3"/>
                </a:cubicBezTo>
                <a:cubicBezTo>
                  <a:pt x="9" y="3"/>
                  <a:pt x="9" y="3"/>
                  <a:pt x="9" y="3"/>
                </a:cubicBezTo>
                <a:cubicBezTo>
                  <a:pt x="9" y="2"/>
                  <a:pt x="9" y="1"/>
                  <a:pt x="9" y="1"/>
                </a:cubicBezTo>
                <a:cubicBezTo>
                  <a:pt x="9" y="0"/>
                  <a:pt x="9" y="0"/>
                  <a:pt x="9"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88"/>
          <p:cNvSpPr>
            <a:spLocks/>
          </p:cNvSpPr>
          <p:nvPr/>
        </p:nvSpPr>
        <p:spPr bwMode="auto">
          <a:xfrm>
            <a:off x="2937960" y="2782046"/>
            <a:ext cx="117970" cy="53623"/>
          </a:xfrm>
          <a:custGeom>
            <a:avLst/>
            <a:gdLst>
              <a:gd name="T0" fmla="*/ 23 w 24"/>
              <a:gd name="T1" fmla="*/ 2 h 11"/>
              <a:gd name="T2" fmla="*/ 21 w 24"/>
              <a:gd name="T3" fmla="*/ 2 h 11"/>
              <a:gd name="T4" fmla="*/ 15 w 24"/>
              <a:gd name="T5" fmla="*/ 1 h 11"/>
              <a:gd name="T6" fmla="*/ 12 w 24"/>
              <a:gd name="T7" fmla="*/ 1 h 11"/>
              <a:gd name="T8" fmla="*/ 10 w 24"/>
              <a:gd name="T9" fmla="*/ 2 h 11"/>
              <a:gd name="T10" fmla="*/ 8 w 24"/>
              <a:gd name="T11" fmla="*/ 2 h 11"/>
              <a:gd name="T12" fmla="*/ 5 w 24"/>
              <a:gd name="T13" fmla="*/ 2 h 11"/>
              <a:gd name="T14" fmla="*/ 3 w 24"/>
              <a:gd name="T15" fmla="*/ 3 h 11"/>
              <a:gd name="T16" fmla="*/ 3 w 24"/>
              <a:gd name="T17" fmla="*/ 5 h 11"/>
              <a:gd name="T18" fmla="*/ 3 w 24"/>
              <a:gd name="T19" fmla="*/ 5 h 11"/>
              <a:gd name="T20" fmla="*/ 5 w 24"/>
              <a:gd name="T21" fmla="*/ 5 h 11"/>
              <a:gd name="T22" fmla="*/ 8 w 24"/>
              <a:gd name="T23" fmla="*/ 7 h 11"/>
              <a:gd name="T24" fmla="*/ 7 w 24"/>
              <a:gd name="T25" fmla="*/ 8 h 11"/>
              <a:gd name="T26" fmla="*/ 5 w 24"/>
              <a:gd name="T27" fmla="*/ 8 h 11"/>
              <a:gd name="T28" fmla="*/ 2 w 24"/>
              <a:gd name="T29" fmla="*/ 9 h 11"/>
              <a:gd name="T30" fmla="*/ 0 w 24"/>
              <a:gd name="T31" fmla="*/ 10 h 11"/>
              <a:gd name="T32" fmla="*/ 3 w 24"/>
              <a:gd name="T33" fmla="*/ 10 h 11"/>
              <a:gd name="T34" fmla="*/ 5 w 24"/>
              <a:gd name="T35" fmla="*/ 10 h 11"/>
              <a:gd name="T36" fmla="*/ 7 w 24"/>
              <a:gd name="T37" fmla="*/ 11 h 11"/>
              <a:gd name="T38" fmla="*/ 10 w 24"/>
              <a:gd name="T39" fmla="*/ 10 h 11"/>
              <a:gd name="T40" fmla="*/ 11 w 24"/>
              <a:gd name="T41" fmla="*/ 9 h 11"/>
              <a:gd name="T42" fmla="*/ 12 w 24"/>
              <a:gd name="T43" fmla="*/ 9 h 11"/>
              <a:gd name="T44" fmla="*/ 13 w 24"/>
              <a:gd name="T45" fmla="*/ 8 h 11"/>
              <a:gd name="T46" fmla="*/ 14 w 24"/>
              <a:gd name="T47" fmla="*/ 8 h 11"/>
              <a:gd name="T48" fmla="*/ 15 w 24"/>
              <a:gd name="T49" fmla="*/ 8 h 11"/>
              <a:gd name="T50" fmla="*/ 17 w 24"/>
              <a:gd name="T51" fmla="*/ 7 h 11"/>
              <a:gd name="T52" fmla="*/ 19 w 24"/>
              <a:gd name="T53" fmla="*/ 7 h 11"/>
              <a:gd name="T54" fmla="*/ 21 w 24"/>
              <a:gd name="T55" fmla="*/ 6 h 11"/>
              <a:gd name="T56" fmla="*/ 22 w 24"/>
              <a:gd name="T57" fmla="*/ 5 h 11"/>
              <a:gd name="T58" fmla="*/ 24 w 24"/>
              <a:gd name="T59" fmla="*/ 4 h 11"/>
              <a:gd name="T60" fmla="*/ 24 w 24"/>
              <a:gd name="T61" fmla="*/ 3 h 11"/>
              <a:gd name="T62" fmla="*/ 23 w 24"/>
              <a:gd name="T6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11">
                <a:moveTo>
                  <a:pt x="23" y="2"/>
                </a:moveTo>
                <a:cubicBezTo>
                  <a:pt x="22" y="1"/>
                  <a:pt x="21" y="2"/>
                  <a:pt x="21" y="2"/>
                </a:cubicBezTo>
                <a:cubicBezTo>
                  <a:pt x="20" y="2"/>
                  <a:pt x="16" y="1"/>
                  <a:pt x="15" y="1"/>
                </a:cubicBezTo>
                <a:cubicBezTo>
                  <a:pt x="14" y="2"/>
                  <a:pt x="12" y="1"/>
                  <a:pt x="12" y="1"/>
                </a:cubicBezTo>
                <a:cubicBezTo>
                  <a:pt x="11" y="0"/>
                  <a:pt x="10" y="1"/>
                  <a:pt x="10" y="2"/>
                </a:cubicBezTo>
                <a:cubicBezTo>
                  <a:pt x="10" y="2"/>
                  <a:pt x="9" y="2"/>
                  <a:pt x="8" y="2"/>
                </a:cubicBezTo>
                <a:cubicBezTo>
                  <a:pt x="6" y="1"/>
                  <a:pt x="5" y="1"/>
                  <a:pt x="5" y="2"/>
                </a:cubicBezTo>
                <a:cubicBezTo>
                  <a:pt x="5" y="3"/>
                  <a:pt x="4" y="3"/>
                  <a:pt x="3" y="3"/>
                </a:cubicBezTo>
                <a:cubicBezTo>
                  <a:pt x="3" y="3"/>
                  <a:pt x="3" y="4"/>
                  <a:pt x="3" y="5"/>
                </a:cubicBezTo>
                <a:cubicBezTo>
                  <a:pt x="3" y="5"/>
                  <a:pt x="3" y="5"/>
                  <a:pt x="3" y="5"/>
                </a:cubicBezTo>
                <a:cubicBezTo>
                  <a:pt x="4" y="6"/>
                  <a:pt x="5" y="6"/>
                  <a:pt x="5" y="5"/>
                </a:cubicBezTo>
                <a:cubicBezTo>
                  <a:pt x="5" y="5"/>
                  <a:pt x="7" y="6"/>
                  <a:pt x="8" y="7"/>
                </a:cubicBezTo>
                <a:cubicBezTo>
                  <a:pt x="9" y="8"/>
                  <a:pt x="8" y="7"/>
                  <a:pt x="7" y="8"/>
                </a:cubicBezTo>
                <a:cubicBezTo>
                  <a:pt x="7" y="9"/>
                  <a:pt x="5" y="8"/>
                  <a:pt x="5" y="8"/>
                </a:cubicBezTo>
                <a:cubicBezTo>
                  <a:pt x="5" y="9"/>
                  <a:pt x="3" y="9"/>
                  <a:pt x="2" y="9"/>
                </a:cubicBezTo>
                <a:cubicBezTo>
                  <a:pt x="1" y="9"/>
                  <a:pt x="0" y="9"/>
                  <a:pt x="0" y="10"/>
                </a:cubicBezTo>
                <a:cubicBezTo>
                  <a:pt x="0" y="10"/>
                  <a:pt x="3" y="10"/>
                  <a:pt x="3" y="10"/>
                </a:cubicBezTo>
                <a:cubicBezTo>
                  <a:pt x="4" y="11"/>
                  <a:pt x="5" y="10"/>
                  <a:pt x="5" y="10"/>
                </a:cubicBezTo>
                <a:cubicBezTo>
                  <a:pt x="6" y="11"/>
                  <a:pt x="7" y="10"/>
                  <a:pt x="7" y="11"/>
                </a:cubicBezTo>
                <a:cubicBezTo>
                  <a:pt x="8" y="11"/>
                  <a:pt x="10" y="10"/>
                  <a:pt x="10" y="10"/>
                </a:cubicBezTo>
                <a:cubicBezTo>
                  <a:pt x="10" y="10"/>
                  <a:pt x="11" y="10"/>
                  <a:pt x="11" y="9"/>
                </a:cubicBezTo>
                <a:cubicBezTo>
                  <a:pt x="11" y="9"/>
                  <a:pt x="11" y="9"/>
                  <a:pt x="12" y="9"/>
                </a:cubicBezTo>
                <a:cubicBezTo>
                  <a:pt x="12" y="9"/>
                  <a:pt x="12" y="8"/>
                  <a:pt x="13" y="8"/>
                </a:cubicBezTo>
                <a:cubicBezTo>
                  <a:pt x="13" y="8"/>
                  <a:pt x="14" y="7"/>
                  <a:pt x="14" y="8"/>
                </a:cubicBezTo>
                <a:cubicBezTo>
                  <a:pt x="14" y="8"/>
                  <a:pt x="15" y="8"/>
                  <a:pt x="15" y="8"/>
                </a:cubicBezTo>
                <a:cubicBezTo>
                  <a:pt x="16" y="8"/>
                  <a:pt x="16" y="8"/>
                  <a:pt x="17" y="7"/>
                </a:cubicBezTo>
                <a:cubicBezTo>
                  <a:pt x="17" y="6"/>
                  <a:pt x="18" y="6"/>
                  <a:pt x="19" y="7"/>
                </a:cubicBezTo>
                <a:cubicBezTo>
                  <a:pt x="20" y="7"/>
                  <a:pt x="20" y="6"/>
                  <a:pt x="21" y="6"/>
                </a:cubicBezTo>
                <a:cubicBezTo>
                  <a:pt x="21" y="5"/>
                  <a:pt x="22" y="5"/>
                  <a:pt x="22" y="5"/>
                </a:cubicBezTo>
                <a:cubicBezTo>
                  <a:pt x="23" y="4"/>
                  <a:pt x="24" y="4"/>
                  <a:pt x="24" y="4"/>
                </a:cubicBezTo>
                <a:cubicBezTo>
                  <a:pt x="24" y="3"/>
                  <a:pt x="24" y="3"/>
                  <a:pt x="24" y="3"/>
                </a:cubicBezTo>
                <a:cubicBezTo>
                  <a:pt x="24" y="2"/>
                  <a:pt x="23" y="3"/>
                  <a:pt x="2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89"/>
          <p:cNvSpPr>
            <a:spLocks/>
          </p:cNvSpPr>
          <p:nvPr/>
        </p:nvSpPr>
        <p:spPr bwMode="auto">
          <a:xfrm>
            <a:off x="2619798" y="2778471"/>
            <a:ext cx="71497" cy="32174"/>
          </a:xfrm>
          <a:custGeom>
            <a:avLst/>
            <a:gdLst>
              <a:gd name="T0" fmla="*/ 6 w 15"/>
              <a:gd name="T1" fmla="*/ 5 h 7"/>
              <a:gd name="T2" fmla="*/ 8 w 15"/>
              <a:gd name="T3" fmla="*/ 7 h 7"/>
              <a:gd name="T4" fmla="*/ 8 w 15"/>
              <a:gd name="T5" fmla="*/ 7 h 7"/>
              <a:gd name="T6" fmla="*/ 10 w 15"/>
              <a:gd name="T7" fmla="*/ 6 h 7"/>
              <a:gd name="T8" fmla="*/ 12 w 15"/>
              <a:gd name="T9" fmla="*/ 7 h 7"/>
              <a:gd name="T10" fmla="*/ 12 w 15"/>
              <a:gd name="T11" fmla="*/ 6 h 7"/>
              <a:gd name="T12" fmla="*/ 13 w 15"/>
              <a:gd name="T13" fmla="*/ 7 h 7"/>
              <a:gd name="T14" fmla="*/ 15 w 15"/>
              <a:gd name="T15" fmla="*/ 7 h 7"/>
              <a:gd name="T16" fmla="*/ 14 w 15"/>
              <a:gd name="T17" fmla="*/ 6 h 7"/>
              <a:gd name="T18" fmla="*/ 15 w 15"/>
              <a:gd name="T19" fmla="*/ 5 h 7"/>
              <a:gd name="T20" fmla="*/ 13 w 15"/>
              <a:gd name="T21" fmla="*/ 4 h 7"/>
              <a:gd name="T22" fmla="*/ 13 w 15"/>
              <a:gd name="T23" fmla="*/ 3 h 7"/>
              <a:gd name="T24" fmla="*/ 12 w 15"/>
              <a:gd name="T25" fmla="*/ 3 h 7"/>
              <a:gd name="T26" fmla="*/ 10 w 15"/>
              <a:gd name="T27" fmla="*/ 3 h 7"/>
              <a:gd name="T28" fmla="*/ 8 w 15"/>
              <a:gd name="T29" fmla="*/ 2 h 7"/>
              <a:gd name="T30" fmla="*/ 7 w 15"/>
              <a:gd name="T31" fmla="*/ 1 h 7"/>
              <a:gd name="T32" fmla="*/ 4 w 15"/>
              <a:gd name="T33" fmla="*/ 1 h 7"/>
              <a:gd name="T34" fmla="*/ 1 w 15"/>
              <a:gd name="T35" fmla="*/ 0 h 7"/>
              <a:gd name="T36" fmla="*/ 0 w 15"/>
              <a:gd name="T37" fmla="*/ 1 h 7"/>
              <a:gd name="T38" fmla="*/ 3 w 15"/>
              <a:gd name="T39" fmla="*/ 2 h 7"/>
              <a:gd name="T40" fmla="*/ 4 w 15"/>
              <a:gd name="T41" fmla="*/ 5 h 7"/>
              <a:gd name="T42" fmla="*/ 4 w 15"/>
              <a:gd name="T43" fmla="*/ 6 h 7"/>
              <a:gd name="T44" fmla="*/ 6 w 15"/>
              <a:gd name="T4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7">
                <a:moveTo>
                  <a:pt x="6" y="5"/>
                </a:moveTo>
                <a:cubicBezTo>
                  <a:pt x="7" y="5"/>
                  <a:pt x="7" y="6"/>
                  <a:pt x="8" y="7"/>
                </a:cubicBezTo>
                <a:cubicBezTo>
                  <a:pt x="8" y="7"/>
                  <a:pt x="8" y="7"/>
                  <a:pt x="8" y="7"/>
                </a:cubicBezTo>
                <a:cubicBezTo>
                  <a:pt x="9" y="7"/>
                  <a:pt x="9" y="6"/>
                  <a:pt x="10" y="6"/>
                </a:cubicBezTo>
                <a:cubicBezTo>
                  <a:pt x="11" y="6"/>
                  <a:pt x="11" y="6"/>
                  <a:pt x="12" y="7"/>
                </a:cubicBezTo>
                <a:cubicBezTo>
                  <a:pt x="12" y="6"/>
                  <a:pt x="12" y="6"/>
                  <a:pt x="12" y="6"/>
                </a:cubicBezTo>
                <a:cubicBezTo>
                  <a:pt x="12" y="6"/>
                  <a:pt x="13" y="6"/>
                  <a:pt x="13" y="7"/>
                </a:cubicBezTo>
                <a:cubicBezTo>
                  <a:pt x="14" y="7"/>
                  <a:pt x="15" y="7"/>
                  <a:pt x="15" y="7"/>
                </a:cubicBezTo>
                <a:cubicBezTo>
                  <a:pt x="15" y="6"/>
                  <a:pt x="15" y="6"/>
                  <a:pt x="14" y="6"/>
                </a:cubicBezTo>
                <a:cubicBezTo>
                  <a:pt x="14" y="6"/>
                  <a:pt x="15" y="5"/>
                  <a:pt x="15" y="5"/>
                </a:cubicBezTo>
                <a:cubicBezTo>
                  <a:pt x="14" y="5"/>
                  <a:pt x="14" y="4"/>
                  <a:pt x="13" y="4"/>
                </a:cubicBezTo>
                <a:cubicBezTo>
                  <a:pt x="13" y="4"/>
                  <a:pt x="13" y="3"/>
                  <a:pt x="13" y="3"/>
                </a:cubicBezTo>
                <a:cubicBezTo>
                  <a:pt x="12" y="3"/>
                  <a:pt x="12" y="3"/>
                  <a:pt x="12" y="3"/>
                </a:cubicBezTo>
                <a:cubicBezTo>
                  <a:pt x="12" y="3"/>
                  <a:pt x="10" y="3"/>
                  <a:pt x="10" y="3"/>
                </a:cubicBezTo>
                <a:cubicBezTo>
                  <a:pt x="9" y="3"/>
                  <a:pt x="9" y="2"/>
                  <a:pt x="8" y="2"/>
                </a:cubicBezTo>
                <a:cubicBezTo>
                  <a:pt x="8" y="2"/>
                  <a:pt x="7" y="2"/>
                  <a:pt x="7" y="1"/>
                </a:cubicBezTo>
                <a:cubicBezTo>
                  <a:pt x="7" y="1"/>
                  <a:pt x="4" y="1"/>
                  <a:pt x="4" y="1"/>
                </a:cubicBezTo>
                <a:cubicBezTo>
                  <a:pt x="3" y="0"/>
                  <a:pt x="2" y="0"/>
                  <a:pt x="1" y="0"/>
                </a:cubicBezTo>
                <a:cubicBezTo>
                  <a:pt x="1" y="0"/>
                  <a:pt x="0" y="0"/>
                  <a:pt x="0" y="1"/>
                </a:cubicBezTo>
                <a:cubicBezTo>
                  <a:pt x="1" y="1"/>
                  <a:pt x="3" y="1"/>
                  <a:pt x="3" y="2"/>
                </a:cubicBezTo>
                <a:cubicBezTo>
                  <a:pt x="4" y="4"/>
                  <a:pt x="5" y="3"/>
                  <a:pt x="4" y="5"/>
                </a:cubicBezTo>
                <a:cubicBezTo>
                  <a:pt x="4" y="5"/>
                  <a:pt x="4" y="5"/>
                  <a:pt x="4" y="6"/>
                </a:cubicBezTo>
                <a:cubicBezTo>
                  <a:pt x="5" y="6"/>
                  <a:pt x="6" y="6"/>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90"/>
          <p:cNvSpPr>
            <a:spLocks noEditPoints="1"/>
          </p:cNvSpPr>
          <p:nvPr/>
        </p:nvSpPr>
        <p:spPr bwMode="auto">
          <a:xfrm>
            <a:off x="2469655" y="2796345"/>
            <a:ext cx="203766" cy="78647"/>
          </a:xfrm>
          <a:custGeom>
            <a:avLst/>
            <a:gdLst>
              <a:gd name="T0" fmla="*/ 41 w 42"/>
              <a:gd name="T1" fmla="*/ 11 h 16"/>
              <a:gd name="T2" fmla="*/ 41 w 42"/>
              <a:gd name="T3" fmla="*/ 9 h 16"/>
              <a:gd name="T4" fmla="*/ 41 w 42"/>
              <a:gd name="T5" fmla="*/ 7 h 16"/>
              <a:gd name="T6" fmla="*/ 41 w 42"/>
              <a:gd name="T7" fmla="*/ 6 h 16"/>
              <a:gd name="T8" fmla="*/ 41 w 42"/>
              <a:gd name="T9" fmla="*/ 5 h 16"/>
              <a:gd name="T10" fmla="*/ 39 w 42"/>
              <a:gd name="T11" fmla="*/ 5 h 16"/>
              <a:gd name="T12" fmla="*/ 39 w 42"/>
              <a:gd name="T13" fmla="*/ 3 h 16"/>
              <a:gd name="T14" fmla="*/ 37 w 42"/>
              <a:gd name="T15" fmla="*/ 1 h 16"/>
              <a:gd name="T16" fmla="*/ 35 w 42"/>
              <a:gd name="T17" fmla="*/ 2 h 16"/>
              <a:gd name="T18" fmla="*/ 31 w 42"/>
              <a:gd name="T19" fmla="*/ 3 h 16"/>
              <a:gd name="T20" fmla="*/ 27 w 42"/>
              <a:gd name="T21" fmla="*/ 3 h 16"/>
              <a:gd name="T22" fmla="*/ 24 w 42"/>
              <a:gd name="T23" fmla="*/ 2 h 16"/>
              <a:gd name="T24" fmla="*/ 22 w 42"/>
              <a:gd name="T25" fmla="*/ 1 h 16"/>
              <a:gd name="T26" fmla="*/ 19 w 42"/>
              <a:gd name="T27" fmla="*/ 0 h 16"/>
              <a:gd name="T28" fmla="*/ 12 w 42"/>
              <a:gd name="T29" fmla="*/ 2 h 16"/>
              <a:gd name="T30" fmla="*/ 7 w 42"/>
              <a:gd name="T31" fmla="*/ 3 h 16"/>
              <a:gd name="T32" fmla="*/ 6 w 42"/>
              <a:gd name="T33" fmla="*/ 4 h 16"/>
              <a:gd name="T34" fmla="*/ 2 w 42"/>
              <a:gd name="T35" fmla="*/ 5 h 16"/>
              <a:gd name="T36" fmla="*/ 1 w 42"/>
              <a:gd name="T37" fmla="*/ 6 h 16"/>
              <a:gd name="T38" fmla="*/ 2 w 42"/>
              <a:gd name="T39" fmla="*/ 7 h 16"/>
              <a:gd name="T40" fmla="*/ 2 w 42"/>
              <a:gd name="T41" fmla="*/ 9 h 16"/>
              <a:gd name="T42" fmla="*/ 2 w 42"/>
              <a:gd name="T43" fmla="*/ 10 h 16"/>
              <a:gd name="T44" fmla="*/ 2 w 42"/>
              <a:gd name="T45" fmla="*/ 11 h 16"/>
              <a:gd name="T46" fmla="*/ 4 w 42"/>
              <a:gd name="T47" fmla="*/ 13 h 16"/>
              <a:gd name="T48" fmla="*/ 5 w 42"/>
              <a:gd name="T49" fmla="*/ 13 h 16"/>
              <a:gd name="T50" fmla="*/ 6 w 42"/>
              <a:gd name="T51" fmla="*/ 14 h 16"/>
              <a:gd name="T52" fmla="*/ 7 w 42"/>
              <a:gd name="T53" fmla="*/ 15 h 16"/>
              <a:gd name="T54" fmla="*/ 10 w 42"/>
              <a:gd name="T55" fmla="*/ 15 h 16"/>
              <a:gd name="T56" fmla="*/ 12 w 42"/>
              <a:gd name="T57" fmla="*/ 14 h 16"/>
              <a:gd name="T58" fmla="*/ 15 w 42"/>
              <a:gd name="T59" fmla="*/ 16 h 16"/>
              <a:gd name="T60" fmla="*/ 17 w 42"/>
              <a:gd name="T61" fmla="*/ 15 h 16"/>
              <a:gd name="T62" fmla="*/ 19 w 42"/>
              <a:gd name="T63" fmla="*/ 14 h 16"/>
              <a:gd name="T64" fmla="*/ 21 w 42"/>
              <a:gd name="T65" fmla="*/ 14 h 16"/>
              <a:gd name="T66" fmla="*/ 23 w 42"/>
              <a:gd name="T67" fmla="*/ 14 h 16"/>
              <a:gd name="T68" fmla="*/ 22 w 42"/>
              <a:gd name="T69" fmla="*/ 16 h 16"/>
              <a:gd name="T70" fmla="*/ 22 w 42"/>
              <a:gd name="T71" fmla="*/ 16 h 16"/>
              <a:gd name="T72" fmla="*/ 24 w 42"/>
              <a:gd name="T73" fmla="*/ 15 h 16"/>
              <a:gd name="T74" fmla="*/ 24 w 42"/>
              <a:gd name="T75" fmla="*/ 14 h 16"/>
              <a:gd name="T76" fmla="*/ 26 w 42"/>
              <a:gd name="T77" fmla="*/ 14 h 16"/>
              <a:gd name="T78" fmla="*/ 28 w 42"/>
              <a:gd name="T79" fmla="*/ 14 h 16"/>
              <a:gd name="T80" fmla="*/ 30 w 42"/>
              <a:gd name="T81" fmla="*/ 14 h 16"/>
              <a:gd name="T82" fmla="*/ 33 w 42"/>
              <a:gd name="T83" fmla="*/ 13 h 16"/>
              <a:gd name="T84" fmla="*/ 36 w 42"/>
              <a:gd name="T85" fmla="*/ 13 h 16"/>
              <a:gd name="T86" fmla="*/ 37 w 42"/>
              <a:gd name="T87" fmla="*/ 13 h 16"/>
              <a:gd name="T88" fmla="*/ 38 w 42"/>
              <a:gd name="T89" fmla="*/ 12 h 16"/>
              <a:gd name="T90" fmla="*/ 40 w 42"/>
              <a:gd name="T91" fmla="*/ 13 h 16"/>
              <a:gd name="T92" fmla="*/ 42 w 42"/>
              <a:gd name="T93" fmla="*/ 13 h 16"/>
              <a:gd name="T94" fmla="*/ 41 w 42"/>
              <a:gd name="T95" fmla="*/ 11 h 16"/>
              <a:gd name="T96" fmla="*/ 4 w 42"/>
              <a:gd name="T97" fmla="*/ 3 h 16"/>
              <a:gd name="T98" fmla="*/ 7 w 42"/>
              <a:gd name="T99" fmla="*/ 3 h 16"/>
              <a:gd name="T100" fmla="*/ 5 w 42"/>
              <a:gd name="T101" fmla="*/ 1 h 16"/>
              <a:gd name="T102" fmla="*/ 5 w 42"/>
              <a:gd name="T103" fmla="*/ 0 h 16"/>
              <a:gd name="T104" fmla="*/ 4 w 42"/>
              <a:gd name="T105" fmla="*/ 0 h 16"/>
              <a:gd name="T106" fmla="*/ 2 w 42"/>
              <a:gd name="T107" fmla="*/ 0 h 16"/>
              <a:gd name="T108" fmla="*/ 2 w 42"/>
              <a:gd name="T109" fmla="*/ 2 h 16"/>
              <a:gd name="T110" fmla="*/ 1 w 42"/>
              <a:gd name="T111" fmla="*/ 3 h 16"/>
              <a:gd name="T112" fmla="*/ 1 w 42"/>
              <a:gd name="T113" fmla="*/ 4 h 16"/>
              <a:gd name="T114" fmla="*/ 2 w 42"/>
              <a:gd name="T115" fmla="*/ 4 h 16"/>
              <a:gd name="T116" fmla="*/ 4 w 42"/>
              <a:gd name="T117"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16">
                <a:moveTo>
                  <a:pt x="41" y="11"/>
                </a:moveTo>
                <a:cubicBezTo>
                  <a:pt x="41" y="11"/>
                  <a:pt x="41" y="9"/>
                  <a:pt x="41" y="9"/>
                </a:cubicBezTo>
                <a:cubicBezTo>
                  <a:pt x="41" y="9"/>
                  <a:pt x="40" y="7"/>
                  <a:pt x="41" y="7"/>
                </a:cubicBezTo>
                <a:cubicBezTo>
                  <a:pt x="41" y="7"/>
                  <a:pt x="41" y="6"/>
                  <a:pt x="41" y="6"/>
                </a:cubicBezTo>
                <a:cubicBezTo>
                  <a:pt x="41" y="6"/>
                  <a:pt x="41" y="5"/>
                  <a:pt x="41" y="5"/>
                </a:cubicBezTo>
                <a:cubicBezTo>
                  <a:pt x="41" y="5"/>
                  <a:pt x="40" y="6"/>
                  <a:pt x="39" y="5"/>
                </a:cubicBezTo>
                <a:cubicBezTo>
                  <a:pt x="39" y="4"/>
                  <a:pt x="39" y="3"/>
                  <a:pt x="39" y="3"/>
                </a:cubicBezTo>
                <a:cubicBezTo>
                  <a:pt x="38" y="2"/>
                  <a:pt x="38" y="1"/>
                  <a:pt x="37" y="1"/>
                </a:cubicBezTo>
                <a:cubicBezTo>
                  <a:pt x="37" y="2"/>
                  <a:pt x="36" y="2"/>
                  <a:pt x="35" y="2"/>
                </a:cubicBezTo>
                <a:cubicBezTo>
                  <a:pt x="34" y="3"/>
                  <a:pt x="31" y="3"/>
                  <a:pt x="31" y="3"/>
                </a:cubicBezTo>
                <a:cubicBezTo>
                  <a:pt x="30" y="3"/>
                  <a:pt x="28" y="3"/>
                  <a:pt x="27" y="3"/>
                </a:cubicBezTo>
                <a:cubicBezTo>
                  <a:pt x="26" y="3"/>
                  <a:pt x="25" y="2"/>
                  <a:pt x="24" y="2"/>
                </a:cubicBezTo>
                <a:cubicBezTo>
                  <a:pt x="23" y="2"/>
                  <a:pt x="23" y="1"/>
                  <a:pt x="22" y="1"/>
                </a:cubicBezTo>
                <a:cubicBezTo>
                  <a:pt x="21" y="1"/>
                  <a:pt x="22" y="1"/>
                  <a:pt x="19" y="0"/>
                </a:cubicBezTo>
                <a:cubicBezTo>
                  <a:pt x="16" y="0"/>
                  <a:pt x="13" y="2"/>
                  <a:pt x="12" y="2"/>
                </a:cubicBezTo>
                <a:cubicBezTo>
                  <a:pt x="11" y="3"/>
                  <a:pt x="8" y="2"/>
                  <a:pt x="7" y="3"/>
                </a:cubicBezTo>
                <a:cubicBezTo>
                  <a:pt x="7" y="3"/>
                  <a:pt x="7" y="4"/>
                  <a:pt x="6" y="4"/>
                </a:cubicBezTo>
                <a:cubicBezTo>
                  <a:pt x="5" y="5"/>
                  <a:pt x="3" y="4"/>
                  <a:pt x="2" y="5"/>
                </a:cubicBezTo>
                <a:cubicBezTo>
                  <a:pt x="1" y="5"/>
                  <a:pt x="0" y="6"/>
                  <a:pt x="1" y="6"/>
                </a:cubicBezTo>
                <a:cubicBezTo>
                  <a:pt x="2" y="6"/>
                  <a:pt x="2" y="7"/>
                  <a:pt x="2" y="7"/>
                </a:cubicBezTo>
                <a:cubicBezTo>
                  <a:pt x="2" y="7"/>
                  <a:pt x="3" y="8"/>
                  <a:pt x="2" y="9"/>
                </a:cubicBezTo>
                <a:cubicBezTo>
                  <a:pt x="2" y="9"/>
                  <a:pt x="2" y="10"/>
                  <a:pt x="2" y="10"/>
                </a:cubicBezTo>
                <a:cubicBezTo>
                  <a:pt x="3" y="11"/>
                  <a:pt x="3" y="11"/>
                  <a:pt x="2" y="11"/>
                </a:cubicBezTo>
                <a:cubicBezTo>
                  <a:pt x="2" y="12"/>
                  <a:pt x="3" y="12"/>
                  <a:pt x="4" y="13"/>
                </a:cubicBezTo>
                <a:cubicBezTo>
                  <a:pt x="4" y="13"/>
                  <a:pt x="5" y="13"/>
                  <a:pt x="5" y="13"/>
                </a:cubicBezTo>
                <a:cubicBezTo>
                  <a:pt x="5" y="14"/>
                  <a:pt x="5" y="14"/>
                  <a:pt x="6" y="14"/>
                </a:cubicBezTo>
                <a:cubicBezTo>
                  <a:pt x="7" y="14"/>
                  <a:pt x="7" y="15"/>
                  <a:pt x="7" y="15"/>
                </a:cubicBezTo>
                <a:cubicBezTo>
                  <a:pt x="8" y="16"/>
                  <a:pt x="10" y="15"/>
                  <a:pt x="10" y="15"/>
                </a:cubicBezTo>
                <a:cubicBezTo>
                  <a:pt x="10" y="14"/>
                  <a:pt x="11" y="14"/>
                  <a:pt x="12" y="14"/>
                </a:cubicBezTo>
                <a:cubicBezTo>
                  <a:pt x="13" y="14"/>
                  <a:pt x="15" y="15"/>
                  <a:pt x="15" y="16"/>
                </a:cubicBezTo>
                <a:cubicBezTo>
                  <a:pt x="16" y="16"/>
                  <a:pt x="17" y="15"/>
                  <a:pt x="17" y="15"/>
                </a:cubicBezTo>
                <a:cubicBezTo>
                  <a:pt x="18" y="15"/>
                  <a:pt x="19" y="14"/>
                  <a:pt x="19" y="14"/>
                </a:cubicBezTo>
                <a:cubicBezTo>
                  <a:pt x="20" y="14"/>
                  <a:pt x="21" y="15"/>
                  <a:pt x="21" y="14"/>
                </a:cubicBezTo>
                <a:cubicBezTo>
                  <a:pt x="22" y="14"/>
                  <a:pt x="22" y="14"/>
                  <a:pt x="23" y="14"/>
                </a:cubicBezTo>
                <a:cubicBezTo>
                  <a:pt x="23" y="14"/>
                  <a:pt x="22" y="15"/>
                  <a:pt x="22" y="16"/>
                </a:cubicBezTo>
                <a:cubicBezTo>
                  <a:pt x="22" y="16"/>
                  <a:pt x="22" y="16"/>
                  <a:pt x="22" y="16"/>
                </a:cubicBezTo>
                <a:cubicBezTo>
                  <a:pt x="24" y="16"/>
                  <a:pt x="24" y="15"/>
                  <a:pt x="24" y="15"/>
                </a:cubicBezTo>
                <a:cubicBezTo>
                  <a:pt x="24" y="14"/>
                  <a:pt x="24" y="14"/>
                  <a:pt x="24" y="14"/>
                </a:cubicBezTo>
                <a:cubicBezTo>
                  <a:pt x="25" y="15"/>
                  <a:pt x="26" y="15"/>
                  <a:pt x="26" y="14"/>
                </a:cubicBezTo>
                <a:cubicBezTo>
                  <a:pt x="27" y="14"/>
                  <a:pt x="28" y="14"/>
                  <a:pt x="28" y="14"/>
                </a:cubicBezTo>
                <a:cubicBezTo>
                  <a:pt x="28" y="15"/>
                  <a:pt x="29" y="14"/>
                  <a:pt x="30" y="14"/>
                </a:cubicBezTo>
                <a:cubicBezTo>
                  <a:pt x="32" y="14"/>
                  <a:pt x="32" y="13"/>
                  <a:pt x="33" y="13"/>
                </a:cubicBezTo>
                <a:cubicBezTo>
                  <a:pt x="35" y="13"/>
                  <a:pt x="36" y="13"/>
                  <a:pt x="36" y="13"/>
                </a:cubicBezTo>
                <a:cubicBezTo>
                  <a:pt x="37" y="13"/>
                  <a:pt x="37" y="13"/>
                  <a:pt x="37" y="13"/>
                </a:cubicBezTo>
                <a:cubicBezTo>
                  <a:pt x="37" y="13"/>
                  <a:pt x="37" y="13"/>
                  <a:pt x="38" y="12"/>
                </a:cubicBezTo>
                <a:cubicBezTo>
                  <a:pt x="39" y="12"/>
                  <a:pt x="39" y="13"/>
                  <a:pt x="40" y="13"/>
                </a:cubicBezTo>
                <a:cubicBezTo>
                  <a:pt x="40" y="13"/>
                  <a:pt x="42" y="14"/>
                  <a:pt x="42" y="13"/>
                </a:cubicBezTo>
                <a:cubicBezTo>
                  <a:pt x="42" y="13"/>
                  <a:pt x="41" y="12"/>
                  <a:pt x="41" y="11"/>
                </a:cubicBezTo>
                <a:moveTo>
                  <a:pt x="4" y="3"/>
                </a:moveTo>
                <a:cubicBezTo>
                  <a:pt x="5" y="3"/>
                  <a:pt x="7" y="3"/>
                  <a:pt x="7" y="3"/>
                </a:cubicBezTo>
                <a:cubicBezTo>
                  <a:pt x="7" y="2"/>
                  <a:pt x="6" y="2"/>
                  <a:pt x="5" y="1"/>
                </a:cubicBezTo>
                <a:cubicBezTo>
                  <a:pt x="5" y="1"/>
                  <a:pt x="5" y="1"/>
                  <a:pt x="5" y="0"/>
                </a:cubicBezTo>
                <a:cubicBezTo>
                  <a:pt x="5" y="0"/>
                  <a:pt x="4" y="1"/>
                  <a:pt x="4" y="0"/>
                </a:cubicBezTo>
                <a:cubicBezTo>
                  <a:pt x="3" y="0"/>
                  <a:pt x="2" y="0"/>
                  <a:pt x="2" y="0"/>
                </a:cubicBezTo>
                <a:cubicBezTo>
                  <a:pt x="1" y="1"/>
                  <a:pt x="2" y="1"/>
                  <a:pt x="2" y="2"/>
                </a:cubicBezTo>
                <a:cubicBezTo>
                  <a:pt x="2" y="2"/>
                  <a:pt x="1" y="3"/>
                  <a:pt x="1" y="3"/>
                </a:cubicBezTo>
                <a:cubicBezTo>
                  <a:pt x="1" y="3"/>
                  <a:pt x="1" y="3"/>
                  <a:pt x="1" y="4"/>
                </a:cubicBezTo>
                <a:cubicBezTo>
                  <a:pt x="1" y="4"/>
                  <a:pt x="2" y="4"/>
                  <a:pt x="2" y="4"/>
                </a:cubicBezTo>
                <a:cubicBezTo>
                  <a:pt x="3" y="4"/>
                  <a:pt x="3"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91"/>
          <p:cNvSpPr>
            <a:spLocks/>
          </p:cNvSpPr>
          <p:nvPr/>
        </p:nvSpPr>
        <p:spPr bwMode="auto">
          <a:xfrm>
            <a:off x="3030906" y="2878567"/>
            <a:ext cx="28599" cy="21449"/>
          </a:xfrm>
          <a:custGeom>
            <a:avLst/>
            <a:gdLst>
              <a:gd name="T0" fmla="*/ 3 w 6"/>
              <a:gd name="T1" fmla="*/ 0 h 4"/>
              <a:gd name="T2" fmla="*/ 0 w 6"/>
              <a:gd name="T3" fmla="*/ 1 h 4"/>
              <a:gd name="T4" fmla="*/ 1 w 6"/>
              <a:gd name="T5" fmla="*/ 2 h 4"/>
              <a:gd name="T6" fmla="*/ 2 w 6"/>
              <a:gd name="T7" fmla="*/ 3 h 4"/>
              <a:gd name="T8" fmla="*/ 2 w 6"/>
              <a:gd name="T9" fmla="*/ 4 h 4"/>
              <a:gd name="T10" fmla="*/ 3 w 6"/>
              <a:gd name="T11" fmla="*/ 4 h 4"/>
              <a:gd name="T12" fmla="*/ 5 w 6"/>
              <a:gd name="T13" fmla="*/ 2 h 4"/>
              <a:gd name="T14" fmla="*/ 3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2" y="0"/>
                  <a:pt x="1" y="0"/>
                  <a:pt x="0" y="1"/>
                </a:cubicBezTo>
                <a:cubicBezTo>
                  <a:pt x="1" y="1"/>
                  <a:pt x="1" y="1"/>
                  <a:pt x="1" y="2"/>
                </a:cubicBezTo>
                <a:cubicBezTo>
                  <a:pt x="1" y="2"/>
                  <a:pt x="2" y="3"/>
                  <a:pt x="2" y="3"/>
                </a:cubicBezTo>
                <a:cubicBezTo>
                  <a:pt x="2" y="3"/>
                  <a:pt x="2" y="4"/>
                  <a:pt x="2" y="4"/>
                </a:cubicBezTo>
                <a:cubicBezTo>
                  <a:pt x="3" y="4"/>
                  <a:pt x="3" y="4"/>
                  <a:pt x="3" y="4"/>
                </a:cubicBezTo>
                <a:cubicBezTo>
                  <a:pt x="4" y="4"/>
                  <a:pt x="5" y="2"/>
                  <a:pt x="5" y="2"/>
                </a:cubicBezTo>
                <a:cubicBezTo>
                  <a:pt x="6" y="1"/>
                  <a:pt x="4" y="0"/>
                  <a:pt x="3"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92"/>
          <p:cNvSpPr>
            <a:spLocks/>
          </p:cNvSpPr>
          <p:nvPr/>
        </p:nvSpPr>
        <p:spPr bwMode="auto">
          <a:xfrm>
            <a:off x="3513510" y="2789195"/>
            <a:ext cx="71497" cy="71497"/>
          </a:xfrm>
          <a:custGeom>
            <a:avLst/>
            <a:gdLst>
              <a:gd name="T0" fmla="*/ 15 w 15"/>
              <a:gd name="T1" fmla="*/ 1 h 15"/>
              <a:gd name="T2" fmla="*/ 13 w 15"/>
              <a:gd name="T3" fmla="*/ 0 h 15"/>
              <a:gd name="T4" fmla="*/ 12 w 15"/>
              <a:gd name="T5" fmla="*/ 2 h 15"/>
              <a:gd name="T6" fmla="*/ 10 w 15"/>
              <a:gd name="T7" fmla="*/ 3 h 15"/>
              <a:gd name="T8" fmla="*/ 9 w 15"/>
              <a:gd name="T9" fmla="*/ 4 h 15"/>
              <a:gd name="T10" fmla="*/ 8 w 15"/>
              <a:gd name="T11" fmla="*/ 4 h 15"/>
              <a:gd name="T12" fmla="*/ 6 w 15"/>
              <a:gd name="T13" fmla="*/ 4 h 15"/>
              <a:gd name="T14" fmla="*/ 5 w 15"/>
              <a:gd name="T15" fmla="*/ 5 h 15"/>
              <a:gd name="T16" fmla="*/ 1 w 15"/>
              <a:gd name="T17" fmla="*/ 8 h 15"/>
              <a:gd name="T18" fmla="*/ 0 w 15"/>
              <a:gd name="T19" fmla="*/ 9 h 15"/>
              <a:gd name="T20" fmla="*/ 3 w 15"/>
              <a:gd name="T21" fmla="*/ 10 h 15"/>
              <a:gd name="T22" fmla="*/ 1 w 15"/>
              <a:gd name="T23" fmla="*/ 12 h 15"/>
              <a:gd name="T24" fmla="*/ 2 w 15"/>
              <a:gd name="T25" fmla="*/ 14 h 15"/>
              <a:gd name="T26" fmla="*/ 3 w 15"/>
              <a:gd name="T27" fmla="*/ 14 h 15"/>
              <a:gd name="T28" fmla="*/ 5 w 15"/>
              <a:gd name="T29" fmla="*/ 14 h 15"/>
              <a:gd name="T30" fmla="*/ 5 w 15"/>
              <a:gd name="T31" fmla="*/ 14 h 15"/>
              <a:gd name="T32" fmla="*/ 7 w 15"/>
              <a:gd name="T33" fmla="*/ 13 h 15"/>
              <a:gd name="T34" fmla="*/ 9 w 15"/>
              <a:gd name="T35" fmla="*/ 13 h 15"/>
              <a:gd name="T36" fmla="*/ 10 w 15"/>
              <a:gd name="T37" fmla="*/ 12 h 15"/>
              <a:gd name="T38" fmla="*/ 8 w 15"/>
              <a:gd name="T39" fmla="*/ 10 h 15"/>
              <a:gd name="T40" fmla="*/ 8 w 15"/>
              <a:gd name="T41" fmla="*/ 8 h 15"/>
              <a:gd name="T42" fmla="*/ 12 w 15"/>
              <a:gd name="T43" fmla="*/ 6 h 15"/>
              <a:gd name="T44" fmla="*/ 13 w 15"/>
              <a:gd name="T45" fmla="*/ 3 h 15"/>
              <a:gd name="T46" fmla="*/ 15 w 15"/>
              <a:gd name="T47" fmla="*/ 1 h 15"/>
              <a:gd name="T48" fmla="*/ 15 w 15"/>
              <a:gd name="T4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 h="15">
                <a:moveTo>
                  <a:pt x="15" y="1"/>
                </a:moveTo>
                <a:cubicBezTo>
                  <a:pt x="14" y="1"/>
                  <a:pt x="14" y="0"/>
                  <a:pt x="13" y="0"/>
                </a:cubicBezTo>
                <a:cubicBezTo>
                  <a:pt x="12" y="0"/>
                  <a:pt x="12" y="2"/>
                  <a:pt x="12" y="2"/>
                </a:cubicBezTo>
                <a:cubicBezTo>
                  <a:pt x="11" y="2"/>
                  <a:pt x="11" y="3"/>
                  <a:pt x="10" y="3"/>
                </a:cubicBezTo>
                <a:cubicBezTo>
                  <a:pt x="9" y="3"/>
                  <a:pt x="9" y="3"/>
                  <a:pt x="9" y="4"/>
                </a:cubicBezTo>
                <a:cubicBezTo>
                  <a:pt x="10" y="5"/>
                  <a:pt x="9" y="4"/>
                  <a:pt x="8" y="4"/>
                </a:cubicBezTo>
                <a:cubicBezTo>
                  <a:pt x="7" y="4"/>
                  <a:pt x="7" y="4"/>
                  <a:pt x="6" y="4"/>
                </a:cubicBezTo>
                <a:cubicBezTo>
                  <a:pt x="6" y="4"/>
                  <a:pt x="5" y="5"/>
                  <a:pt x="5" y="5"/>
                </a:cubicBezTo>
                <a:cubicBezTo>
                  <a:pt x="5" y="6"/>
                  <a:pt x="2" y="7"/>
                  <a:pt x="1" y="8"/>
                </a:cubicBezTo>
                <a:cubicBezTo>
                  <a:pt x="1" y="8"/>
                  <a:pt x="0" y="8"/>
                  <a:pt x="0" y="9"/>
                </a:cubicBezTo>
                <a:cubicBezTo>
                  <a:pt x="1" y="9"/>
                  <a:pt x="2" y="9"/>
                  <a:pt x="3" y="10"/>
                </a:cubicBezTo>
                <a:cubicBezTo>
                  <a:pt x="3" y="11"/>
                  <a:pt x="2" y="12"/>
                  <a:pt x="1" y="12"/>
                </a:cubicBezTo>
                <a:cubicBezTo>
                  <a:pt x="1" y="13"/>
                  <a:pt x="2" y="13"/>
                  <a:pt x="2" y="14"/>
                </a:cubicBezTo>
                <a:cubicBezTo>
                  <a:pt x="2" y="14"/>
                  <a:pt x="3" y="15"/>
                  <a:pt x="3" y="14"/>
                </a:cubicBezTo>
                <a:cubicBezTo>
                  <a:pt x="3" y="14"/>
                  <a:pt x="4" y="14"/>
                  <a:pt x="5" y="14"/>
                </a:cubicBezTo>
                <a:cubicBezTo>
                  <a:pt x="5" y="14"/>
                  <a:pt x="5" y="14"/>
                  <a:pt x="5" y="14"/>
                </a:cubicBezTo>
                <a:cubicBezTo>
                  <a:pt x="6" y="14"/>
                  <a:pt x="6" y="13"/>
                  <a:pt x="7" y="13"/>
                </a:cubicBezTo>
                <a:cubicBezTo>
                  <a:pt x="7" y="13"/>
                  <a:pt x="8" y="13"/>
                  <a:pt x="9" y="13"/>
                </a:cubicBezTo>
                <a:cubicBezTo>
                  <a:pt x="9" y="13"/>
                  <a:pt x="9" y="13"/>
                  <a:pt x="10" y="12"/>
                </a:cubicBezTo>
                <a:cubicBezTo>
                  <a:pt x="9" y="11"/>
                  <a:pt x="8" y="11"/>
                  <a:pt x="8" y="10"/>
                </a:cubicBezTo>
                <a:cubicBezTo>
                  <a:pt x="7" y="10"/>
                  <a:pt x="7" y="9"/>
                  <a:pt x="8" y="8"/>
                </a:cubicBezTo>
                <a:cubicBezTo>
                  <a:pt x="9" y="8"/>
                  <a:pt x="12" y="6"/>
                  <a:pt x="12" y="6"/>
                </a:cubicBezTo>
                <a:cubicBezTo>
                  <a:pt x="13" y="6"/>
                  <a:pt x="12" y="4"/>
                  <a:pt x="13" y="3"/>
                </a:cubicBezTo>
                <a:cubicBezTo>
                  <a:pt x="13" y="3"/>
                  <a:pt x="14" y="2"/>
                  <a:pt x="15" y="1"/>
                </a:cubicBezTo>
                <a:cubicBezTo>
                  <a:pt x="15" y="1"/>
                  <a:pt x="15" y="1"/>
                  <a:pt x="1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93"/>
          <p:cNvSpPr>
            <a:spLocks/>
          </p:cNvSpPr>
          <p:nvPr/>
        </p:nvSpPr>
        <p:spPr bwMode="auto">
          <a:xfrm>
            <a:off x="3055930" y="2942914"/>
            <a:ext cx="82221" cy="46473"/>
          </a:xfrm>
          <a:custGeom>
            <a:avLst/>
            <a:gdLst>
              <a:gd name="T0" fmla="*/ 17 w 17"/>
              <a:gd name="T1" fmla="*/ 7 h 10"/>
              <a:gd name="T2" fmla="*/ 16 w 17"/>
              <a:gd name="T3" fmla="*/ 7 h 10"/>
              <a:gd name="T4" fmla="*/ 13 w 17"/>
              <a:gd name="T5" fmla="*/ 6 h 10"/>
              <a:gd name="T6" fmla="*/ 9 w 17"/>
              <a:gd name="T7" fmla="*/ 4 h 10"/>
              <a:gd name="T8" fmla="*/ 5 w 17"/>
              <a:gd name="T9" fmla="*/ 1 h 10"/>
              <a:gd name="T10" fmla="*/ 3 w 17"/>
              <a:gd name="T11" fmla="*/ 1 h 10"/>
              <a:gd name="T12" fmla="*/ 1 w 17"/>
              <a:gd name="T13" fmla="*/ 1 h 10"/>
              <a:gd name="T14" fmla="*/ 0 w 17"/>
              <a:gd name="T15" fmla="*/ 2 h 10"/>
              <a:gd name="T16" fmla="*/ 0 w 17"/>
              <a:gd name="T17" fmla="*/ 4 h 10"/>
              <a:gd name="T18" fmla="*/ 1 w 17"/>
              <a:gd name="T19" fmla="*/ 5 h 10"/>
              <a:gd name="T20" fmla="*/ 3 w 17"/>
              <a:gd name="T21" fmla="*/ 6 h 10"/>
              <a:gd name="T22" fmla="*/ 5 w 17"/>
              <a:gd name="T23" fmla="*/ 7 h 10"/>
              <a:gd name="T24" fmla="*/ 6 w 17"/>
              <a:gd name="T25" fmla="*/ 8 h 10"/>
              <a:gd name="T26" fmla="*/ 9 w 17"/>
              <a:gd name="T27" fmla="*/ 7 h 10"/>
              <a:gd name="T28" fmla="*/ 10 w 17"/>
              <a:gd name="T29" fmla="*/ 9 h 10"/>
              <a:gd name="T30" fmla="*/ 13 w 17"/>
              <a:gd name="T31" fmla="*/ 10 h 10"/>
              <a:gd name="T32" fmla="*/ 16 w 17"/>
              <a:gd name="T33" fmla="*/ 9 h 10"/>
              <a:gd name="T34" fmla="*/ 17 w 17"/>
              <a:gd name="T35" fmla="*/ 7 h 10"/>
              <a:gd name="T36" fmla="*/ 17 w 17"/>
              <a:gd name="T3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0">
                <a:moveTo>
                  <a:pt x="17" y="7"/>
                </a:moveTo>
                <a:cubicBezTo>
                  <a:pt x="17" y="7"/>
                  <a:pt x="16" y="7"/>
                  <a:pt x="16" y="7"/>
                </a:cubicBezTo>
                <a:cubicBezTo>
                  <a:pt x="15" y="7"/>
                  <a:pt x="14" y="6"/>
                  <a:pt x="13" y="6"/>
                </a:cubicBezTo>
                <a:cubicBezTo>
                  <a:pt x="13" y="6"/>
                  <a:pt x="10" y="5"/>
                  <a:pt x="9" y="4"/>
                </a:cubicBezTo>
                <a:cubicBezTo>
                  <a:pt x="8" y="4"/>
                  <a:pt x="5" y="2"/>
                  <a:pt x="5" y="1"/>
                </a:cubicBezTo>
                <a:cubicBezTo>
                  <a:pt x="4" y="0"/>
                  <a:pt x="3" y="0"/>
                  <a:pt x="3" y="1"/>
                </a:cubicBezTo>
                <a:cubicBezTo>
                  <a:pt x="3" y="1"/>
                  <a:pt x="2" y="1"/>
                  <a:pt x="1" y="1"/>
                </a:cubicBezTo>
                <a:cubicBezTo>
                  <a:pt x="1" y="2"/>
                  <a:pt x="0" y="2"/>
                  <a:pt x="0" y="2"/>
                </a:cubicBezTo>
                <a:cubicBezTo>
                  <a:pt x="0" y="3"/>
                  <a:pt x="0" y="4"/>
                  <a:pt x="0" y="4"/>
                </a:cubicBezTo>
                <a:cubicBezTo>
                  <a:pt x="0" y="5"/>
                  <a:pt x="1" y="5"/>
                  <a:pt x="1" y="5"/>
                </a:cubicBezTo>
                <a:cubicBezTo>
                  <a:pt x="1" y="5"/>
                  <a:pt x="3" y="6"/>
                  <a:pt x="3" y="6"/>
                </a:cubicBezTo>
                <a:cubicBezTo>
                  <a:pt x="3" y="6"/>
                  <a:pt x="4" y="7"/>
                  <a:pt x="5" y="7"/>
                </a:cubicBezTo>
                <a:cubicBezTo>
                  <a:pt x="5" y="7"/>
                  <a:pt x="6" y="8"/>
                  <a:pt x="6" y="8"/>
                </a:cubicBezTo>
                <a:cubicBezTo>
                  <a:pt x="7" y="8"/>
                  <a:pt x="8" y="7"/>
                  <a:pt x="9" y="7"/>
                </a:cubicBezTo>
                <a:cubicBezTo>
                  <a:pt x="9" y="7"/>
                  <a:pt x="10" y="8"/>
                  <a:pt x="10" y="9"/>
                </a:cubicBezTo>
                <a:cubicBezTo>
                  <a:pt x="10" y="9"/>
                  <a:pt x="12" y="9"/>
                  <a:pt x="13" y="10"/>
                </a:cubicBezTo>
                <a:cubicBezTo>
                  <a:pt x="13" y="10"/>
                  <a:pt x="16" y="10"/>
                  <a:pt x="16" y="9"/>
                </a:cubicBezTo>
                <a:cubicBezTo>
                  <a:pt x="17" y="9"/>
                  <a:pt x="17" y="8"/>
                  <a:pt x="17" y="7"/>
                </a:cubicBezTo>
                <a:cubicBezTo>
                  <a:pt x="17" y="7"/>
                  <a:pt x="17" y="7"/>
                  <a:pt x="17"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294"/>
          <p:cNvSpPr>
            <a:spLocks/>
          </p:cNvSpPr>
          <p:nvPr/>
        </p:nvSpPr>
        <p:spPr bwMode="auto">
          <a:xfrm>
            <a:off x="3173900" y="2967938"/>
            <a:ext cx="92946" cy="200191"/>
          </a:xfrm>
          <a:custGeom>
            <a:avLst/>
            <a:gdLst>
              <a:gd name="T0" fmla="*/ 15 w 19"/>
              <a:gd name="T1" fmla="*/ 38 h 42"/>
              <a:gd name="T2" fmla="*/ 14 w 19"/>
              <a:gd name="T3" fmla="*/ 36 h 42"/>
              <a:gd name="T4" fmla="*/ 13 w 19"/>
              <a:gd name="T5" fmla="*/ 34 h 42"/>
              <a:gd name="T6" fmla="*/ 13 w 19"/>
              <a:gd name="T7" fmla="*/ 31 h 42"/>
              <a:gd name="T8" fmla="*/ 13 w 19"/>
              <a:gd name="T9" fmla="*/ 30 h 42"/>
              <a:gd name="T10" fmla="*/ 13 w 19"/>
              <a:gd name="T11" fmla="*/ 29 h 42"/>
              <a:gd name="T12" fmla="*/ 13 w 19"/>
              <a:gd name="T13" fmla="*/ 27 h 42"/>
              <a:gd name="T14" fmla="*/ 11 w 19"/>
              <a:gd name="T15" fmla="*/ 25 h 42"/>
              <a:gd name="T16" fmla="*/ 11 w 19"/>
              <a:gd name="T17" fmla="*/ 22 h 42"/>
              <a:gd name="T18" fmla="*/ 13 w 19"/>
              <a:gd name="T19" fmla="*/ 21 h 42"/>
              <a:gd name="T20" fmla="*/ 14 w 19"/>
              <a:gd name="T21" fmla="*/ 20 h 42"/>
              <a:gd name="T22" fmla="*/ 16 w 19"/>
              <a:gd name="T23" fmla="*/ 19 h 42"/>
              <a:gd name="T24" fmla="*/ 17 w 19"/>
              <a:gd name="T25" fmla="*/ 18 h 42"/>
              <a:gd name="T26" fmla="*/ 19 w 19"/>
              <a:gd name="T27" fmla="*/ 16 h 42"/>
              <a:gd name="T28" fmla="*/ 19 w 19"/>
              <a:gd name="T29" fmla="*/ 16 h 42"/>
              <a:gd name="T30" fmla="*/ 18 w 19"/>
              <a:gd name="T31" fmla="*/ 17 h 42"/>
              <a:gd name="T32" fmla="*/ 16 w 19"/>
              <a:gd name="T33" fmla="*/ 16 h 42"/>
              <a:gd name="T34" fmla="*/ 15 w 19"/>
              <a:gd name="T35" fmla="*/ 15 h 42"/>
              <a:gd name="T36" fmla="*/ 15 w 19"/>
              <a:gd name="T37" fmla="*/ 14 h 42"/>
              <a:gd name="T38" fmla="*/ 14 w 19"/>
              <a:gd name="T39" fmla="*/ 13 h 42"/>
              <a:gd name="T40" fmla="*/ 13 w 19"/>
              <a:gd name="T41" fmla="*/ 11 h 42"/>
              <a:gd name="T42" fmla="*/ 11 w 19"/>
              <a:gd name="T43" fmla="*/ 11 h 42"/>
              <a:gd name="T44" fmla="*/ 11 w 19"/>
              <a:gd name="T45" fmla="*/ 10 h 42"/>
              <a:gd name="T46" fmla="*/ 13 w 19"/>
              <a:gd name="T47" fmla="*/ 7 h 42"/>
              <a:gd name="T48" fmla="*/ 13 w 19"/>
              <a:gd name="T49" fmla="*/ 3 h 42"/>
              <a:gd name="T50" fmla="*/ 13 w 19"/>
              <a:gd name="T51" fmla="*/ 2 h 42"/>
              <a:gd name="T52" fmla="*/ 12 w 19"/>
              <a:gd name="T53" fmla="*/ 1 h 42"/>
              <a:gd name="T54" fmla="*/ 11 w 19"/>
              <a:gd name="T55" fmla="*/ 0 h 42"/>
              <a:gd name="T56" fmla="*/ 10 w 19"/>
              <a:gd name="T57" fmla="*/ 1 h 42"/>
              <a:gd name="T58" fmla="*/ 10 w 19"/>
              <a:gd name="T59" fmla="*/ 1 h 42"/>
              <a:gd name="T60" fmla="*/ 10 w 19"/>
              <a:gd name="T61" fmla="*/ 2 h 42"/>
              <a:gd name="T62" fmla="*/ 10 w 19"/>
              <a:gd name="T63" fmla="*/ 3 h 42"/>
              <a:gd name="T64" fmla="*/ 9 w 19"/>
              <a:gd name="T65" fmla="*/ 3 h 42"/>
              <a:gd name="T66" fmla="*/ 7 w 19"/>
              <a:gd name="T67" fmla="*/ 4 h 42"/>
              <a:gd name="T68" fmla="*/ 6 w 19"/>
              <a:gd name="T69" fmla="*/ 6 h 42"/>
              <a:gd name="T70" fmla="*/ 5 w 19"/>
              <a:gd name="T71" fmla="*/ 8 h 42"/>
              <a:gd name="T72" fmla="*/ 4 w 19"/>
              <a:gd name="T73" fmla="*/ 11 h 42"/>
              <a:gd name="T74" fmla="*/ 2 w 19"/>
              <a:gd name="T75" fmla="*/ 11 h 42"/>
              <a:gd name="T76" fmla="*/ 2 w 19"/>
              <a:gd name="T77" fmla="*/ 13 h 42"/>
              <a:gd name="T78" fmla="*/ 1 w 19"/>
              <a:gd name="T79" fmla="*/ 15 h 42"/>
              <a:gd name="T80" fmla="*/ 0 w 19"/>
              <a:gd name="T81" fmla="*/ 17 h 42"/>
              <a:gd name="T82" fmla="*/ 0 w 19"/>
              <a:gd name="T83" fmla="*/ 18 h 42"/>
              <a:gd name="T84" fmla="*/ 2 w 19"/>
              <a:gd name="T85" fmla="*/ 20 h 42"/>
              <a:gd name="T86" fmla="*/ 4 w 19"/>
              <a:gd name="T87" fmla="*/ 24 h 42"/>
              <a:gd name="T88" fmla="*/ 4 w 19"/>
              <a:gd name="T89" fmla="*/ 28 h 42"/>
              <a:gd name="T90" fmla="*/ 5 w 19"/>
              <a:gd name="T91" fmla="*/ 29 h 42"/>
              <a:gd name="T92" fmla="*/ 7 w 19"/>
              <a:gd name="T93" fmla="*/ 29 h 42"/>
              <a:gd name="T94" fmla="*/ 9 w 19"/>
              <a:gd name="T95" fmla="*/ 27 h 42"/>
              <a:gd name="T96" fmla="*/ 10 w 19"/>
              <a:gd name="T97" fmla="*/ 28 h 42"/>
              <a:gd name="T98" fmla="*/ 11 w 19"/>
              <a:gd name="T99" fmla="*/ 30 h 42"/>
              <a:gd name="T100" fmla="*/ 12 w 19"/>
              <a:gd name="T101" fmla="*/ 35 h 42"/>
              <a:gd name="T102" fmla="*/ 13 w 19"/>
              <a:gd name="T103" fmla="*/ 38 h 42"/>
              <a:gd name="T104" fmla="*/ 13 w 19"/>
              <a:gd name="T105" fmla="*/ 41 h 42"/>
              <a:gd name="T106" fmla="*/ 13 w 19"/>
              <a:gd name="T107" fmla="*/ 42 h 42"/>
              <a:gd name="T108" fmla="*/ 15 w 19"/>
              <a:gd name="T109"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 h="42">
                <a:moveTo>
                  <a:pt x="15" y="38"/>
                </a:moveTo>
                <a:cubicBezTo>
                  <a:pt x="15" y="37"/>
                  <a:pt x="14" y="37"/>
                  <a:pt x="14" y="36"/>
                </a:cubicBezTo>
                <a:cubicBezTo>
                  <a:pt x="14" y="36"/>
                  <a:pt x="14" y="34"/>
                  <a:pt x="13" y="34"/>
                </a:cubicBezTo>
                <a:cubicBezTo>
                  <a:pt x="13" y="33"/>
                  <a:pt x="12" y="32"/>
                  <a:pt x="13" y="31"/>
                </a:cubicBezTo>
                <a:cubicBezTo>
                  <a:pt x="13" y="31"/>
                  <a:pt x="13" y="30"/>
                  <a:pt x="13" y="30"/>
                </a:cubicBezTo>
                <a:cubicBezTo>
                  <a:pt x="13" y="30"/>
                  <a:pt x="14" y="29"/>
                  <a:pt x="13" y="29"/>
                </a:cubicBezTo>
                <a:cubicBezTo>
                  <a:pt x="13" y="28"/>
                  <a:pt x="13" y="27"/>
                  <a:pt x="13" y="27"/>
                </a:cubicBezTo>
                <a:cubicBezTo>
                  <a:pt x="12" y="27"/>
                  <a:pt x="11" y="26"/>
                  <a:pt x="11" y="25"/>
                </a:cubicBezTo>
                <a:cubicBezTo>
                  <a:pt x="11" y="25"/>
                  <a:pt x="11" y="22"/>
                  <a:pt x="11" y="22"/>
                </a:cubicBezTo>
                <a:cubicBezTo>
                  <a:pt x="11" y="21"/>
                  <a:pt x="12" y="21"/>
                  <a:pt x="13" y="21"/>
                </a:cubicBezTo>
                <a:cubicBezTo>
                  <a:pt x="13" y="21"/>
                  <a:pt x="14" y="21"/>
                  <a:pt x="14" y="20"/>
                </a:cubicBezTo>
                <a:cubicBezTo>
                  <a:pt x="15" y="20"/>
                  <a:pt x="16" y="20"/>
                  <a:pt x="16" y="19"/>
                </a:cubicBezTo>
                <a:cubicBezTo>
                  <a:pt x="16" y="19"/>
                  <a:pt x="17" y="19"/>
                  <a:pt x="17" y="18"/>
                </a:cubicBezTo>
                <a:cubicBezTo>
                  <a:pt x="17" y="18"/>
                  <a:pt x="19" y="16"/>
                  <a:pt x="19" y="16"/>
                </a:cubicBezTo>
                <a:cubicBezTo>
                  <a:pt x="19" y="16"/>
                  <a:pt x="19" y="16"/>
                  <a:pt x="19" y="16"/>
                </a:cubicBezTo>
                <a:cubicBezTo>
                  <a:pt x="18" y="16"/>
                  <a:pt x="18" y="16"/>
                  <a:pt x="18" y="17"/>
                </a:cubicBezTo>
                <a:cubicBezTo>
                  <a:pt x="17" y="17"/>
                  <a:pt x="16" y="17"/>
                  <a:pt x="16" y="16"/>
                </a:cubicBezTo>
                <a:cubicBezTo>
                  <a:pt x="16" y="15"/>
                  <a:pt x="16" y="15"/>
                  <a:pt x="15" y="15"/>
                </a:cubicBezTo>
                <a:cubicBezTo>
                  <a:pt x="14" y="15"/>
                  <a:pt x="15" y="14"/>
                  <a:pt x="15" y="14"/>
                </a:cubicBezTo>
                <a:cubicBezTo>
                  <a:pt x="15" y="13"/>
                  <a:pt x="15" y="13"/>
                  <a:pt x="14" y="13"/>
                </a:cubicBezTo>
                <a:cubicBezTo>
                  <a:pt x="14" y="13"/>
                  <a:pt x="13" y="11"/>
                  <a:pt x="13" y="11"/>
                </a:cubicBezTo>
                <a:cubicBezTo>
                  <a:pt x="14" y="11"/>
                  <a:pt x="12" y="10"/>
                  <a:pt x="11" y="11"/>
                </a:cubicBezTo>
                <a:cubicBezTo>
                  <a:pt x="11" y="11"/>
                  <a:pt x="11" y="10"/>
                  <a:pt x="11" y="10"/>
                </a:cubicBezTo>
                <a:cubicBezTo>
                  <a:pt x="11" y="9"/>
                  <a:pt x="12" y="7"/>
                  <a:pt x="13" y="7"/>
                </a:cubicBezTo>
                <a:cubicBezTo>
                  <a:pt x="14" y="6"/>
                  <a:pt x="13" y="4"/>
                  <a:pt x="13" y="3"/>
                </a:cubicBezTo>
                <a:cubicBezTo>
                  <a:pt x="13" y="2"/>
                  <a:pt x="13" y="2"/>
                  <a:pt x="13" y="2"/>
                </a:cubicBezTo>
                <a:cubicBezTo>
                  <a:pt x="12" y="2"/>
                  <a:pt x="12" y="2"/>
                  <a:pt x="12" y="1"/>
                </a:cubicBezTo>
                <a:cubicBezTo>
                  <a:pt x="12" y="0"/>
                  <a:pt x="11" y="0"/>
                  <a:pt x="11" y="0"/>
                </a:cubicBezTo>
                <a:cubicBezTo>
                  <a:pt x="11" y="0"/>
                  <a:pt x="10" y="0"/>
                  <a:pt x="10" y="1"/>
                </a:cubicBezTo>
                <a:cubicBezTo>
                  <a:pt x="10" y="1"/>
                  <a:pt x="10" y="1"/>
                  <a:pt x="10" y="1"/>
                </a:cubicBezTo>
                <a:cubicBezTo>
                  <a:pt x="10" y="1"/>
                  <a:pt x="10" y="1"/>
                  <a:pt x="10" y="2"/>
                </a:cubicBezTo>
                <a:cubicBezTo>
                  <a:pt x="9" y="2"/>
                  <a:pt x="9" y="2"/>
                  <a:pt x="10" y="3"/>
                </a:cubicBezTo>
                <a:cubicBezTo>
                  <a:pt x="10" y="4"/>
                  <a:pt x="9" y="4"/>
                  <a:pt x="9" y="3"/>
                </a:cubicBezTo>
                <a:cubicBezTo>
                  <a:pt x="9" y="3"/>
                  <a:pt x="8" y="3"/>
                  <a:pt x="7" y="4"/>
                </a:cubicBezTo>
                <a:cubicBezTo>
                  <a:pt x="7" y="4"/>
                  <a:pt x="6" y="5"/>
                  <a:pt x="6" y="6"/>
                </a:cubicBezTo>
                <a:cubicBezTo>
                  <a:pt x="6" y="7"/>
                  <a:pt x="5" y="8"/>
                  <a:pt x="5" y="8"/>
                </a:cubicBezTo>
                <a:cubicBezTo>
                  <a:pt x="5" y="9"/>
                  <a:pt x="4" y="11"/>
                  <a:pt x="4" y="11"/>
                </a:cubicBezTo>
                <a:cubicBezTo>
                  <a:pt x="4" y="11"/>
                  <a:pt x="3" y="11"/>
                  <a:pt x="2" y="11"/>
                </a:cubicBezTo>
                <a:cubicBezTo>
                  <a:pt x="2" y="11"/>
                  <a:pt x="2" y="13"/>
                  <a:pt x="2" y="13"/>
                </a:cubicBezTo>
                <a:cubicBezTo>
                  <a:pt x="2" y="14"/>
                  <a:pt x="2" y="15"/>
                  <a:pt x="1" y="15"/>
                </a:cubicBezTo>
                <a:cubicBezTo>
                  <a:pt x="1" y="15"/>
                  <a:pt x="0" y="17"/>
                  <a:pt x="0" y="17"/>
                </a:cubicBezTo>
                <a:cubicBezTo>
                  <a:pt x="0" y="17"/>
                  <a:pt x="0" y="17"/>
                  <a:pt x="0" y="18"/>
                </a:cubicBezTo>
                <a:cubicBezTo>
                  <a:pt x="0" y="19"/>
                  <a:pt x="1" y="20"/>
                  <a:pt x="2" y="20"/>
                </a:cubicBezTo>
                <a:cubicBezTo>
                  <a:pt x="3" y="20"/>
                  <a:pt x="4" y="23"/>
                  <a:pt x="4" y="24"/>
                </a:cubicBezTo>
                <a:cubicBezTo>
                  <a:pt x="5" y="26"/>
                  <a:pt x="4" y="27"/>
                  <a:pt x="4" y="28"/>
                </a:cubicBezTo>
                <a:cubicBezTo>
                  <a:pt x="4" y="29"/>
                  <a:pt x="4" y="29"/>
                  <a:pt x="5" y="29"/>
                </a:cubicBezTo>
                <a:cubicBezTo>
                  <a:pt x="6" y="30"/>
                  <a:pt x="6" y="30"/>
                  <a:pt x="7" y="29"/>
                </a:cubicBezTo>
                <a:cubicBezTo>
                  <a:pt x="8" y="28"/>
                  <a:pt x="9" y="28"/>
                  <a:pt x="9" y="27"/>
                </a:cubicBezTo>
                <a:cubicBezTo>
                  <a:pt x="9" y="26"/>
                  <a:pt x="10" y="27"/>
                  <a:pt x="10" y="28"/>
                </a:cubicBezTo>
                <a:cubicBezTo>
                  <a:pt x="10" y="28"/>
                  <a:pt x="11" y="29"/>
                  <a:pt x="11" y="30"/>
                </a:cubicBezTo>
                <a:cubicBezTo>
                  <a:pt x="11" y="31"/>
                  <a:pt x="11" y="34"/>
                  <a:pt x="12" y="35"/>
                </a:cubicBezTo>
                <a:cubicBezTo>
                  <a:pt x="13" y="36"/>
                  <a:pt x="13" y="38"/>
                  <a:pt x="13" y="38"/>
                </a:cubicBezTo>
                <a:cubicBezTo>
                  <a:pt x="13" y="39"/>
                  <a:pt x="13" y="40"/>
                  <a:pt x="13" y="41"/>
                </a:cubicBezTo>
                <a:cubicBezTo>
                  <a:pt x="13" y="41"/>
                  <a:pt x="13" y="41"/>
                  <a:pt x="13" y="42"/>
                </a:cubicBezTo>
                <a:cubicBezTo>
                  <a:pt x="14" y="42"/>
                  <a:pt x="15" y="38"/>
                  <a:pt x="15" y="3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95"/>
          <p:cNvSpPr>
            <a:spLocks/>
          </p:cNvSpPr>
          <p:nvPr/>
        </p:nvSpPr>
        <p:spPr bwMode="auto">
          <a:xfrm>
            <a:off x="3141726" y="2971513"/>
            <a:ext cx="32174" cy="17874"/>
          </a:xfrm>
          <a:custGeom>
            <a:avLst/>
            <a:gdLst>
              <a:gd name="T0" fmla="*/ 7 w 7"/>
              <a:gd name="T1" fmla="*/ 1 h 4"/>
              <a:gd name="T2" fmla="*/ 4 w 7"/>
              <a:gd name="T3" fmla="*/ 0 h 4"/>
              <a:gd name="T4" fmla="*/ 2 w 7"/>
              <a:gd name="T5" fmla="*/ 0 h 4"/>
              <a:gd name="T6" fmla="*/ 1 w 7"/>
              <a:gd name="T7" fmla="*/ 1 h 4"/>
              <a:gd name="T8" fmla="*/ 0 w 7"/>
              <a:gd name="T9" fmla="*/ 2 h 4"/>
              <a:gd name="T10" fmla="*/ 1 w 7"/>
              <a:gd name="T11" fmla="*/ 3 h 4"/>
              <a:gd name="T12" fmla="*/ 2 w 7"/>
              <a:gd name="T13" fmla="*/ 3 h 4"/>
              <a:gd name="T14" fmla="*/ 4 w 7"/>
              <a:gd name="T15" fmla="*/ 3 h 4"/>
              <a:gd name="T16" fmla="*/ 7 w 7"/>
              <a:gd name="T17" fmla="*/ 3 h 4"/>
              <a:gd name="T18" fmla="*/ 6 w 7"/>
              <a:gd name="T19" fmla="*/ 1 h 4"/>
              <a:gd name="T20" fmla="*/ 7 w 7"/>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7" y="1"/>
                </a:moveTo>
                <a:cubicBezTo>
                  <a:pt x="5" y="0"/>
                  <a:pt x="5" y="1"/>
                  <a:pt x="4" y="0"/>
                </a:cubicBezTo>
                <a:cubicBezTo>
                  <a:pt x="3" y="0"/>
                  <a:pt x="3" y="0"/>
                  <a:pt x="2" y="0"/>
                </a:cubicBezTo>
                <a:cubicBezTo>
                  <a:pt x="2" y="0"/>
                  <a:pt x="1" y="0"/>
                  <a:pt x="1" y="1"/>
                </a:cubicBezTo>
                <a:cubicBezTo>
                  <a:pt x="1" y="2"/>
                  <a:pt x="0" y="2"/>
                  <a:pt x="0" y="2"/>
                </a:cubicBezTo>
                <a:cubicBezTo>
                  <a:pt x="0" y="3"/>
                  <a:pt x="1" y="3"/>
                  <a:pt x="1" y="3"/>
                </a:cubicBezTo>
                <a:cubicBezTo>
                  <a:pt x="1" y="3"/>
                  <a:pt x="2" y="3"/>
                  <a:pt x="2" y="3"/>
                </a:cubicBezTo>
                <a:cubicBezTo>
                  <a:pt x="3" y="3"/>
                  <a:pt x="3" y="4"/>
                  <a:pt x="4" y="3"/>
                </a:cubicBezTo>
                <a:cubicBezTo>
                  <a:pt x="5" y="3"/>
                  <a:pt x="6" y="4"/>
                  <a:pt x="7" y="3"/>
                </a:cubicBezTo>
                <a:cubicBezTo>
                  <a:pt x="7" y="2"/>
                  <a:pt x="6" y="1"/>
                  <a:pt x="6" y="1"/>
                </a:cubicBezTo>
                <a:cubicBezTo>
                  <a:pt x="6" y="1"/>
                  <a:pt x="7" y="1"/>
                  <a:pt x="7"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96"/>
          <p:cNvSpPr>
            <a:spLocks/>
          </p:cNvSpPr>
          <p:nvPr/>
        </p:nvSpPr>
        <p:spPr bwMode="auto">
          <a:xfrm>
            <a:off x="3277570" y="3025135"/>
            <a:ext cx="75072" cy="164443"/>
          </a:xfrm>
          <a:custGeom>
            <a:avLst/>
            <a:gdLst>
              <a:gd name="T0" fmla="*/ 12 w 16"/>
              <a:gd name="T1" fmla="*/ 4 h 34"/>
              <a:gd name="T2" fmla="*/ 10 w 16"/>
              <a:gd name="T3" fmla="*/ 3 h 34"/>
              <a:gd name="T4" fmla="*/ 9 w 16"/>
              <a:gd name="T5" fmla="*/ 1 h 34"/>
              <a:gd name="T6" fmla="*/ 7 w 16"/>
              <a:gd name="T7" fmla="*/ 1 h 34"/>
              <a:gd name="T8" fmla="*/ 6 w 16"/>
              <a:gd name="T9" fmla="*/ 2 h 34"/>
              <a:gd name="T10" fmla="*/ 4 w 16"/>
              <a:gd name="T11" fmla="*/ 2 h 34"/>
              <a:gd name="T12" fmla="*/ 2 w 16"/>
              <a:gd name="T13" fmla="*/ 2 h 34"/>
              <a:gd name="T14" fmla="*/ 1 w 16"/>
              <a:gd name="T15" fmla="*/ 2 h 34"/>
              <a:gd name="T16" fmla="*/ 0 w 16"/>
              <a:gd name="T17" fmla="*/ 3 h 34"/>
              <a:gd name="T18" fmla="*/ 1 w 16"/>
              <a:gd name="T19" fmla="*/ 4 h 34"/>
              <a:gd name="T20" fmla="*/ 2 w 16"/>
              <a:gd name="T21" fmla="*/ 5 h 34"/>
              <a:gd name="T22" fmla="*/ 4 w 16"/>
              <a:gd name="T23" fmla="*/ 6 h 34"/>
              <a:gd name="T24" fmla="*/ 5 w 16"/>
              <a:gd name="T25" fmla="*/ 7 h 34"/>
              <a:gd name="T26" fmla="*/ 6 w 16"/>
              <a:gd name="T27" fmla="*/ 8 h 34"/>
              <a:gd name="T28" fmla="*/ 4 w 16"/>
              <a:gd name="T29" fmla="*/ 9 h 34"/>
              <a:gd name="T30" fmla="*/ 7 w 16"/>
              <a:gd name="T31" fmla="*/ 12 h 34"/>
              <a:gd name="T32" fmla="*/ 8 w 16"/>
              <a:gd name="T33" fmla="*/ 14 h 34"/>
              <a:gd name="T34" fmla="*/ 10 w 16"/>
              <a:gd name="T35" fmla="*/ 16 h 34"/>
              <a:gd name="T36" fmla="*/ 11 w 16"/>
              <a:gd name="T37" fmla="*/ 18 h 34"/>
              <a:gd name="T38" fmla="*/ 12 w 16"/>
              <a:gd name="T39" fmla="*/ 20 h 34"/>
              <a:gd name="T40" fmla="*/ 13 w 16"/>
              <a:gd name="T41" fmla="*/ 23 h 34"/>
              <a:gd name="T42" fmla="*/ 11 w 16"/>
              <a:gd name="T43" fmla="*/ 26 h 34"/>
              <a:gd name="T44" fmla="*/ 9 w 16"/>
              <a:gd name="T45" fmla="*/ 27 h 34"/>
              <a:gd name="T46" fmla="*/ 9 w 16"/>
              <a:gd name="T47" fmla="*/ 29 h 34"/>
              <a:gd name="T48" fmla="*/ 7 w 16"/>
              <a:gd name="T49" fmla="*/ 29 h 34"/>
              <a:gd name="T50" fmla="*/ 5 w 16"/>
              <a:gd name="T51" fmla="*/ 30 h 34"/>
              <a:gd name="T52" fmla="*/ 6 w 16"/>
              <a:gd name="T53" fmla="*/ 31 h 34"/>
              <a:gd name="T54" fmla="*/ 6 w 16"/>
              <a:gd name="T55" fmla="*/ 33 h 34"/>
              <a:gd name="T56" fmla="*/ 7 w 16"/>
              <a:gd name="T57" fmla="*/ 34 h 34"/>
              <a:gd name="T58" fmla="*/ 9 w 16"/>
              <a:gd name="T59" fmla="*/ 32 h 34"/>
              <a:gd name="T60" fmla="*/ 9 w 16"/>
              <a:gd name="T61" fmla="*/ 31 h 34"/>
              <a:gd name="T62" fmla="*/ 10 w 16"/>
              <a:gd name="T63" fmla="*/ 30 h 34"/>
              <a:gd name="T64" fmla="*/ 11 w 16"/>
              <a:gd name="T65" fmla="*/ 30 h 34"/>
              <a:gd name="T66" fmla="*/ 14 w 16"/>
              <a:gd name="T67" fmla="*/ 29 h 34"/>
              <a:gd name="T68" fmla="*/ 16 w 16"/>
              <a:gd name="T69" fmla="*/ 26 h 34"/>
              <a:gd name="T70" fmla="*/ 15 w 16"/>
              <a:gd name="T71" fmla="*/ 21 h 34"/>
              <a:gd name="T72" fmla="*/ 13 w 16"/>
              <a:gd name="T73" fmla="*/ 17 h 34"/>
              <a:gd name="T74" fmla="*/ 10 w 16"/>
              <a:gd name="T75" fmla="*/ 14 h 34"/>
              <a:gd name="T76" fmla="*/ 9 w 16"/>
              <a:gd name="T77" fmla="*/ 12 h 34"/>
              <a:gd name="T78" fmla="*/ 8 w 16"/>
              <a:gd name="T79" fmla="*/ 9 h 34"/>
              <a:gd name="T80" fmla="*/ 10 w 16"/>
              <a:gd name="T81" fmla="*/ 7 h 34"/>
              <a:gd name="T82" fmla="*/ 11 w 16"/>
              <a:gd name="T83" fmla="*/ 6 h 34"/>
              <a:gd name="T84" fmla="*/ 12 w 16"/>
              <a:gd name="T85" fmla="*/ 5 h 34"/>
              <a:gd name="T86" fmla="*/ 12 w 16"/>
              <a:gd name="T87" fmla="*/ 5 h 34"/>
              <a:gd name="T88" fmla="*/ 12 w 16"/>
              <a:gd name="T89"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34">
                <a:moveTo>
                  <a:pt x="12" y="4"/>
                </a:moveTo>
                <a:cubicBezTo>
                  <a:pt x="11" y="4"/>
                  <a:pt x="10" y="3"/>
                  <a:pt x="10" y="3"/>
                </a:cubicBezTo>
                <a:cubicBezTo>
                  <a:pt x="10" y="2"/>
                  <a:pt x="11" y="2"/>
                  <a:pt x="9" y="1"/>
                </a:cubicBezTo>
                <a:cubicBezTo>
                  <a:pt x="8" y="1"/>
                  <a:pt x="8" y="1"/>
                  <a:pt x="7" y="1"/>
                </a:cubicBezTo>
                <a:cubicBezTo>
                  <a:pt x="7" y="0"/>
                  <a:pt x="6" y="1"/>
                  <a:pt x="6" y="2"/>
                </a:cubicBezTo>
                <a:cubicBezTo>
                  <a:pt x="5" y="2"/>
                  <a:pt x="5" y="1"/>
                  <a:pt x="4" y="2"/>
                </a:cubicBezTo>
                <a:cubicBezTo>
                  <a:pt x="3" y="2"/>
                  <a:pt x="3" y="1"/>
                  <a:pt x="2" y="2"/>
                </a:cubicBezTo>
                <a:cubicBezTo>
                  <a:pt x="2" y="3"/>
                  <a:pt x="1" y="2"/>
                  <a:pt x="1" y="2"/>
                </a:cubicBezTo>
                <a:cubicBezTo>
                  <a:pt x="0" y="2"/>
                  <a:pt x="0" y="2"/>
                  <a:pt x="0" y="3"/>
                </a:cubicBezTo>
                <a:cubicBezTo>
                  <a:pt x="0" y="3"/>
                  <a:pt x="1" y="3"/>
                  <a:pt x="1" y="4"/>
                </a:cubicBezTo>
                <a:cubicBezTo>
                  <a:pt x="1" y="4"/>
                  <a:pt x="2" y="5"/>
                  <a:pt x="2" y="5"/>
                </a:cubicBezTo>
                <a:cubicBezTo>
                  <a:pt x="2" y="6"/>
                  <a:pt x="3" y="7"/>
                  <a:pt x="4" y="6"/>
                </a:cubicBezTo>
                <a:cubicBezTo>
                  <a:pt x="4" y="6"/>
                  <a:pt x="5" y="6"/>
                  <a:pt x="5" y="7"/>
                </a:cubicBezTo>
                <a:cubicBezTo>
                  <a:pt x="5" y="8"/>
                  <a:pt x="6" y="8"/>
                  <a:pt x="6" y="8"/>
                </a:cubicBezTo>
                <a:cubicBezTo>
                  <a:pt x="6" y="9"/>
                  <a:pt x="5" y="9"/>
                  <a:pt x="4" y="9"/>
                </a:cubicBezTo>
                <a:cubicBezTo>
                  <a:pt x="4" y="10"/>
                  <a:pt x="7" y="11"/>
                  <a:pt x="7" y="12"/>
                </a:cubicBezTo>
                <a:cubicBezTo>
                  <a:pt x="7" y="12"/>
                  <a:pt x="8" y="13"/>
                  <a:pt x="8" y="14"/>
                </a:cubicBezTo>
                <a:cubicBezTo>
                  <a:pt x="8" y="14"/>
                  <a:pt x="9" y="15"/>
                  <a:pt x="10" y="16"/>
                </a:cubicBezTo>
                <a:cubicBezTo>
                  <a:pt x="10" y="17"/>
                  <a:pt x="11" y="17"/>
                  <a:pt x="11" y="18"/>
                </a:cubicBezTo>
                <a:cubicBezTo>
                  <a:pt x="12" y="18"/>
                  <a:pt x="12" y="19"/>
                  <a:pt x="12" y="20"/>
                </a:cubicBezTo>
                <a:cubicBezTo>
                  <a:pt x="12" y="21"/>
                  <a:pt x="12" y="22"/>
                  <a:pt x="13" y="23"/>
                </a:cubicBezTo>
                <a:cubicBezTo>
                  <a:pt x="13" y="25"/>
                  <a:pt x="12" y="25"/>
                  <a:pt x="11" y="26"/>
                </a:cubicBezTo>
                <a:cubicBezTo>
                  <a:pt x="10" y="27"/>
                  <a:pt x="11" y="28"/>
                  <a:pt x="9" y="27"/>
                </a:cubicBezTo>
                <a:cubicBezTo>
                  <a:pt x="7" y="27"/>
                  <a:pt x="9" y="29"/>
                  <a:pt x="9" y="29"/>
                </a:cubicBezTo>
                <a:cubicBezTo>
                  <a:pt x="9" y="30"/>
                  <a:pt x="7" y="29"/>
                  <a:pt x="7" y="29"/>
                </a:cubicBezTo>
                <a:cubicBezTo>
                  <a:pt x="7" y="30"/>
                  <a:pt x="6" y="30"/>
                  <a:pt x="5" y="30"/>
                </a:cubicBezTo>
                <a:cubicBezTo>
                  <a:pt x="5" y="31"/>
                  <a:pt x="6" y="31"/>
                  <a:pt x="6" y="31"/>
                </a:cubicBezTo>
                <a:cubicBezTo>
                  <a:pt x="7" y="31"/>
                  <a:pt x="6" y="32"/>
                  <a:pt x="6" y="33"/>
                </a:cubicBezTo>
                <a:cubicBezTo>
                  <a:pt x="6" y="34"/>
                  <a:pt x="6" y="34"/>
                  <a:pt x="7" y="34"/>
                </a:cubicBezTo>
                <a:cubicBezTo>
                  <a:pt x="7" y="33"/>
                  <a:pt x="8" y="32"/>
                  <a:pt x="9" y="32"/>
                </a:cubicBezTo>
                <a:cubicBezTo>
                  <a:pt x="9" y="32"/>
                  <a:pt x="9" y="31"/>
                  <a:pt x="9" y="31"/>
                </a:cubicBezTo>
                <a:cubicBezTo>
                  <a:pt x="10" y="31"/>
                  <a:pt x="10" y="31"/>
                  <a:pt x="10" y="30"/>
                </a:cubicBezTo>
                <a:cubicBezTo>
                  <a:pt x="10" y="30"/>
                  <a:pt x="10" y="30"/>
                  <a:pt x="11" y="30"/>
                </a:cubicBezTo>
                <a:cubicBezTo>
                  <a:pt x="12" y="30"/>
                  <a:pt x="13" y="29"/>
                  <a:pt x="14" y="29"/>
                </a:cubicBezTo>
                <a:cubicBezTo>
                  <a:pt x="15" y="28"/>
                  <a:pt x="15" y="28"/>
                  <a:pt x="16" y="26"/>
                </a:cubicBezTo>
                <a:cubicBezTo>
                  <a:pt x="16" y="24"/>
                  <a:pt x="15" y="21"/>
                  <a:pt x="15" y="21"/>
                </a:cubicBezTo>
                <a:cubicBezTo>
                  <a:pt x="15" y="20"/>
                  <a:pt x="14" y="17"/>
                  <a:pt x="13" y="17"/>
                </a:cubicBezTo>
                <a:cubicBezTo>
                  <a:pt x="13" y="17"/>
                  <a:pt x="10" y="14"/>
                  <a:pt x="10" y="14"/>
                </a:cubicBezTo>
                <a:cubicBezTo>
                  <a:pt x="9" y="14"/>
                  <a:pt x="9" y="13"/>
                  <a:pt x="9" y="12"/>
                </a:cubicBezTo>
                <a:cubicBezTo>
                  <a:pt x="8" y="12"/>
                  <a:pt x="8" y="10"/>
                  <a:pt x="8" y="9"/>
                </a:cubicBezTo>
                <a:cubicBezTo>
                  <a:pt x="8" y="8"/>
                  <a:pt x="10" y="8"/>
                  <a:pt x="10" y="7"/>
                </a:cubicBezTo>
                <a:cubicBezTo>
                  <a:pt x="10" y="7"/>
                  <a:pt x="10" y="6"/>
                  <a:pt x="11" y="6"/>
                </a:cubicBezTo>
                <a:cubicBezTo>
                  <a:pt x="11" y="6"/>
                  <a:pt x="12" y="5"/>
                  <a:pt x="12" y="5"/>
                </a:cubicBezTo>
                <a:cubicBezTo>
                  <a:pt x="12" y="5"/>
                  <a:pt x="12" y="5"/>
                  <a:pt x="12" y="5"/>
                </a:cubicBezTo>
                <a:cubicBezTo>
                  <a:pt x="12" y="5"/>
                  <a:pt x="12"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97"/>
          <p:cNvSpPr>
            <a:spLocks/>
          </p:cNvSpPr>
          <p:nvPr/>
        </p:nvSpPr>
        <p:spPr bwMode="auto">
          <a:xfrm>
            <a:off x="3277570" y="3125231"/>
            <a:ext cx="60772" cy="42898"/>
          </a:xfrm>
          <a:custGeom>
            <a:avLst/>
            <a:gdLst>
              <a:gd name="T0" fmla="*/ 7 w 13"/>
              <a:gd name="T1" fmla="*/ 8 h 9"/>
              <a:gd name="T2" fmla="*/ 9 w 13"/>
              <a:gd name="T3" fmla="*/ 8 h 9"/>
              <a:gd name="T4" fmla="*/ 9 w 13"/>
              <a:gd name="T5" fmla="*/ 6 h 9"/>
              <a:gd name="T6" fmla="*/ 11 w 13"/>
              <a:gd name="T7" fmla="*/ 5 h 9"/>
              <a:gd name="T8" fmla="*/ 13 w 13"/>
              <a:gd name="T9" fmla="*/ 2 h 9"/>
              <a:gd name="T10" fmla="*/ 12 w 13"/>
              <a:gd name="T11" fmla="*/ 0 h 9"/>
              <a:gd name="T12" fmla="*/ 10 w 13"/>
              <a:gd name="T13" fmla="*/ 0 h 9"/>
              <a:gd name="T14" fmla="*/ 9 w 13"/>
              <a:gd name="T15" fmla="*/ 0 h 9"/>
              <a:gd name="T16" fmla="*/ 8 w 13"/>
              <a:gd name="T17" fmla="*/ 1 h 9"/>
              <a:gd name="T18" fmla="*/ 7 w 13"/>
              <a:gd name="T19" fmla="*/ 0 h 9"/>
              <a:gd name="T20" fmla="*/ 4 w 13"/>
              <a:gd name="T21" fmla="*/ 0 h 9"/>
              <a:gd name="T22" fmla="*/ 1 w 13"/>
              <a:gd name="T23" fmla="*/ 2 h 9"/>
              <a:gd name="T24" fmla="*/ 1 w 13"/>
              <a:gd name="T25" fmla="*/ 4 h 9"/>
              <a:gd name="T26" fmla="*/ 1 w 13"/>
              <a:gd name="T27" fmla="*/ 5 h 9"/>
              <a:gd name="T28" fmla="*/ 1 w 13"/>
              <a:gd name="T29" fmla="*/ 5 h 9"/>
              <a:gd name="T30" fmla="*/ 2 w 13"/>
              <a:gd name="T31" fmla="*/ 7 h 9"/>
              <a:gd name="T32" fmla="*/ 3 w 13"/>
              <a:gd name="T33" fmla="*/ 8 h 9"/>
              <a:gd name="T34" fmla="*/ 3 w 13"/>
              <a:gd name="T35" fmla="*/ 9 h 9"/>
              <a:gd name="T36" fmla="*/ 5 w 13"/>
              <a:gd name="T37" fmla="*/ 9 h 9"/>
              <a:gd name="T38" fmla="*/ 5 w 13"/>
              <a:gd name="T39" fmla="*/ 9 h 9"/>
              <a:gd name="T40" fmla="*/ 7 w 13"/>
              <a:gd name="T4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9">
                <a:moveTo>
                  <a:pt x="7" y="8"/>
                </a:moveTo>
                <a:cubicBezTo>
                  <a:pt x="7" y="8"/>
                  <a:pt x="9" y="9"/>
                  <a:pt x="9" y="8"/>
                </a:cubicBezTo>
                <a:cubicBezTo>
                  <a:pt x="9" y="8"/>
                  <a:pt x="7" y="6"/>
                  <a:pt x="9" y="6"/>
                </a:cubicBezTo>
                <a:cubicBezTo>
                  <a:pt x="11" y="7"/>
                  <a:pt x="10" y="6"/>
                  <a:pt x="11" y="5"/>
                </a:cubicBezTo>
                <a:cubicBezTo>
                  <a:pt x="12" y="4"/>
                  <a:pt x="13" y="4"/>
                  <a:pt x="13" y="2"/>
                </a:cubicBezTo>
                <a:cubicBezTo>
                  <a:pt x="12" y="2"/>
                  <a:pt x="12" y="1"/>
                  <a:pt x="12" y="0"/>
                </a:cubicBezTo>
                <a:cubicBezTo>
                  <a:pt x="11" y="0"/>
                  <a:pt x="11" y="0"/>
                  <a:pt x="10" y="0"/>
                </a:cubicBezTo>
                <a:cubicBezTo>
                  <a:pt x="10" y="0"/>
                  <a:pt x="9" y="0"/>
                  <a:pt x="9" y="0"/>
                </a:cubicBezTo>
                <a:cubicBezTo>
                  <a:pt x="9" y="1"/>
                  <a:pt x="8" y="1"/>
                  <a:pt x="8" y="1"/>
                </a:cubicBezTo>
                <a:cubicBezTo>
                  <a:pt x="8" y="1"/>
                  <a:pt x="7" y="1"/>
                  <a:pt x="7" y="0"/>
                </a:cubicBezTo>
                <a:cubicBezTo>
                  <a:pt x="6" y="0"/>
                  <a:pt x="5" y="0"/>
                  <a:pt x="4" y="0"/>
                </a:cubicBezTo>
                <a:cubicBezTo>
                  <a:pt x="3" y="0"/>
                  <a:pt x="2" y="1"/>
                  <a:pt x="1" y="2"/>
                </a:cubicBezTo>
                <a:cubicBezTo>
                  <a:pt x="0" y="3"/>
                  <a:pt x="1" y="3"/>
                  <a:pt x="1" y="4"/>
                </a:cubicBezTo>
                <a:cubicBezTo>
                  <a:pt x="1" y="5"/>
                  <a:pt x="1" y="5"/>
                  <a:pt x="1" y="5"/>
                </a:cubicBezTo>
                <a:cubicBezTo>
                  <a:pt x="1" y="5"/>
                  <a:pt x="1" y="5"/>
                  <a:pt x="1" y="5"/>
                </a:cubicBezTo>
                <a:cubicBezTo>
                  <a:pt x="2" y="6"/>
                  <a:pt x="2" y="7"/>
                  <a:pt x="2" y="7"/>
                </a:cubicBezTo>
                <a:cubicBezTo>
                  <a:pt x="2" y="8"/>
                  <a:pt x="3" y="8"/>
                  <a:pt x="3" y="8"/>
                </a:cubicBezTo>
                <a:cubicBezTo>
                  <a:pt x="4" y="8"/>
                  <a:pt x="3" y="8"/>
                  <a:pt x="3" y="9"/>
                </a:cubicBezTo>
                <a:cubicBezTo>
                  <a:pt x="4" y="9"/>
                  <a:pt x="5" y="8"/>
                  <a:pt x="5" y="9"/>
                </a:cubicBezTo>
                <a:cubicBezTo>
                  <a:pt x="5" y="9"/>
                  <a:pt x="5" y="9"/>
                  <a:pt x="5" y="9"/>
                </a:cubicBezTo>
                <a:cubicBezTo>
                  <a:pt x="6" y="9"/>
                  <a:pt x="7" y="9"/>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98"/>
          <p:cNvSpPr>
            <a:spLocks/>
          </p:cNvSpPr>
          <p:nvPr/>
        </p:nvSpPr>
        <p:spPr bwMode="auto">
          <a:xfrm>
            <a:off x="3256121" y="3035860"/>
            <a:ext cx="78647" cy="96521"/>
          </a:xfrm>
          <a:custGeom>
            <a:avLst/>
            <a:gdLst>
              <a:gd name="T0" fmla="*/ 11 w 16"/>
              <a:gd name="T1" fmla="*/ 10 h 20"/>
              <a:gd name="T2" fmla="*/ 8 w 16"/>
              <a:gd name="T3" fmla="*/ 7 h 20"/>
              <a:gd name="T4" fmla="*/ 10 w 16"/>
              <a:gd name="T5" fmla="*/ 6 h 20"/>
              <a:gd name="T6" fmla="*/ 9 w 16"/>
              <a:gd name="T7" fmla="*/ 5 h 20"/>
              <a:gd name="T8" fmla="*/ 8 w 16"/>
              <a:gd name="T9" fmla="*/ 4 h 20"/>
              <a:gd name="T10" fmla="*/ 6 w 16"/>
              <a:gd name="T11" fmla="*/ 3 h 20"/>
              <a:gd name="T12" fmla="*/ 5 w 16"/>
              <a:gd name="T13" fmla="*/ 2 h 20"/>
              <a:gd name="T14" fmla="*/ 4 w 16"/>
              <a:gd name="T15" fmla="*/ 1 h 20"/>
              <a:gd name="T16" fmla="*/ 3 w 16"/>
              <a:gd name="T17" fmla="*/ 1 h 20"/>
              <a:gd name="T18" fmla="*/ 3 w 16"/>
              <a:gd name="T19" fmla="*/ 2 h 20"/>
              <a:gd name="T20" fmla="*/ 3 w 16"/>
              <a:gd name="T21" fmla="*/ 3 h 20"/>
              <a:gd name="T22" fmla="*/ 2 w 16"/>
              <a:gd name="T23" fmla="*/ 2 h 20"/>
              <a:gd name="T24" fmla="*/ 0 w 16"/>
              <a:gd name="T25" fmla="*/ 4 h 20"/>
              <a:gd name="T26" fmla="*/ 0 w 16"/>
              <a:gd name="T27" fmla="*/ 5 h 20"/>
              <a:gd name="T28" fmla="*/ 0 w 16"/>
              <a:gd name="T29" fmla="*/ 5 h 20"/>
              <a:gd name="T30" fmla="*/ 0 w 16"/>
              <a:gd name="T31" fmla="*/ 7 h 20"/>
              <a:gd name="T32" fmla="*/ 2 w 16"/>
              <a:gd name="T33" fmla="*/ 8 h 20"/>
              <a:gd name="T34" fmla="*/ 2 w 16"/>
              <a:gd name="T35" fmla="*/ 10 h 20"/>
              <a:gd name="T36" fmla="*/ 1 w 16"/>
              <a:gd name="T37" fmla="*/ 12 h 20"/>
              <a:gd name="T38" fmla="*/ 3 w 16"/>
              <a:gd name="T39" fmla="*/ 11 h 20"/>
              <a:gd name="T40" fmla="*/ 5 w 16"/>
              <a:gd name="T41" fmla="*/ 11 h 20"/>
              <a:gd name="T42" fmla="*/ 6 w 16"/>
              <a:gd name="T43" fmla="*/ 10 h 20"/>
              <a:gd name="T44" fmla="*/ 8 w 16"/>
              <a:gd name="T45" fmla="*/ 10 h 20"/>
              <a:gd name="T46" fmla="*/ 10 w 16"/>
              <a:gd name="T47" fmla="*/ 12 h 20"/>
              <a:gd name="T48" fmla="*/ 10 w 16"/>
              <a:gd name="T49" fmla="*/ 15 h 20"/>
              <a:gd name="T50" fmla="*/ 11 w 16"/>
              <a:gd name="T51" fmla="*/ 17 h 20"/>
              <a:gd name="T52" fmla="*/ 11 w 16"/>
              <a:gd name="T53" fmla="*/ 19 h 20"/>
              <a:gd name="T54" fmla="*/ 12 w 16"/>
              <a:gd name="T55" fmla="*/ 20 h 20"/>
              <a:gd name="T56" fmla="*/ 13 w 16"/>
              <a:gd name="T57" fmla="*/ 19 h 20"/>
              <a:gd name="T58" fmla="*/ 14 w 16"/>
              <a:gd name="T59" fmla="*/ 19 h 20"/>
              <a:gd name="T60" fmla="*/ 16 w 16"/>
              <a:gd name="T61" fmla="*/ 19 h 20"/>
              <a:gd name="T62" fmla="*/ 16 w 16"/>
              <a:gd name="T63" fmla="*/ 18 h 20"/>
              <a:gd name="T64" fmla="*/ 15 w 16"/>
              <a:gd name="T65" fmla="*/ 16 h 20"/>
              <a:gd name="T66" fmla="*/ 14 w 16"/>
              <a:gd name="T67" fmla="*/ 14 h 20"/>
              <a:gd name="T68" fmla="*/ 12 w 16"/>
              <a:gd name="T69" fmla="*/ 12 h 20"/>
              <a:gd name="T70" fmla="*/ 11 w 16"/>
              <a:gd name="T7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20">
                <a:moveTo>
                  <a:pt x="11" y="10"/>
                </a:moveTo>
                <a:cubicBezTo>
                  <a:pt x="11" y="9"/>
                  <a:pt x="8" y="8"/>
                  <a:pt x="8" y="7"/>
                </a:cubicBezTo>
                <a:cubicBezTo>
                  <a:pt x="9" y="7"/>
                  <a:pt x="10" y="7"/>
                  <a:pt x="10" y="6"/>
                </a:cubicBezTo>
                <a:cubicBezTo>
                  <a:pt x="10" y="6"/>
                  <a:pt x="9" y="6"/>
                  <a:pt x="9" y="5"/>
                </a:cubicBezTo>
                <a:cubicBezTo>
                  <a:pt x="9" y="4"/>
                  <a:pt x="8" y="4"/>
                  <a:pt x="8" y="4"/>
                </a:cubicBezTo>
                <a:cubicBezTo>
                  <a:pt x="7" y="5"/>
                  <a:pt x="6" y="4"/>
                  <a:pt x="6" y="3"/>
                </a:cubicBezTo>
                <a:cubicBezTo>
                  <a:pt x="6" y="3"/>
                  <a:pt x="5" y="2"/>
                  <a:pt x="5" y="2"/>
                </a:cubicBezTo>
                <a:cubicBezTo>
                  <a:pt x="5" y="1"/>
                  <a:pt x="4" y="1"/>
                  <a:pt x="4" y="1"/>
                </a:cubicBezTo>
                <a:cubicBezTo>
                  <a:pt x="4" y="1"/>
                  <a:pt x="3" y="1"/>
                  <a:pt x="3" y="1"/>
                </a:cubicBezTo>
                <a:cubicBezTo>
                  <a:pt x="3" y="0"/>
                  <a:pt x="3" y="1"/>
                  <a:pt x="3" y="2"/>
                </a:cubicBezTo>
                <a:cubicBezTo>
                  <a:pt x="3" y="2"/>
                  <a:pt x="3" y="4"/>
                  <a:pt x="3" y="3"/>
                </a:cubicBezTo>
                <a:cubicBezTo>
                  <a:pt x="2" y="3"/>
                  <a:pt x="2" y="2"/>
                  <a:pt x="2" y="2"/>
                </a:cubicBezTo>
                <a:cubicBezTo>
                  <a:pt x="2" y="2"/>
                  <a:pt x="0" y="4"/>
                  <a:pt x="0" y="4"/>
                </a:cubicBezTo>
                <a:cubicBezTo>
                  <a:pt x="0" y="5"/>
                  <a:pt x="0" y="5"/>
                  <a:pt x="0" y="5"/>
                </a:cubicBezTo>
                <a:cubicBezTo>
                  <a:pt x="0" y="5"/>
                  <a:pt x="0" y="5"/>
                  <a:pt x="0" y="5"/>
                </a:cubicBezTo>
                <a:cubicBezTo>
                  <a:pt x="0" y="6"/>
                  <a:pt x="0" y="6"/>
                  <a:pt x="0" y="7"/>
                </a:cubicBezTo>
                <a:cubicBezTo>
                  <a:pt x="1" y="8"/>
                  <a:pt x="1" y="7"/>
                  <a:pt x="2" y="8"/>
                </a:cubicBezTo>
                <a:cubicBezTo>
                  <a:pt x="2" y="9"/>
                  <a:pt x="2" y="9"/>
                  <a:pt x="2" y="10"/>
                </a:cubicBezTo>
                <a:cubicBezTo>
                  <a:pt x="2" y="11"/>
                  <a:pt x="1" y="11"/>
                  <a:pt x="1" y="12"/>
                </a:cubicBezTo>
                <a:cubicBezTo>
                  <a:pt x="1" y="13"/>
                  <a:pt x="2" y="11"/>
                  <a:pt x="3" y="11"/>
                </a:cubicBezTo>
                <a:cubicBezTo>
                  <a:pt x="4" y="10"/>
                  <a:pt x="4" y="10"/>
                  <a:pt x="5" y="11"/>
                </a:cubicBezTo>
                <a:cubicBezTo>
                  <a:pt x="5" y="11"/>
                  <a:pt x="6" y="11"/>
                  <a:pt x="6" y="10"/>
                </a:cubicBezTo>
                <a:cubicBezTo>
                  <a:pt x="6" y="10"/>
                  <a:pt x="8" y="10"/>
                  <a:pt x="8" y="10"/>
                </a:cubicBezTo>
                <a:cubicBezTo>
                  <a:pt x="9" y="11"/>
                  <a:pt x="9" y="12"/>
                  <a:pt x="10" y="12"/>
                </a:cubicBezTo>
                <a:cubicBezTo>
                  <a:pt x="10" y="12"/>
                  <a:pt x="9" y="14"/>
                  <a:pt x="10" y="15"/>
                </a:cubicBezTo>
                <a:cubicBezTo>
                  <a:pt x="11" y="15"/>
                  <a:pt x="11" y="16"/>
                  <a:pt x="11" y="17"/>
                </a:cubicBezTo>
                <a:cubicBezTo>
                  <a:pt x="11" y="18"/>
                  <a:pt x="12" y="19"/>
                  <a:pt x="11" y="19"/>
                </a:cubicBezTo>
                <a:cubicBezTo>
                  <a:pt x="12" y="20"/>
                  <a:pt x="12" y="20"/>
                  <a:pt x="12" y="20"/>
                </a:cubicBezTo>
                <a:cubicBezTo>
                  <a:pt x="12" y="20"/>
                  <a:pt x="13" y="20"/>
                  <a:pt x="13" y="19"/>
                </a:cubicBezTo>
                <a:cubicBezTo>
                  <a:pt x="13" y="19"/>
                  <a:pt x="14" y="19"/>
                  <a:pt x="14" y="19"/>
                </a:cubicBezTo>
                <a:cubicBezTo>
                  <a:pt x="15" y="19"/>
                  <a:pt x="15" y="19"/>
                  <a:pt x="16" y="19"/>
                </a:cubicBezTo>
                <a:cubicBezTo>
                  <a:pt x="16" y="18"/>
                  <a:pt x="16" y="18"/>
                  <a:pt x="16" y="18"/>
                </a:cubicBezTo>
                <a:cubicBezTo>
                  <a:pt x="16" y="17"/>
                  <a:pt x="16" y="16"/>
                  <a:pt x="15" y="16"/>
                </a:cubicBezTo>
                <a:cubicBezTo>
                  <a:pt x="15" y="15"/>
                  <a:pt x="14" y="15"/>
                  <a:pt x="14" y="14"/>
                </a:cubicBezTo>
                <a:cubicBezTo>
                  <a:pt x="13" y="13"/>
                  <a:pt x="12" y="12"/>
                  <a:pt x="12" y="12"/>
                </a:cubicBezTo>
                <a:cubicBezTo>
                  <a:pt x="12" y="11"/>
                  <a:pt x="11" y="10"/>
                  <a:pt x="11"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99"/>
          <p:cNvSpPr>
            <a:spLocks/>
          </p:cNvSpPr>
          <p:nvPr/>
        </p:nvSpPr>
        <p:spPr bwMode="auto">
          <a:xfrm>
            <a:off x="3227522" y="3057309"/>
            <a:ext cx="89371" cy="164443"/>
          </a:xfrm>
          <a:custGeom>
            <a:avLst/>
            <a:gdLst>
              <a:gd name="T0" fmla="*/ 11 w 18"/>
              <a:gd name="T1" fmla="*/ 18 h 34"/>
              <a:gd name="T2" fmla="*/ 11 w 18"/>
              <a:gd name="T3" fmla="*/ 16 h 34"/>
              <a:gd name="T4" fmla="*/ 14 w 18"/>
              <a:gd name="T5" fmla="*/ 14 h 34"/>
              <a:gd name="T6" fmla="*/ 17 w 18"/>
              <a:gd name="T7" fmla="*/ 14 h 34"/>
              <a:gd name="T8" fmla="*/ 17 w 18"/>
              <a:gd name="T9" fmla="*/ 14 h 34"/>
              <a:gd name="T10" fmla="*/ 17 w 18"/>
              <a:gd name="T11" fmla="*/ 12 h 34"/>
              <a:gd name="T12" fmla="*/ 16 w 18"/>
              <a:gd name="T13" fmla="*/ 10 h 34"/>
              <a:gd name="T14" fmla="*/ 16 w 18"/>
              <a:gd name="T15" fmla="*/ 7 h 34"/>
              <a:gd name="T16" fmla="*/ 14 w 18"/>
              <a:gd name="T17" fmla="*/ 5 h 34"/>
              <a:gd name="T18" fmla="*/ 12 w 18"/>
              <a:gd name="T19" fmla="*/ 5 h 34"/>
              <a:gd name="T20" fmla="*/ 11 w 18"/>
              <a:gd name="T21" fmla="*/ 6 h 34"/>
              <a:gd name="T22" fmla="*/ 9 w 18"/>
              <a:gd name="T23" fmla="*/ 6 h 34"/>
              <a:gd name="T24" fmla="*/ 7 w 18"/>
              <a:gd name="T25" fmla="*/ 7 h 34"/>
              <a:gd name="T26" fmla="*/ 8 w 18"/>
              <a:gd name="T27" fmla="*/ 5 h 34"/>
              <a:gd name="T28" fmla="*/ 8 w 18"/>
              <a:gd name="T29" fmla="*/ 3 h 34"/>
              <a:gd name="T30" fmla="*/ 6 w 18"/>
              <a:gd name="T31" fmla="*/ 2 h 34"/>
              <a:gd name="T32" fmla="*/ 6 w 18"/>
              <a:gd name="T33" fmla="*/ 0 h 34"/>
              <a:gd name="T34" fmla="*/ 6 w 18"/>
              <a:gd name="T35" fmla="*/ 0 h 34"/>
              <a:gd name="T36" fmla="*/ 5 w 18"/>
              <a:gd name="T37" fmla="*/ 0 h 34"/>
              <a:gd name="T38" fmla="*/ 3 w 18"/>
              <a:gd name="T39" fmla="*/ 1 h 34"/>
              <a:gd name="T40" fmla="*/ 2 w 18"/>
              <a:gd name="T41" fmla="*/ 2 h 34"/>
              <a:gd name="T42" fmla="*/ 0 w 18"/>
              <a:gd name="T43" fmla="*/ 3 h 34"/>
              <a:gd name="T44" fmla="*/ 0 w 18"/>
              <a:gd name="T45" fmla="*/ 6 h 34"/>
              <a:gd name="T46" fmla="*/ 2 w 18"/>
              <a:gd name="T47" fmla="*/ 8 h 34"/>
              <a:gd name="T48" fmla="*/ 2 w 18"/>
              <a:gd name="T49" fmla="*/ 10 h 34"/>
              <a:gd name="T50" fmla="*/ 2 w 18"/>
              <a:gd name="T51" fmla="*/ 11 h 34"/>
              <a:gd name="T52" fmla="*/ 2 w 18"/>
              <a:gd name="T53" fmla="*/ 12 h 34"/>
              <a:gd name="T54" fmla="*/ 2 w 18"/>
              <a:gd name="T55" fmla="*/ 15 h 34"/>
              <a:gd name="T56" fmla="*/ 3 w 18"/>
              <a:gd name="T57" fmla="*/ 17 h 34"/>
              <a:gd name="T58" fmla="*/ 4 w 18"/>
              <a:gd name="T59" fmla="*/ 19 h 34"/>
              <a:gd name="T60" fmla="*/ 2 w 18"/>
              <a:gd name="T61" fmla="*/ 23 h 34"/>
              <a:gd name="T62" fmla="*/ 1 w 18"/>
              <a:gd name="T63" fmla="*/ 26 h 34"/>
              <a:gd name="T64" fmla="*/ 2 w 18"/>
              <a:gd name="T65" fmla="*/ 28 h 34"/>
              <a:gd name="T66" fmla="*/ 4 w 18"/>
              <a:gd name="T67" fmla="*/ 31 h 34"/>
              <a:gd name="T68" fmla="*/ 5 w 18"/>
              <a:gd name="T69" fmla="*/ 32 h 34"/>
              <a:gd name="T70" fmla="*/ 6 w 18"/>
              <a:gd name="T71" fmla="*/ 32 h 34"/>
              <a:gd name="T72" fmla="*/ 8 w 18"/>
              <a:gd name="T73" fmla="*/ 33 h 34"/>
              <a:gd name="T74" fmla="*/ 9 w 18"/>
              <a:gd name="T75" fmla="*/ 33 h 34"/>
              <a:gd name="T76" fmla="*/ 10 w 18"/>
              <a:gd name="T77" fmla="*/ 32 h 34"/>
              <a:gd name="T78" fmla="*/ 7 w 18"/>
              <a:gd name="T79" fmla="*/ 31 h 34"/>
              <a:gd name="T80" fmla="*/ 6 w 18"/>
              <a:gd name="T81" fmla="*/ 28 h 34"/>
              <a:gd name="T82" fmla="*/ 5 w 18"/>
              <a:gd name="T83" fmla="*/ 26 h 34"/>
              <a:gd name="T84" fmla="*/ 4 w 18"/>
              <a:gd name="T85" fmla="*/ 25 h 34"/>
              <a:gd name="T86" fmla="*/ 4 w 18"/>
              <a:gd name="T87" fmla="*/ 22 h 34"/>
              <a:gd name="T88" fmla="*/ 5 w 18"/>
              <a:gd name="T89" fmla="*/ 17 h 34"/>
              <a:gd name="T90" fmla="*/ 7 w 18"/>
              <a:gd name="T91" fmla="*/ 17 h 34"/>
              <a:gd name="T92" fmla="*/ 9 w 18"/>
              <a:gd name="T93" fmla="*/ 18 h 34"/>
              <a:gd name="T94" fmla="*/ 11 w 18"/>
              <a:gd name="T95" fmla="*/ 19 h 34"/>
              <a:gd name="T96" fmla="*/ 11 w 18"/>
              <a:gd name="T97" fmla="*/ 19 h 34"/>
              <a:gd name="T98" fmla="*/ 11 w 18"/>
              <a:gd name="T99" fmla="*/ 19 h 34"/>
              <a:gd name="T100" fmla="*/ 11 w 18"/>
              <a:gd name="T101"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34">
                <a:moveTo>
                  <a:pt x="11" y="18"/>
                </a:moveTo>
                <a:cubicBezTo>
                  <a:pt x="11" y="17"/>
                  <a:pt x="10" y="17"/>
                  <a:pt x="11" y="16"/>
                </a:cubicBezTo>
                <a:cubicBezTo>
                  <a:pt x="12" y="15"/>
                  <a:pt x="13" y="14"/>
                  <a:pt x="14" y="14"/>
                </a:cubicBezTo>
                <a:cubicBezTo>
                  <a:pt x="15" y="14"/>
                  <a:pt x="16" y="14"/>
                  <a:pt x="17" y="14"/>
                </a:cubicBezTo>
                <a:cubicBezTo>
                  <a:pt x="17" y="14"/>
                  <a:pt x="17" y="14"/>
                  <a:pt x="17" y="14"/>
                </a:cubicBezTo>
                <a:cubicBezTo>
                  <a:pt x="18" y="14"/>
                  <a:pt x="17" y="13"/>
                  <a:pt x="17" y="12"/>
                </a:cubicBezTo>
                <a:cubicBezTo>
                  <a:pt x="17" y="11"/>
                  <a:pt x="17" y="10"/>
                  <a:pt x="16" y="10"/>
                </a:cubicBezTo>
                <a:cubicBezTo>
                  <a:pt x="15" y="9"/>
                  <a:pt x="16" y="7"/>
                  <a:pt x="16" y="7"/>
                </a:cubicBezTo>
                <a:cubicBezTo>
                  <a:pt x="15" y="7"/>
                  <a:pt x="15" y="6"/>
                  <a:pt x="14" y="5"/>
                </a:cubicBezTo>
                <a:cubicBezTo>
                  <a:pt x="14" y="5"/>
                  <a:pt x="12" y="5"/>
                  <a:pt x="12" y="5"/>
                </a:cubicBezTo>
                <a:cubicBezTo>
                  <a:pt x="12" y="6"/>
                  <a:pt x="11" y="6"/>
                  <a:pt x="11" y="6"/>
                </a:cubicBezTo>
                <a:cubicBezTo>
                  <a:pt x="10" y="5"/>
                  <a:pt x="10" y="5"/>
                  <a:pt x="9" y="6"/>
                </a:cubicBezTo>
                <a:cubicBezTo>
                  <a:pt x="8" y="6"/>
                  <a:pt x="7" y="8"/>
                  <a:pt x="7" y="7"/>
                </a:cubicBezTo>
                <a:cubicBezTo>
                  <a:pt x="7" y="6"/>
                  <a:pt x="8" y="6"/>
                  <a:pt x="8" y="5"/>
                </a:cubicBezTo>
                <a:cubicBezTo>
                  <a:pt x="8" y="4"/>
                  <a:pt x="8" y="4"/>
                  <a:pt x="8" y="3"/>
                </a:cubicBezTo>
                <a:cubicBezTo>
                  <a:pt x="7" y="2"/>
                  <a:pt x="7" y="3"/>
                  <a:pt x="6" y="2"/>
                </a:cubicBezTo>
                <a:cubicBezTo>
                  <a:pt x="6" y="1"/>
                  <a:pt x="6" y="1"/>
                  <a:pt x="6" y="0"/>
                </a:cubicBezTo>
                <a:cubicBezTo>
                  <a:pt x="6" y="0"/>
                  <a:pt x="6" y="0"/>
                  <a:pt x="6" y="0"/>
                </a:cubicBezTo>
                <a:cubicBezTo>
                  <a:pt x="5" y="0"/>
                  <a:pt x="5" y="0"/>
                  <a:pt x="5" y="0"/>
                </a:cubicBezTo>
                <a:cubicBezTo>
                  <a:pt x="5" y="1"/>
                  <a:pt x="4" y="1"/>
                  <a:pt x="3" y="1"/>
                </a:cubicBezTo>
                <a:cubicBezTo>
                  <a:pt x="3" y="2"/>
                  <a:pt x="2" y="2"/>
                  <a:pt x="2" y="2"/>
                </a:cubicBezTo>
                <a:cubicBezTo>
                  <a:pt x="1" y="2"/>
                  <a:pt x="0" y="2"/>
                  <a:pt x="0" y="3"/>
                </a:cubicBezTo>
                <a:cubicBezTo>
                  <a:pt x="0" y="3"/>
                  <a:pt x="0" y="6"/>
                  <a:pt x="0" y="6"/>
                </a:cubicBezTo>
                <a:cubicBezTo>
                  <a:pt x="0" y="7"/>
                  <a:pt x="1" y="8"/>
                  <a:pt x="2" y="8"/>
                </a:cubicBezTo>
                <a:cubicBezTo>
                  <a:pt x="2" y="8"/>
                  <a:pt x="2" y="9"/>
                  <a:pt x="2" y="10"/>
                </a:cubicBezTo>
                <a:cubicBezTo>
                  <a:pt x="3" y="10"/>
                  <a:pt x="2" y="11"/>
                  <a:pt x="2" y="11"/>
                </a:cubicBezTo>
                <a:cubicBezTo>
                  <a:pt x="2" y="11"/>
                  <a:pt x="2" y="12"/>
                  <a:pt x="2" y="12"/>
                </a:cubicBezTo>
                <a:cubicBezTo>
                  <a:pt x="1" y="13"/>
                  <a:pt x="2" y="14"/>
                  <a:pt x="2" y="15"/>
                </a:cubicBezTo>
                <a:cubicBezTo>
                  <a:pt x="3" y="15"/>
                  <a:pt x="3" y="17"/>
                  <a:pt x="3" y="17"/>
                </a:cubicBezTo>
                <a:cubicBezTo>
                  <a:pt x="3" y="18"/>
                  <a:pt x="4" y="18"/>
                  <a:pt x="4" y="19"/>
                </a:cubicBezTo>
                <a:cubicBezTo>
                  <a:pt x="4" y="19"/>
                  <a:pt x="3" y="23"/>
                  <a:pt x="2" y="23"/>
                </a:cubicBezTo>
                <a:cubicBezTo>
                  <a:pt x="2" y="24"/>
                  <a:pt x="2" y="25"/>
                  <a:pt x="1" y="26"/>
                </a:cubicBezTo>
                <a:cubicBezTo>
                  <a:pt x="1" y="27"/>
                  <a:pt x="1" y="28"/>
                  <a:pt x="2" y="28"/>
                </a:cubicBezTo>
                <a:cubicBezTo>
                  <a:pt x="2" y="28"/>
                  <a:pt x="3" y="29"/>
                  <a:pt x="4" y="31"/>
                </a:cubicBezTo>
                <a:cubicBezTo>
                  <a:pt x="5" y="31"/>
                  <a:pt x="5" y="31"/>
                  <a:pt x="5" y="32"/>
                </a:cubicBezTo>
                <a:cubicBezTo>
                  <a:pt x="6" y="32"/>
                  <a:pt x="6" y="32"/>
                  <a:pt x="6" y="32"/>
                </a:cubicBezTo>
                <a:cubicBezTo>
                  <a:pt x="7" y="32"/>
                  <a:pt x="8" y="33"/>
                  <a:pt x="8" y="33"/>
                </a:cubicBezTo>
                <a:cubicBezTo>
                  <a:pt x="8" y="34"/>
                  <a:pt x="9" y="33"/>
                  <a:pt x="9" y="33"/>
                </a:cubicBezTo>
                <a:cubicBezTo>
                  <a:pt x="9" y="33"/>
                  <a:pt x="9" y="33"/>
                  <a:pt x="10" y="32"/>
                </a:cubicBezTo>
                <a:cubicBezTo>
                  <a:pt x="10" y="32"/>
                  <a:pt x="8" y="31"/>
                  <a:pt x="7" y="31"/>
                </a:cubicBezTo>
                <a:cubicBezTo>
                  <a:pt x="6" y="31"/>
                  <a:pt x="6" y="29"/>
                  <a:pt x="6" y="28"/>
                </a:cubicBezTo>
                <a:cubicBezTo>
                  <a:pt x="6" y="28"/>
                  <a:pt x="5" y="27"/>
                  <a:pt x="5" y="26"/>
                </a:cubicBezTo>
                <a:cubicBezTo>
                  <a:pt x="5" y="26"/>
                  <a:pt x="4" y="26"/>
                  <a:pt x="4" y="25"/>
                </a:cubicBezTo>
                <a:cubicBezTo>
                  <a:pt x="3" y="25"/>
                  <a:pt x="4" y="23"/>
                  <a:pt x="4" y="22"/>
                </a:cubicBezTo>
                <a:cubicBezTo>
                  <a:pt x="4" y="21"/>
                  <a:pt x="6" y="18"/>
                  <a:pt x="5" y="17"/>
                </a:cubicBezTo>
                <a:cubicBezTo>
                  <a:pt x="5" y="16"/>
                  <a:pt x="7" y="16"/>
                  <a:pt x="7" y="17"/>
                </a:cubicBezTo>
                <a:cubicBezTo>
                  <a:pt x="7" y="18"/>
                  <a:pt x="7" y="18"/>
                  <a:pt x="9" y="18"/>
                </a:cubicBezTo>
                <a:cubicBezTo>
                  <a:pt x="10" y="18"/>
                  <a:pt x="10" y="19"/>
                  <a:pt x="11" y="19"/>
                </a:cubicBezTo>
                <a:cubicBezTo>
                  <a:pt x="11" y="19"/>
                  <a:pt x="11" y="19"/>
                  <a:pt x="11" y="19"/>
                </a:cubicBezTo>
                <a:cubicBezTo>
                  <a:pt x="11" y="19"/>
                  <a:pt x="11" y="19"/>
                  <a:pt x="11" y="19"/>
                </a:cubicBezTo>
                <a:cubicBezTo>
                  <a:pt x="11" y="19"/>
                  <a:pt x="11" y="19"/>
                  <a:pt x="11"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00"/>
          <p:cNvSpPr>
            <a:spLocks/>
          </p:cNvSpPr>
          <p:nvPr/>
        </p:nvSpPr>
        <p:spPr bwMode="auto">
          <a:xfrm>
            <a:off x="2351685" y="2617603"/>
            <a:ext cx="103671" cy="89371"/>
          </a:xfrm>
          <a:custGeom>
            <a:avLst/>
            <a:gdLst>
              <a:gd name="T0" fmla="*/ 1 w 22"/>
              <a:gd name="T1" fmla="*/ 4 h 18"/>
              <a:gd name="T2" fmla="*/ 1 w 22"/>
              <a:gd name="T3" fmla="*/ 6 h 18"/>
              <a:gd name="T4" fmla="*/ 1 w 22"/>
              <a:gd name="T5" fmla="*/ 7 h 18"/>
              <a:gd name="T6" fmla="*/ 1 w 22"/>
              <a:gd name="T7" fmla="*/ 8 h 18"/>
              <a:gd name="T8" fmla="*/ 1 w 22"/>
              <a:gd name="T9" fmla="*/ 9 h 18"/>
              <a:gd name="T10" fmla="*/ 2 w 22"/>
              <a:gd name="T11" fmla="*/ 11 h 18"/>
              <a:gd name="T12" fmla="*/ 2 w 22"/>
              <a:gd name="T13" fmla="*/ 12 h 18"/>
              <a:gd name="T14" fmla="*/ 3 w 22"/>
              <a:gd name="T15" fmla="*/ 13 h 18"/>
              <a:gd name="T16" fmla="*/ 5 w 22"/>
              <a:gd name="T17" fmla="*/ 14 h 18"/>
              <a:gd name="T18" fmla="*/ 6 w 22"/>
              <a:gd name="T19" fmla="*/ 14 h 18"/>
              <a:gd name="T20" fmla="*/ 7 w 22"/>
              <a:gd name="T21" fmla="*/ 14 h 18"/>
              <a:gd name="T22" fmla="*/ 8 w 22"/>
              <a:gd name="T23" fmla="*/ 15 h 18"/>
              <a:gd name="T24" fmla="*/ 9 w 22"/>
              <a:gd name="T25" fmla="*/ 15 h 18"/>
              <a:gd name="T26" fmla="*/ 10 w 22"/>
              <a:gd name="T27" fmla="*/ 17 h 18"/>
              <a:gd name="T28" fmla="*/ 12 w 22"/>
              <a:gd name="T29" fmla="*/ 16 h 18"/>
              <a:gd name="T30" fmla="*/ 14 w 22"/>
              <a:gd name="T31" fmla="*/ 17 h 18"/>
              <a:gd name="T32" fmla="*/ 15 w 22"/>
              <a:gd name="T33" fmla="*/ 17 h 18"/>
              <a:gd name="T34" fmla="*/ 17 w 22"/>
              <a:gd name="T35" fmla="*/ 17 h 18"/>
              <a:gd name="T36" fmla="*/ 18 w 22"/>
              <a:gd name="T37" fmla="*/ 18 h 18"/>
              <a:gd name="T38" fmla="*/ 18 w 22"/>
              <a:gd name="T39" fmla="*/ 16 h 18"/>
              <a:gd name="T40" fmla="*/ 20 w 22"/>
              <a:gd name="T41" fmla="*/ 14 h 18"/>
              <a:gd name="T42" fmla="*/ 21 w 22"/>
              <a:gd name="T43" fmla="*/ 13 h 18"/>
              <a:gd name="T44" fmla="*/ 20 w 22"/>
              <a:gd name="T45" fmla="*/ 11 h 18"/>
              <a:gd name="T46" fmla="*/ 20 w 22"/>
              <a:gd name="T47" fmla="*/ 9 h 18"/>
              <a:gd name="T48" fmla="*/ 20 w 22"/>
              <a:gd name="T49" fmla="*/ 8 h 18"/>
              <a:gd name="T50" fmla="*/ 21 w 22"/>
              <a:gd name="T51" fmla="*/ 7 h 18"/>
              <a:gd name="T52" fmla="*/ 21 w 22"/>
              <a:gd name="T53" fmla="*/ 5 h 18"/>
              <a:gd name="T54" fmla="*/ 20 w 22"/>
              <a:gd name="T55" fmla="*/ 3 h 18"/>
              <a:gd name="T56" fmla="*/ 19 w 22"/>
              <a:gd name="T57" fmla="*/ 2 h 18"/>
              <a:gd name="T58" fmla="*/ 19 w 22"/>
              <a:gd name="T59" fmla="*/ 2 h 18"/>
              <a:gd name="T60" fmla="*/ 13 w 22"/>
              <a:gd name="T61" fmla="*/ 2 h 18"/>
              <a:gd name="T62" fmla="*/ 12 w 22"/>
              <a:gd name="T63" fmla="*/ 1 h 18"/>
              <a:gd name="T64" fmla="*/ 11 w 22"/>
              <a:gd name="T65" fmla="*/ 2 h 18"/>
              <a:gd name="T66" fmla="*/ 9 w 22"/>
              <a:gd name="T67" fmla="*/ 1 h 18"/>
              <a:gd name="T68" fmla="*/ 5 w 22"/>
              <a:gd name="T69" fmla="*/ 2 h 18"/>
              <a:gd name="T70" fmla="*/ 1 w 22"/>
              <a:gd name="T71" fmla="*/ 3 h 18"/>
              <a:gd name="T72" fmla="*/ 1 w 22"/>
              <a:gd name="T73" fmla="*/ 4 h 18"/>
              <a:gd name="T74" fmla="*/ 1 w 22"/>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18">
                <a:moveTo>
                  <a:pt x="1" y="4"/>
                </a:moveTo>
                <a:cubicBezTo>
                  <a:pt x="1" y="4"/>
                  <a:pt x="1" y="6"/>
                  <a:pt x="1" y="6"/>
                </a:cubicBezTo>
                <a:cubicBezTo>
                  <a:pt x="0" y="7"/>
                  <a:pt x="0" y="7"/>
                  <a:pt x="1" y="7"/>
                </a:cubicBezTo>
                <a:cubicBezTo>
                  <a:pt x="1" y="7"/>
                  <a:pt x="1" y="8"/>
                  <a:pt x="1" y="8"/>
                </a:cubicBezTo>
                <a:cubicBezTo>
                  <a:pt x="1" y="8"/>
                  <a:pt x="1" y="8"/>
                  <a:pt x="1" y="9"/>
                </a:cubicBezTo>
                <a:cubicBezTo>
                  <a:pt x="2" y="10"/>
                  <a:pt x="2" y="11"/>
                  <a:pt x="2" y="11"/>
                </a:cubicBezTo>
                <a:cubicBezTo>
                  <a:pt x="2" y="11"/>
                  <a:pt x="2" y="12"/>
                  <a:pt x="2" y="12"/>
                </a:cubicBezTo>
                <a:cubicBezTo>
                  <a:pt x="2" y="12"/>
                  <a:pt x="3" y="13"/>
                  <a:pt x="3" y="13"/>
                </a:cubicBezTo>
                <a:cubicBezTo>
                  <a:pt x="4" y="13"/>
                  <a:pt x="5" y="13"/>
                  <a:pt x="5" y="14"/>
                </a:cubicBezTo>
                <a:cubicBezTo>
                  <a:pt x="5" y="14"/>
                  <a:pt x="6" y="15"/>
                  <a:pt x="6" y="14"/>
                </a:cubicBezTo>
                <a:cubicBezTo>
                  <a:pt x="6" y="14"/>
                  <a:pt x="7" y="14"/>
                  <a:pt x="7" y="14"/>
                </a:cubicBezTo>
                <a:cubicBezTo>
                  <a:pt x="8" y="14"/>
                  <a:pt x="8" y="15"/>
                  <a:pt x="8" y="15"/>
                </a:cubicBezTo>
                <a:cubicBezTo>
                  <a:pt x="8" y="15"/>
                  <a:pt x="9" y="15"/>
                  <a:pt x="9" y="15"/>
                </a:cubicBezTo>
                <a:cubicBezTo>
                  <a:pt x="10" y="15"/>
                  <a:pt x="10" y="16"/>
                  <a:pt x="10" y="17"/>
                </a:cubicBezTo>
                <a:cubicBezTo>
                  <a:pt x="11" y="17"/>
                  <a:pt x="11" y="16"/>
                  <a:pt x="12" y="16"/>
                </a:cubicBezTo>
                <a:cubicBezTo>
                  <a:pt x="12" y="17"/>
                  <a:pt x="13" y="17"/>
                  <a:pt x="14" y="17"/>
                </a:cubicBezTo>
                <a:cubicBezTo>
                  <a:pt x="14" y="16"/>
                  <a:pt x="14" y="17"/>
                  <a:pt x="15" y="17"/>
                </a:cubicBezTo>
                <a:cubicBezTo>
                  <a:pt x="16" y="17"/>
                  <a:pt x="17" y="17"/>
                  <a:pt x="17" y="17"/>
                </a:cubicBezTo>
                <a:cubicBezTo>
                  <a:pt x="17" y="17"/>
                  <a:pt x="18" y="17"/>
                  <a:pt x="18" y="18"/>
                </a:cubicBezTo>
                <a:cubicBezTo>
                  <a:pt x="19" y="17"/>
                  <a:pt x="18" y="16"/>
                  <a:pt x="18" y="16"/>
                </a:cubicBezTo>
                <a:cubicBezTo>
                  <a:pt x="18" y="16"/>
                  <a:pt x="20" y="14"/>
                  <a:pt x="20" y="14"/>
                </a:cubicBezTo>
                <a:cubicBezTo>
                  <a:pt x="21" y="14"/>
                  <a:pt x="21" y="14"/>
                  <a:pt x="21" y="13"/>
                </a:cubicBezTo>
                <a:cubicBezTo>
                  <a:pt x="22" y="13"/>
                  <a:pt x="21" y="11"/>
                  <a:pt x="20" y="11"/>
                </a:cubicBezTo>
                <a:cubicBezTo>
                  <a:pt x="20" y="11"/>
                  <a:pt x="20" y="10"/>
                  <a:pt x="20" y="9"/>
                </a:cubicBezTo>
                <a:cubicBezTo>
                  <a:pt x="20" y="9"/>
                  <a:pt x="20" y="8"/>
                  <a:pt x="20" y="8"/>
                </a:cubicBezTo>
                <a:cubicBezTo>
                  <a:pt x="20" y="8"/>
                  <a:pt x="20" y="7"/>
                  <a:pt x="21" y="7"/>
                </a:cubicBezTo>
                <a:cubicBezTo>
                  <a:pt x="21" y="7"/>
                  <a:pt x="21" y="5"/>
                  <a:pt x="21" y="5"/>
                </a:cubicBezTo>
                <a:cubicBezTo>
                  <a:pt x="20" y="5"/>
                  <a:pt x="20" y="4"/>
                  <a:pt x="20" y="3"/>
                </a:cubicBezTo>
                <a:cubicBezTo>
                  <a:pt x="21" y="3"/>
                  <a:pt x="19" y="2"/>
                  <a:pt x="19" y="2"/>
                </a:cubicBezTo>
                <a:cubicBezTo>
                  <a:pt x="19" y="2"/>
                  <a:pt x="19" y="2"/>
                  <a:pt x="19" y="2"/>
                </a:cubicBezTo>
                <a:cubicBezTo>
                  <a:pt x="17" y="2"/>
                  <a:pt x="13" y="2"/>
                  <a:pt x="13" y="2"/>
                </a:cubicBezTo>
                <a:cubicBezTo>
                  <a:pt x="13" y="2"/>
                  <a:pt x="12" y="1"/>
                  <a:pt x="12" y="1"/>
                </a:cubicBezTo>
                <a:cubicBezTo>
                  <a:pt x="12" y="2"/>
                  <a:pt x="11" y="2"/>
                  <a:pt x="11" y="2"/>
                </a:cubicBezTo>
                <a:cubicBezTo>
                  <a:pt x="10" y="2"/>
                  <a:pt x="10" y="1"/>
                  <a:pt x="9" y="1"/>
                </a:cubicBezTo>
                <a:cubicBezTo>
                  <a:pt x="9" y="0"/>
                  <a:pt x="6" y="1"/>
                  <a:pt x="5" y="2"/>
                </a:cubicBezTo>
                <a:cubicBezTo>
                  <a:pt x="4" y="3"/>
                  <a:pt x="1" y="3"/>
                  <a:pt x="1" y="3"/>
                </a:cubicBezTo>
                <a:cubicBezTo>
                  <a:pt x="1" y="3"/>
                  <a:pt x="1" y="4"/>
                  <a:pt x="1" y="4"/>
                </a:cubicBezTo>
                <a:cubicBezTo>
                  <a:pt x="1" y="4"/>
                  <a:pt x="1" y="4"/>
                  <a:pt x="1"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01"/>
          <p:cNvSpPr>
            <a:spLocks/>
          </p:cNvSpPr>
          <p:nvPr/>
        </p:nvSpPr>
        <p:spPr bwMode="auto">
          <a:xfrm>
            <a:off x="2365984" y="2753447"/>
            <a:ext cx="35748" cy="39323"/>
          </a:xfrm>
          <a:custGeom>
            <a:avLst/>
            <a:gdLst>
              <a:gd name="T0" fmla="*/ 6 w 8"/>
              <a:gd name="T1" fmla="*/ 7 h 8"/>
              <a:gd name="T2" fmla="*/ 8 w 8"/>
              <a:gd name="T3" fmla="*/ 5 h 8"/>
              <a:gd name="T4" fmla="*/ 8 w 8"/>
              <a:gd name="T5" fmla="*/ 2 h 8"/>
              <a:gd name="T6" fmla="*/ 6 w 8"/>
              <a:gd name="T7" fmla="*/ 1 h 8"/>
              <a:gd name="T8" fmla="*/ 3 w 8"/>
              <a:gd name="T9" fmla="*/ 1 h 8"/>
              <a:gd name="T10" fmla="*/ 1 w 8"/>
              <a:gd name="T11" fmla="*/ 1 h 8"/>
              <a:gd name="T12" fmla="*/ 0 w 8"/>
              <a:gd name="T13" fmla="*/ 1 h 8"/>
              <a:gd name="T14" fmla="*/ 1 w 8"/>
              <a:gd name="T15" fmla="*/ 3 h 8"/>
              <a:gd name="T16" fmla="*/ 3 w 8"/>
              <a:gd name="T17" fmla="*/ 5 h 8"/>
              <a:gd name="T18" fmla="*/ 5 w 8"/>
              <a:gd name="T19" fmla="*/ 7 h 8"/>
              <a:gd name="T20" fmla="*/ 6 w 8"/>
              <a:gd name="T21" fmla="*/ 8 h 8"/>
              <a:gd name="T22" fmla="*/ 6 w 8"/>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6" y="7"/>
                </a:moveTo>
                <a:cubicBezTo>
                  <a:pt x="6" y="7"/>
                  <a:pt x="8" y="5"/>
                  <a:pt x="8" y="5"/>
                </a:cubicBezTo>
                <a:cubicBezTo>
                  <a:pt x="8" y="5"/>
                  <a:pt x="8" y="3"/>
                  <a:pt x="8" y="2"/>
                </a:cubicBezTo>
                <a:cubicBezTo>
                  <a:pt x="7" y="1"/>
                  <a:pt x="6" y="1"/>
                  <a:pt x="6" y="1"/>
                </a:cubicBezTo>
                <a:cubicBezTo>
                  <a:pt x="6" y="1"/>
                  <a:pt x="3" y="1"/>
                  <a:pt x="3" y="1"/>
                </a:cubicBezTo>
                <a:cubicBezTo>
                  <a:pt x="2" y="0"/>
                  <a:pt x="2" y="1"/>
                  <a:pt x="1" y="1"/>
                </a:cubicBezTo>
                <a:cubicBezTo>
                  <a:pt x="1" y="1"/>
                  <a:pt x="0" y="1"/>
                  <a:pt x="0" y="1"/>
                </a:cubicBezTo>
                <a:cubicBezTo>
                  <a:pt x="1" y="2"/>
                  <a:pt x="1" y="2"/>
                  <a:pt x="1" y="3"/>
                </a:cubicBezTo>
                <a:cubicBezTo>
                  <a:pt x="1" y="4"/>
                  <a:pt x="3" y="5"/>
                  <a:pt x="3" y="5"/>
                </a:cubicBezTo>
                <a:cubicBezTo>
                  <a:pt x="3" y="5"/>
                  <a:pt x="4" y="6"/>
                  <a:pt x="5" y="7"/>
                </a:cubicBezTo>
                <a:cubicBezTo>
                  <a:pt x="5" y="7"/>
                  <a:pt x="6" y="8"/>
                  <a:pt x="6" y="8"/>
                </a:cubicBezTo>
                <a:cubicBezTo>
                  <a:pt x="6" y="8"/>
                  <a:pt x="6" y="7"/>
                  <a:pt x="6"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302"/>
          <p:cNvSpPr>
            <a:spLocks/>
          </p:cNvSpPr>
          <p:nvPr/>
        </p:nvSpPr>
        <p:spPr bwMode="auto">
          <a:xfrm>
            <a:off x="2344535" y="2739147"/>
            <a:ext cx="57198" cy="50048"/>
          </a:xfrm>
          <a:custGeom>
            <a:avLst/>
            <a:gdLst>
              <a:gd name="T0" fmla="*/ 7 w 12"/>
              <a:gd name="T1" fmla="*/ 8 h 10"/>
              <a:gd name="T2" fmla="*/ 5 w 12"/>
              <a:gd name="T3" fmla="*/ 6 h 10"/>
              <a:gd name="T4" fmla="*/ 4 w 12"/>
              <a:gd name="T5" fmla="*/ 4 h 10"/>
              <a:gd name="T6" fmla="*/ 5 w 12"/>
              <a:gd name="T7" fmla="*/ 4 h 10"/>
              <a:gd name="T8" fmla="*/ 7 w 12"/>
              <a:gd name="T9" fmla="*/ 4 h 10"/>
              <a:gd name="T10" fmla="*/ 10 w 12"/>
              <a:gd name="T11" fmla="*/ 4 h 10"/>
              <a:gd name="T12" fmla="*/ 12 w 12"/>
              <a:gd name="T13" fmla="*/ 5 h 10"/>
              <a:gd name="T14" fmla="*/ 12 w 12"/>
              <a:gd name="T15" fmla="*/ 4 h 10"/>
              <a:gd name="T16" fmla="*/ 11 w 12"/>
              <a:gd name="T17" fmla="*/ 3 h 10"/>
              <a:gd name="T18" fmla="*/ 11 w 12"/>
              <a:gd name="T19" fmla="*/ 2 h 10"/>
              <a:gd name="T20" fmla="*/ 10 w 12"/>
              <a:gd name="T21" fmla="*/ 2 h 10"/>
              <a:gd name="T22" fmla="*/ 8 w 12"/>
              <a:gd name="T23" fmla="*/ 1 h 10"/>
              <a:gd name="T24" fmla="*/ 6 w 12"/>
              <a:gd name="T25" fmla="*/ 0 h 10"/>
              <a:gd name="T26" fmla="*/ 5 w 12"/>
              <a:gd name="T27" fmla="*/ 1 h 10"/>
              <a:gd name="T28" fmla="*/ 4 w 12"/>
              <a:gd name="T29" fmla="*/ 2 h 10"/>
              <a:gd name="T30" fmla="*/ 3 w 12"/>
              <a:gd name="T31" fmla="*/ 3 h 10"/>
              <a:gd name="T32" fmla="*/ 2 w 12"/>
              <a:gd name="T33" fmla="*/ 3 h 10"/>
              <a:gd name="T34" fmla="*/ 0 w 12"/>
              <a:gd name="T35" fmla="*/ 3 h 10"/>
              <a:gd name="T36" fmla="*/ 1 w 12"/>
              <a:gd name="T37" fmla="*/ 4 h 10"/>
              <a:gd name="T38" fmla="*/ 2 w 12"/>
              <a:gd name="T39" fmla="*/ 5 h 10"/>
              <a:gd name="T40" fmla="*/ 4 w 12"/>
              <a:gd name="T41" fmla="*/ 8 h 10"/>
              <a:gd name="T42" fmla="*/ 6 w 12"/>
              <a:gd name="T43" fmla="*/ 9 h 10"/>
              <a:gd name="T44" fmla="*/ 8 w 12"/>
              <a:gd name="T45" fmla="*/ 10 h 10"/>
              <a:gd name="T46" fmla="*/ 9 w 12"/>
              <a:gd name="T47" fmla="*/ 10 h 10"/>
              <a:gd name="T48" fmla="*/ 7 w 12"/>
              <a:gd name="T4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0">
                <a:moveTo>
                  <a:pt x="7" y="8"/>
                </a:moveTo>
                <a:cubicBezTo>
                  <a:pt x="7" y="8"/>
                  <a:pt x="5" y="7"/>
                  <a:pt x="5" y="6"/>
                </a:cubicBezTo>
                <a:cubicBezTo>
                  <a:pt x="5" y="5"/>
                  <a:pt x="5" y="5"/>
                  <a:pt x="4" y="4"/>
                </a:cubicBezTo>
                <a:cubicBezTo>
                  <a:pt x="4" y="4"/>
                  <a:pt x="5" y="4"/>
                  <a:pt x="5" y="4"/>
                </a:cubicBezTo>
                <a:cubicBezTo>
                  <a:pt x="6" y="4"/>
                  <a:pt x="6" y="3"/>
                  <a:pt x="7" y="4"/>
                </a:cubicBezTo>
                <a:cubicBezTo>
                  <a:pt x="7" y="4"/>
                  <a:pt x="10" y="4"/>
                  <a:pt x="10" y="4"/>
                </a:cubicBezTo>
                <a:cubicBezTo>
                  <a:pt x="10" y="4"/>
                  <a:pt x="11" y="4"/>
                  <a:pt x="12" y="5"/>
                </a:cubicBezTo>
                <a:cubicBezTo>
                  <a:pt x="12" y="5"/>
                  <a:pt x="12" y="5"/>
                  <a:pt x="12" y="4"/>
                </a:cubicBezTo>
                <a:cubicBezTo>
                  <a:pt x="12" y="4"/>
                  <a:pt x="12" y="3"/>
                  <a:pt x="11" y="3"/>
                </a:cubicBezTo>
                <a:cubicBezTo>
                  <a:pt x="11" y="3"/>
                  <a:pt x="11" y="2"/>
                  <a:pt x="11" y="2"/>
                </a:cubicBezTo>
                <a:cubicBezTo>
                  <a:pt x="10" y="2"/>
                  <a:pt x="10" y="2"/>
                  <a:pt x="10" y="2"/>
                </a:cubicBezTo>
                <a:cubicBezTo>
                  <a:pt x="9" y="2"/>
                  <a:pt x="8" y="2"/>
                  <a:pt x="8" y="1"/>
                </a:cubicBezTo>
                <a:cubicBezTo>
                  <a:pt x="7" y="1"/>
                  <a:pt x="6" y="0"/>
                  <a:pt x="6" y="0"/>
                </a:cubicBezTo>
                <a:cubicBezTo>
                  <a:pt x="6" y="0"/>
                  <a:pt x="5" y="1"/>
                  <a:pt x="5" y="1"/>
                </a:cubicBezTo>
                <a:cubicBezTo>
                  <a:pt x="4" y="1"/>
                  <a:pt x="4" y="2"/>
                  <a:pt x="4" y="2"/>
                </a:cubicBezTo>
                <a:cubicBezTo>
                  <a:pt x="4" y="2"/>
                  <a:pt x="3" y="3"/>
                  <a:pt x="3" y="3"/>
                </a:cubicBezTo>
                <a:cubicBezTo>
                  <a:pt x="3" y="3"/>
                  <a:pt x="2" y="3"/>
                  <a:pt x="2" y="3"/>
                </a:cubicBezTo>
                <a:cubicBezTo>
                  <a:pt x="2" y="3"/>
                  <a:pt x="1" y="3"/>
                  <a:pt x="0" y="3"/>
                </a:cubicBezTo>
                <a:cubicBezTo>
                  <a:pt x="0" y="4"/>
                  <a:pt x="0" y="4"/>
                  <a:pt x="1" y="4"/>
                </a:cubicBezTo>
                <a:cubicBezTo>
                  <a:pt x="1" y="4"/>
                  <a:pt x="2" y="4"/>
                  <a:pt x="2" y="5"/>
                </a:cubicBezTo>
                <a:cubicBezTo>
                  <a:pt x="3" y="6"/>
                  <a:pt x="4" y="7"/>
                  <a:pt x="4" y="8"/>
                </a:cubicBezTo>
                <a:cubicBezTo>
                  <a:pt x="5" y="8"/>
                  <a:pt x="6" y="8"/>
                  <a:pt x="6" y="9"/>
                </a:cubicBezTo>
                <a:cubicBezTo>
                  <a:pt x="6" y="9"/>
                  <a:pt x="7" y="10"/>
                  <a:pt x="8" y="10"/>
                </a:cubicBezTo>
                <a:cubicBezTo>
                  <a:pt x="8" y="10"/>
                  <a:pt x="9" y="10"/>
                  <a:pt x="9" y="10"/>
                </a:cubicBezTo>
                <a:cubicBezTo>
                  <a:pt x="8" y="9"/>
                  <a:pt x="7" y="8"/>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03"/>
          <p:cNvSpPr>
            <a:spLocks/>
          </p:cNvSpPr>
          <p:nvPr/>
        </p:nvSpPr>
        <p:spPr bwMode="auto">
          <a:xfrm>
            <a:off x="2401733" y="2792770"/>
            <a:ext cx="21449" cy="39323"/>
          </a:xfrm>
          <a:custGeom>
            <a:avLst/>
            <a:gdLst>
              <a:gd name="T0" fmla="*/ 2 w 4"/>
              <a:gd name="T1" fmla="*/ 7 h 8"/>
              <a:gd name="T2" fmla="*/ 3 w 4"/>
              <a:gd name="T3" fmla="*/ 6 h 8"/>
              <a:gd name="T4" fmla="*/ 4 w 4"/>
              <a:gd name="T5" fmla="*/ 5 h 8"/>
              <a:gd name="T6" fmla="*/ 4 w 4"/>
              <a:gd name="T7" fmla="*/ 4 h 8"/>
              <a:gd name="T8" fmla="*/ 3 w 4"/>
              <a:gd name="T9" fmla="*/ 3 h 8"/>
              <a:gd name="T10" fmla="*/ 3 w 4"/>
              <a:gd name="T11" fmla="*/ 1 h 8"/>
              <a:gd name="T12" fmla="*/ 1 w 4"/>
              <a:gd name="T13" fmla="*/ 0 h 8"/>
              <a:gd name="T14" fmla="*/ 0 w 4"/>
              <a:gd name="T15" fmla="*/ 1 h 8"/>
              <a:gd name="T16" fmla="*/ 0 w 4"/>
              <a:gd name="T17" fmla="*/ 3 h 8"/>
              <a:gd name="T18" fmla="*/ 0 w 4"/>
              <a:gd name="T19" fmla="*/ 6 h 8"/>
              <a:gd name="T20" fmla="*/ 2 w 4"/>
              <a:gd name="T21" fmla="*/ 8 h 8"/>
              <a:gd name="T22" fmla="*/ 2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2" y="7"/>
                </a:moveTo>
                <a:cubicBezTo>
                  <a:pt x="3" y="7"/>
                  <a:pt x="3" y="6"/>
                  <a:pt x="3" y="6"/>
                </a:cubicBezTo>
                <a:cubicBezTo>
                  <a:pt x="3" y="5"/>
                  <a:pt x="4" y="5"/>
                  <a:pt x="4" y="5"/>
                </a:cubicBezTo>
                <a:cubicBezTo>
                  <a:pt x="4" y="4"/>
                  <a:pt x="4" y="4"/>
                  <a:pt x="4" y="4"/>
                </a:cubicBezTo>
                <a:cubicBezTo>
                  <a:pt x="3" y="4"/>
                  <a:pt x="3" y="4"/>
                  <a:pt x="3" y="3"/>
                </a:cubicBezTo>
                <a:cubicBezTo>
                  <a:pt x="2" y="3"/>
                  <a:pt x="3" y="2"/>
                  <a:pt x="3" y="1"/>
                </a:cubicBezTo>
                <a:cubicBezTo>
                  <a:pt x="2" y="1"/>
                  <a:pt x="1" y="0"/>
                  <a:pt x="1" y="0"/>
                </a:cubicBezTo>
                <a:cubicBezTo>
                  <a:pt x="1" y="0"/>
                  <a:pt x="0" y="1"/>
                  <a:pt x="0" y="1"/>
                </a:cubicBezTo>
                <a:cubicBezTo>
                  <a:pt x="1" y="2"/>
                  <a:pt x="1" y="2"/>
                  <a:pt x="0" y="3"/>
                </a:cubicBezTo>
                <a:cubicBezTo>
                  <a:pt x="0" y="3"/>
                  <a:pt x="0" y="5"/>
                  <a:pt x="0" y="6"/>
                </a:cubicBezTo>
                <a:cubicBezTo>
                  <a:pt x="1" y="6"/>
                  <a:pt x="1" y="8"/>
                  <a:pt x="2" y="8"/>
                </a:cubicBezTo>
                <a:cubicBezTo>
                  <a:pt x="2" y="7"/>
                  <a:pt x="2" y="7"/>
                  <a:pt x="2"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04"/>
          <p:cNvSpPr>
            <a:spLocks/>
          </p:cNvSpPr>
          <p:nvPr/>
        </p:nvSpPr>
        <p:spPr bwMode="auto">
          <a:xfrm>
            <a:off x="2301637" y="2706974"/>
            <a:ext cx="82221" cy="32174"/>
          </a:xfrm>
          <a:custGeom>
            <a:avLst/>
            <a:gdLst>
              <a:gd name="T0" fmla="*/ 14 w 17"/>
              <a:gd name="T1" fmla="*/ 0 h 7"/>
              <a:gd name="T2" fmla="*/ 12 w 17"/>
              <a:gd name="T3" fmla="*/ 0 h 7"/>
              <a:gd name="T4" fmla="*/ 12 w 17"/>
              <a:gd name="T5" fmla="*/ 1 h 7"/>
              <a:gd name="T6" fmla="*/ 10 w 17"/>
              <a:gd name="T7" fmla="*/ 1 h 7"/>
              <a:gd name="T8" fmla="*/ 9 w 17"/>
              <a:gd name="T9" fmla="*/ 2 h 7"/>
              <a:gd name="T10" fmla="*/ 8 w 17"/>
              <a:gd name="T11" fmla="*/ 3 h 7"/>
              <a:gd name="T12" fmla="*/ 7 w 17"/>
              <a:gd name="T13" fmla="*/ 4 h 7"/>
              <a:gd name="T14" fmla="*/ 5 w 17"/>
              <a:gd name="T15" fmla="*/ 4 h 7"/>
              <a:gd name="T16" fmla="*/ 3 w 17"/>
              <a:gd name="T17" fmla="*/ 4 h 7"/>
              <a:gd name="T18" fmla="*/ 2 w 17"/>
              <a:gd name="T19" fmla="*/ 5 h 7"/>
              <a:gd name="T20" fmla="*/ 1 w 17"/>
              <a:gd name="T21" fmla="*/ 4 h 7"/>
              <a:gd name="T22" fmla="*/ 0 w 17"/>
              <a:gd name="T23" fmla="*/ 5 h 7"/>
              <a:gd name="T24" fmla="*/ 2 w 17"/>
              <a:gd name="T25" fmla="*/ 6 h 7"/>
              <a:gd name="T26" fmla="*/ 3 w 17"/>
              <a:gd name="T27" fmla="*/ 6 h 7"/>
              <a:gd name="T28" fmla="*/ 4 w 17"/>
              <a:gd name="T29" fmla="*/ 6 h 7"/>
              <a:gd name="T30" fmla="*/ 6 w 17"/>
              <a:gd name="T31" fmla="*/ 6 h 7"/>
              <a:gd name="T32" fmla="*/ 7 w 17"/>
              <a:gd name="T33" fmla="*/ 6 h 7"/>
              <a:gd name="T34" fmla="*/ 9 w 17"/>
              <a:gd name="T35" fmla="*/ 7 h 7"/>
              <a:gd name="T36" fmla="*/ 11 w 17"/>
              <a:gd name="T37" fmla="*/ 7 h 7"/>
              <a:gd name="T38" fmla="*/ 13 w 17"/>
              <a:gd name="T39" fmla="*/ 7 h 7"/>
              <a:gd name="T40" fmla="*/ 14 w 17"/>
              <a:gd name="T41" fmla="*/ 6 h 7"/>
              <a:gd name="T42" fmla="*/ 14 w 17"/>
              <a:gd name="T43" fmla="*/ 6 h 7"/>
              <a:gd name="T44" fmla="*/ 15 w 17"/>
              <a:gd name="T45" fmla="*/ 6 h 7"/>
              <a:gd name="T46" fmla="*/ 15 w 17"/>
              <a:gd name="T47" fmla="*/ 5 h 7"/>
              <a:gd name="T48" fmla="*/ 15 w 17"/>
              <a:gd name="T49" fmla="*/ 4 h 7"/>
              <a:gd name="T50" fmla="*/ 16 w 17"/>
              <a:gd name="T51" fmla="*/ 3 h 7"/>
              <a:gd name="T52" fmla="*/ 17 w 17"/>
              <a:gd name="T53" fmla="*/ 3 h 7"/>
              <a:gd name="T54" fmla="*/ 16 w 17"/>
              <a:gd name="T55" fmla="*/ 1 h 7"/>
              <a:gd name="T56" fmla="*/ 14 w 17"/>
              <a:gd name="T5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7">
                <a:moveTo>
                  <a:pt x="14" y="0"/>
                </a:moveTo>
                <a:cubicBezTo>
                  <a:pt x="14" y="0"/>
                  <a:pt x="12" y="0"/>
                  <a:pt x="12" y="0"/>
                </a:cubicBezTo>
                <a:cubicBezTo>
                  <a:pt x="12" y="0"/>
                  <a:pt x="12" y="0"/>
                  <a:pt x="12" y="1"/>
                </a:cubicBezTo>
                <a:cubicBezTo>
                  <a:pt x="12" y="1"/>
                  <a:pt x="11" y="1"/>
                  <a:pt x="10" y="1"/>
                </a:cubicBezTo>
                <a:cubicBezTo>
                  <a:pt x="10" y="1"/>
                  <a:pt x="9" y="1"/>
                  <a:pt x="9" y="2"/>
                </a:cubicBezTo>
                <a:cubicBezTo>
                  <a:pt x="8" y="2"/>
                  <a:pt x="7" y="2"/>
                  <a:pt x="8" y="3"/>
                </a:cubicBezTo>
                <a:cubicBezTo>
                  <a:pt x="8" y="4"/>
                  <a:pt x="7" y="4"/>
                  <a:pt x="7" y="4"/>
                </a:cubicBezTo>
                <a:cubicBezTo>
                  <a:pt x="7" y="4"/>
                  <a:pt x="5" y="4"/>
                  <a:pt x="5" y="4"/>
                </a:cubicBezTo>
                <a:cubicBezTo>
                  <a:pt x="4" y="5"/>
                  <a:pt x="4" y="5"/>
                  <a:pt x="3" y="4"/>
                </a:cubicBezTo>
                <a:cubicBezTo>
                  <a:pt x="3" y="4"/>
                  <a:pt x="2" y="4"/>
                  <a:pt x="2" y="5"/>
                </a:cubicBezTo>
                <a:cubicBezTo>
                  <a:pt x="2" y="5"/>
                  <a:pt x="1" y="4"/>
                  <a:pt x="1" y="4"/>
                </a:cubicBezTo>
                <a:cubicBezTo>
                  <a:pt x="0" y="4"/>
                  <a:pt x="0" y="5"/>
                  <a:pt x="0" y="5"/>
                </a:cubicBezTo>
                <a:cubicBezTo>
                  <a:pt x="0" y="6"/>
                  <a:pt x="1" y="6"/>
                  <a:pt x="2" y="6"/>
                </a:cubicBezTo>
                <a:cubicBezTo>
                  <a:pt x="2" y="6"/>
                  <a:pt x="3" y="6"/>
                  <a:pt x="3" y="6"/>
                </a:cubicBezTo>
                <a:cubicBezTo>
                  <a:pt x="3" y="6"/>
                  <a:pt x="4" y="6"/>
                  <a:pt x="4" y="6"/>
                </a:cubicBezTo>
                <a:cubicBezTo>
                  <a:pt x="5" y="6"/>
                  <a:pt x="6" y="6"/>
                  <a:pt x="6" y="6"/>
                </a:cubicBezTo>
                <a:cubicBezTo>
                  <a:pt x="6" y="6"/>
                  <a:pt x="6" y="6"/>
                  <a:pt x="7" y="6"/>
                </a:cubicBezTo>
                <a:cubicBezTo>
                  <a:pt x="7" y="7"/>
                  <a:pt x="8" y="7"/>
                  <a:pt x="9" y="7"/>
                </a:cubicBezTo>
                <a:cubicBezTo>
                  <a:pt x="9" y="7"/>
                  <a:pt x="11" y="7"/>
                  <a:pt x="11" y="7"/>
                </a:cubicBezTo>
                <a:cubicBezTo>
                  <a:pt x="11" y="7"/>
                  <a:pt x="12" y="7"/>
                  <a:pt x="13" y="7"/>
                </a:cubicBezTo>
                <a:cubicBezTo>
                  <a:pt x="14" y="7"/>
                  <a:pt x="14" y="6"/>
                  <a:pt x="14" y="6"/>
                </a:cubicBezTo>
                <a:cubicBezTo>
                  <a:pt x="14" y="6"/>
                  <a:pt x="14" y="6"/>
                  <a:pt x="14" y="6"/>
                </a:cubicBezTo>
                <a:cubicBezTo>
                  <a:pt x="15" y="6"/>
                  <a:pt x="15" y="6"/>
                  <a:pt x="15" y="6"/>
                </a:cubicBezTo>
                <a:cubicBezTo>
                  <a:pt x="15" y="5"/>
                  <a:pt x="15" y="5"/>
                  <a:pt x="15" y="5"/>
                </a:cubicBezTo>
                <a:cubicBezTo>
                  <a:pt x="15" y="4"/>
                  <a:pt x="15" y="4"/>
                  <a:pt x="15" y="4"/>
                </a:cubicBezTo>
                <a:cubicBezTo>
                  <a:pt x="16" y="4"/>
                  <a:pt x="16" y="4"/>
                  <a:pt x="16" y="3"/>
                </a:cubicBezTo>
                <a:cubicBezTo>
                  <a:pt x="16" y="3"/>
                  <a:pt x="17" y="3"/>
                  <a:pt x="17" y="3"/>
                </a:cubicBezTo>
                <a:cubicBezTo>
                  <a:pt x="16" y="2"/>
                  <a:pt x="16" y="1"/>
                  <a:pt x="16" y="1"/>
                </a:cubicBezTo>
                <a:cubicBezTo>
                  <a:pt x="16" y="1"/>
                  <a:pt x="15" y="1"/>
                  <a:pt x="1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05"/>
          <p:cNvSpPr>
            <a:spLocks/>
          </p:cNvSpPr>
          <p:nvPr/>
        </p:nvSpPr>
        <p:spPr bwMode="auto">
          <a:xfrm>
            <a:off x="2369559" y="2710549"/>
            <a:ext cx="71497" cy="39323"/>
          </a:xfrm>
          <a:custGeom>
            <a:avLst/>
            <a:gdLst>
              <a:gd name="T0" fmla="*/ 14 w 15"/>
              <a:gd name="T1" fmla="*/ 1 h 8"/>
              <a:gd name="T2" fmla="*/ 14 w 15"/>
              <a:gd name="T3" fmla="*/ 1 h 8"/>
              <a:gd name="T4" fmla="*/ 12 w 15"/>
              <a:gd name="T5" fmla="*/ 0 h 8"/>
              <a:gd name="T6" fmla="*/ 10 w 15"/>
              <a:gd name="T7" fmla="*/ 0 h 8"/>
              <a:gd name="T8" fmla="*/ 8 w 15"/>
              <a:gd name="T9" fmla="*/ 1 h 8"/>
              <a:gd name="T10" fmla="*/ 6 w 15"/>
              <a:gd name="T11" fmla="*/ 2 h 8"/>
              <a:gd name="T12" fmla="*/ 3 w 15"/>
              <a:gd name="T13" fmla="*/ 2 h 8"/>
              <a:gd name="T14" fmla="*/ 3 w 15"/>
              <a:gd name="T15" fmla="*/ 2 h 8"/>
              <a:gd name="T16" fmla="*/ 2 w 15"/>
              <a:gd name="T17" fmla="*/ 2 h 8"/>
              <a:gd name="T18" fmla="*/ 1 w 15"/>
              <a:gd name="T19" fmla="*/ 3 h 8"/>
              <a:gd name="T20" fmla="*/ 1 w 15"/>
              <a:gd name="T21" fmla="*/ 4 h 8"/>
              <a:gd name="T22" fmla="*/ 1 w 15"/>
              <a:gd name="T23" fmla="*/ 5 h 8"/>
              <a:gd name="T24" fmla="*/ 0 w 15"/>
              <a:gd name="T25" fmla="*/ 5 h 8"/>
              <a:gd name="T26" fmla="*/ 1 w 15"/>
              <a:gd name="T27" fmla="*/ 6 h 8"/>
              <a:gd name="T28" fmla="*/ 1 w 15"/>
              <a:gd name="T29" fmla="*/ 6 h 8"/>
              <a:gd name="T30" fmla="*/ 3 w 15"/>
              <a:gd name="T31" fmla="*/ 7 h 8"/>
              <a:gd name="T32" fmla="*/ 5 w 15"/>
              <a:gd name="T33" fmla="*/ 8 h 8"/>
              <a:gd name="T34" fmla="*/ 8 w 15"/>
              <a:gd name="T35" fmla="*/ 7 h 8"/>
              <a:gd name="T36" fmla="*/ 9 w 15"/>
              <a:gd name="T37" fmla="*/ 7 h 8"/>
              <a:gd name="T38" fmla="*/ 10 w 15"/>
              <a:gd name="T39" fmla="*/ 7 h 8"/>
              <a:gd name="T40" fmla="*/ 11 w 15"/>
              <a:gd name="T41" fmla="*/ 6 h 8"/>
              <a:gd name="T42" fmla="*/ 13 w 15"/>
              <a:gd name="T43" fmla="*/ 3 h 8"/>
              <a:gd name="T44" fmla="*/ 14 w 15"/>
              <a:gd name="T45" fmla="*/ 2 h 8"/>
              <a:gd name="T46" fmla="*/ 14 w 15"/>
              <a:gd name="T4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8">
                <a:moveTo>
                  <a:pt x="14" y="1"/>
                </a:moveTo>
                <a:cubicBezTo>
                  <a:pt x="14" y="1"/>
                  <a:pt x="14" y="1"/>
                  <a:pt x="14" y="1"/>
                </a:cubicBezTo>
                <a:cubicBezTo>
                  <a:pt x="13" y="1"/>
                  <a:pt x="13" y="1"/>
                  <a:pt x="12" y="0"/>
                </a:cubicBezTo>
                <a:cubicBezTo>
                  <a:pt x="12" y="0"/>
                  <a:pt x="11" y="0"/>
                  <a:pt x="10" y="0"/>
                </a:cubicBezTo>
                <a:cubicBezTo>
                  <a:pt x="10" y="0"/>
                  <a:pt x="9" y="1"/>
                  <a:pt x="8" y="1"/>
                </a:cubicBezTo>
                <a:cubicBezTo>
                  <a:pt x="8" y="1"/>
                  <a:pt x="6" y="1"/>
                  <a:pt x="6" y="2"/>
                </a:cubicBezTo>
                <a:cubicBezTo>
                  <a:pt x="6" y="2"/>
                  <a:pt x="4" y="2"/>
                  <a:pt x="3" y="2"/>
                </a:cubicBezTo>
                <a:cubicBezTo>
                  <a:pt x="3" y="2"/>
                  <a:pt x="3" y="2"/>
                  <a:pt x="3" y="2"/>
                </a:cubicBezTo>
                <a:cubicBezTo>
                  <a:pt x="3" y="2"/>
                  <a:pt x="2" y="2"/>
                  <a:pt x="2" y="2"/>
                </a:cubicBezTo>
                <a:cubicBezTo>
                  <a:pt x="2" y="3"/>
                  <a:pt x="2" y="3"/>
                  <a:pt x="1" y="3"/>
                </a:cubicBezTo>
                <a:cubicBezTo>
                  <a:pt x="1" y="3"/>
                  <a:pt x="1" y="3"/>
                  <a:pt x="1" y="4"/>
                </a:cubicBezTo>
                <a:cubicBezTo>
                  <a:pt x="1" y="4"/>
                  <a:pt x="1" y="4"/>
                  <a:pt x="1" y="5"/>
                </a:cubicBezTo>
                <a:cubicBezTo>
                  <a:pt x="1" y="5"/>
                  <a:pt x="1" y="5"/>
                  <a:pt x="0" y="5"/>
                </a:cubicBezTo>
                <a:cubicBezTo>
                  <a:pt x="1" y="5"/>
                  <a:pt x="1" y="6"/>
                  <a:pt x="1" y="6"/>
                </a:cubicBezTo>
                <a:cubicBezTo>
                  <a:pt x="1" y="6"/>
                  <a:pt x="1" y="6"/>
                  <a:pt x="1" y="6"/>
                </a:cubicBezTo>
                <a:cubicBezTo>
                  <a:pt x="1" y="6"/>
                  <a:pt x="2" y="7"/>
                  <a:pt x="3" y="7"/>
                </a:cubicBezTo>
                <a:cubicBezTo>
                  <a:pt x="3" y="8"/>
                  <a:pt x="4" y="8"/>
                  <a:pt x="5" y="8"/>
                </a:cubicBezTo>
                <a:cubicBezTo>
                  <a:pt x="6" y="8"/>
                  <a:pt x="8" y="7"/>
                  <a:pt x="8" y="7"/>
                </a:cubicBezTo>
                <a:cubicBezTo>
                  <a:pt x="8" y="7"/>
                  <a:pt x="9" y="7"/>
                  <a:pt x="9" y="7"/>
                </a:cubicBezTo>
                <a:cubicBezTo>
                  <a:pt x="9" y="7"/>
                  <a:pt x="9" y="7"/>
                  <a:pt x="10" y="7"/>
                </a:cubicBezTo>
                <a:cubicBezTo>
                  <a:pt x="10" y="7"/>
                  <a:pt x="10" y="7"/>
                  <a:pt x="11" y="6"/>
                </a:cubicBezTo>
                <a:cubicBezTo>
                  <a:pt x="12" y="6"/>
                  <a:pt x="13" y="3"/>
                  <a:pt x="13" y="3"/>
                </a:cubicBezTo>
                <a:cubicBezTo>
                  <a:pt x="13" y="3"/>
                  <a:pt x="14" y="2"/>
                  <a:pt x="14" y="2"/>
                </a:cubicBezTo>
                <a:cubicBezTo>
                  <a:pt x="15" y="2"/>
                  <a:pt x="15" y="1"/>
                  <a:pt x="1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306"/>
          <p:cNvSpPr>
            <a:spLocks/>
          </p:cNvSpPr>
          <p:nvPr/>
        </p:nvSpPr>
        <p:spPr bwMode="auto">
          <a:xfrm>
            <a:off x="2330236" y="2678375"/>
            <a:ext cx="67922" cy="32174"/>
          </a:xfrm>
          <a:custGeom>
            <a:avLst/>
            <a:gdLst>
              <a:gd name="T0" fmla="*/ 13 w 14"/>
              <a:gd name="T1" fmla="*/ 3 h 7"/>
              <a:gd name="T2" fmla="*/ 12 w 14"/>
              <a:gd name="T3" fmla="*/ 3 h 7"/>
              <a:gd name="T4" fmla="*/ 11 w 14"/>
              <a:gd name="T5" fmla="*/ 2 h 7"/>
              <a:gd name="T6" fmla="*/ 10 w 14"/>
              <a:gd name="T7" fmla="*/ 2 h 7"/>
              <a:gd name="T8" fmla="*/ 9 w 14"/>
              <a:gd name="T9" fmla="*/ 2 h 7"/>
              <a:gd name="T10" fmla="*/ 7 w 14"/>
              <a:gd name="T11" fmla="*/ 1 h 7"/>
              <a:gd name="T12" fmla="*/ 6 w 14"/>
              <a:gd name="T13" fmla="*/ 0 h 7"/>
              <a:gd name="T14" fmla="*/ 6 w 14"/>
              <a:gd name="T15" fmla="*/ 0 h 7"/>
              <a:gd name="T16" fmla="*/ 5 w 14"/>
              <a:gd name="T17" fmla="*/ 0 h 7"/>
              <a:gd name="T18" fmla="*/ 3 w 14"/>
              <a:gd name="T19" fmla="*/ 1 h 7"/>
              <a:gd name="T20" fmla="*/ 1 w 14"/>
              <a:gd name="T21" fmla="*/ 2 h 7"/>
              <a:gd name="T22" fmla="*/ 1 w 14"/>
              <a:gd name="T23" fmla="*/ 3 h 7"/>
              <a:gd name="T24" fmla="*/ 2 w 14"/>
              <a:gd name="T25" fmla="*/ 5 h 7"/>
              <a:gd name="T26" fmla="*/ 4 w 14"/>
              <a:gd name="T27" fmla="*/ 7 h 7"/>
              <a:gd name="T28" fmla="*/ 4 w 14"/>
              <a:gd name="T29" fmla="*/ 7 h 7"/>
              <a:gd name="T30" fmla="*/ 6 w 14"/>
              <a:gd name="T31" fmla="*/ 7 h 7"/>
              <a:gd name="T32" fmla="*/ 6 w 14"/>
              <a:gd name="T33" fmla="*/ 6 h 7"/>
              <a:gd name="T34" fmla="*/ 8 w 14"/>
              <a:gd name="T35" fmla="*/ 6 h 7"/>
              <a:gd name="T36" fmla="*/ 10 w 14"/>
              <a:gd name="T37" fmla="*/ 7 h 7"/>
              <a:gd name="T38" fmla="*/ 10 w 14"/>
              <a:gd name="T39" fmla="*/ 7 h 7"/>
              <a:gd name="T40" fmla="*/ 11 w 14"/>
              <a:gd name="T41" fmla="*/ 6 h 7"/>
              <a:gd name="T42" fmla="*/ 13 w 14"/>
              <a:gd name="T43" fmla="*/ 5 h 7"/>
              <a:gd name="T44" fmla="*/ 14 w 14"/>
              <a:gd name="T45" fmla="*/ 4 h 7"/>
              <a:gd name="T46" fmla="*/ 13 w 14"/>
              <a:gd name="T4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7">
                <a:moveTo>
                  <a:pt x="13" y="3"/>
                </a:moveTo>
                <a:cubicBezTo>
                  <a:pt x="13" y="3"/>
                  <a:pt x="12" y="3"/>
                  <a:pt x="12" y="3"/>
                </a:cubicBezTo>
                <a:cubicBezTo>
                  <a:pt x="12" y="3"/>
                  <a:pt x="12" y="2"/>
                  <a:pt x="11" y="2"/>
                </a:cubicBezTo>
                <a:cubicBezTo>
                  <a:pt x="11" y="2"/>
                  <a:pt x="10" y="2"/>
                  <a:pt x="10" y="2"/>
                </a:cubicBezTo>
                <a:cubicBezTo>
                  <a:pt x="10" y="3"/>
                  <a:pt x="9" y="2"/>
                  <a:pt x="9" y="2"/>
                </a:cubicBezTo>
                <a:cubicBezTo>
                  <a:pt x="9" y="1"/>
                  <a:pt x="8" y="1"/>
                  <a:pt x="7" y="1"/>
                </a:cubicBezTo>
                <a:cubicBezTo>
                  <a:pt x="7" y="1"/>
                  <a:pt x="6" y="0"/>
                  <a:pt x="6" y="0"/>
                </a:cubicBezTo>
                <a:cubicBezTo>
                  <a:pt x="6" y="0"/>
                  <a:pt x="6" y="0"/>
                  <a:pt x="6" y="0"/>
                </a:cubicBezTo>
                <a:cubicBezTo>
                  <a:pt x="6" y="1"/>
                  <a:pt x="5" y="0"/>
                  <a:pt x="5" y="0"/>
                </a:cubicBezTo>
                <a:cubicBezTo>
                  <a:pt x="4" y="1"/>
                  <a:pt x="4" y="1"/>
                  <a:pt x="3" y="1"/>
                </a:cubicBezTo>
                <a:cubicBezTo>
                  <a:pt x="2" y="2"/>
                  <a:pt x="1" y="2"/>
                  <a:pt x="1" y="2"/>
                </a:cubicBezTo>
                <a:cubicBezTo>
                  <a:pt x="0" y="2"/>
                  <a:pt x="1" y="3"/>
                  <a:pt x="1" y="3"/>
                </a:cubicBezTo>
                <a:cubicBezTo>
                  <a:pt x="1" y="4"/>
                  <a:pt x="1" y="5"/>
                  <a:pt x="2" y="5"/>
                </a:cubicBezTo>
                <a:cubicBezTo>
                  <a:pt x="2" y="5"/>
                  <a:pt x="4" y="6"/>
                  <a:pt x="4" y="7"/>
                </a:cubicBezTo>
                <a:cubicBezTo>
                  <a:pt x="4" y="7"/>
                  <a:pt x="4" y="7"/>
                  <a:pt x="4" y="7"/>
                </a:cubicBezTo>
                <a:cubicBezTo>
                  <a:pt x="5" y="7"/>
                  <a:pt x="6" y="7"/>
                  <a:pt x="6" y="7"/>
                </a:cubicBezTo>
                <a:cubicBezTo>
                  <a:pt x="6" y="6"/>
                  <a:pt x="6" y="6"/>
                  <a:pt x="6" y="6"/>
                </a:cubicBezTo>
                <a:cubicBezTo>
                  <a:pt x="6" y="6"/>
                  <a:pt x="8" y="6"/>
                  <a:pt x="8" y="6"/>
                </a:cubicBezTo>
                <a:cubicBezTo>
                  <a:pt x="9" y="7"/>
                  <a:pt x="10" y="7"/>
                  <a:pt x="10" y="7"/>
                </a:cubicBezTo>
                <a:cubicBezTo>
                  <a:pt x="10" y="7"/>
                  <a:pt x="10" y="7"/>
                  <a:pt x="10" y="7"/>
                </a:cubicBezTo>
                <a:cubicBezTo>
                  <a:pt x="10" y="7"/>
                  <a:pt x="10" y="6"/>
                  <a:pt x="11" y="6"/>
                </a:cubicBezTo>
                <a:cubicBezTo>
                  <a:pt x="11" y="6"/>
                  <a:pt x="12" y="6"/>
                  <a:pt x="13" y="5"/>
                </a:cubicBezTo>
                <a:cubicBezTo>
                  <a:pt x="13" y="5"/>
                  <a:pt x="14" y="5"/>
                  <a:pt x="14" y="4"/>
                </a:cubicBezTo>
                <a:cubicBezTo>
                  <a:pt x="14" y="4"/>
                  <a:pt x="14" y="3"/>
                  <a:pt x="13"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307"/>
          <p:cNvSpPr>
            <a:spLocks/>
          </p:cNvSpPr>
          <p:nvPr/>
        </p:nvSpPr>
        <p:spPr bwMode="auto">
          <a:xfrm>
            <a:off x="2380283" y="2696249"/>
            <a:ext cx="57198" cy="25024"/>
          </a:xfrm>
          <a:custGeom>
            <a:avLst/>
            <a:gdLst>
              <a:gd name="T0" fmla="*/ 9 w 12"/>
              <a:gd name="T1" fmla="*/ 1 h 5"/>
              <a:gd name="T2" fmla="*/ 8 w 12"/>
              <a:gd name="T3" fmla="*/ 1 h 5"/>
              <a:gd name="T4" fmla="*/ 6 w 12"/>
              <a:gd name="T5" fmla="*/ 0 h 5"/>
              <a:gd name="T6" fmla="*/ 4 w 12"/>
              <a:gd name="T7" fmla="*/ 1 h 5"/>
              <a:gd name="T8" fmla="*/ 4 w 12"/>
              <a:gd name="T9" fmla="*/ 0 h 5"/>
              <a:gd name="T10" fmla="*/ 3 w 12"/>
              <a:gd name="T11" fmla="*/ 1 h 5"/>
              <a:gd name="T12" fmla="*/ 1 w 12"/>
              <a:gd name="T13" fmla="*/ 2 h 5"/>
              <a:gd name="T14" fmla="*/ 0 w 12"/>
              <a:gd name="T15" fmla="*/ 3 h 5"/>
              <a:gd name="T16" fmla="*/ 1 w 12"/>
              <a:gd name="T17" fmla="*/ 5 h 5"/>
              <a:gd name="T18" fmla="*/ 4 w 12"/>
              <a:gd name="T19" fmla="*/ 5 h 5"/>
              <a:gd name="T20" fmla="*/ 6 w 12"/>
              <a:gd name="T21" fmla="*/ 4 h 5"/>
              <a:gd name="T22" fmla="*/ 8 w 12"/>
              <a:gd name="T23" fmla="*/ 3 h 5"/>
              <a:gd name="T24" fmla="*/ 10 w 12"/>
              <a:gd name="T25" fmla="*/ 3 h 5"/>
              <a:gd name="T26" fmla="*/ 12 w 12"/>
              <a:gd name="T27" fmla="*/ 4 h 5"/>
              <a:gd name="T28" fmla="*/ 11 w 12"/>
              <a:gd name="T29" fmla="*/ 3 h 5"/>
              <a:gd name="T30" fmla="*/ 12 w 12"/>
              <a:gd name="T31" fmla="*/ 2 h 5"/>
              <a:gd name="T32" fmla="*/ 12 w 12"/>
              <a:gd name="T33" fmla="*/ 2 h 5"/>
              <a:gd name="T34" fmla="*/ 11 w 12"/>
              <a:gd name="T35" fmla="*/ 1 h 5"/>
              <a:gd name="T36" fmla="*/ 9 w 12"/>
              <a:gd name="T3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5">
                <a:moveTo>
                  <a:pt x="9" y="1"/>
                </a:moveTo>
                <a:cubicBezTo>
                  <a:pt x="8" y="1"/>
                  <a:pt x="8" y="0"/>
                  <a:pt x="8" y="1"/>
                </a:cubicBezTo>
                <a:cubicBezTo>
                  <a:pt x="7" y="1"/>
                  <a:pt x="6" y="1"/>
                  <a:pt x="6" y="0"/>
                </a:cubicBezTo>
                <a:cubicBezTo>
                  <a:pt x="5" y="0"/>
                  <a:pt x="5" y="1"/>
                  <a:pt x="4" y="1"/>
                </a:cubicBezTo>
                <a:cubicBezTo>
                  <a:pt x="4" y="1"/>
                  <a:pt x="4" y="0"/>
                  <a:pt x="4" y="0"/>
                </a:cubicBezTo>
                <a:cubicBezTo>
                  <a:pt x="4" y="1"/>
                  <a:pt x="3" y="1"/>
                  <a:pt x="3" y="1"/>
                </a:cubicBezTo>
                <a:cubicBezTo>
                  <a:pt x="2" y="2"/>
                  <a:pt x="1" y="2"/>
                  <a:pt x="1" y="2"/>
                </a:cubicBezTo>
                <a:cubicBezTo>
                  <a:pt x="0" y="2"/>
                  <a:pt x="0" y="3"/>
                  <a:pt x="0" y="3"/>
                </a:cubicBezTo>
                <a:cubicBezTo>
                  <a:pt x="0" y="4"/>
                  <a:pt x="1" y="4"/>
                  <a:pt x="1" y="5"/>
                </a:cubicBezTo>
                <a:cubicBezTo>
                  <a:pt x="2" y="5"/>
                  <a:pt x="4" y="5"/>
                  <a:pt x="4" y="5"/>
                </a:cubicBezTo>
                <a:cubicBezTo>
                  <a:pt x="4" y="4"/>
                  <a:pt x="6" y="4"/>
                  <a:pt x="6" y="4"/>
                </a:cubicBezTo>
                <a:cubicBezTo>
                  <a:pt x="7" y="4"/>
                  <a:pt x="8" y="3"/>
                  <a:pt x="8" y="3"/>
                </a:cubicBezTo>
                <a:cubicBezTo>
                  <a:pt x="9" y="3"/>
                  <a:pt x="10" y="3"/>
                  <a:pt x="10" y="3"/>
                </a:cubicBezTo>
                <a:cubicBezTo>
                  <a:pt x="11" y="4"/>
                  <a:pt x="11" y="4"/>
                  <a:pt x="12" y="4"/>
                </a:cubicBezTo>
                <a:cubicBezTo>
                  <a:pt x="12" y="4"/>
                  <a:pt x="11" y="3"/>
                  <a:pt x="11" y="3"/>
                </a:cubicBezTo>
                <a:cubicBezTo>
                  <a:pt x="11" y="3"/>
                  <a:pt x="12" y="2"/>
                  <a:pt x="12" y="2"/>
                </a:cubicBezTo>
                <a:cubicBezTo>
                  <a:pt x="12" y="2"/>
                  <a:pt x="12" y="2"/>
                  <a:pt x="12" y="2"/>
                </a:cubicBezTo>
                <a:cubicBezTo>
                  <a:pt x="12" y="1"/>
                  <a:pt x="11" y="1"/>
                  <a:pt x="11" y="1"/>
                </a:cubicBezTo>
                <a:cubicBezTo>
                  <a:pt x="11" y="1"/>
                  <a:pt x="10" y="1"/>
                  <a:pt x="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308"/>
          <p:cNvSpPr>
            <a:spLocks/>
          </p:cNvSpPr>
          <p:nvPr/>
        </p:nvSpPr>
        <p:spPr bwMode="auto">
          <a:xfrm>
            <a:off x="2094296" y="2796345"/>
            <a:ext cx="42898" cy="67922"/>
          </a:xfrm>
          <a:custGeom>
            <a:avLst/>
            <a:gdLst>
              <a:gd name="T0" fmla="*/ 6 w 9"/>
              <a:gd name="T1" fmla="*/ 11 h 14"/>
              <a:gd name="T2" fmla="*/ 6 w 9"/>
              <a:gd name="T3" fmla="*/ 10 h 14"/>
              <a:gd name="T4" fmla="*/ 6 w 9"/>
              <a:gd name="T5" fmla="*/ 9 h 14"/>
              <a:gd name="T6" fmla="*/ 6 w 9"/>
              <a:gd name="T7" fmla="*/ 8 h 14"/>
              <a:gd name="T8" fmla="*/ 6 w 9"/>
              <a:gd name="T9" fmla="*/ 7 h 14"/>
              <a:gd name="T10" fmla="*/ 7 w 9"/>
              <a:gd name="T11" fmla="*/ 5 h 14"/>
              <a:gd name="T12" fmla="*/ 7 w 9"/>
              <a:gd name="T13" fmla="*/ 3 h 14"/>
              <a:gd name="T14" fmla="*/ 8 w 9"/>
              <a:gd name="T15" fmla="*/ 2 h 14"/>
              <a:gd name="T16" fmla="*/ 7 w 9"/>
              <a:gd name="T17" fmla="*/ 1 h 14"/>
              <a:gd name="T18" fmla="*/ 6 w 9"/>
              <a:gd name="T19" fmla="*/ 1 h 14"/>
              <a:gd name="T20" fmla="*/ 5 w 9"/>
              <a:gd name="T21" fmla="*/ 1 h 14"/>
              <a:gd name="T22" fmla="*/ 4 w 9"/>
              <a:gd name="T23" fmla="*/ 0 h 14"/>
              <a:gd name="T24" fmla="*/ 3 w 9"/>
              <a:gd name="T25" fmla="*/ 0 h 14"/>
              <a:gd name="T26" fmla="*/ 2 w 9"/>
              <a:gd name="T27" fmla="*/ 1 h 14"/>
              <a:gd name="T28" fmla="*/ 3 w 9"/>
              <a:gd name="T29" fmla="*/ 2 h 14"/>
              <a:gd name="T30" fmla="*/ 1 w 9"/>
              <a:gd name="T31" fmla="*/ 7 h 14"/>
              <a:gd name="T32" fmla="*/ 2 w 9"/>
              <a:gd name="T33" fmla="*/ 9 h 14"/>
              <a:gd name="T34" fmla="*/ 2 w 9"/>
              <a:gd name="T35" fmla="*/ 13 h 14"/>
              <a:gd name="T36" fmla="*/ 4 w 9"/>
              <a:gd name="T37" fmla="*/ 14 h 14"/>
              <a:gd name="T38" fmla="*/ 6 w 9"/>
              <a:gd name="T39" fmla="*/ 13 h 14"/>
              <a:gd name="T40" fmla="*/ 5 w 9"/>
              <a:gd name="T41" fmla="*/ 12 h 14"/>
              <a:gd name="T42" fmla="*/ 6 w 9"/>
              <a:gd name="T4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4">
                <a:moveTo>
                  <a:pt x="6" y="11"/>
                </a:moveTo>
                <a:cubicBezTo>
                  <a:pt x="7" y="11"/>
                  <a:pt x="6" y="10"/>
                  <a:pt x="6" y="10"/>
                </a:cubicBezTo>
                <a:cubicBezTo>
                  <a:pt x="6" y="10"/>
                  <a:pt x="6" y="9"/>
                  <a:pt x="6" y="9"/>
                </a:cubicBezTo>
                <a:cubicBezTo>
                  <a:pt x="7" y="9"/>
                  <a:pt x="6" y="8"/>
                  <a:pt x="6" y="8"/>
                </a:cubicBezTo>
                <a:cubicBezTo>
                  <a:pt x="5" y="7"/>
                  <a:pt x="6" y="7"/>
                  <a:pt x="6" y="7"/>
                </a:cubicBezTo>
                <a:cubicBezTo>
                  <a:pt x="7" y="7"/>
                  <a:pt x="6" y="6"/>
                  <a:pt x="7" y="5"/>
                </a:cubicBezTo>
                <a:cubicBezTo>
                  <a:pt x="7" y="5"/>
                  <a:pt x="7" y="4"/>
                  <a:pt x="7" y="3"/>
                </a:cubicBezTo>
                <a:cubicBezTo>
                  <a:pt x="7" y="3"/>
                  <a:pt x="7" y="3"/>
                  <a:pt x="8" y="2"/>
                </a:cubicBezTo>
                <a:cubicBezTo>
                  <a:pt x="9" y="1"/>
                  <a:pt x="7" y="2"/>
                  <a:pt x="7" y="1"/>
                </a:cubicBezTo>
                <a:cubicBezTo>
                  <a:pt x="7" y="1"/>
                  <a:pt x="7" y="0"/>
                  <a:pt x="6" y="1"/>
                </a:cubicBezTo>
                <a:cubicBezTo>
                  <a:pt x="6" y="1"/>
                  <a:pt x="6" y="1"/>
                  <a:pt x="5" y="1"/>
                </a:cubicBezTo>
                <a:cubicBezTo>
                  <a:pt x="5" y="1"/>
                  <a:pt x="4" y="1"/>
                  <a:pt x="4" y="0"/>
                </a:cubicBezTo>
                <a:cubicBezTo>
                  <a:pt x="4" y="0"/>
                  <a:pt x="3" y="0"/>
                  <a:pt x="3" y="0"/>
                </a:cubicBezTo>
                <a:cubicBezTo>
                  <a:pt x="3" y="1"/>
                  <a:pt x="3" y="1"/>
                  <a:pt x="2" y="1"/>
                </a:cubicBezTo>
                <a:cubicBezTo>
                  <a:pt x="2" y="1"/>
                  <a:pt x="2" y="2"/>
                  <a:pt x="3" y="2"/>
                </a:cubicBezTo>
                <a:cubicBezTo>
                  <a:pt x="3" y="3"/>
                  <a:pt x="2" y="6"/>
                  <a:pt x="1" y="7"/>
                </a:cubicBezTo>
                <a:cubicBezTo>
                  <a:pt x="0" y="8"/>
                  <a:pt x="1" y="9"/>
                  <a:pt x="2" y="9"/>
                </a:cubicBezTo>
                <a:cubicBezTo>
                  <a:pt x="3" y="10"/>
                  <a:pt x="2" y="13"/>
                  <a:pt x="2" y="13"/>
                </a:cubicBezTo>
                <a:cubicBezTo>
                  <a:pt x="2" y="14"/>
                  <a:pt x="3" y="14"/>
                  <a:pt x="4" y="14"/>
                </a:cubicBezTo>
                <a:cubicBezTo>
                  <a:pt x="5" y="14"/>
                  <a:pt x="5" y="13"/>
                  <a:pt x="6" y="13"/>
                </a:cubicBezTo>
                <a:cubicBezTo>
                  <a:pt x="6" y="13"/>
                  <a:pt x="5" y="13"/>
                  <a:pt x="5" y="12"/>
                </a:cubicBezTo>
                <a:cubicBezTo>
                  <a:pt x="5" y="12"/>
                  <a:pt x="5" y="11"/>
                  <a:pt x="6"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309"/>
          <p:cNvSpPr>
            <a:spLocks/>
          </p:cNvSpPr>
          <p:nvPr/>
        </p:nvSpPr>
        <p:spPr bwMode="auto">
          <a:xfrm>
            <a:off x="2233715" y="2642627"/>
            <a:ext cx="42898" cy="39323"/>
          </a:xfrm>
          <a:custGeom>
            <a:avLst/>
            <a:gdLst>
              <a:gd name="T0" fmla="*/ 3 w 9"/>
              <a:gd name="T1" fmla="*/ 6 h 8"/>
              <a:gd name="T2" fmla="*/ 4 w 9"/>
              <a:gd name="T3" fmla="*/ 6 h 8"/>
              <a:gd name="T4" fmla="*/ 6 w 9"/>
              <a:gd name="T5" fmla="*/ 7 h 8"/>
              <a:gd name="T6" fmla="*/ 7 w 9"/>
              <a:gd name="T7" fmla="*/ 8 h 8"/>
              <a:gd name="T8" fmla="*/ 7 w 9"/>
              <a:gd name="T9" fmla="*/ 6 h 8"/>
              <a:gd name="T10" fmla="*/ 7 w 9"/>
              <a:gd name="T11" fmla="*/ 5 h 8"/>
              <a:gd name="T12" fmla="*/ 8 w 9"/>
              <a:gd name="T13" fmla="*/ 4 h 8"/>
              <a:gd name="T14" fmla="*/ 9 w 9"/>
              <a:gd name="T15" fmla="*/ 4 h 8"/>
              <a:gd name="T16" fmla="*/ 8 w 9"/>
              <a:gd name="T17" fmla="*/ 2 h 8"/>
              <a:gd name="T18" fmla="*/ 9 w 9"/>
              <a:gd name="T19" fmla="*/ 1 h 8"/>
              <a:gd name="T20" fmla="*/ 9 w 9"/>
              <a:gd name="T21" fmla="*/ 0 h 8"/>
              <a:gd name="T22" fmla="*/ 8 w 9"/>
              <a:gd name="T23" fmla="*/ 0 h 8"/>
              <a:gd name="T24" fmla="*/ 6 w 9"/>
              <a:gd name="T25" fmla="*/ 0 h 8"/>
              <a:gd name="T26" fmla="*/ 5 w 9"/>
              <a:gd name="T27" fmla="*/ 2 h 8"/>
              <a:gd name="T28" fmla="*/ 4 w 9"/>
              <a:gd name="T29" fmla="*/ 2 h 8"/>
              <a:gd name="T30" fmla="*/ 3 w 9"/>
              <a:gd name="T31" fmla="*/ 2 h 8"/>
              <a:gd name="T32" fmla="*/ 2 w 9"/>
              <a:gd name="T33" fmla="*/ 4 h 8"/>
              <a:gd name="T34" fmla="*/ 0 w 9"/>
              <a:gd name="T35" fmla="*/ 6 h 8"/>
              <a:gd name="T36" fmla="*/ 0 w 9"/>
              <a:gd name="T37" fmla="*/ 6 h 8"/>
              <a:gd name="T38" fmla="*/ 1 w 9"/>
              <a:gd name="T39" fmla="*/ 7 h 8"/>
              <a:gd name="T40" fmla="*/ 3 w 9"/>
              <a:gd name="T4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8">
                <a:moveTo>
                  <a:pt x="3" y="6"/>
                </a:moveTo>
                <a:cubicBezTo>
                  <a:pt x="3" y="6"/>
                  <a:pt x="4" y="6"/>
                  <a:pt x="4" y="6"/>
                </a:cubicBezTo>
                <a:cubicBezTo>
                  <a:pt x="5" y="7"/>
                  <a:pt x="5" y="7"/>
                  <a:pt x="6" y="7"/>
                </a:cubicBezTo>
                <a:cubicBezTo>
                  <a:pt x="6" y="7"/>
                  <a:pt x="6" y="8"/>
                  <a:pt x="7" y="8"/>
                </a:cubicBezTo>
                <a:cubicBezTo>
                  <a:pt x="7" y="7"/>
                  <a:pt x="7" y="6"/>
                  <a:pt x="7" y="6"/>
                </a:cubicBezTo>
                <a:cubicBezTo>
                  <a:pt x="7" y="5"/>
                  <a:pt x="7" y="5"/>
                  <a:pt x="7" y="5"/>
                </a:cubicBezTo>
                <a:cubicBezTo>
                  <a:pt x="7" y="5"/>
                  <a:pt x="8" y="5"/>
                  <a:pt x="8" y="4"/>
                </a:cubicBezTo>
                <a:cubicBezTo>
                  <a:pt x="8" y="4"/>
                  <a:pt x="8" y="4"/>
                  <a:pt x="9" y="4"/>
                </a:cubicBezTo>
                <a:cubicBezTo>
                  <a:pt x="9" y="3"/>
                  <a:pt x="8" y="3"/>
                  <a:pt x="8" y="2"/>
                </a:cubicBezTo>
                <a:cubicBezTo>
                  <a:pt x="8" y="2"/>
                  <a:pt x="9" y="2"/>
                  <a:pt x="9" y="1"/>
                </a:cubicBezTo>
                <a:cubicBezTo>
                  <a:pt x="9" y="1"/>
                  <a:pt x="9" y="1"/>
                  <a:pt x="9" y="0"/>
                </a:cubicBezTo>
                <a:cubicBezTo>
                  <a:pt x="9" y="0"/>
                  <a:pt x="9" y="0"/>
                  <a:pt x="8" y="0"/>
                </a:cubicBezTo>
                <a:cubicBezTo>
                  <a:pt x="8" y="0"/>
                  <a:pt x="7" y="0"/>
                  <a:pt x="6" y="0"/>
                </a:cubicBezTo>
                <a:cubicBezTo>
                  <a:pt x="5" y="0"/>
                  <a:pt x="5" y="1"/>
                  <a:pt x="5" y="2"/>
                </a:cubicBezTo>
                <a:cubicBezTo>
                  <a:pt x="6" y="2"/>
                  <a:pt x="4" y="2"/>
                  <a:pt x="4" y="2"/>
                </a:cubicBezTo>
                <a:cubicBezTo>
                  <a:pt x="4" y="1"/>
                  <a:pt x="3" y="2"/>
                  <a:pt x="3" y="2"/>
                </a:cubicBezTo>
                <a:cubicBezTo>
                  <a:pt x="3" y="3"/>
                  <a:pt x="2" y="3"/>
                  <a:pt x="2" y="4"/>
                </a:cubicBezTo>
                <a:cubicBezTo>
                  <a:pt x="2" y="5"/>
                  <a:pt x="1" y="6"/>
                  <a:pt x="0" y="6"/>
                </a:cubicBezTo>
                <a:cubicBezTo>
                  <a:pt x="0" y="6"/>
                  <a:pt x="0" y="6"/>
                  <a:pt x="0" y="6"/>
                </a:cubicBezTo>
                <a:cubicBezTo>
                  <a:pt x="0" y="7"/>
                  <a:pt x="1" y="7"/>
                  <a:pt x="1" y="7"/>
                </a:cubicBezTo>
                <a:cubicBezTo>
                  <a:pt x="1" y="7"/>
                  <a:pt x="3" y="6"/>
                  <a:pt x="3"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10"/>
          <p:cNvSpPr>
            <a:spLocks/>
          </p:cNvSpPr>
          <p:nvPr/>
        </p:nvSpPr>
        <p:spPr bwMode="auto">
          <a:xfrm>
            <a:off x="2262313" y="2692674"/>
            <a:ext cx="7150" cy="7150"/>
          </a:xfrm>
          <a:custGeom>
            <a:avLst/>
            <a:gdLst>
              <a:gd name="T0" fmla="*/ 1 w 1"/>
              <a:gd name="T1" fmla="*/ 0 h 2"/>
              <a:gd name="T2" fmla="*/ 0 w 1"/>
              <a:gd name="T3" fmla="*/ 2 h 2"/>
              <a:gd name="T4" fmla="*/ 1 w 1"/>
              <a:gd name="T5" fmla="*/ 2 h 2"/>
              <a:gd name="T6" fmla="*/ 1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2"/>
                </a:cubicBezTo>
                <a:cubicBezTo>
                  <a:pt x="0" y="2"/>
                  <a:pt x="1" y="2"/>
                  <a:pt x="1" y="2"/>
                </a:cubicBezTo>
                <a:cubicBezTo>
                  <a:pt x="1" y="1"/>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311"/>
          <p:cNvSpPr>
            <a:spLocks/>
          </p:cNvSpPr>
          <p:nvPr/>
        </p:nvSpPr>
        <p:spPr bwMode="auto">
          <a:xfrm>
            <a:off x="2230140" y="2671225"/>
            <a:ext cx="39323" cy="28599"/>
          </a:xfrm>
          <a:custGeom>
            <a:avLst/>
            <a:gdLst>
              <a:gd name="T0" fmla="*/ 0 w 8"/>
              <a:gd name="T1" fmla="*/ 1 h 6"/>
              <a:gd name="T2" fmla="*/ 1 w 8"/>
              <a:gd name="T3" fmla="*/ 2 h 6"/>
              <a:gd name="T4" fmla="*/ 2 w 8"/>
              <a:gd name="T5" fmla="*/ 3 h 6"/>
              <a:gd name="T6" fmla="*/ 3 w 8"/>
              <a:gd name="T7" fmla="*/ 4 h 6"/>
              <a:gd name="T8" fmla="*/ 4 w 8"/>
              <a:gd name="T9" fmla="*/ 4 h 6"/>
              <a:gd name="T10" fmla="*/ 5 w 8"/>
              <a:gd name="T11" fmla="*/ 4 h 6"/>
              <a:gd name="T12" fmla="*/ 5 w 8"/>
              <a:gd name="T13" fmla="*/ 5 h 6"/>
              <a:gd name="T14" fmla="*/ 7 w 8"/>
              <a:gd name="T15" fmla="*/ 6 h 6"/>
              <a:gd name="T16" fmla="*/ 7 w 8"/>
              <a:gd name="T17" fmla="*/ 6 h 6"/>
              <a:gd name="T18" fmla="*/ 8 w 8"/>
              <a:gd name="T19" fmla="*/ 4 h 6"/>
              <a:gd name="T20" fmla="*/ 8 w 8"/>
              <a:gd name="T21" fmla="*/ 3 h 6"/>
              <a:gd name="T22" fmla="*/ 8 w 8"/>
              <a:gd name="T23" fmla="*/ 2 h 6"/>
              <a:gd name="T24" fmla="*/ 8 w 8"/>
              <a:gd name="T25" fmla="*/ 2 h 6"/>
              <a:gd name="T26" fmla="*/ 7 w 8"/>
              <a:gd name="T27" fmla="*/ 1 h 6"/>
              <a:gd name="T28" fmla="*/ 5 w 8"/>
              <a:gd name="T29" fmla="*/ 0 h 6"/>
              <a:gd name="T30" fmla="*/ 4 w 8"/>
              <a:gd name="T31" fmla="*/ 0 h 6"/>
              <a:gd name="T32" fmla="*/ 2 w 8"/>
              <a:gd name="T33" fmla="*/ 1 h 6"/>
              <a:gd name="T34" fmla="*/ 1 w 8"/>
              <a:gd name="T35" fmla="*/ 0 h 6"/>
              <a:gd name="T36" fmla="*/ 0 w 8"/>
              <a:gd name="T37" fmla="*/ 1 h 6"/>
              <a:gd name="T38" fmla="*/ 0 w 8"/>
              <a:gd name="T3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6">
                <a:moveTo>
                  <a:pt x="0" y="1"/>
                </a:moveTo>
                <a:cubicBezTo>
                  <a:pt x="0" y="2"/>
                  <a:pt x="0" y="2"/>
                  <a:pt x="1" y="2"/>
                </a:cubicBezTo>
                <a:cubicBezTo>
                  <a:pt x="1" y="2"/>
                  <a:pt x="1" y="3"/>
                  <a:pt x="2" y="3"/>
                </a:cubicBezTo>
                <a:cubicBezTo>
                  <a:pt x="2" y="3"/>
                  <a:pt x="3" y="3"/>
                  <a:pt x="3" y="4"/>
                </a:cubicBezTo>
                <a:cubicBezTo>
                  <a:pt x="3" y="4"/>
                  <a:pt x="3" y="5"/>
                  <a:pt x="4" y="4"/>
                </a:cubicBezTo>
                <a:cubicBezTo>
                  <a:pt x="4" y="4"/>
                  <a:pt x="5" y="3"/>
                  <a:pt x="5" y="4"/>
                </a:cubicBezTo>
                <a:cubicBezTo>
                  <a:pt x="5" y="4"/>
                  <a:pt x="5" y="5"/>
                  <a:pt x="5" y="5"/>
                </a:cubicBezTo>
                <a:cubicBezTo>
                  <a:pt x="6" y="5"/>
                  <a:pt x="6" y="6"/>
                  <a:pt x="7" y="6"/>
                </a:cubicBezTo>
                <a:cubicBezTo>
                  <a:pt x="7" y="6"/>
                  <a:pt x="7" y="6"/>
                  <a:pt x="7" y="6"/>
                </a:cubicBezTo>
                <a:cubicBezTo>
                  <a:pt x="7" y="4"/>
                  <a:pt x="7" y="4"/>
                  <a:pt x="8" y="4"/>
                </a:cubicBezTo>
                <a:cubicBezTo>
                  <a:pt x="8" y="4"/>
                  <a:pt x="8" y="3"/>
                  <a:pt x="8" y="3"/>
                </a:cubicBezTo>
                <a:cubicBezTo>
                  <a:pt x="8" y="3"/>
                  <a:pt x="7" y="2"/>
                  <a:pt x="8" y="2"/>
                </a:cubicBezTo>
                <a:cubicBezTo>
                  <a:pt x="8" y="2"/>
                  <a:pt x="8" y="2"/>
                  <a:pt x="8" y="2"/>
                </a:cubicBezTo>
                <a:cubicBezTo>
                  <a:pt x="7" y="2"/>
                  <a:pt x="7" y="1"/>
                  <a:pt x="7" y="1"/>
                </a:cubicBezTo>
                <a:cubicBezTo>
                  <a:pt x="6" y="1"/>
                  <a:pt x="6" y="1"/>
                  <a:pt x="5" y="0"/>
                </a:cubicBezTo>
                <a:cubicBezTo>
                  <a:pt x="5" y="0"/>
                  <a:pt x="4" y="0"/>
                  <a:pt x="4" y="0"/>
                </a:cubicBezTo>
                <a:cubicBezTo>
                  <a:pt x="4" y="0"/>
                  <a:pt x="2" y="1"/>
                  <a:pt x="2" y="1"/>
                </a:cubicBezTo>
                <a:cubicBezTo>
                  <a:pt x="2" y="1"/>
                  <a:pt x="1" y="1"/>
                  <a:pt x="1" y="0"/>
                </a:cubicBezTo>
                <a:cubicBezTo>
                  <a:pt x="1" y="1"/>
                  <a:pt x="0" y="1"/>
                  <a:pt x="0" y="1"/>
                </a:cubicBezTo>
                <a:cubicBezTo>
                  <a:pt x="0" y="1"/>
                  <a:pt x="0"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312"/>
          <p:cNvSpPr>
            <a:spLocks/>
          </p:cNvSpPr>
          <p:nvPr/>
        </p:nvSpPr>
        <p:spPr bwMode="auto">
          <a:xfrm>
            <a:off x="2419607" y="2714124"/>
            <a:ext cx="96521" cy="64347"/>
          </a:xfrm>
          <a:custGeom>
            <a:avLst/>
            <a:gdLst>
              <a:gd name="T0" fmla="*/ 18 w 20"/>
              <a:gd name="T1" fmla="*/ 8 h 13"/>
              <a:gd name="T2" fmla="*/ 17 w 20"/>
              <a:gd name="T3" fmla="*/ 8 h 13"/>
              <a:gd name="T4" fmla="*/ 17 w 20"/>
              <a:gd name="T5" fmla="*/ 8 h 13"/>
              <a:gd name="T6" fmla="*/ 16 w 20"/>
              <a:gd name="T7" fmla="*/ 5 h 13"/>
              <a:gd name="T8" fmla="*/ 15 w 20"/>
              <a:gd name="T9" fmla="*/ 2 h 13"/>
              <a:gd name="T10" fmla="*/ 13 w 20"/>
              <a:gd name="T11" fmla="*/ 0 h 13"/>
              <a:gd name="T12" fmla="*/ 12 w 20"/>
              <a:gd name="T13" fmla="*/ 0 h 13"/>
              <a:gd name="T14" fmla="*/ 11 w 20"/>
              <a:gd name="T15" fmla="*/ 1 h 13"/>
              <a:gd name="T16" fmla="*/ 10 w 20"/>
              <a:gd name="T17" fmla="*/ 1 h 13"/>
              <a:gd name="T18" fmla="*/ 9 w 20"/>
              <a:gd name="T19" fmla="*/ 1 h 13"/>
              <a:gd name="T20" fmla="*/ 8 w 20"/>
              <a:gd name="T21" fmla="*/ 1 h 13"/>
              <a:gd name="T22" fmla="*/ 6 w 20"/>
              <a:gd name="T23" fmla="*/ 0 h 13"/>
              <a:gd name="T24" fmla="*/ 5 w 20"/>
              <a:gd name="T25" fmla="*/ 1 h 13"/>
              <a:gd name="T26" fmla="*/ 4 w 20"/>
              <a:gd name="T27" fmla="*/ 1 h 13"/>
              <a:gd name="T28" fmla="*/ 3 w 20"/>
              <a:gd name="T29" fmla="*/ 2 h 13"/>
              <a:gd name="T30" fmla="*/ 1 w 20"/>
              <a:gd name="T31" fmla="*/ 5 h 13"/>
              <a:gd name="T32" fmla="*/ 0 w 20"/>
              <a:gd name="T33" fmla="*/ 6 h 13"/>
              <a:gd name="T34" fmla="*/ 0 w 20"/>
              <a:gd name="T35" fmla="*/ 8 h 13"/>
              <a:gd name="T36" fmla="*/ 1 w 20"/>
              <a:gd name="T37" fmla="*/ 8 h 13"/>
              <a:gd name="T38" fmla="*/ 1 w 20"/>
              <a:gd name="T39" fmla="*/ 10 h 13"/>
              <a:gd name="T40" fmla="*/ 4 w 20"/>
              <a:gd name="T41" fmla="*/ 11 h 13"/>
              <a:gd name="T42" fmla="*/ 4 w 20"/>
              <a:gd name="T43" fmla="*/ 11 h 13"/>
              <a:gd name="T44" fmla="*/ 5 w 20"/>
              <a:gd name="T45" fmla="*/ 12 h 13"/>
              <a:gd name="T46" fmla="*/ 8 w 20"/>
              <a:gd name="T47" fmla="*/ 13 h 13"/>
              <a:gd name="T48" fmla="*/ 10 w 20"/>
              <a:gd name="T49" fmla="*/ 13 h 13"/>
              <a:gd name="T50" fmla="*/ 12 w 20"/>
              <a:gd name="T51" fmla="*/ 12 h 13"/>
              <a:gd name="T52" fmla="*/ 14 w 20"/>
              <a:gd name="T53" fmla="*/ 12 h 13"/>
              <a:gd name="T54" fmla="*/ 16 w 20"/>
              <a:gd name="T55" fmla="*/ 12 h 13"/>
              <a:gd name="T56" fmla="*/ 17 w 20"/>
              <a:gd name="T57" fmla="*/ 13 h 13"/>
              <a:gd name="T58" fmla="*/ 17 w 20"/>
              <a:gd name="T59" fmla="*/ 12 h 13"/>
              <a:gd name="T60" fmla="*/ 18 w 20"/>
              <a:gd name="T61" fmla="*/ 10 h 13"/>
              <a:gd name="T62" fmla="*/ 20 w 20"/>
              <a:gd name="T63" fmla="*/ 9 h 13"/>
              <a:gd name="T64" fmla="*/ 20 w 20"/>
              <a:gd name="T65" fmla="*/ 8 h 13"/>
              <a:gd name="T66" fmla="*/ 19 w 20"/>
              <a:gd name="T67" fmla="*/ 8 h 13"/>
              <a:gd name="T68" fmla="*/ 18 w 20"/>
              <a:gd name="T69"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3">
                <a:moveTo>
                  <a:pt x="18" y="8"/>
                </a:moveTo>
                <a:cubicBezTo>
                  <a:pt x="17" y="8"/>
                  <a:pt x="16" y="8"/>
                  <a:pt x="17" y="8"/>
                </a:cubicBezTo>
                <a:cubicBezTo>
                  <a:pt x="17" y="8"/>
                  <a:pt x="17" y="8"/>
                  <a:pt x="17" y="8"/>
                </a:cubicBezTo>
                <a:cubicBezTo>
                  <a:pt x="16" y="7"/>
                  <a:pt x="16" y="6"/>
                  <a:pt x="16" y="5"/>
                </a:cubicBezTo>
                <a:cubicBezTo>
                  <a:pt x="17" y="5"/>
                  <a:pt x="16" y="3"/>
                  <a:pt x="15" y="2"/>
                </a:cubicBezTo>
                <a:cubicBezTo>
                  <a:pt x="15" y="2"/>
                  <a:pt x="14" y="1"/>
                  <a:pt x="13" y="0"/>
                </a:cubicBezTo>
                <a:cubicBezTo>
                  <a:pt x="13" y="0"/>
                  <a:pt x="13" y="0"/>
                  <a:pt x="12" y="0"/>
                </a:cubicBezTo>
                <a:cubicBezTo>
                  <a:pt x="12" y="1"/>
                  <a:pt x="12" y="1"/>
                  <a:pt x="11" y="1"/>
                </a:cubicBezTo>
                <a:cubicBezTo>
                  <a:pt x="11" y="1"/>
                  <a:pt x="10" y="1"/>
                  <a:pt x="10" y="1"/>
                </a:cubicBezTo>
                <a:cubicBezTo>
                  <a:pt x="10" y="1"/>
                  <a:pt x="9" y="1"/>
                  <a:pt x="9" y="1"/>
                </a:cubicBezTo>
                <a:cubicBezTo>
                  <a:pt x="9" y="1"/>
                  <a:pt x="8" y="1"/>
                  <a:pt x="8" y="1"/>
                </a:cubicBezTo>
                <a:cubicBezTo>
                  <a:pt x="7" y="1"/>
                  <a:pt x="6" y="0"/>
                  <a:pt x="6" y="0"/>
                </a:cubicBezTo>
                <a:cubicBezTo>
                  <a:pt x="5" y="0"/>
                  <a:pt x="5" y="1"/>
                  <a:pt x="5" y="1"/>
                </a:cubicBezTo>
                <a:cubicBezTo>
                  <a:pt x="5" y="1"/>
                  <a:pt x="5" y="1"/>
                  <a:pt x="4" y="1"/>
                </a:cubicBezTo>
                <a:cubicBezTo>
                  <a:pt x="4" y="1"/>
                  <a:pt x="3" y="2"/>
                  <a:pt x="3" y="2"/>
                </a:cubicBezTo>
                <a:cubicBezTo>
                  <a:pt x="3" y="2"/>
                  <a:pt x="2" y="5"/>
                  <a:pt x="1" y="5"/>
                </a:cubicBezTo>
                <a:cubicBezTo>
                  <a:pt x="0" y="6"/>
                  <a:pt x="0" y="6"/>
                  <a:pt x="0" y="6"/>
                </a:cubicBezTo>
                <a:cubicBezTo>
                  <a:pt x="0" y="7"/>
                  <a:pt x="0" y="7"/>
                  <a:pt x="0" y="8"/>
                </a:cubicBezTo>
                <a:cubicBezTo>
                  <a:pt x="0" y="8"/>
                  <a:pt x="1" y="8"/>
                  <a:pt x="1" y="8"/>
                </a:cubicBezTo>
                <a:cubicBezTo>
                  <a:pt x="2" y="8"/>
                  <a:pt x="1" y="10"/>
                  <a:pt x="1" y="10"/>
                </a:cubicBezTo>
                <a:cubicBezTo>
                  <a:pt x="2" y="10"/>
                  <a:pt x="4" y="10"/>
                  <a:pt x="4" y="11"/>
                </a:cubicBezTo>
                <a:cubicBezTo>
                  <a:pt x="4" y="11"/>
                  <a:pt x="4" y="11"/>
                  <a:pt x="4" y="11"/>
                </a:cubicBezTo>
                <a:cubicBezTo>
                  <a:pt x="5" y="12"/>
                  <a:pt x="5" y="12"/>
                  <a:pt x="5" y="12"/>
                </a:cubicBezTo>
                <a:cubicBezTo>
                  <a:pt x="6" y="12"/>
                  <a:pt x="7" y="13"/>
                  <a:pt x="8" y="13"/>
                </a:cubicBezTo>
                <a:cubicBezTo>
                  <a:pt x="8" y="13"/>
                  <a:pt x="9" y="13"/>
                  <a:pt x="10" y="13"/>
                </a:cubicBezTo>
                <a:cubicBezTo>
                  <a:pt x="11" y="13"/>
                  <a:pt x="11" y="12"/>
                  <a:pt x="12" y="12"/>
                </a:cubicBezTo>
                <a:cubicBezTo>
                  <a:pt x="12" y="12"/>
                  <a:pt x="14" y="11"/>
                  <a:pt x="14" y="12"/>
                </a:cubicBezTo>
                <a:cubicBezTo>
                  <a:pt x="15" y="12"/>
                  <a:pt x="16" y="12"/>
                  <a:pt x="16" y="12"/>
                </a:cubicBezTo>
                <a:cubicBezTo>
                  <a:pt x="16" y="12"/>
                  <a:pt x="17" y="12"/>
                  <a:pt x="17" y="13"/>
                </a:cubicBezTo>
                <a:cubicBezTo>
                  <a:pt x="17" y="12"/>
                  <a:pt x="17" y="12"/>
                  <a:pt x="17" y="12"/>
                </a:cubicBezTo>
                <a:cubicBezTo>
                  <a:pt x="17" y="11"/>
                  <a:pt x="18" y="10"/>
                  <a:pt x="18" y="10"/>
                </a:cubicBezTo>
                <a:cubicBezTo>
                  <a:pt x="19" y="10"/>
                  <a:pt x="20" y="10"/>
                  <a:pt x="20" y="9"/>
                </a:cubicBezTo>
                <a:cubicBezTo>
                  <a:pt x="20" y="8"/>
                  <a:pt x="20" y="8"/>
                  <a:pt x="20" y="8"/>
                </a:cubicBezTo>
                <a:cubicBezTo>
                  <a:pt x="19" y="8"/>
                  <a:pt x="19" y="8"/>
                  <a:pt x="19" y="8"/>
                </a:cubicBezTo>
                <a:cubicBezTo>
                  <a:pt x="18" y="8"/>
                  <a:pt x="18" y="8"/>
                  <a:pt x="18"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313"/>
          <p:cNvSpPr>
            <a:spLocks/>
          </p:cNvSpPr>
          <p:nvPr/>
        </p:nvSpPr>
        <p:spPr bwMode="auto">
          <a:xfrm>
            <a:off x="2480379" y="2710549"/>
            <a:ext cx="35748" cy="42898"/>
          </a:xfrm>
          <a:custGeom>
            <a:avLst/>
            <a:gdLst>
              <a:gd name="T0" fmla="*/ 5 w 7"/>
              <a:gd name="T1" fmla="*/ 2 h 9"/>
              <a:gd name="T2" fmla="*/ 4 w 7"/>
              <a:gd name="T3" fmla="*/ 1 h 9"/>
              <a:gd name="T4" fmla="*/ 2 w 7"/>
              <a:gd name="T5" fmla="*/ 0 h 9"/>
              <a:gd name="T6" fmla="*/ 0 w 7"/>
              <a:gd name="T7" fmla="*/ 1 h 9"/>
              <a:gd name="T8" fmla="*/ 2 w 7"/>
              <a:gd name="T9" fmla="*/ 3 h 9"/>
              <a:gd name="T10" fmla="*/ 3 w 7"/>
              <a:gd name="T11" fmla="*/ 6 h 9"/>
              <a:gd name="T12" fmla="*/ 4 w 7"/>
              <a:gd name="T13" fmla="*/ 9 h 9"/>
              <a:gd name="T14" fmla="*/ 5 w 7"/>
              <a:gd name="T15" fmla="*/ 7 h 9"/>
              <a:gd name="T16" fmla="*/ 6 w 7"/>
              <a:gd name="T17" fmla="*/ 6 h 9"/>
              <a:gd name="T18" fmla="*/ 7 w 7"/>
              <a:gd name="T19" fmla="*/ 6 h 9"/>
              <a:gd name="T20" fmla="*/ 7 w 7"/>
              <a:gd name="T21" fmla="*/ 5 h 9"/>
              <a:gd name="T22" fmla="*/ 5 w 7"/>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5" y="2"/>
                </a:moveTo>
                <a:cubicBezTo>
                  <a:pt x="5" y="2"/>
                  <a:pt x="4" y="1"/>
                  <a:pt x="4" y="1"/>
                </a:cubicBezTo>
                <a:cubicBezTo>
                  <a:pt x="3" y="1"/>
                  <a:pt x="3" y="0"/>
                  <a:pt x="2" y="0"/>
                </a:cubicBezTo>
                <a:cubicBezTo>
                  <a:pt x="2" y="0"/>
                  <a:pt x="1" y="1"/>
                  <a:pt x="0" y="1"/>
                </a:cubicBezTo>
                <a:cubicBezTo>
                  <a:pt x="1" y="2"/>
                  <a:pt x="2" y="3"/>
                  <a:pt x="2" y="3"/>
                </a:cubicBezTo>
                <a:cubicBezTo>
                  <a:pt x="3" y="4"/>
                  <a:pt x="4" y="6"/>
                  <a:pt x="3" y="6"/>
                </a:cubicBezTo>
                <a:cubicBezTo>
                  <a:pt x="3" y="7"/>
                  <a:pt x="3" y="8"/>
                  <a:pt x="4" y="9"/>
                </a:cubicBezTo>
                <a:cubicBezTo>
                  <a:pt x="4" y="8"/>
                  <a:pt x="5" y="7"/>
                  <a:pt x="5" y="7"/>
                </a:cubicBezTo>
                <a:cubicBezTo>
                  <a:pt x="5" y="6"/>
                  <a:pt x="5" y="6"/>
                  <a:pt x="6" y="6"/>
                </a:cubicBezTo>
                <a:cubicBezTo>
                  <a:pt x="7" y="6"/>
                  <a:pt x="7" y="6"/>
                  <a:pt x="7" y="6"/>
                </a:cubicBezTo>
                <a:cubicBezTo>
                  <a:pt x="7" y="6"/>
                  <a:pt x="7" y="5"/>
                  <a:pt x="7" y="5"/>
                </a:cubicBezTo>
                <a:cubicBezTo>
                  <a:pt x="6" y="4"/>
                  <a:pt x="6" y="3"/>
                  <a:pt x="5"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314"/>
          <p:cNvSpPr>
            <a:spLocks/>
          </p:cNvSpPr>
          <p:nvPr/>
        </p:nvSpPr>
        <p:spPr bwMode="auto">
          <a:xfrm>
            <a:off x="2433906" y="2767746"/>
            <a:ext cx="64347" cy="39323"/>
          </a:xfrm>
          <a:custGeom>
            <a:avLst/>
            <a:gdLst>
              <a:gd name="T0" fmla="*/ 11 w 14"/>
              <a:gd name="T1" fmla="*/ 1 h 8"/>
              <a:gd name="T2" fmla="*/ 9 w 14"/>
              <a:gd name="T3" fmla="*/ 1 h 8"/>
              <a:gd name="T4" fmla="*/ 7 w 14"/>
              <a:gd name="T5" fmla="*/ 2 h 8"/>
              <a:gd name="T6" fmla="*/ 5 w 14"/>
              <a:gd name="T7" fmla="*/ 2 h 8"/>
              <a:gd name="T8" fmla="*/ 2 w 14"/>
              <a:gd name="T9" fmla="*/ 1 h 8"/>
              <a:gd name="T10" fmla="*/ 1 w 14"/>
              <a:gd name="T11" fmla="*/ 0 h 8"/>
              <a:gd name="T12" fmla="*/ 1 w 14"/>
              <a:gd name="T13" fmla="*/ 1 h 8"/>
              <a:gd name="T14" fmla="*/ 1 w 14"/>
              <a:gd name="T15" fmla="*/ 2 h 8"/>
              <a:gd name="T16" fmla="*/ 2 w 14"/>
              <a:gd name="T17" fmla="*/ 4 h 8"/>
              <a:gd name="T18" fmla="*/ 1 w 14"/>
              <a:gd name="T19" fmla="*/ 5 h 8"/>
              <a:gd name="T20" fmla="*/ 1 w 14"/>
              <a:gd name="T21" fmla="*/ 6 h 8"/>
              <a:gd name="T22" fmla="*/ 2 w 14"/>
              <a:gd name="T23" fmla="*/ 7 h 8"/>
              <a:gd name="T24" fmla="*/ 2 w 14"/>
              <a:gd name="T25" fmla="*/ 8 h 8"/>
              <a:gd name="T26" fmla="*/ 5 w 14"/>
              <a:gd name="T27" fmla="*/ 8 h 8"/>
              <a:gd name="T28" fmla="*/ 8 w 14"/>
              <a:gd name="T29" fmla="*/ 8 h 8"/>
              <a:gd name="T30" fmla="*/ 9 w 14"/>
              <a:gd name="T31" fmla="*/ 8 h 8"/>
              <a:gd name="T32" fmla="*/ 10 w 14"/>
              <a:gd name="T33" fmla="*/ 7 h 8"/>
              <a:gd name="T34" fmla="*/ 10 w 14"/>
              <a:gd name="T35" fmla="*/ 6 h 8"/>
              <a:gd name="T36" fmla="*/ 12 w 14"/>
              <a:gd name="T37" fmla="*/ 6 h 8"/>
              <a:gd name="T38" fmla="*/ 13 w 14"/>
              <a:gd name="T39" fmla="*/ 6 h 8"/>
              <a:gd name="T40" fmla="*/ 13 w 14"/>
              <a:gd name="T41" fmla="*/ 6 h 8"/>
              <a:gd name="T42" fmla="*/ 12 w 14"/>
              <a:gd name="T43" fmla="*/ 4 h 8"/>
              <a:gd name="T44" fmla="*/ 14 w 14"/>
              <a:gd name="T45" fmla="*/ 2 h 8"/>
              <a:gd name="T46" fmla="*/ 14 w 14"/>
              <a:gd name="T47" fmla="*/ 2 h 8"/>
              <a:gd name="T48" fmla="*/ 13 w 14"/>
              <a:gd name="T49" fmla="*/ 1 h 8"/>
              <a:gd name="T50" fmla="*/ 11 w 14"/>
              <a:gd name="T5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8">
                <a:moveTo>
                  <a:pt x="11" y="1"/>
                </a:moveTo>
                <a:cubicBezTo>
                  <a:pt x="11" y="0"/>
                  <a:pt x="9" y="1"/>
                  <a:pt x="9" y="1"/>
                </a:cubicBezTo>
                <a:cubicBezTo>
                  <a:pt x="8" y="1"/>
                  <a:pt x="8" y="2"/>
                  <a:pt x="7" y="2"/>
                </a:cubicBezTo>
                <a:cubicBezTo>
                  <a:pt x="6" y="2"/>
                  <a:pt x="5" y="2"/>
                  <a:pt x="5" y="2"/>
                </a:cubicBezTo>
                <a:cubicBezTo>
                  <a:pt x="4" y="2"/>
                  <a:pt x="3" y="1"/>
                  <a:pt x="2" y="1"/>
                </a:cubicBezTo>
                <a:cubicBezTo>
                  <a:pt x="2" y="1"/>
                  <a:pt x="2" y="1"/>
                  <a:pt x="1" y="0"/>
                </a:cubicBezTo>
                <a:cubicBezTo>
                  <a:pt x="1" y="1"/>
                  <a:pt x="1" y="1"/>
                  <a:pt x="1" y="1"/>
                </a:cubicBezTo>
                <a:cubicBezTo>
                  <a:pt x="0" y="1"/>
                  <a:pt x="0" y="2"/>
                  <a:pt x="1" y="2"/>
                </a:cubicBezTo>
                <a:cubicBezTo>
                  <a:pt x="1" y="3"/>
                  <a:pt x="2" y="4"/>
                  <a:pt x="2" y="4"/>
                </a:cubicBezTo>
                <a:cubicBezTo>
                  <a:pt x="1" y="4"/>
                  <a:pt x="1" y="4"/>
                  <a:pt x="1" y="5"/>
                </a:cubicBezTo>
                <a:cubicBezTo>
                  <a:pt x="1" y="5"/>
                  <a:pt x="1" y="5"/>
                  <a:pt x="1" y="6"/>
                </a:cubicBezTo>
                <a:cubicBezTo>
                  <a:pt x="1" y="6"/>
                  <a:pt x="2" y="7"/>
                  <a:pt x="2" y="7"/>
                </a:cubicBezTo>
                <a:cubicBezTo>
                  <a:pt x="2" y="7"/>
                  <a:pt x="2" y="7"/>
                  <a:pt x="2" y="8"/>
                </a:cubicBezTo>
                <a:cubicBezTo>
                  <a:pt x="3" y="8"/>
                  <a:pt x="5" y="7"/>
                  <a:pt x="5" y="8"/>
                </a:cubicBezTo>
                <a:cubicBezTo>
                  <a:pt x="6" y="8"/>
                  <a:pt x="8" y="8"/>
                  <a:pt x="8" y="8"/>
                </a:cubicBezTo>
                <a:cubicBezTo>
                  <a:pt x="8" y="8"/>
                  <a:pt x="9" y="8"/>
                  <a:pt x="9" y="8"/>
                </a:cubicBezTo>
                <a:cubicBezTo>
                  <a:pt x="9" y="7"/>
                  <a:pt x="9" y="7"/>
                  <a:pt x="10" y="7"/>
                </a:cubicBezTo>
                <a:cubicBezTo>
                  <a:pt x="10" y="7"/>
                  <a:pt x="10" y="6"/>
                  <a:pt x="10" y="6"/>
                </a:cubicBezTo>
                <a:cubicBezTo>
                  <a:pt x="10" y="6"/>
                  <a:pt x="11" y="6"/>
                  <a:pt x="12" y="6"/>
                </a:cubicBezTo>
                <a:cubicBezTo>
                  <a:pt x="12" y="7"/>
                  <a:pt x="13" y="6"/>
                  <a:pt x="13" y="6"/>
                </a:cubicBezTo>
                <a:cubicBezTo>
                  <a:pt x="13" y="6"/>
                  <a:pt x="13" y="6"/>
                  <a:pt x="13" y="6"/>
                </a:cubicBezTo>
                <a:cubicBezTo>
                  <a:pt x="12" y="6"/>
                  <a:pt x="12" y="4"/>
                  <a:pt x="12" y="4"/>
                </a:cubicBezTo>
                <a:cubicBezTo>
                  <a:pt x="13" y="4"/>
                  <a:pt x="13" y="2"/>
                  <a:pt x="14" y="2"/>
                </a:cubicBezTo>
                <a:cubicBezTo>
                  <a:pt x="14" y="2"/>
                  <a:pt x="14" y="2"/>
                  <a:pt x="14" y="2"/>
                </a:cubicBezTo>
                <a:cubicBezTo>
                  <a:pt x="14" y="1"/>
                  <a:pt x="13" y="1"/>
                  <a:pt x="13" y="1"/>
                </a:cubicBezTo>
                <a:cubicBezTo>
                  <a:pt x="13" y="1"/>
                  <a:pt x="12" y="1"/>
                  <a:pt x="1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315"/>
          <p:cNvSpPr>
            <a:spLocks/>
          </p:cNvSpPr>
          <p:nvPr/>
        </p:nvSpPr>
        <p:spPr bwMode="auto">
          <a:xfrm>
            <a:off x="2412457" y="2792770"/>
            <a:ext cx="28599" cy="17874"/>
          </a:xfrm>
          <a:custGeom>
            <a:avLst/>
            <a:gdLst>
              <a:gd name="T0" fmla="*/ 2 w 6"/>
              <a:gd name="T1" fmla="*/ 4 h 4"/>
              <a:gd name="T2" fmla="*/ 2 w 6"/>
              <a:gd name="T3" fmla="*/ 4 h 4"/>
              <a:gd name="T4" fmla="*/ 2 w 6"/>
              <a:gd name="T5" fmla="*/ 4 h 4"/>
              <a:gd name="T6" fmla="*/ 2 w 6"/>
              <a:gd name="T7" fmla="*/ 4 h 4"/>
              <a:gd name="T8" fmla="*/ 2 w 6"/>
              <a:gd name="T9" fmla="*/ 4 h 4"/>
              <a:gd name="T10" fmla="*/ 2 w 6"/>
              <a:gd name="T11" fmla="*/ 4 h 4"/>
              <a:gd name="T12" fmla="*/ 3 w 6"/>
              <a:gd name="T13" fmla="*/ 4 h 4"/>
              <a:gd name="T14" fmla="*/ 3 w 6"/>
              <a:gd name="T15" fmla="*/ 4 h 4"/>
              <a:gd name="T16" fmla="*/ 3 w 6"/>
              <a:gd name="T17" fmla="*/ 4 h 4"/>
              <a:gd name="T18" fmla="*/ 3 w 6"/>
              <a:gd name="T19" fmla="*/ 4 h 4"/>
              <a:gd name="T20" fmla="*/ 3 w 6"/>
              <a:gd name="T21" fmla="*/ 4 h 4"/>
              <a:gd name="T22" fmla="*/ 4 w 6"/>
              <a:gd name="T23" fmla="*/ 4 h 4"/>
              <a:gd name="T24" fmla="*/ 6 w 6"/>
              <a:gd name="T25" fmla="*/ 3 h 4"/>
              <a:gd name="T26" fmla="*/ 6 w 6"/>
              <a:gd name="T27" fmla="*/ 3 h 4"/>
              <a:gd name="T28" fmla="*/ 6 w 6"/>
              <a:gd name="T29" fmla="*/ 2 h 4"/>
              <a:gd name="T30" fmla="*/ 5 w 6"/>
              <a:gd name="T31" fmla="*/ 1 h 4"/>
              <a:gd name="T32" fmla="*/ 5 w 6"/>
              <a:gd name="T33" fmla="*/ 0 h 4"/>
              <a:gd name="T34" fmla="*/ 5 w 6"/>
              <a:gd name="T35" fmla="*/ 0 h 4"/>
              <a:gd name="T36" fmla="*/ 5 w 6"/>
              <a:gd name="T37" fmla="*/ 0 h 4"/>
              <a:gd name="T38" fmla="*/ 1 w 6"/>
              <a:gd name="T39" fmla="*/ 1 h 4"/>
              <a:gd name="T40" fmla="*/ 1 w 6"/>
              <a:gd name="T41" fmla="*/ 1 h 4"/>
              <a:gd name="T42" fmla="*/ 1 w 6"/>
              <a:gd name="T43" fmla="*/ 3 h 4"/>
              <a:gd name="T44" fmla="*/ 2 w 6"/>
              <a:gd name="T4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4">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3" y="4"/>
                  <a:pt x="3" y="4"/>
                </a:cubicBezTo>
                <a:cubicBezTo>
                  <a:pt x="3" y="4"/>
                  <a:pt x="3" y="4"/>
                  <a:pt x="3" y="4"/>
                </a:cubicBezTo>
                <a:cubicBezTo>
                  <a:pt x="3" y="4"/>
                  <a:pt x="3" y="4"/>
                  <a:pt x="3" y="4"/>
                </a:cubicBezTo>
                <a:cubicBezTo>
                  <a:pt x="3" y="4"/>
                  <a:pt x="3" y="4"/>
                  <a:pt x="3" y="4"/>
                </a:cubicBezTo>
                <a:cubicBezTo>
                  <a:pt x="3" y="4"/>
                  <a:pt x="3" y="4"/>
                  <a:pt x="3" y="4"/>
                </a:cubicBezTo>
                <a:cubicBezTo>
                  <a:pt x="4" y="4"/>
                  <a:pt x="4" y="4"/>
                  <a:pt x="4" y="4"/>
                </a:cubicBezTo>
                <a:cubicBezTo>
                  <a:pt x="5" y="4"/>
                  <a:pt x="6" y="3"/>
                  <a:pt x="6" y="3"/>
                </a:cubicBezTo>
                <a:cubicBezTo>
                  <a:pt x="6" y="3"/>
                  <a:pt x="6" y="3"/>
                  <a:pt x="6" y="3"/>
                </a:cubicBezTo>
                <a:cubicBezTo>
                  <a:pt x="6" y="2"/>
                  <a:pt x="6" y="2"/>
                  <a:pt x="6" y="2"/>
                </a:cubicBezTo>
                <a:cubicBezTo>
                  <a:pt x="6" y="2"/>
                  <a:pt x="5" y="1"/>
                  <a:pt x="5" y="1"/>
                </a:cubicBezTo>
                <a:cubicBezTo>
                  <a:pt x="5" y="1"/>
                  <a:pt x="5" y="1"/>
                  <a:pt x="5" y="0"/>
                </a:cubicBezTo>
                <a:cubicBezTo>
                  <a:pt x="5" y="0"/>
                  <a:pt x="5" y="0"/>
                  <a:pt x="5" y="0"/>
                </a:cubicBezTo>
                <a:cubicBezTo>
                  <a:pt x="5" y="0"/>
                  <a:pt x="5" y="0"/>
                  <a:pt x="5" y="0"/>
                </a:cubicBezTo>
                <a:cubicBezTo>
                  <a:pt x="3" y="0"/>
                  <a:pt x="1" y="1"/>
                  <a:pt x="1" y="1"/>
                </a:cubicBezTo>
                <a:cubicBezTo>
                  <a:pt x="1" y="1"/>
                  <a:pt x="1" y="1"/>
                  <a:pt x="1" y="1"/>
                </a:cubicBezTo>
                <a:cubicBezTo>
                  <a:pt x="1" y="2"/>
                  <a:pt x="0" y="3"/>
                  <a:pt x="1" y="3"/>
                </a:cubicBezTo>
                <a:cubicBezTo>
                  <a:pt x="1" y="4"/>
                  <a:pt x="1"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316"/>
          <p:cNvSpPr>
            <a:spLocks/>
          </p:cNvSpPr>
          <p:nvPr/>
        </p:nvSpPr>
        <p:spPr bwMode="auto">
          <a:xfrm>
            <a:off x="2433906" y="2656926"/>
            <a:ext cx="193042" cy="110820"/>
          </a:xfrm>
          <a:custGeom>
            <a:avLst/>
            <a:gdLst>
              <a:gd name="T0" fmla="*/ 37 w 40"/>
              <a:gd name="T1" fmla="*/ 13 h 23"/>
              <a:gd name="T2" fmla="*/ 39 w 40"/>
              <a:gd name="T3" fmla="*/ 12 h 23"/>
              <a:gd name="T4" fmla="*/ 40 w 40"/>
              <a:gd name="T5" fmla="*/ 10 h 23"/>
              <a:gd name="T6" fmla="*/ 40 w 40"/>
              <a:gd name="T7" fmla="*/ 9 h 23"/>
              <a:gd name="T8" fmla="*/ 37 w 40"/>
              <a:gd name="T9" fmla="*/ 8 h 23"/>
              <a:gd name="T10" fmla="*/ 34 w 40"/>
              <a:gd name="T11" fmla="*/ 6 h 23"/>
              <a:gd name="T12" fmla="*/ 31 w 40"/>
              <a:gd name="T13" fmla="*/ 6 h 23"/>
              <a:gd name="T14" fmla="*/ 30 w 40"/>
              <a:gd name="T15" fmla="*/ 5 h 23"/>
              <a:gd name="T16" fmla="*/ 27 w 40"/>
              <a:gd name="T17" fmla="*/ 3 h 23"/>
              <a:gd name="T18" fmla="*/ 26 w 40"/>
              <a:gd name="T19" fmla="*/ 0 h 23"/>
              <a:gd name="T20" fmla="*/ 23 w 40"/>
              <a:gd name="T21" fmla="*/ 0 h 23"/>
              <a:gd name="T22" fmla="*/ 21 w 40"/>
              <a:gd name="T23" fmla="*/ 0 h 23"/>
              <a:gd name="T24" fmla="*/ 18 w 40"/>
              <a:gd name="T25" fmla="*/ 2 h 23"/>
              <a:gd name="T26" fmla="*/ 16 w 40"/>
              <a:gd name="T27" fmla="*/ 3 h 23"/>
              <a:gd name="T28" fmla="*/ 13 w 40"/>
              <a:gd name="T29" fmla="*/ 2 h 23"/>
              <a:gd name="T30" fmla="*/ 10 w 40"/>
              <a:gd name="T31" fmla="*/ 2 h 23"/>
              <a:gd name="T32" fmla="*/ 4 w 40"/>
              <a:gd name="T33" fmla="*/ 2 h 23"/>
              <a:gd name="T34" fmla="*/ 3 w 40"/>
              <a:gd name="T35" fmla="*/ 3 h 23"/>
              <a:gd name="T36" fmla="*/ 3 w 40"/>
              <a:gd name="T37" fmla="*/ 6 h 23"/>
              <a:gd name="T38" fmla="*/ 1 w 40"/>
              <a:gd name="T39" fmla="*/ 10 h 23"/>
              <a:gd name="T40" fmla="*/ 1 w 40"/>
              <a:gd name="T41" fmla="*/ 12 h 23"/>
              <a:gd name="T42" fmla="*/ 3 w 40"/>
              <a:gd name="T43" fmla="*/ 12 h 23"/>
              <a:gd name="T44" fmla="*/ 6 w 40"/>
              <a:gd name="T45" fmla="*/ 13 h 23"/>
              <a:gd name="T46" fmla="*/ 8 w 40"/>
              <a:gd name="T47" fmla="*/ 13 h 23"/>
              <a:gd name="T48" fmla="*/ 12 w 40"/>
              <a:gd name="T49" fmla="*/ 11 h 23"/>
              <a:gd name="T50" fmla="*/ 15 w 40"/>
              <a:gd name="T51" fmla="*/ 13 h 23"/>
              <a:gd name="T52" fmla="*/ 17 w 40"/>
              <a:gd name="T53" fmla="*/ 17 h 23"/>
              <a:gd name="T54" fmla="*/ 15 w 40"/>
              <a:gd name="T55" fmla="*/ 18 h 23"/>
              <a:gd name="T56" fmla="*/ 15 w 40"/>
              <a:gd name="T57" fmla="*/ 20 h 23"/>
              <a:gd name="T58" fmla="*/ 17 w 40"/>
              <a:gd name="T59" fmla="*/ 20 h 23"/>
              <a:gd name="T60" fmla="*/ 19 w 40"/>
              <a:gd name="T61" fmla="*/ 17 h 23"/>
              <a:gd name="T62" fmla="*/ 22 w 40"/>
              <a:gd name="T63" fmla="*/ 18 h 23"/>
              <a:gd name="T64" fmla="*/ 23 w 40"/>
              <a:gd name="T65" fmla="*/ 20 h 23"/>
              <a:gd name="T66" fmla="*/ 25 w 40"/>
              <a:gd name="T67" fmla="*/ 22 h 23"/>
              <a:gd name="T68" fmla="*/ 29 w 40"/>
              <a:gd name="T69" fmla="*/ 21 h 23"/>
              <a:gd name="T70" fmla="*/ 30 w 40"/>
              <a:gd name="T71" fmla="*/ 20 h 23"/>
              <a:gd name="T72" fmla="*/ 31 w 40"/>
              <a:gd name="T73" fmla="*/ 17 h 23"/>
              <a:gd name="T74" fmla="*/ 35 w 40"/>
              <a:gd name="T75"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3">
                <a:moveTo>
                  <a:pt x="35" y="14"/>
                </a:moveTo>
                <a:cubicBezTo>
                  <a:pt x="36" y="14"/>
                  <a:pt x="37" y="13"/>
                  <a:pt x="37" y="13"/>
                </a:cubicBezTo>
                <a:cubicBezTo>
                  <a:pt x="37" y="13"/>
                  <a:pt x="39" y="13"/>
                  <a:pt x="39" y="13"/>
                </a:cubicBezTo>
                <a:cubicBezTo>
                  <a:pt x="39" y="13"/>
                  <a:pt x="39" y="12"/>
                  <a:pt x="39" y="12"/>
                </a:cubicBezTo>
                <a:cubicBezTo>
                  <a:pt x="39" y="11"/>
                  <a:pt x="39" y="11"/>
                  <a:pt x="39" y="11"/>
                </a:cubicBezTo>
                <a:cubicBezTo>
                  <a:pt x="39" y="11"/>
                  <a:pt x="40" y="11"/>
                  <a:pt x="40" y="10"/>
                </a:cubicBezTo>
                <a:cubicBezTo>
                  <a:pt x="40" y="10"/>
                  <a:pt x="39" y="10"/>
                  <a:pt x="39" y="10"/>
                </a:cubicBezTo>
                <a:cubicBezTo>
                  <a:pt x="39" y="10"/>
                  <a:pt x="40" y="9"/>
                  <a:pt x="40" y="9"/>
                </a:cubicBezTo>
                <a:cubicBezTo>
                  <a:pt x="40" y="8"/>
                  <a:pt x="39" y="8"/>
                  <a:pt x="38" y="8"/>
                </a:cubicBezTo>
                <a:cubicBezTo>
                  <a:pt x="38" y="8"/>
                  <a:pt x="37" y="8"/>
                  <a:pt x="37" y="8"/>
                </a:cubicBezTo>
                <a:cubicBezTo>
                  <a:pt x="36" y="7"/>
                  <a:pt x="35" y="7"/>
                  <a:pt x="35" y="7"/>
                </a:cubicBezTo>
                <a:cubicBezTo>
                  <a:pt x="35" y="7"/>
                  <a:pt x="34" y="6"/>
                  <a:pt x="34" y="6"/>
                </a:cubicBezTo>
                <a:cubicBezTo>
                  <a:pt x="34" y="6"/>
                  <a:pt x="33" y="6"/>
                  <a:pt x="33" y="6"/>
                </a:cubicBezTo>
                <a:cubicBezTo>
                  <a:pt x="32" y="6"/>
                  <a:pt x="32" y="6"/>
                  <a:pt x="31" y="6"/>
                </a:cubicBezTo>
                <a:cubicBezTo>
                  <a:pt x="31" y="6"/>
                  <a:pt x="31" y="6"/>
                  <a:pt x="30" y="6"/>
                </a:cubicBezTo>
                <a:cubicBezTo>
                  <a:pt x="30" y="6"/>
                  <a:pt x="29" y="6"/>
                  <a:pt x="30" y="5"/>
                </a:cubicBezTo>
                <a:cubicBezTo>
                  <a:pt x="30" y="5"/>
                  <a:pt x="29" y="4"/>
                  <a:pt x="29" y="4"/>
                </a:cubicBezTo>
                <a:cubicBezTo>
                  <a:pt x="28" y="3"/>
                  <a:pt x="27" y="4"/>
                  <a:pt x="27" y="3"/>
                </a:cubicBezTo>
                <a:cubicBezTo>
                  <a:pt x="27" y="3"/>
                  <a:pt x="26" y="2"/>
                  <a:pt x="26" y="2"/>
                </a:cubicBezTo>
                <a:cubicBezTo>
                  <a:pt x="27" y="2"/>
                  <a:pt x="26" y="1"/>
                  <a:pt x="26" y="0"/>
                </a:cubicBezTo>
                <a:cubicBezTo>
                  <a:pt x="26" y="0"/>
                  <a:pt x="25" y="0"/>
                  <a:pt x="24" y="0"/>
                </a:cubicBezTo>
                <a:cubicBezTo>
                  <a:pt x="24" y="0"/>
                  <a:pt x="23" y="0"/>
                  <a:pt x="23" y="0"/>
                </a:cubicBezTo>
                <a:cubicBezTo>
                  <a:pt x="23" y="0"/>
                  <a:pt x="22" y="1"/>
                  <a:pt x="22" y="1"/>
                </a:cubicBezTo>
                <a:cubicBezTo>
                  <a:pt x="22" y="1"/>
                  <a:pt x="21" y="1"/>
                  <a:pt x="21" y="0"/>
                </a:cubicBezTo>
                <a:cubicBezTo>
                  <a:pt x="21" y="1"/>
                  <a:pt x="20" y="1"/>
                  <a:pt x="20" y="1"/>
                </a:cubicBezTo>
                <a:cubicBezTo>
                  <a:pt x="20" y="1"/>
                  <a:pt x="18" y="2"/>
                  <a:pt x="18" y="2"/>
                </a:cubicBezTo>
                <a:cubicBezTo>
                  <a:pt x="18" y="3"/>
                  <a:pt x="18" y="3"/>
                  <a:pt x="18" y="3"/>
                </a:cubicBezTo>
                <a:cubicBezTo>
                  <a:pt x="18" y="3"/>
                  <a:pt x="16" y="3"/>
                  <a:pt x="16" y="3"/>
                </a:cubicBezTo>
                <a:cubicBezTo>
                  <a:pt x="16" y="3"/>
                  <a:pt x="15" y="2"/>
                  <a:pt x="15" y="2"/>
                </a:cubicBezTo>
                <a:cubicBezTo>
                  <a:pt x="14" y="3"/>
                  <a:pt x="13" y="2"/>
                  <a:pt x="13" y="2"/>
                </a:cubicBezTo>
                <a:cubicBezTo>
                  <a:pt x="13" y="2"/>
                  <a:pt x="12" y="2"/>
                  <a:pt x="12" y="2"/>
                </a:cubicBezTo>
                <a:cubicBezTo>
                  <a:pt x="11" y="2"/>
                  <a:pt x="10" y="2"/>
                  <a:pt x="10" y="2"/>
                </a:cubicBezTo>
                <a:cubicBezTo>
                  <a:pt x="9" y="1"/>
                  <a:pt x="7" y="1"/>
                  <a:pt x="6" y="1"/>
                </a:cubicBezTo>
                <a:cubicBezTo>
                  <a:pt x="5" y="1"/>
                  <a:pt x="5" y="2"/>
                  <a:pt x="4" y="2"/>
                </a:cubicBezTo>
                <a:cubicBezTo>
                  <a:pt x="4" y="2"/>
                  <a:pt x="4" y="2"/>
                  <a:pt x="3" y="2"/>
                </a:cubicBezTo>
                <a:cubicBezTo>
                  <a:pt x="3" y="3"/>
                  <a:pt x="3" y="3"/>
                  <a:pt x="3" y="3"/>
                </a:cubicBezTo>
                <a:cubicBezTo>
                  <a:pt x="4" y="3"/>
                  <a:pt x="5" y="5"/>
                  <a:pt x="4" y="5"/>
                </a:cubicBezTo>
                <a:cubicBezTo>
                  <a:pt x="4" y="6"/>
                  <a:pt x="4" y="6"/>
                  <a:pt x="3" y="6"/>
                </a:cubicBezTo>
                <a:cubicBezTo>
                  <a:pt x="3" y="6"/>
                  <a:pt x="1" y="8"/>
                  <a:pt x="1" y="8"/>
                </a:cubicBezTo>
                <a:cubicBezTo>
                  <a:pt x="1" y="8"/>
                  <a:pt x="2" y="9"/>
                  <a:pt x="1" y="10"/>
                </a:cubicBezTo>
                <a:cubicBezTo>
                  <a:pt x="1" y="10"/>
                  <a:pt x="0" y="11"/>
                  <a:pt x="0" y="11"/>
                </a:cubicBezTo>
                <a:cubicBezTo>
                  <a:pt x="0" y="12"/>
                  <a:pt x="1" y="12"/>
                  <a:pt x="1" y="12"/>
                </a:cubicBezTo>
                <a:cubicBezTo>
                  <a:pt x="2" y="12"/>
                  <a:pt x="2" y="12"/>
                  <a:pt x="2" y="13"/>
                </a:cubicBezTo>
                <a:cubicBezTo>
                  <a:pt x="2" y="13"/>
                  <a:pt x="2" y="12"/>
                  <a:pt x="3" y="12"/>
                </a:cubicBezTo>
                <a:cubicBezTo>
                  <a:pt x="3" y="12"/>
                  <a:pt x="4" y="13"/>
                  <a:pt x="5" y="13"/>
                </a:cubicBezTo>
                <a:cubicBezTo>
                  <a:pt x="5" y="13"/>
                  <a:pt x="6" y="13"/>
                  <a:pt x="6" y="13"/>
                </a:cubicBezTo>
                <a:cubicBezTo>
                  <a:pt x="6" y="13"/>
                  <a:pt x="7" y="13"/>
                  <a:pt x="7" y="13"/>
                </a:cubicBezTo>
                <a:cubicBezTo>
                  <a:pt x="7" y="13"/>
                  <a:pt x="8" y="13"/>
                  <a:pt x="8" y="13"/>
                </a:cubicBezTo>
                <a:cubicBezTo>
                  <a:pt x="9" y="13"/>
                  <a:pt x="9" y="13"/>
                  <a:pt x="9" y="12"/>
                </a:cubicBezTo>
                <a:cubicBezTo>
                  <a:pt x="10" y="12"/>
                  <a:pt x="12" y="11"/>
                  <a:pt x="12" y="11"/>
                </a:cubicBezTo>
                <a:cubicBezTo>
                  <a:pt x="13" y="11"/>
                  <a:pt x="13" y="12"/>
                  <a:pt x="14" y="12"/>
                </a:cubicBezTo>
                <a:cubicBezTo>
                  <a:pt x="14" y="12"/>
                  <a:pt x="15" y="13"/>
                  <a:pt x="15" y="13"/>
                </a:cubicBezTo>
                <a:cubicBezTo>
                  <a:pt x="16" y="14"/>
                  <a:pt x="16" y="15"/>
                  <a:pt x="17" y="16"/>
                </a:cubicBezTo>
                <a:cubicBezTo>
                  <a:pt x="17" y="16"/>
                  <a:pt x="17" y="17"/>
                  <a:pt x="17" y="17"/>
                </a:cubicBezTo>
                <a:cubicBezTo>
                  <a:pt x="17" y="17"/>
                  <a:pt x="17" y="17"/>
                  <a:pt x="16" y="17"/>
                </a:cubicBezTo>
                <a:cubicBezTo>
                  <a:pt x="15" y="17"/>
                  <a:pt x="15" y="17"/>
                  <a:pt x="15" y="18"/>
                </a:cubicBezTo>
                <a:cubicBezTo>
                  <a:pt x="15" y="18"/>
                  <a:pt x="14" y="20"/>
                  <a:pt x="14" y="20"/>
                </a:cubicBezTo>
                <a:cubicBezTo>
                  <a:pt x="13" y="20"/>
                  <a:pt x="14" y="20"/>
                  <a:pt x="15" y="20"/>
                </a:cubicBezTo>
                <a:cubicBezTo>
                  <a:pt x="15" y="20"/>
                  <a:pt x="15" y="20"/>
                  <a:pt x="16" y="20"/>
                </a:cubicBezTo>
                <a:cubicBezTo>
                  <a:pt x="16" y="20"/>
                  <a:pt x="16" y="20"/>
                  <a:pt x="17" y="20"/>
                </a:cubicBezTo>
                <a:cubicBezTo>
                  <a:pt x="16" y="19"/>
                  <a:pt x="17" y="19"/>
                  <a:pt x="18" y="19"/>
                </a:cubicBezTo>
                <a:cubicBezTo>
                  <a:pt x="19" y="18"/>
                  <a:pt x="19" y="17"/>
                  <a:pt x="19" y="17"/>
                </a:cubicBezTo>
                <a:cubicBezTo>
                  <a:pt x="20" y="16"/>
                  <a:pt x="21" y="16"/>
                  <a:pt x="22" y="16"/>
                </a:cubicBezTo>
                <a:cubicBezTo>
                  <a:pt x="23" y="16"/>
                  <a:pt x="21" y="17"/>
                  <a:pt x="22" y="18"/>
                </a:cubicBezTo>
                <a:cubicBezTo>
                  <a:pt x="23" y="18"/>
                  <a:pt x="26" y="17"/>
                  <a:pt x="26" y="18"/>
                </a:cubicBezTo>
                <a:cubicBezTo>
                  <a:pt x="26" y="19"/>
                  <a:pt x="23" y="19"/>
                  <a:pt x="23" y="20"/>
                </a:cubicBezTo>
                <a:cubicBezTo>
                  <a:pt x="23" y="20"/>
                  <a:pt x="24" y="20"/>
                  <a:pt x="25" y="21"/>
                </a:cubicBezTo>
                <a:cubicBezTo>
                  <a:pt x="26" y="21"/>
                  <a:pt x="25" y="22"/>
                  <a:pt x="25" y="22"/>
                </a:cubicBezTo>
                <a:cubicBezTo>
                  <a:pt x="25" y="23"/>
                  <a:pt x="26" y="23"/>
                  <a:pt x="27" y="22"/>
                </a:cubicBezTo>
                <a:cubicBezTo>
                  <a:pt x="28" y="22"/>
                  <a:pt x="28" y="22"/>
                  <a:pt x="29" y="21"/>
                </a:cubicBezTo>
                <a:cubicBezTo>
                  <a:pt x="30" y="21"/>
                  <a:pt x="32" y="21"/>
                  <a:pt x="32" y="21"/>
                </a:cubicBezTo>
                <a:cubicBezTo>
                  <a:pt x="32" y="20"/>
                  <a:pt x="31" y="20"/>
                  <a:pt x="30" y="20"/>
                </a:cubicBezTo>
                <a:cubicBezTo>
                  <a:pt x="28" y="20"/>
                  <a:pt x="28" y="19"/>
                  <a:pt x="28" y="18"/>
                </a:cubicBezTo>
                <a:cubicBezTo>
                  <a:pt x="28" y="18"/>
                  <a:pt x="30" y="17"/>
                  <a:pt x="31" y="17"/>
                </a:cubicBezTo>
                <a:cubicBezTo>
                  <a:pt x="32" y="16"/>
                  <a:pt x="33" y="16"/>
                  <a:pt x="34" y="16"/>
                </a:cubicBezTo>
                <a:cubicBezTo>
                  <a:pt x="34" y="16"/>
                  <a:pt x="35" y="15"/>
                  <a:pt x="35" y="15"/>
                </a:cubicBezTo>
                <a:cubicBezTo>
                  <a:pt x="35" y="15"/>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317"/>
          <p:cNvSpPr>
            <a:spLocks/>
          </p:cNvSpPr>
          <p:nvPr/>
        </p:nvSpPr>
        <p:spPr bwMode="auto">
          <a:xfrm>
            <a:off x="2448206" y="2599728"/>
            <a:ext cx="96521" cy="71497"/>
          </a:xfrm>
          <a:custGeom>
            <a:avLst/>
            <a:gdLst>
              <a:gd name="T0" fmla="*/ 19 w 20"/>
              <a:gd name="T1" fmla="*/ 8 h 15"/>
              <a:gd name="T2" fmla="*/ 18 w 20"/>
              <a:gd name="T3" fmla="*/ 6 h 15"/>
              <a:gd name="T4" fmla="*/ 17 w 20"/>
              <a:gd name="T5" fmla="*/ 5 h 15"/>
              <a:gd name="T6" fmla="*/ 16 w 20"/>
              <a:gd name="T7" fmla="*/ 3 h 15"/>
              <a:gd name="T8" fmla="*/ 16 w 20"/>
              <a:gd name="T9" fmla="*/ 2 h 15"/>
              <a:gd name="T10" fmla="*/ 14 w 20"/>
              <a:gd name="T11" fmla="*/ 1 h 15"/>
              <a:gd name="T12" fmla="*/ 13 w 20"/>
              <a:gd name="T13" fmla="*/ 1 h 15"/>
              <a:gd name="T14" fmla="*/ 12 w 20"/>
              <a:gd name="T15" fmla="*/ 1 h 15"/>
              <a:gd name="T16" fmla="*/ 11 w 20"/>
              <a:gd name="T17" fmla="*/ 0 h 15"/>
              <a:gd name="T18" fmla="*/ 11 w 20"/>
              <a:gd name="T19" fmla="*/ 0 h 15"/>
              <a:gd name="T20" fmla="*/ 10 w 20"/>
              <a:gd name="T21" fmla="*/ 1 h 15"/>
              <a:gd name="T22" fmla="*/ 9 w 20"/>
              <a:gd name="T23" fmla="*/ 1 h 15"/>
              <a:gd name="T24" fmla="*/ 8 w 20"/>
              <a:gd name="T25" fmla="*/ 1 h 15"/>
              <a:gd name="T26" fmla="*/ 7 w 20"/>
              <a:gd name="T27" fmla="*/ 3 h 15"/>
              <a:gd name="T28" fmla="*/ 7 w 20"/>
              <a:gd name="T29" fmla="*/ 4 h 15"/>
              <a:gd name="T30" fmla="*/ 6 w 20"/>
              <a:gd name="T31" fmla="*/ 4 h 15"/>
              <a:gd name="T32" fmla="*/ 5 w 20"/>
              <a:gd name="T33" fmla="*/ 5 h 15"/>
              <a:gd name="T34" fmla="*/ 5 w 20"/>
              <a:gd name="T35" fmla="*/ 6 h 15"/>
              <a:gd name="T36" fmla="*/ 3 w 20"/>
              <a:gd name="T37" fmla="*/ 7 h 15"/>
              <a:gd name="T38" fmla="*/ 2 w 20"/>
              <a:gd name="T39" fmla="*/ 7 h 15"/>
              <a:gd name="T40" fmla="*/ 0 w 20"/>
              <a:gd name="T41" fmla="*/ 7 h 15"/>
              <a:gd name="T42" fmla="*/ 0 w 20"/>
              <a:gd name="T43" fmla="*/ 7 h 15"/>
              <a:gd name="T44" fmla="*/ 1 w 20"/>
              <a:gd name="T45" fmla="*/ 9 h 15"/>
              <a:gd name="T46" fmla="*/ 1 w 20"/>
              <a:gd name="T47" fmla="*/ 11 h 15"/>
              <a:gd name="T48" fmla="*/ 0 w 20"/>
              <a:gd name="T49" fmla="*/ 12 h 15"/>
              <a:gd name="T50" fmla="*/ 0 w 20"/>
              <a:gd name="T51" fmla="*/ 13 h 15"/>
              <a:gd name="T52" fmla="*/ 0 w 20"/>
              <a:gd name="T53" fmla="*/ 14 h 15"/>
              <a:gd name="T54" fmla="*/ 1 w 20"/>
              <a:gd name="T55" fmla="*/ 14 h 15"/>
              <a:gd name="T56" fmla="*/ 3 w 20"/>
              <a:gd name="T57" fmla="*/ 13 h 15"/>
              <a:gd name="T58" fmla="*/ 7 w 20"/>
              <a:gd name="T59" fmla="*/ 14 h 15"/>
              <a:gd name="T60" fmla="*/ 9 w 20"/>
              <a:gd name="T61" fmla="*/ 14 h 15"/>
              <a:gd name="T62" fmla="*/ 10 w 20"/>
              <a:gd name="T63" fmla="*/ 14 h 15"/>
              <a:gd name="T64" fmla="*/ 12 w 20"/>
              <a:gd name="T65" fmla="*/ 14 h 15"/>
              <a:gd name="T66" fmla="*/ 13 w 20"/>
              <a:gd name="T67" fmla="*/ 15 h 15"/>
              <a:gd name="T68" fmla="*/ 15 w 20"/>
              <a:gd name="T69" fmla="*/ 15 h 15"/>
              <a:gd name="T70" fmla="*/ 16 w 20"/>
              <a:gd name="T71" fmla="*/ 14 h 15"/>
              <a:gd name="T72" fmla="*/ 17 w 20"/>
              <a:gd name="T73" fmla="*/ 13 h 15"/>
              <a:gd name="T74" fmla="*/ 18 w 20"/>
              <a:gd name="T75" fmla="*/ 12 h 15"/>
              <a:gd name="T76" fmla="*/ 18 w 20"/>
              <a:gd name="T77" fmla="*/ 12 h 15"/>
              <a:gd name="T78" fmla="*/ 18 w 20"/>
              <a:gd name="T79" fmla="*/ 9 h 15"/>
              <a:gd name="T80" fmla="*/ 19 w 20"/>
              <a:gd name="T81" fmla="*/ 10 h 15"/>
              <a:gd name="T82" fmla="*/ 20 w 20"/>
              <a:gd name="T83" fmla="*/ 9 h 15"/>
              <a:gd name="T84" fmla="*/ 19 w 20"/>
              <a:gd name="T8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15">
                <a:moveTo>
                  <a:pt x="19" y="8"/>
                </a:moveTo>
                <a:cubicBezTo>
                  <a:pt x="19" y="7"/>
                  <a:pt x="18" y="7"/>
                  <a:pt x="18" y="6"/>
                </a:cubicBezTo>
                <a:cubicBezTo>
                  <a:pt x="17" y="6"/>
                  <a:pt x="17" y="5"/>
                  <a:pt x="17" y="5"/>
                </a:cubicBezTo>
                <a:cubicBezTo>
                  <a:pt x="16" y="5"/>
                  <a:pt x="17" y="4"/>
                  <a:pt x="16" y="3"/>
                </a:cubicBezTo>
                <a:cubicBezTo>
                  <a:pt x="16" y="3"/>
                  <a:pt x="17" y="2"/>
                  <a:pt x="16" y="2"/>
                </a:cubicBezTo>
                <a:cubicBezTo>
                  <a:pt x="16" y="2"/>
                  <a:pt x="15" y="1"/>
                  <a:pt x="14" y="1"/>
                </a:cubicBezTo>
                <a:cubicBezTo>
                  <a:pt x="14" y="2"/>
                  <a:pt x="13" y="2"/>
                  <a:pt x="13" y="1"/>
                </a:cubicBezTo>
                <a:cubicBezTo>
                  <a:pt x="13" y="1"/>
                  <a:pt x="12" y="1"/>
                  <a:pt x="12" y="1"/>
                </a:cubicBezTo>
                <a:cubicBezTo>
                  <a:pt x="11" y="1"/>
                  <a:pt x="11" y="1"/>
                  <a:pt x="11" y="0"/>
                </a:cubicBezTo>
                <a:cubicBezTo>
                  <a:pt x="11" y="0"/>
                  <a:pt x="11" y="0"/>
                  <a:pt x="11" y="0"/>
                </a:cubicBezTo>
                <a:cubicBezTo>
                  <a:pt x="10" y="0"/>
                  <a:pt x="10" y="0"/>
                  <a:pt x="10" y="1"/>
                </a:cubicBezTo>
                <a:cubicBezTo>
                  <a:pt x="10" y="1"/>
                  <a:pt x="10" y="1"/>
                  <a:pt x="9" y="1"/>
                </a:cubicBezTo>
                <a:cubicBezTo>
                  <a:pt x="9" y="1"/>
                  <a:pt x="8" y="1"/>
                  <a:pt x="8" y="1"/>
                </a:cubicBezTo>
                <a:cubicBezTo>
                  <a:pt x="7" y="2"/>
                  <a:pt x="7" y="2"/>
                  <a:pt x="7" y="3"/>
                </a:cubicBezTo>
                <a:cubicBezTo>
                  <a:pt x="7" y="3"/>
                  <a:pt x="7" y="4"/>
                  <a:pt x="7" y="4"/>
                </a:cubicBezTo>
                <a:cubicBezTo>
                  <a:pt x="6" y="4"/>
                  <a:pt x="6" y="4"/>
                  <a:pt x="6" y="4"/>
                </a:cubicBezTo>
                <a:cubicBezTo>
                  <a:pt x="6" y="4"/>
                  <a:pt x="5" y="5"/>
                  <a:pt x="5" y="5"/>
                </a:cubicBezTo>
                <a:cubicBezTo>
                  <a:pt x="5" y="5"/>
                  <a:pt x="5" y="6"/>
                  <a:pt x="5" y="6"/>
                </a:cubicBezTo>
                <a:cubicBezTo>
                  <a:pt x="4" y="6"/>
                  <a:pt x="3" y="6"/>
                  <a:pt x="3" y="7"/>
                </a:cubicBezTo>
                <a:cubicBezTo>
                  <a:pt x="3" y="7"/>
                  <a:pt x="3" y="7"/>
                  <a:pt x="2" y="7"/>
                </a:cubicBezTo>
                <a:cubicBezTo>
                  <a:pt x="2" y="7"/>
                  <a:pt x="1" y="7"/>
                  <a:pt x="0" y="7"/>
                </a:cubicBezTo>
                <a:cubicBezTo>
                  <a:pt x="0" y="7"/>
                  <a:pt x="0" y="7"/>
                  <a:pt x="0" y="7"/>
                </a:cubicBezTo>
                <a:cubicBezTo>
                  <a:pt x="0" y="8"/>
                  <a:pt x="0" y="9"/>
                  <a:pt x="1" y="9"/>
                </a:cubicBezTo>
                <a:cubicBezTo>
                  <a:pt x="1" y="9"/>
                  <a:pt x="1" y="11"/>
                  <a:pt x="1" y="11"/>
                </a:cubicBezTo>
                <a:cubicBezTo>
                  <a:pt x="0" y="11"/>
                  <a:pt x="0" y="12"/>
                  <a:pt x="0" y="12"/>
                </a:cubicBezTo>
                <a:cubicBezTo>
                  <a:pt x="0" y="12"/>
                  <a:pt x="0" y="13"/>
                  <a:pt x="0" y="13"/>
                </a:cubicBezTo>
                <a:cubicBezTo>
                  <a:pt x="0" y="13"/>
                  <a:pt x="0" y="14"/>
                  <a:pt x="0" y="14"/>
                </a:cubicBezTo>
                <a:cubicBezTo>
                  <a:pt x="1" y="14"/>
                  <a:pt x="1" y="14"/>
                  <a:pt x="1" y="14"/>
                </a:cubicBezTo>
                <a:cubicBezTo>
                  <a:pt x="2" y="14"/>
                  <a:pt x="2" y="13"/>
                  <a:pt x="3" y="13"/>
                </a:cubicBezTo>
                <a:cubicBezTo>
                  <a:pt x="4" y="13"/>
                  <a:pt x="6" y="13"/>
                  <a:pt x="7" y="14"/>
                </a:cubicBezTo>
                <a:cubicBezTo>
                  <a:pt x="7" y="14"/>
                  <a:pt x="8" y="14"/>
                  <a:pt x="9" y="14"/>
                </a:cubicBezTo>
                <a:cubicBezTo>
                  <a:pt x="9" y="14"/>
                  <a:pt x="10" y="14"/>
                  <a:pt x="10" y="14"/>
                </a:cubicBezTo>
                <a:cubicBezTo>
                  <a:pt x="10" y="14"/>
                  <a:pt x="11" y="15"/>
                  <a:pt x="12" y="14"/>
                </a:cubicBezTo>
                <a:cubicBezTo>
                  <a:pt x="12" y="14"/>
                  <a:pt x="13" y="15"/>
                  <a:pt x="13" y="15"/>
                </a:cubicBezTo>
                <a:cubicBezTo>
                  <a:pt x="13" y="15"/>
                  <a:pt x="15" y="15"/>
                  <a:pt x="15" y="15"/>
                </a:cubicBezTo>
                <a:cubicBezTo>
                  <a:pt x="15" y="15"/>
                  <a:pt x="16" y="15"/>
                  <a:pt x="16" y="14"/>
                </a:cubicBezTo>
                <a:cubicBezTo>
                  <a:pt x="16" y="14"/>
                  <a:pt x="17" y="13"/>
                  <a:pt x="17" y="13"/>
                </a:cubicBezTo>
                <a:cubicBezTo>
                  <a:pt x="17" y="13"/>
                  <a:pt x="18" y="13"/>
                  <a:pt x="18" y="12"/>
                </a:cubicBezTo>
                <a:cubicBezTo>
                  <a:pt x="18" y="12"/>
                  <a:pt x="18" y="12"/>
                  <a:pt x="18" y="12"/>
                </a:cubicBezTo>
                <a:cubicBezTo>
                  <a:pt x="18" y="10"/>
                  <a:pt x="17" y="10"/>
                  <a:pt x="18" y="9"/>
                </a:cubicBezTo>
                <a:cubicBezTo>
                  <a:pt x="18" y="9"/>
                  <a:pt x="19" y="10"/>
                  <a:pt x="19" y="10"/>
                </a:cubicBezTo>
                <a:cubicBezTo>
                  <a:pt x="20" y="10"/>
                  <a:pt x="20" y="9"/>
                  <a:pt x="20" y="9"/>
                </a:cubicBezTo>
                <a:cubicBezTo>
                  <a:pt x="20" y="8"/>
                  <a:pt x="19" y="8"/>
                  <a:pt x="19"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318"/>
          <p:cNvSpPr>
            <a:spLocks/>
          </p:cNvSpPr>
          <p:nvPr/>
        </p:nvSpPr>
        <p:spPr bwMode="auto">
          <a:xfrm>
            <a:off x="2419607" y="2571130"/>
            <a:ext cx="78647" cy="39323"/>
          </a:xfrm>
          <a:custGeom>
            <a:avLst/>
            <a:gdLst>
              <a:gd name="T0" fmla="*/ 6 w 17"/>
              <a:gd name="T1" fmla="*/ 6 h 8"/>
              <a:gd name="T2" fmla="*/ 9 w 17"/>
              <a:gd name="T3" fmla="*/ 6 h 8"/>
              <a:gd name="T4" fmla="*/ 10 w 17"/>
              <a:gd name="T5" fmla="*/ 6 h 8"/>
              <a:gd name="T6" fmla="*/ 12 w 17"/>
              <a:gd name="T7" fmla="*/ 7 h 8"/>
              <a:gd name="T8" fmla="*/ 13 w 17"/>
              <a:gd name="T9" fmla="*/ 8 h 8"/>
              <a:gd name="T10" fmla="*/ 14 w 17"/>
              <a:gd name="T11" fmla="*/ 7 h 8"/>
              <a:gd name="T12" fmla="*/ 15 w 17"/>
              <a:gd name="T13" fmla="*/ 7 h 8"/>
              <a:gd name="T14" fmla="*/ 16 w 17"/>
              <a:gd name="T15" fmla="*/ 7 h 8"/>
              <a:gd name="T16" fmla="*/ 17 w 17"/>
              <a:gd name="T17" fmla="*/ 6 h 8"/>
              <a:gd name="T18" fmla="*/ 16 w 17"/>
              <a:gd name="T19" fmla="*/ 5 h 8"/>
              <a:gd name="T20" fmla="*/ 15 w 17"/>
              <a:gd name="T21" fmla="*/ 4 h 8"/>
              <a:gd name="T22" fmla="*/ 15 w 17"/>
              <a:gd name="T23" fmla="*/ 2 h 8"/>
              <a:gd name="T24" fmla="*/ 15 w 17"/>
              <a:gd name="T25" fmla="*/ 2 h 8"/>
              <a:gd name="T26" fmla="*/ 13 w 17"/>
              <a:gd name="T27" fmla="*/ 2 h 8"/>
              <a:gd name="T28" fmla="*/ 11 w 17"/>
              <a:gd name="T29" fmla="*/ 0 h 8"/>
              <a:gd name="T30" fmla="*/ 8 w 17"/>
              <a:gd name="T31" fmla="*/ 0 h 8"/>
              <a:gd name="T32" fmla="*/ 8 w 17"/>
              <a:gd name="T33" fmla="*/ 3 h 8"/>
              <a:gd name="T34" fmla="*/ 6 w 17"/>
              <a:gd name="T35" fmla="*/ 3 h 8"/>
              <a:gd name="T36" fmla="*/ 4 w 17"/>
              <a:gd name="T37" fmla="*/ 1 h 8"/>
              <a:gd name="T38" fmla="*/ 2 w 17"/>
              <a:gd name="T39" fmla="*/ 2 h 8"/>
              <a:gd name="T40" fmla="*/ 1 w 17"/>
              <a:gd name="T41" fmla="*/ 4 h 8"/>
              <a:gd name="T42" fmla="*/ 1 w 17"/>
              <a:gd name="T43" fmla="*/ 6 h 8"/>
              <a:gd name="T44" fmla="*/ 1 w 17"/>
              <a:gd name="T45" fmla="*/ 6 h 8"/>
              <a:gd name="T46" fmla="*/ 3 w 17"/>
              <a:gd name="T47" fmla="*/ 6 h 8"/>
              <a:gd name="T48" fmla="*/ 6 w 17"/>
              <a:gd name="T4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8">
                <a:moveTo>
                  <a:pt x="6" y="6"/>
                </a:moveTo>
                <a:cubicBezTo>
                  <a:pt x="6" y="6"/>
                  <a:pt x="8" y="6"/>
                  <a:pt x="9" y="6"/>
                </a:cubicBezTo>
                <a:cubicBezTo>
                  <a:pt x="9" y="5"/>
                  <a:pt x="9" y="6"/>
                  <a:pt x="10" y="6"/>
                </a:cubicBezTo>
                <a:cubicBezTo>
                  <a:pt x="10" y="6"/>
                  <a:pt x="11" y="7"/>
                  <a:pt x="12" y="7"/>
                </a:cubicBezTo>
                <a:cubicBezTo>
                  <a:pt x="12" y="8"/>
                  <a:pt x="13" y="8"/>
                  <a:pt x="13" y="8"/>
                </a:cubicBezTo>
                <a:cubicBezTo>
                  <a:pt x="13" y="8"/>
                  <a:pt x="13" y="8"/>
                  <a:pt x="14" y="7"/>
                </a:cubicBezTo>
                <a:cubicBezTo>
                  <a:pt x="14" y="7"/>
                  <a:pt x="15" y="7"/>
                  <a:pt x="15" y="7"/>
                </a:cubicBezTo>
                <a:cubicBezTo>
                  <a:pt x="16" y="7"/>
                  <a:pt x="16" y="7"/>
                  <a:pt x="16" y="7"/>
                </a:cubicBezTo>
                <a:cubicBezTo>
                  <a:pt x="16" y="6"/>
                  <a:pt x="16" y="6"/>
                  <a:pt x="17" y="6"/>
                </a:cubicBezTo>
                <a:cubicBezTo>
                  <a:pt x="16" y="6"/>
                  <a:pt x="16" y="5"/>
                  <a:pt x="16" y="5"/>
                </a:cubicBezTo>
                <a:cubicBezTo>
                  <a:pt x="16" y="5"/>
                  <a:pt x="15" y="4"/>
                  <a:pt x="15" y="4"/>
                </a:cubicBezTo>
                <a:cubicBezTo>
                  <a:pt x="16" y="3"/>
                  <a:pt x="16" y="3"/>
                  <a:pt x="15" y="2"/>
                </a:cubicBezTo>
                <a:cubicBezTo>
                  <a:pt x="15" y="2"/>
                  <a:pt x="15" y="2"/>
                  <a:pt x="15" y="2"/>
                </a:cubicBezTo>
                <a:cubicBezTo>
                  <a:pt x="14" y="2"/>
                  <a:pt x="13" y="2"/>
                  <a:pt x="13" y="2"/>
                </a:cubicBezTo>
                <a:cubicBezTo>
                  <a:pt x="12" y="2"/>
                  <a:pt x="11" y="1"/>
                  <a:pt x="11" y="0"/>
                </a:cubicBezTo>
                <a:cubicBezTo>
                  <a:pt x="10" y="0"/>
                  <a:pt x="9" y="0"/>
                  <a:pt x="8" y="0"/>
                </a:cubicBezTo>
                <a:cubicBezTo>
                  <a:pt x="8" y="1"/>
                  <a:pt x="8" y="2"/>
                  <a:pt x="8" y="3"/>
                </a:cubicBezTo>
                <a:cubicBezTo>
                  <a:pt x="8" y="4"/>
                  <a:pt x="7" y="3"/>
                  <a:pt x="6" y="3"/>
                </a:cubicBezTo>
                <a:cubicBezTo>
                  <a:pt x="6" y="3"/>
                  <a:pt x="5" y="2"/>
                  <a:pt x="4" y="1"/>
                </a:cubicBezTo>
                <a:cubicBezTo>
                  <a:pt x="4" y="1"/>
                  <a:pt x="3" y="2"/>
                  <a:pt x="2" y="2"/>
                </a:cubicBezTo>
                <a:cubicBezTo>
                  <a:pt x="1" y="3"/>
                  <a:pt x="2" y="3"/>
                  <a:pt x="1" y="4"/>
                </a:cubicBezTo>
                <a:cubicBezTo>
                  <a:pt x="1" y="4"/>
                  <a:pt x="0" y="5"/>
                  <a:pt x="1" y="6"/>
                </a:cubicBezTo>
                <a:cubicBezTo>
                  <a:pt x="1" y="6"/>
                  <a:pt x="1" y="6"/>
                  <a:pt x="1" y="6"/>
                </a:cubicBezTo>
                <a:cubicBezTo>
                  <a:pt x="2" y="6"/>
                  <a:pt x="2" y="6"/>
                  <a:pt x="3" y="6"/>
                </a:cubicBezTo>
                <a:cubicBezTo>
                  <a:pt x="3" y="5"/>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319"/>
          <p:cNvSpPr>
            <a:spLocks/>
          </p:cNvSpPr>
          <p:nvPr/>
        </p:nvSpPr>
        <p:spPr bwMode="auto">
          <a:xfrm>
            <a:off x="2419607" y="2596154"/>
            <a:ext cx="60772" cy="39323"/>
          </a:xfrm>
          <a:custGeom>
            <a:avLst/>
            <a:gdLst>
              <a:gd name="T0" fmla="*/ 2 w 13"/>
              <a:gd name="T1" fmla="*/ 4 h 8"/>
              <a:gd name="T2" fmla="*/ 3 w 13"/>
              <a:gd name="T3" fmla="*/ 5 h 8"/>
              <a:gd name="T4" fmla="*/ 5 w 13"/>
              <a:gd name="T5" fmla="*/ 5 h 8"/>
              <a:gd name="T6" fmla="*/ 5 w 13"/>
              <a:gd name="T7" fmla="*/ 7 h 8"/>
              <a:gd name="T8" fmla="*/ 6 w 13"/>
              <a:gd name="T9" fmla="*/ 8 h 8"/>
              <a:gd name="T10" fmla="*/ 8 w 13"/>
              <a:gd name="T11" fmla="*/ 8 h 8"/>
              <a:gd name="T12" fmla="*/ 9 w 13"/>
              <a:gd name="T13" fmla="*/ 8 h 8"/>
              <a:gd name="T14" fmla="*/ 11 w 13"/>
              <a:gd name="T15" fmla="*/ 7 h 8"/>
              <a:gd name="T16" fmla="*/ 11 w 13"/>
              <a:gd name="T17" fmla="*/ 6 h 8"/>
              <a:gd name="T18" fmla="*/ 12 w 13"/>
              <a:gd name="T19" fmla="*/ 5 h 8"/>
              <a:gd name="T20" fmla="*/ 13 w 13"/>
              <a:gd name="T21" fmla="*/ 5 h 8"/>
              <a:gd name="T22" fmla="*/ 13 w 13"/>
              <a:gd name="T23" fmla="*/ 4 h 8"/>
              <a:gd name="T24" fmla="*/ 13 w 13"/>
              <a:gd name="T25" fmla="*/ 3 h 8"/>
              <a:gd name="T26" fmla="*/ 12 w 13"/>
              <a:gd name="T27" fmla="*/ 2 h 8"/>
              <a:gd name="T28" fmla="*/ 10 w 13"/>
              <a:gd name="T29" fmla="*/ 1 h 8"/>
              <a:gd name="T30" fmla="*/ 9 w 13"/>
              <a:gd name="T31" fmla="*/ 1 h 8"/>
              <a:gd name="T32" fmla="*/ 6 w 13"/>
              <a:gd name="T33" fmla="*/ 1 h 8"/>
              <a:gd name="T34" fmla="*/ 3 w 13"/>
              <a:gd name="T35" fmla="*/ 1 h 8"/>
              <a:gd name="T36" fmla="*/ 1 w 13"/>
              <a:gd name="T37" fmla="*/ 1 h 8"/>
              <a:gd name="T38" fmla="*/ 1 w 13"/>
              <a:gd name="T39" fmla="*/ 3 h 8"/>
              <a:gd name="T40" fmla="*/ 1 w 13"/>
              <a:gd name="T41" fmla="*/ 4 h 8"/>
              <a:gd name="T42" fmla="*/ 2 w 13"/>
              <a:gd name="T4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8">
                <a:moveTo>
                  <a:pt x="2" y="4"/>
                </a:moveTo>
                <a:cubicBezTo>
                  <a:pt x="2" y="5"/>
                  <a:pt x="3" y="5"/>
                  <a:pt x="3" y="5"/>
                </a:cubicBezTo>
                <a:cubicBezTo>
                  <a:pt x="4" y="5"/>
                  <a:pt x="5" y="5"/>
                  <a:pt x="5" y="5"/>
                </a:cubicBezTo>
                <a:cubicBezTo>
                  <a:pt x="5" y="6"/>
                  <a:pt x="4" y="7"/>
                  <a:pt x="5" y="7"/>
                </a:cubicBezTo>
                <a:cubicBezTo>
                  <a:pt x="5" y="7"/>
                  <a:pt x="6" y="7"/>
                  <a:pt x="6" y="8"/>
                </a:cubicBezTo>
                <a:cubicBezTo>
                  <a:pt x="7" y="8"/>
                  <a:pt x="8" y="8"/>
                  <a:pt x="8" y="8"/>
                </a:cubicBezTo>
                <a:cubicBezTo>
                  <a:pt x="9" y="8"/>
                  <a:pt x="9" y="8"/>
                  <a:pt x="9" y="8"/>
                </a:cubicBezTo>
                <a:cubicBezTo>
                  <a:pt x="9" y="7"/>
                  <a:pt x="10" y="7"/>
                  <a:pt x="11" y="7"/>
                </a:cubicBezTo>
                <a:cubicBezTo>
                  <a:pt x="11" y="7"/>
                  <a:pt x="11" y="6"/>
                  <a:pt x="11" y="6"/>
                </a:cubicBezTo>
                <a:cubicBezTo>
                  <a:pt x="11" y="6"/>
                  <a:pt x="12" y="5"/>
                  <a:pt x="12" y="5"/>
                </a:cubicBezTo>
                <a:cubicBezTo>
                  <a:pt x="12" y="5"/>
                  <a:pt x="12" y="5"/>
                  <a:pt x="13" y="5"/>
                </a:cubicBezTo>
                <a:cubicBezTo>
                  <a:pt x="13" y="5"/>
                  <a:pt x="13" y="4"/>
                  <a:pt x="13" y="4"/>
                </a:cubicBezTo>
                <a:cubicBezTo>
                  <a:pt x="13" y="3"/>
                  <a:pt x="13" y="3"/>
                  <a:pt x="13" y="3"/>
                </a:cubicBezTo>
                <a:cubicBezTo>
                  <a:pt x="13" y="3"/>
                  <a:pt x="12" y="3"/>
                  <a:pt x="12" y="2"/>
                </a:cubicBezTo>
                <a:cubicBezTo>
                  <a:pt x="11" y="2"/>
                  <a:pt x="10" y="1"/>
                  <a:pt x="10" y="1"/>
                </a:cubicBezTo>
                <a:cubicBezTo>
                  <a:pt x="9" y="1"/>
                  <a:pt x="9" y="0"/>
                  <a:pt x="9" y="1"/>
                </a:cubicBezTo>
                <a:cubicBezTo>
                  <a:pt x="8" y="1"/>
                  <a:pt x="6" y="1"/>
                  <a:pt x="6" y="1"/>
                </a:cubicBezTo>
                <a:cubicBezTo>
                  <a:pt x="5" y="1"/>
                  <a:pt x="3" y="0"/>
                  <a:pt x="3" y="1"/>
                </a:cubicBezTo>
                <a:cubicBezTo>
                  <a:pt x="2" y="1"/>
                  <a:pt x="2" y="1"/>
                  <a:pt x="1" y="1"/>
                </a:cubicBezTo>
                <a:cubicBezTo>
                  <a:pt x="1" y="2"/>
                  <a:pt x="1" y="3"/>
                  <a:pt x="1" y="3"/>
                </a:cubicBezTo>
                <a:cubicBezTo>
                  <a:pt x="0" y="4"/>
                  <a:pt x="1" y="4"/>
                  <a:pt x="1" y="4"/>
                </a:cubicBezTo>
                <a:cubicBezTo>
                  <a:pt x="1" y="4"/>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320"/>
          <p:cNvSpPr>
            <a:spLocks/>
          </p:cNvSpPr>
          <p:nvPr/>
        </p:nvSpPr>
        <p:spPr bwMode="auto">
          <a:xfrm>
            <a:off x="2269463" y="2724848"/>
            <a:ext cx="46473" cy="25024"/>
          </a:xfrm>
          <a:custGeom>
            <a:avLst/>
            <a:gdLst>
              <a:gd name="T0" fmla="*/ 9 w 10"/>
              <a:gd name="T1" fmla="*/ 2 h 5"/>
              <a:gd name="T2" fmla="*/ 7 w 10"/>
              <a:gd name="T3" fmla="*/ 1 h 5"/>
              <a:gd name="T4" fmla="*/ 7 w 10"/>
              <a:gd name="T5" fmla="*/ 0 h 5"/>
              <a:gd name="T6" fmla="*/ 6 w 10"/>
              <a:gd name="T7" fmla="*/ 0 h 5"/>
              <a:gd name="T8" fmla="*/ 5 w 10"/>
              <a:gd name="T9" fmla="*/ 0 h 5"/>
              <a:gd name="T10" fmla="*/ 3 w 10"/>
              <a:gd name="T11" fmla="*/ 0 h 5"/>
              <a:gd name="T12" fmla="*/ 3 w 10"/>
              <a:gd name="T13" fmla="*/ 0 h 5"/>
              <a:gd name="T14" fmla="*/ 1 w 10"/>
              <a:gd name="T15" fmla="*/ 1 h 5"/>
              <a:gd name="T16" fmla="*/ 0 w 10"/>
              <a:gd name="T17" fmla="*/ 3 h 5"/>
              <a:gd name="T18" fmla="*/ 0 w 10"/>
              <a:gd name="T19" fmla="*/ 4 h 5"/>
              <a:gd name="T20" fmla="*/ 1 w 10"/>
              <a:gd name="T21" fmla="*/ 4 h 5"/>
              <a:gd name="T22" fmla="*/ 2 w 10"/>
              <a:gd name="T23" fmla="*/ 5 h 5"/>
              <a:gd name="T24" fmla="*/ 2 w 10"/>
              <a:gd name="T25" fmla="*/ 5 h 5"/>
              <a:gd name="T26" fmla="*/ 4 w 10"/>
              <a:gd name="T27" fmla="*/ 5 h 5"/>
              <a:gd name="T28" fmla="*/ 5 w 10"/>
              <a:gd name="T29" fmla="*/ 3 h 5"/>
              <a:gd name="T30" fmla="*/ 6 w 10"/>
              <a:gd name="T31" fmla="*/ 5 h 5"/>
              <a:gd name="T32" fmla="*/ 6 w 10"/>
              <a:gd name="T33" fmla="*/ 4 h 5"/>
              <a:gd name="T34" fmla="*/ 7 w 10"/>
              <a:gd name="T35" fmla="*/ 4 h 5"/>
              <a:gd name="T36" fmla="*/ 8 w 10"/>
              <a:gd name="T37" fmla="*/ 3 h 5"/>
              <a:gd name="T38" fmla="*/ 9 w 10"/>
              <a:gd name="T39" fmla="*/ 3 h 5"/>
              <a:gd name="T40" fmla="*/ 9 w 10"/>
              <a:gd name="T41" fmla="*/ 2 h 5"/>
              <a:gd name="T42" fmla="*/ 10 w 10"/>
              <a:gd name="T43" fmla="*/ 2 h 5"/>
              <a:gd name="T44" fmla="*/ 9 w 10"/>
              <a:gd name="T4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5">
                <a:moveTo>
                  <a:pt x="9" y="2"/>
                </a:moveTo>
                <a:cubicBezTo>
                  <a:pt x="8" y="2"/>
                  <a:pt x="7" y="2"/>
                  <a:pt x="7" y="1"/>
                </a:cubicBezTo>
                <a:cubicBezTo>
                  <a:pt x="7" y="1"/>
                  <a:pt x="7" y="1"/>
                  <a:pt x="7" y="0"/>
                </a:cubicBezTo>
                <a:cubicBezTo>
                  <a:pt x="7" y="0"/>
                  <a:pt x="7" y="0"/>
                  <a:pt x="6" y="0"/>
                </a:cubicBezTo>
                <a:cubicBezTo>
                  <a:pt x="6" y="0"/>
                  <a:pt x="5" y="0"/>
                  <a:pt x="5" y="0"/>
                </a:cubicBezTo>
                <a:cubicBezTo>
                  <a:pt x="4" y="0"/>
                  <a:pt x="3" y="0"/>
                  <a:pt x="3" y="0"/>
                </a:cubicBezTo>
                <a:cubicBezTo>
                  <a:pt x="3" y="0"/>
                  <a:pt x="3" y="0"/>
                  <a:pt x="3" y="0"/>
                </a:cubicBezTo>
                <a:cubicBezTo>
                  <a:pt x="2" y="0"/>
                  <a:pt x="2" y="1"/>
                  <a:pt x="1" y="1"/>
                </a:cubicBezTo>
                <a:cubicBezTo>
                  <a:pt x="1" y="2"/>
                  <a:pt x="0" y="2"/>
                  <a:pt x="0" y="3"/>
                </a:cubicBezTo>
                <a:cubicBezTo>
                  <a:pt x="0" y="4"/>
                  <a:pt x="0" y="4"/>
                  <a:pt x="0" y="4"/>
                </a:cubicBezTo>
                <a:cubicBezTo>
                  <a:pt x="1" y="3"/>
                  <a:pt x="1" y="3"/>
                  <a:pt x="1" y="4"/>
                </a:cubicBezTo>
                <a:cubicBezTo>
                  <a:pt x="1" y="4"/>
                  <a:pt x="2" y="4"/>
                  <a:pt x="2" y="5"/>
                </a:cubicBezTo>
                <a:cubicBezTo>
                  <a:pt x="2" y="5"/>
                  <a:pt x="2" y="5"/>
                  <a:pt x="2" y="5"/>
                </a:cubicBezTo>
                <a:cubicBezTo>
                  <a:pt x="2" y="5"/>
                  <a:pt x="3" y="5"/>
                  <a:pt x="4" y="5"/>
                </a:cubicBezTo>
                <a:cubicBezTo>
                  <a:pt x="4" y="5"/>
                  <a:pt x="4" y="3"/>
                  <a:pt x="5" y="3"/>
                </a:cubicBezTo>
                <a:cubicBezTo>
                  <a:pt x="5" y="3"/>
                  <a:pt x="5" y="4"/>
                  <a:pt x="6" y="5"/>
                </a:cubicBezTo>
                <a:cubicBezTo>
                  <a:pt x="6" y="5"/>
                  <a:pt x="6" y="4"/>
                  <a:pt x="6" y="4"/>
                </a:cubicBezTo>
                <a:cubicBezTo>
                  <a:pt x="6" y="4"/>
                  <a:pt x="7" y="3"/>
                  <a:pt x="7" y="4"/>
                </a:cubicBezTo>
                <a:cubicBezTo>
                  <a:pt x="8" y="4"/>
                  <a:pt x="8" y="4"/>
                  <a:pt x="8" y="3"/>
                </a:cubicBezTo>
                <a:cubicBezTo>
                  <a:pt x="8" y="3"/>
                  <a:pt x="9" y="3"/>
                  <a:pt x="9" y="3"/>
                </a:cubicBezTo>
                <a:cubicBezTo>
                  <a:pt x="9" y="3"/>
                  <a:pt x="9" y="2"/>
                  <a:pt x="9" y="2"/>
                </a:cubicBezTo>
                <a:cubicBezTo>
                  <a:pt x="10" y="2"/>
                  <a:pt x="10" y="2"/>
                  <a:pt x="10" y="2"/>
                </a:cubicBezTo>
                <a:cubicBezTo>
                  <a:pt x="9" y="2"/>
                  <a:pt x="9" y="2"/>
                  <a:pt x="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321"/>
          <p:cNvSpPr>
            <a:spLocks/>
          </p:cNvSpPr>
          <p:nvPr/>
        </p:nvSpPr>
        <p:spPr bwMode="auto">
          <a:xfrm>
            <a:off x="2262313" y="2624752"/>
            <a:ext cx="96521" cy="107245"/>
          </a:xfrm>
          <a:custGeom>
            <a:avLst/>
            <a:gdLst>
              <a:gd name="T0" fmla="*/ 3 w 20"/>
              <a:gd name="T1" fmla="*/ 5 h 22"/>
              <a:gd name="T2" fmla="*/ 2 w 20"/>
              <a:gd name="T3" fmla="*/ 6 h 22"/>
              <a:gd name="T4" fmla="*/ 3 w 20"/>
              <a:gd name="T5" fmla="*/ 8 h 22"/>
              <a:gd name="T6" fmla="*/ 2 w 20"/>
              <a:gd name="T7" fmla="*/ 8 h 22"/>
              <a:gd name="T8" fmla="*/ 1 w 20"/>
              <a:gd name="T9" fmla="*/ 9 h 22"/>
              <a:gd name="T10" fmla="*/ 1 w 20"/>
              <a:gd name="T11" fmla="*/ 10 h 22"/>
              <a:gd name="T12" fmla="*/ 1 w 20"/>
              <a:gd name="T13" fmla="*/ 12 h 22"/>
              <a:gd name="T14" fmla="*/ 1 w 20"/>
              <a:gd name="T15" fmla="*/ 13 h 22"/>
              <a:gd name="T16" fmla="*/ 1 w 20"/>
              <a:gd name="T17" fmla="*/ 14 h 22"/>
              <a:gd name="T18" fmla="*/ 1 w 20"/>
              <a:gd name="T19" fmla="*/ 16 h 22"/>
              <a:gd name="T20" fmla="*/ 2 w 20"/>
              <a:gd name="T21" fmla="*/ 16 h 22"/>
              <a:gd name="T22" fmla="*/ 3 w 20"/>
              <a:gd name="T23" fmla="*/ 17 h 22"/>
              <a:gd name="T24" fmla="*/ 4 w 20"/>
              <a:gd name="T25" fmla="*/ 17 h 22"/>
              <a:gd name="T26" fmla="*/ 5 w 20"/>
              <a:gd name="T27" fmla="*/ 18 h 22"/>
              <a:gd name="T28" fmla="*/ 4 w 20"/>
              <a:gd name="T29" fmla="*/ 20 h 22"/>
              <a:gd name="T30" fmla="*/ 4 w 20"/>
              <a:gd name="T31" fmla="*/ 21 h 22"/>
              <a:gd name="T32" fmla="*/ 6 w 20"/>
              <a:gd name="T33" fmla="*/ 21 h 22"/>
              <a:gd name="T34" fmla="*/ 7 w 20"/>
              <a:gd name="T35" fmla="*/ 21 h 22"/>
              <a:gd name="T36" fmla="*/ 9 w 20"/>
              <a:gd name="T37" fmla="*/ 21 h 22"/>
              <a:gd name="T38" fmla="*/ 9 w 20"/>
              <a:gd name="T39" fmla="*/ 21 h 22"/>
              <a:gd name="T40" fmla="*/ 10 w 20"/>
              <a:gd name="T41" fmla="*/ 22 h 22"/>
              <a:gd name="T42" fmla="*/ 11 w 20"/>
              <a:gd name="T43" fmla="*/ 21 h 22"/>
              <a:gd name="T44" fmla="*/ 13 w 20"/>
              <a:gd name="T45" fmla="*/ 21 h 22"/>
              <a:gd name="T46" fmla="*/ 15 w 20"/>
              <a:gd name="T47" fmla="*/ 21 h 22"/>
              <a:gd name="T48" fmla="*/ 16 w 20"/>
              <a:gd name="T49" fmla="*/ 20 h 22"/>
              <a:gd name="T50" fmla="*/ 17 w 20"/>
              <a:gd name="T51" fmla="*/ 19 h 22"/>
              <a:gd name="T52" fmla="*/ 18 w 20"/>
              <a:gd name="T53" fmla="*/ 18 h 22"/>
              <a:gd name="T54" fmla="*/ 16 w 20"/>
              <a:gd name="T55" fmla="*/ 16 h 22"/>
              <a:gd name="T56" fmla="*/ 15 w 20"/>
              <a:gd name="T57" fmla="*/ 14 h 22"/>
              <a:gd name="T58" fmla="*/ 15 w 20"/>
              <a:gd name="T59" fmla="*/ 13 h 22"/>
              <a:gd name="T60" fmla="*/ 17 w 20"/>
              <a:gd name="T61" fmla="*/ 12 h 22"/>
              <a:gd name="T62" fmla="*/ 19 w 20"/>
              <a:gd name="T63" fmla="*/ 11 h 22"/>
              <a:gd name="T64" fmla="*/ 20 w 20"/>
              <a:gd name="T65" fmla="*/ 11 h 22"/>
              <a:gd name="T66" fmla="*/ 20 w 20"/>
              <a:gd name="T67" fmla="*/ 10 h 22"/>
              <a:gd name="T68" fmla="*/ 19 w 20"/>
              <a:gd name="T69" fmla="*/ 8 h 22"/>
              <a:gd name="T70" fmla="*/ 19 w 20"/>
              <a:gd name="T71" fmla="*/ 7 h 22"/>
              <a:gd name="T72" fmla="*/ 19 w 20"/>
              <a:gd name="T73" fmla="*/ 6 h 22"/>
              <a:gd name="T74" fmla="*/ 19 w 20"/>
              <a:gd name="T75" fmla="*/ 5 h 22"/>
              <a:gd name="T76" fmla="*/ 19 w 20"/>
              <a:gd name="T77" fmla="*/ 3 h 22"/>
              <a:gd name="T78" fmla="*/ 19 w 20"/>
              <a:gd name="T79" fmla="*/ 3 h 22"/>
              <a:gd name="T80" fmla="*/ 18 w 20"/>
              <a:gd name="T81" fmla="*/ 2 h 22"/>
              <a:gd name="T82" fmla="*/ 17 w 20"/>
              <a:gd name="T83" fmla="*/ 2 h 22"/>
              <a:gd name="T84" fmla="*/ 17 w 20"/>
              <a:gd name="T85" fmla="*/ 0 h 22"/>
              <a:gd name="T86" fmla="*/ 15 w 20"/>
              <a:gd name="T87" fmla="*/ 1 h 22"/>
              <a:gd name="T88" fmla="*/ 13 w 20"/>
              <a:gd name="T89" fmla="*/ 2 h 22"/>
              <a:gd name="T90" fmla="*/ 12 w 20"/>
              <a:gd name="T91" fmla="*/ 1 h 22"/>
              <a:gd name="T92" fmla="*/ 11 w 20"/>
              <a:gd name="T93" fmla="*/ 1 h 22"/>
              <a:gd name="T94" fmla="*/ 9 w 20"/>
              <a:gd name="T95" fmla="*/ 0 h 22"/>
              <a:gd name="T96" fmla="*/ 9 w 20"/>
              <a:gd name="T97" fmla="*/ 0 h 22"/>
              <a:gd name="T98" fmla="*/ 8 w 20"/>
              <a:gd name="T99" fmla="*/ 0 h 22"/>
              <a:gd name="T100" fmla="*/ 6 w 20"/>
              <a:gd name="T101" fmla="*/ 0 h 22"/>
              <a:gd name="T102" fmla="*/ 7 w 20"/>
              <a:gd name="T103" fmla="*/ 1 h 22"/>
              <a:gd name="T104" fmla="*/ 7 w 20"/>
              <a:gd name="T105" fmla="*/ 2 h 22"/>
              <a:gd name="T106" fmla="*/ 6 w 20"/>
              <a:gd name="T107" fmla="*/ 3 h 22"/>
              <a:gd name="T108" fmla="*/ 5 w 20"/>
              <a:gd name="T109" fmla="*/ 3 h 22"/>
              <a:gd name="T110" fmla="*/ 3 w 20"/>
              <a:gd name="T111" fmla="*/ 3 h 22"/>
              <a:gd name="T112" fmla="*/ 3 w 20"/>
              <a:gd name="T113" fmla="*/ 4 h 22"/>
              <a:gd name="T114" fmla="*/ 3 w 20"/>
              <a:gd name="T115"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 h="22">
                <a:moveTo>
                  <a:pt x="3" y="5"/>
                </a:moveTo>
                <a:cubicBezTo>
                  <a:pt x="3" y="6"/>
                  <a:pt x="2" y="6"/>
                  <a:pt x="2" y="6"/>
                </a:cubicBezTo>
                <a:cubicBezTo>
                  <a:pt x="2" y="7"/>
                  <a:pt x="3" y="7"/>
                  <a:pt x="3" y="8"/>
                </a:cubicBezTo>
                <a:cubicBezTo>
                  <a:pt x="2" y="8"/>
                  <a:pt x="2" y="8"/>
                  <a:pt x="2" y="8"/>
                </a:cubicBezTo>
                <a:cubicBezTo>
                  <a:pt x="2" y="9"/>
                  <a:pt x="1" y="9"/>
                  <a:pt x="1" y="9"/>
                </a:cubicBezTo>
                <a:cubicBezTo>
                  <a:pt x="1" y="9"/>
                  <a:pt x="1" y="9"/>
                  <a:pt x="1" y="10"/>
                </a:cubicBezTo>
                <a:cubicBezTo>
                  <a:pt x="1" y="10"/>
                  <a:pt x="1" y="11"/>
                  <a:pt x="1" y="12"/>
                </a:cubicBezTo>
                <a:cubicBezTo>
                  <a:pt x="0" y="12"/>
                  <a:pt x="1" y="13"/>
                  <a:pt x="1" y="13"/>
                </a:cubicBezTo>
                <a:cubicBezTo>
                  <a:pt x="1" y="13"/>
                  <a:pt x="1" y="14"/>
                  <a:pt x="1" y="14"/>
                </a:cubicBezTo>
                <a:cubicBezTo>
                  <a:pt x="1" y="14"/>
                  <a:pt x="1" y="15"/>
                  <a:pt x="1" y="16"/>
                </a:cubicBezTo>
                <a:cubicBezTo>
                  <a:pt x="2" y="16"/>
                  <a:pt x="2" y="16"/>
                  <a:pt x="2" y="16"/>
                </a:cubicBezTo>
                <a:cubicBezTo>
                  <a:pt x="2" y="16"/>
                  <a:pt x="3" y="17"/>
                  <a:pt x="3" y="17"/>
                </a:cubicBezTo>
                <a:cubicBezTo>
                  <a:pt x="4" y="17"/>
                  <a:pt x="4" y="17"/>
                  <a:pt x="4" y="17"/>
                </a:cubicBezTo>
                <a:cubicBezTo>
                  <a:pt x="5" y="17"/>
                  <a:pt x="6" y="17"/>
                  <a:pt x="5" y="18"/>
                </a:cubicBezTo>
                <a:cubicBezTo>
                  <a:pt x="4" y="18"/>
                  <a:pt x="4" y="19"/>
                  <a:pt x="4" y="20"/>
                </a:cubicBezTo>
                <a:cubicBezTo>
                  <a:pt x="4" y="20"/>
                  <a:pt x="4" y="21"/>
                  <a:pt x="4" y="21"/>
                </a:cubicBezTo>
                <a:cubicBezTo>
                  <a:pt x="4" y="21"/>
                  <a:pt x="5" y="21"/>
                  <a:pt x="6" y="21"/>
                </a:cubicBezTo>
                <a:cubicBezTo>
                  <a:pt x="6" y="21"/>
                  <a:pt x="7" y="21"/>
                  <a:pt x="7" y="21"/>
                </a:cubicBezTo>
                <a:cubicBezTo>
                  <a:pt x="8" y="21"/>
                  <a:pt x="8" y="21"/>
                  <a:pt x="9" y="21"/>
                </a:cubicBezTo>
                <a:cubicBezTo>
                  <a:pt x="9" y="21"/>
                  <a:pt x="9" y="21"/>
                  <a:pt x="9" y="21"/>
                </a:cubicBezTo>
                <a:cubicBezTo>
                  <a:pt x="9" y="21"/>
                  <a:pt x="10" y="22"/>
                  <a:pt x="10" y="22"/>
                </a:cubicBezTo>
                <a:cubicBezTo>
                  <a:pt x="10" y="21"/>
                  <a:pt x="11" y="21"/>
                  <a:pt x="11" y="21"/>
                </a:cubicBezTo>
                <a:cubicBezTo>
                  <a:pt x="12" y="22"/>
                  <a:pt x="12" y="22"/>
                  <a:pt x="13" y="21"/>
                </a:cubicBezTo>
                <a:cubicBezTo>
                  <a:pt x="13" y="21"/>
                  <a:pt x="15" y="21"/>
                  <a:pt x="15" y="21"/>
                </a:cubicBezTo>
                <a:cubicBezTo>
                  <a:pt x="15" y="21"/>
                  <a:pt x="16" y="21"/>
                  <a:pt x="16" y="20"/>
                </a:cubicBezTo>
                <a:cubicBezTo>
                  <a:pt x="15" y="19"/>
                  <a:pt x="16" y="19"/>
                  <a:pt x="17" y="19"/>
                </a:cubicBezTo>
                <a:cubicBezTo>
                  <a:pt x="17" y="18"/>
                  <a:pt x="18" y="18"/>
                  <a:pt x="18" y="18"/>
                </a:cubicBezTo>
                <a:cubicBezTo>
                  <a:pt x="18" y="17"/>
                  <a:pt x="16" y="16"/>
                  <a:pt x="16" y="16"/>
                </a:cubicBezTo>
                <a:cubicBezTo>
                  <a:pt x="15" y="16"/>
                  <a:pt x="15" y="15"/>
                  <a:pt x="15" y="14"/>
                </a:cubicBezTo>
                <a:cubicBezTo>
                  <a:pt x="15" y="14"/>
                  <a:pt x="14" y="13"/>
                  <a:pt x="15" y="13"/>
                </a:cubicBezTo>
                <a:cubicBezTo>
                  <a:pt x="15" y="13"/>
                  <a:pt x="16" y="13"/>
                  <a:pt x="17" y="12"/>
                </a:cubicBezTo>
                <a:cubicBezTo>
                  <a:pt x="18" y="12"/>
                  <a:pt x="18" y="12"/>
                  <a:pt x="19" y="11"/>
                </a:cubicBezTo>
                <a:cubicBezTo>
                  <a:pt x="19" y="11"/>
                  <a:pt x="20" y="12"/>
                  <a:pt x="20" y="11"/>
                </a:cubicBezTo>
                <a:cubicBezTo>
                  <a:pt x="20" y="11"/>
                  <a:pt x="20" y="10"/>
                  <a:pt x="20" y="10"/>
                </a:cubicBezTo>
                <a:cubicBezTo>
                  <a:pt x="20" y="10"/>
                  <a:pt x="20" y="9"/>
                  <a:pt x="19" y="8"/>
                </a:cubicBezTo>
                <a:cubicBezTo>
                  <a:pt x="19" y="7"/>
                  <a:pt x="19" y="7"/>
                  <a:pt x="19" y="7"/>
                </a:cubicBezTo>
                <a:cubicBezTo>
                  <a:pt x="19" y="7"/>
                  <a:pt x="19" y="6"/>
                  <a:pt x="19" y="6"/>
                </a:cubicBezTo>
                <a:cubicBezTo>
                  <a:pt x="18" y="6"/>
                  <a:pt x="18" y="6"/>
                  <a:pt x="19" y="5"/>
                </a:cubicBezTo>
                <a:cubicBezTo>
                  <a:pt x="19" y="5"/>
                  <a:pt x="19" y="3"/>
                  <a:pt x="19" y="3"/>
                </a:cubicBezTo>
                <a:cubicBezTo>
                  <a:pt x="19" y="3"/>
                  <a:pt x="19" y="3"/>
                  <a:pt x="19" y="3"/>
                </a:cubicBezTo>
                <a:cubicBezTo>
                  <a:pt x="18" y="3"/>
                  <a:pt x="18" y="2"/>
                  <a:pt x="18" y="2"/>
                </a:cubicBezTo>
                <a:cubicBezTo>
                  <a:pt x="18" y="2"/>
                  <a:pt x="18" y="2"/>
                  <a:pt x="17" y="2"/>
                </a:cubicBezTo>
                <a:cubicBezTo>
                  <a:pt x="16" y="2"/>
                  <a:pt x="18" y="1"/>
                  <a:pt x="17" y="0"/>
                </a:cubicBezTo>
                <a:cubicBezTo>
                  <a:pt x="17" y="0"/>
                  <a:pt x="16" y="1"/>
                  <a:pt x="15" y="1"/>
                </a:cubicBezTo>
                <a:cubicBezTo>
                  <a:pt x="15" y="1"/>
                  <a:pt x="14" y="2"/>
                  <a:pt x="13" y="2"/>
                </a:cubicBezTo>
                <a:cubicBezTo>
                  <a:pt x="12" y="3"/>
                  <a:pt x="11" y="2"/>
                  <a:pt x="12" y="1"/>
                </a:cubicBezTo>
                <a:cubicBezTo>
                  <a:pt x="12" y="1"/>
                  <a:pt x="12" y="1"/>
                  <a:pt x="11" y="1"/>
                </a:cubicBezTo>
                <a:cubicBezTo>
                  <a:pt x="10" y="1"/>
                  <a:pt x="9" y="1"/>
                  <a:pt x="9" y="0"/>
                </a:cubicBezTo>
                <a:cubicBezTo>
                  <a:pt x="9" y="0"/>
                  <a:pt x="9" y="0"/>
                  <a:pt x="9" y="0"/>
                </a:cubicBezTo>
                <a:cubicBezTo>
                  <a:pt x="9" y="0"/>
                  <a:pt x="8" y="0"/>
                  <a:pt x="8" y="0"/>
                </a:cubicBezTo>
                <a:cubicBezTo>
                  <a:pt x="8" y="0"/>
                  <a:pt x="7" y="0"/>
                  <a:pt x="6" y="0"/>
                </a:cubicBezTo>
                <a:cubicBezTo>
                  <a:pt x="7" y="0"/>
                  <a:pt x="7" y="0"/>
                  <a:pt x="7" y="1"/>
                </a:cubicBezTo>
                <a:cubicBezTo>
                  <a:pt x="6" y="1"/>
                  <a:pt x="7" y="2"/>
                  <a:pt x="7" y="2"/>
                </a:cubicBezTo>
                <a:cubicBezTo>
                  <a:pt x="8" y="3"/>
                  <a:pt x="6" y="3"/>
                  <a:pt x="6" y="3"/>
                </a:cubicBezTo>
                <a:cubicBezTo>
                  <a:pt x="6" y="4"/>
                  <a:pt x="5" y="3"/>
                  <a:pt x="5" y="3"/>
                </a:cubicBezTo>
                <a:cubicBezTo>
                  <a:pt x="4" y="3"/>
                  <a:pt x="3" y="3"/>
                  <a:pt x="3" y="3"/>
                </a:cubicBezTo>
                <a:cubicBezTo>
                  <a:pt x="3" y="4"/>
                  <a:pt x="3" y="4"/>
                  <a:pt x="3" y="4"/>
                </a:cubicBezTo>
                <a:cubicBezTo>
                  <a:pt x="3" y="5"/>
                  <a:pt x="3" y="5"/>
                  <a:pt x="3"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322"/>
          <p:cNvSpPr>
            <a:spLocks/>
          </p:cNvSpPr>
          <p:nvPr/>
        </p:nvSpPr>
        <p:spPr bwMode="auto">
          <a:xfrm>
            <a:off x="2423182" y="2363788"/>
            <a:ext cx="110820" cy="178742"/>
          </a:xfrm>
          <a:custGeom>
            <a:avLst/>
            <a:gdLst>
              <a:gd name="T0" fmla="*/ 20 w 23"/>
              <a:gd name="T1" fmla="*/ 31 h 37"/>
              <a:gd name="T2" fmla="*/ 23 w 23"/>
              <a:gd name="T3" fmla="*/ 28 h 37"/>
              <a:gd name="T4" fmla="*/ 22 w 23"/>
              <a:gd name="T5" fmla="*/ 26 h 37"/>
              <a:gd name="T6" fmla="*/ 19 w 23"/>
              <a:gd name="T7" fmla="*/ 24 h 37"/>
              <a:gd name="T8" fmla="*/ 21 w 23"/>
              <a:gd name="T9" fmla="*/ 23 h 37"/>
              <a:gd name="T10" fmla="*/ 20 w 23"/>
              <a:gd name="T11" fmla="*/ 21 h 37"/>
              <a:gd name="T12" fmla="*/ 20 w 23"/>
              <a:gd name="T13" fmla="*/ 20 h 37"/>
              <a:gd name="T14" fmla="*/ 19 w 23"/>
              <a:gd name="T15" fmla="*/ 20 h 37"/>
              <a:gd name="T16" fmla="*/ 19 w 23"/>
              <a:gd name="T17" fmla="*/ 19 h 37"/>
              <a:gd name="T18" fmla="*/ 19 w 23"/>
              <a:gd name="T19" fmla="*/ 17 h 37"/>
              <a:gd name="T20" fmla="*/ 20 w 23"/>
              <a:gd name="T21" fmla="*/ 16 h 37"/>
              <a:gd name="T22" fmla="*/ 18 w 23"/>
              <a:gd name="T23" fmla="*/ 13 h 37"/>
              <a:gd name="T24" fmla="*/ 18 w 23"/>
              <a:gd name="T25" fmla="*/ 11 h 37"/>
              <a:gd name="T26" fmla="*/ 20 w 23"/>
              <a:gd name="T27" fmla="*/ 10 h 37"/>
              <a:gd name="T28" fmla="*/ 18 w 23"/>
              <a:gd name="T29" fmla="*/ 8 h 37"/>
              <a:gd name="T30" fmla="*/ 17 w 23"/>
              <a:gd name="T31" fmla="*/ 7 h 37"/>
              <a:gd name="T32" fmla="*/ 16 w 23"/>
              <a:gd name="T33" fmla="*/ 6 h 37"/>
              <a:gd name="T34" fmla="*/ 17 w 23"/>
              <a:gd name="T35" fmla="*/ 5 h 37"/>
              <a:gd name="T36" fmla="*/ 18 w 23"/>
              <a:gd name="T37" fmla="*/ 4 h 37"/>
              <a:gd name="T38" fmla="*/ 18 w 23"/>
              <a:gd name="T39" fmla="*/ 3 h 37"/>
              <a:gd name="T40" fmla="*/ 18 w 23"/>
              <a:gd name="T41" fmla="*/ 2 h 37"/>
              <a:gd name="T42" fmla="*/ 16 w 23"/>
              <a:gd name="T43" fmla="*/ 1 h 37"/>
              <a:gd name="T44" fmla="*/ 14 w 23"/>
              <a:gd name="T45" fmla="*/ 1 h 37"/>
              <a:gd name="T46" fmla="*/ 12 w 23"/>
              <a:gd name="T47" fmla="*/ 1 h 37"/>
              <a:gd name="T48" fmla="*/ 10 w 23"/>
              <a:gd name="T49" fmla="*/ 3 h 37"/>
              <a:gd name="T50" fmla="*/ 10 w 23"/>
              <a:gd name="T51" fmla="*/ 4 h 37"/>
              <a:gd name="T52" fmla="*/ 9 w 23"/>
              <a:gd name="T53" fmla="*/ 6 h 37"/>
              <a:gd name="T54" fmla="*/ 8 w 23"/>
              <a:gd name="T55" fmla="*/ 5 h 37"/>
              <a:gd name="T56" fmla="*/ 6 w 23"/>
              <a:gd name="T57" fmla="*/ 5 h 37"/>
              <a:gd name="T58" fmla="*/ 4 w 23"/>
              <a:gd name="T59" fmla="*/ 5 h 37"/>
              <a:gd name="T60" fmla="*/ 1 w 23"/>
              <a:gd name="T61" fmla="*/ 3 h 37"/>
              <a:gd name="T62" fmla="*/ 0 w 23"/>
              <a:gd name="T63" fmla="*/ 5 h 37"/>
              <a:gd name="T64" fmla="*/ 2 w 23"/>
              <a:gd name="T65" fmla="*/ 6 h 37"/>
              <a:gd name="T66" fmla="*/ 5 w 23"/>
              <a:gd name="T67" fmla="*/ 8 h 37"/>
              <a:gd name="T68" fmla="*/ 5 w 23"/>
              <a:gd name="T69" fmla="*/ 10 h 37"/>
              <a:gd name="T70" fmla="*/ 6 w 23"/>
              <a:gd name="T71" fmla="*/ 12 h 37"/>
              <a:gd name="T72" fmla="*/ 6 w 23"/>
              <a:gd name="T73" fmla="*/ 14 h 37"/>
              <a:gd name="T74" fmla="*/ 6 w 23"/>
              <a:gd name="T75" fmla="*/ 15 h 37"/>
              <a:gd name="T76" fmla="*/ 7 w 23"/>
              <a:gd name="T77" fmla="*/ 16 h 37"/>
              <a:gd name="T78" fmla="*/ 8 w 23"/>
              <a:gd name="T79" fmla="*/ 17 h 37"/>
              <a:gd name="T80" fmla="*/ 9 w 23"/>
              <a:gd name="T81" fmla="*/ 19 h 37"/>
              <a:gd name="T82" fmla="*/ 9 w 23"/>
              <a:gd name="T83" fmla="*/ 20 h 37"/>
              <a:gd name="T84" fmla="*/ 8 w 23"/>
              <a:gd name="T85" fmla="*/ 21 h 37"/>
              <a:gd name="T86" fmla="*/ 5 w 23"/>
              <a:gd name="T87" fmla="*/ 23 h 37"/>
              <a:gd name="T88" fmla="*/ 4 w 23"/>
              <a:gd name="T89" fmla="*/ 24 h 37"/>
              <a:gd name="T90" fmla="*/ 3 w 23"/>
              <a:gd name="T91" fmla="*/ 25 h 37"/>
              <a:gd name="T92" fmla="*/ 1 w 23"/>
              <a:gd name="T93" fmla="*/ 26 h 37"/>
              <a:gd name="T94" fmla="*/ 0 w 23"/>
              <a:gd name="T95" fmla="*/ 27 h 37"/>
              <a:gd name="T96" fmla="*/ 0 w 23"/>
              <a:gd name="T97" fmla="*/ 28 h 37"/>
              <a:gd name="T98" fmla="*/ 1 w 23"/>
              <a:gd name="T99" fmla="*/ 30 h 37"/>
              <a:gd name="T100" fmla="*/ 1 w 23"/>
              <a:gd name="T101" fmla="*/ 32 h 37"/>
              <a:gd name="T102" fmla="*/ 0 w 23"/>
              <a:gd name="T103" fmla="*/ 35 h 37"/>
              <a:gd name="T104" fmla="*/ 2 w 23"/>
              <a:gd name="T105" fmla="*/ 36 h 37"/>
              <a:gd name="T106" fmla="*/ 4 w 23"/>
              <a:gd name="T107" fmla="*/ 36 h 37"/>
              <a:gd name="T108" fmla="*/ 6 w 23"/>
              <a:gd name="T109" fmla="*/ 37 h 37"/>
              <a:gd name="T110" fmla="*/ 13 w 23"/>
              <a:gd name="T111" fmla="*/ 35 h 37"/>
              <a:gd name="T112" fmla="*/ 15 w 23"/>
              <a:gd name="T113" fmla="*/ 35 h 37"/>
              <a:gd name="T114" fmla="*/ 16 w 23"/>
              <a:gd name="T115" fmla="*/ 34 h 37"/>
              <a:gd name="T116" fmla="*/ 20 w 23"/>
              <a:gd name="T11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37">
                <a:moveTo>
                  <a:pt x="20" y="31"/>
                </a:moveTo>
                <a:cubicBezTo>
                  <a:pt x="20" y="30"/>
                  <a:pt x="22" y="29"/>
                  <a:pt x="23" y="28"/>
                </a:cubicBezTo>
                <a:cubicBezTo>
                  <a:pt x="23" y="27"/>
                  <a:pt x="23" y="27"/>
                  <a:pt x="22" y="26"/>
                </a:cubicBezTo>
                <a:cubicBezTo>
                  <a:pt x="21" y="25"/>
                  <a:pt x="19" y="24"/>
                  <a:pt x="19" y="24"/>
                </a:cubicBezTo>
                <a:cubicBezTo>
                  <a:pt x="19" y="23"/>
                  <a:pt x="21" y="23"/>
                  <a:pt x="21" y="23"/>
                </a:cubicBezTo>
                <a:cubicBezTo>
                  <a:pt x="21" y="22"/>
                  <a:pt x="20" y="22"/>
                  <a:pt x="20" y="21"/>
                </a:cubicBezTo>
                <a:cubicBezTo>
                  <a:pt x="19" y="21"/>
                  <a:pt x="20" y="21"/>
                  <a:pt x="20" y="20"/>
                </a:cubicBezTo>
                <a:cubicBezTo>
                  <a:pt x="20" y="20"/>
                  <a:pt x="19" y="20"/>
                  <a:pt x="19" y="20"/>
                </a:cubicBezTo>
                <a:cubicBezTo>
                  <a:pt x="19" y="19"/>
                  <a:pt x="19" y="19"/>
                  <a:pt x="19" y="19"/>
                </a:cubicBezTo>
                <a:cubicBezTo>
                  <a:pt x="19" y="19"/>
                  <a:pt x="19" y="18"/>
                  <a:pt x="19" y="17"/>
                </a:cubicBezTo>
                <a:cubicBezTo>
                  <a:pt x="19" y="17"/>
                  <a:pt x="20" y="17"/>
                  <a:pt x="20" y="16"/>
                </a:cubicBezTo>
                <a:cubicBezTo>
                  <a:pt x="19" y="15"/>
                  <a:pt x="18" y="13"/>
                  <a:pt x="18" y="13"/>
                </a:cubicBezTo>
                <a:cubicBezTo>
                  <a:pt x="17" y="12"/>
                  <a:pt x="18" y="12"/>
                  <a:pt x="18" y="11"/>
                </a:cubicBezTo>
                <a:cubicBezTo>
                  <a:pt x="19" y="11"/>
                  <a:pt x="20" y="10"/>
                  <a:pt x="20" y="10"/>
                </a:cubicBezTo>
                <a:cubicBezTo>
                  <a:pt x="20" y="9"/>
                  <a:pt x="18" y="8"/>
                  <a:pt x="18" y="8"/>
                </a:cubicBezTo>
                <a:cubicBezTo>
                  <a:pt x="18" y="8"/>
                  <a:pt x="17" y="8"/>
                  <a:pt x="17" y="7"/>
                </a:cubicBezTo>
                <a:cubicBezTo>
                  <a:pt x="16" y="7"/>
                  <a:pt x="16" y="6"/>
                  <a:pt x="16" y="6"/>
                </a:cubicBezTo>
                <a:cubicBezTo>
                  <a:pt x="17" y="6"/>
                  <a:pt x="17" y="5"/>
                  <a:pt x="17" y="5"/>
                </a:cubicBezTo>
                <a:cubicBezTo>
                  <a:pt x="17" y="4"/>
                  <a:pt x="17" y="5"/>
                  <a:pt x="18" y="4"/>
                </a:cubicBezTo>
                <a:cubicBezTo>
                  <a:pt x="18" y="4"/>
                  <a:pt x="18" y="4"/>
                  <a:pt x="18" y="3"/>
                </a:cubicBezTo>
                <a:cubicBezTo>
                  <a:pt x="18" y="3"/>
                  <a:pt x="18" y="2"/>
                  <a:pt x="18" y="2"/>
                </a:cubicBezTo>
                <a:cubicBezTo>
                  <a:pt x="18" y="2"/>
                  <a:pt x="16" y="1"/>
                  <a:pt x="16" y="1"/>
                </a:cubicBezTo>
                <a:cubicBezTo>
                  <a:pt x="15" y="0"/>
                  <a:pt x="14" y="0"/>
                  <a:pt x="14" y="1"/>
                </a:cubicBezTo>
                <a:cubicBezTo>
                  <a:pt x="14" y="1"/>
                  <a:pt x="12" y="0"/>
                  <a:pt x="12" y="1"/>
                </a:cubicBezTo>
                <a:cubicBezTo>
                  <a:pt x="12" y="2"/>
                  <a:pt x="10" y="2"/>
                  <a:pt x="10" y="3"/>
                </a:cubicBezTo>
                <a:cubicBezTo>
                  <a:pt x="10" y="3"/>
                  <a:pt x="11" y="5"/>
                  <a:pt x="10" y="4"/>
                </a:cubicBezTo>
                <a:cubicBezTo>
                  <a:pt x="9" y="4"/>
                  <a:pt x="10" y="5"/>
                  <a:pt x="9" y="6"/>
                </a:cubicBezTo>
                <a:cubicBezTo>
                  <a:pt x="8" y="7"/>
                  <a:pt x="8" y="5"/>
                  <a:pt x="8" y="5"/>
                </a:cubicBezTo>
                <a:cubicBezTo>
                  <a:pt x="7" y="6"/>
                  <a:pt x="6" y="5"/>
                  <a:pt x="6" y="5"/>
                </a:cubicBezTo>
                <a:cubicBezTo>
                  <a:pt x="6" y="6"/>
                  <a:pt x="5" y="5"/>
                  <a:pt x="4" y="5"/>
                </a:cubicBezTo>
                <a:cubicBezTo>
                  <a:pt x="3" y="5"/>
                  <a:pt x="2" y="4"/>
                  <a:pt x="1" y="3"/>
                </a:cubicBezTo>
                <a:cubicBezTo>
                  <a:pt x="1" y="3"/>
                  <a:pt x="0" y="4"/>
                  <a:pt x="0" y="5"/>
                </a:cubicBezTo>
                <a:cubicBezTo>
                  <a:pt x="1" y="5"/>
                  <a:pt x="1" y="6"/>
                  <a:pt x="2" y="6"/>
                </a:cubicBezTo>
                <a:cubicBezTo>
                  <a:pt x="3" y="7"/>
                  <a:pt x="5" y="7"/>
                  <a:pt x="5" y="8"/>
                </a:cubicBezTo>
                <a:cubicBezTo>
                  <a:pt x="5" y="9"/>
                  <a:pt x="5" y="10"/>
                  <a:pt x="5" y="10"/>
                </a:cubicBezTo>
                <a:cubicBezTo>
                  <a:pt x="6" y="11"/>
                  <a:pt x="5" y="12"/>
                  <a:pt x="6" y="12"/>
                </a:cubicBezTo>
                <a:cubicBezTo>
                  <a:pt x="7" y="13"/>
                  <a:pt x="6" y="14"/>
                  <a:pt x="6" y="14"/>
                </a:cubicBezTo>
                <a:cubicBezTo>
                  <a:pt x="5" y="14"/>
                  <a:pt x="6" y="15"/>
                  <a:pt x="6" y="15"/>
                </a:cubicBezTo>
                <a:cubicBezTo>
                  <a:pt x="6" y="15"/>
                  <a:pt x="7" y="16"/>
                  <a:pt x="7" y="16"/>
                </a:cubicBezTo>
                <a:cubicBezTo>
                  <a:pt x="7" y="17"/>
                  <a:pt x="8" y="17"/>
                  <a:pt x="8" y="17"/>
                </a:cubicBezTo>
                <a:cubicBezTo>
                  <a:pt x="9" y="18"/>
                  <a:pt x="9" y="18"/>
                  <a:pt x="9" y="19"/>
                </a:cubicBezTo>
                <a:cubicBezTo>
                  <a:pt x="9" y="19"/>
                  <a:pt x="9" y="20"/>
                  <a:pt x="9" y="20"/>
                </a:cubicBezTo>
                <a:cubicBezTo>
                  <a:pt x="8" y="19"/>
                  <a:pt x="8" y="20"/>
                  <a:pt x="8" y="21"/>
                </a:cubicBezTo>
                <a:cubicBezTo>
                  <a:pt x="7" y="22"/>
                  <a:pt x="6" y="23"/>
                  <a:pt x="5" y="23"/>
                </a:cubicBezTo>
                <a:cubicBezTo>
                  <a:pt x="5" y="23"/>
                  <a:pt x="5" y="24"/>
                  <a:pt x="4" y="24"/>
                </a:cubicBezTo>
                <a:cubicBezTo>
                  <a:pt x="3" y="24"/>
                  <a:pt x="3" y="24"/>
                  <a:pt x="3" y="25"/>
                </a:cubicBezTo>
                <a:cubicBezTo>
                  <a:pt x="3" y="26"/>
                  <a:pt x="2" y="26"/>
                  <a:pt x="1" y="26"/>
                </a:cubicBezTo>
                <a:cubicBezTo>
                  <a:pt x="1" y="26"/>
                  <a:pt x="1" y="27"/>
                  <a:pt x="0" y="27"/>
                </a:cubicBezTo>
                <a:cubicBezTo>
                  <a:pt x="0" y="27"/>
                  <a:pt x="0" y="28"/>
                  <a:pt x="0" y="28"/>
                </a:cubicBezTo>
                <a:cubicBezTo>
                  <a:pt x="1" y="29"/>
                  <a:pt x="0" y="30"/>
                  <a:pt x="1" y="30"/>
                </a:cubicBezTo>
                <a:cubicBezTo>
                  <a:pt x="1" y="30"/>
                  <a:pt x="1" y="31"/>
                  <a:pt x="1" y="32"/>
                </a:cubicBezTo>
                <a:cubicBezTo>
                  <a:pt x="1" y="34"/>
                  <a:pt x="0" y="35"/>
                  <a:pt x="0" y="35"/>
                </a:cubicBezTo>
                <a:cubicBezTo>
                  <a:pt x="1" y="35"/>
                  <a:pt x="2" y="36"/>
                  <a:pt x="2" y="36"/>
                </a:cubicBezTo>
                <a:cubicBezTo>
                  <a:pt x="3" y="36"/>
                  <a:pt x="3" y="36"/>
                  <a:pt x="4" y="36"/>
                </a:cubicBezTo>
                <a:cubicBezTo>
                  <a:pt x="4" y="36"/>
                  <a:pt x="4" y="37"/>
                  <a:pt x="6" y="37"/>
                </a:cubicBezTo>
                <a:cubicBezTo>
                  <a:pt x="8" y="37"/>
                  <a:pt x="12" y="35"/>
                  <a:pt x="13" y="35"/>
                </a:cubicBezTo>
                <a:cubicBezTo>
                  <a:pt x="14" y="35"/>
                  <a:pt x="15" y="35"/>
                  <a:pt x="15" y="35"/>
                </a:cubicBezTo>
                <a:cubicBezTo>
                  <a:pt x="15" y="35"/>
                  <a:pt x="16" y="34"/>
                  <a:pt x="16" y="34"/>
                </a:cubicBezTo>
                <a:cubicBezTo>
                  <a:pt x="17" y="33"/>
                  <a:pt x="19" y="32"/>
                  <a:pt x="20" y="3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323"/>
          <p:cNvSpPr>
            <a:spLocks/>
          </p:cNvSpPr>
          <p:nvPr/>
        </p:nvSpPr>
        <p:spPr bwMode="auto">
          <a:xfrm>
            <a:off x="2562601" y="2921465"/>
            <a:ext cx="225215" cy="178742"/>
          </a:xfrm>
          <a:custGeom>
            <a:avLst/>
            <a:gdLst>
              <a:gd name="T0" fmla="*/ 28 w 47"/>
              <a:gd name="T1" fmla="*/ 8 h 37"/>
              <a:gd name="T2" fmla="*/ 24 w 47"/>
              <a:gd name="T3" fmla="*/ 7 h 37"/>
              <a:gd name="T4" fmla="*/ 22 w 47"/>
              <a:gd name="T5" fmla="*/ 6 h 37"/>
              <a:gd name="T6" fmla="*/ 16 w 47"/>
              <a:gd name="T7" fmla="*/ 2 h 37"/>
              <a:gd name="T8" fmla="*/ 12 w 47"/>
              <a:gd name="T9" fmla="*/ 0 h 37"/>
              <a:gd name="T10" fmla="*/ 10 w 47"/>
              <a:gd name="T11" fmla="*/ 0 h 37"/>
              <a:gd name="T12" fmla="*/ 8 w 47"/>
              <a:gd name="T13" fmla="*/ 1 h 37"/>
              <a:gd name="T14" fmla="*/ 6 w 47"/>
              <a:gd name="T15" fmla="*/ 2 h 37"/>
              <a:gd name="T16" fmla="*/ 7 w 47"/>
              <a:gd name="T17" fmla="*/ 4 h 37"/>
              <a:gd name="T18" fmla="*/ 6 w 47"/>
              <a:gd name="T19" fmla="*/ 5 h 37"/>
              <a:gd name="T20" fmla="*/ 5 w 47"/>
              <a:gd name="T21" fmla="*/ 6 h 37"/>
              <a:gd name="T22" fmla="*/ 3 w 47"/>
              <a:gd name="T23" fmla="*/ 7 h 37"/>
              <a:gd name="T24" fmla="*/ 1 w 47"/>
              <a:gd name="T25" fmla="*/ 6 h 37"/>
              <a:gd name="T26" fmla="*/ 1 w 47"/>
              <a:gd name="T27" fmla="*/ 7 h 37"/>
              <a:gd name="T28" fmla="*/ 1 w 47"/>
              <a:gd name="T29" fmla="*/ 7 h 37"/>
              <a:gd name="T30" fmla="*/ 1 w 47"/>
              <a:gd name="T31" fmla="*/ 10 h 37"/>
              <a:gd name="T32" fmla="*/ 3 w 47"/>
              <a:gd name="T33" fmla="*/ 12 h 37"/>
              <a:gd name="T34" fmla="*/ 6 w 47"/>
              <a:gd name="T35" fmla="*/ 17 h 37"/>
              <a:gd name="T36" fmla="*/ 8 w 47"/>
              <a:gd name="T37" fmla="*/ 19 h 37"/>
              <a:gd name="T38" fmla="*/ 10 w 47"/>
              <a:gd name="T39" fmla="*/ 22 h 37"/>
              <a:gd name="T40" fmla="*/ 10 w 47"/>
              <a:gd name="T41" fmla="*/ 24 h 37"/>
              <a:gd name="T42" fmla="*/ 12 w 47"/>
              <a:gd name="T43" fmla="*/ 28 h 37"/>
              <a:gd name="T44" fmla="*/ 14 w 47"/>
              <a:gd name="T45" fmla="*/ 31 h 37"/>
              <a:gd name="T46" fmla="*/ 17 w 47"/>
              <a:gd name="T47" fmla="*/ 34 h 37"/>
              <a:gd name="T48" fmla="*/ 17 w 47"/>
              <a:gd name="T49" fmla="*/ 36 h 37"/>
              <a:gd name="T50" fmla="*/ 18 w 47"/>
              <a:gd name="T51" fmla="*/ 37 h 37"/>
              <a:gd name="T52" fmla="*/ 19 w 47"/>
              <a:gd name="T53" fmla="*/ 37 h 37"/>
              <a:gd name="T54" fmla="*/ 19 w 47"/>
              <a:gd name="T55" fmla="*/ 35 h 37"/>
              <a:gd name="T56" fmla="*/ 20 w 47"/>
              <a:gd name="T57" fmla="*/ 35 h 37"/>
              <a:gd name="T58" fmla="*/ 22 w 47"/>
              <a:gd name="T59" fmla="*/ 35 h 37"/>
              <a:gd name="T60" fmla="*/ 24 w 47"/>
              <a:gd name="T61" fmla="*/ 35 h 37"/>
              <a:gd name="T62" fmla="*/ 27 w 47"/>
              <a:gd name="T63" fmla="*/ 36 h 37"/>
              <a:gd name="T64" fmla="*/ 29 w 47"/>
              <a:gd name="T65" fmla="*/ 35 h 37"/>
              <a:gd name="T66" fmla="*/ 32 w 47"/>
              <a:gd name="T67" fmla="*/ 32 h 37"/>
              <a:gd name="T68" fmla="*/ 37 w 47"/>
              <a:gd name="T69" fmla="*/ 32 h 37"/>
              <a:gd name="T70" fmla="*/ 46 w 47"/>
              <a:gd name="T71" fmla="*/ 29 h 37"/>
              <a:gd name="T72" fmla="*/ 47 w 47"/>
              <a:gd name="T73" fmla="*/ 24 h 37"/>
              <a:gd name="T74" fmla="*/ 46 w 47"/>
              <a:gd name="T75" fmla="*/ 23 h 37"/>
              <a:gd name="T76" fmla="*/ 40 w 47"/>
              <a:gd name="T77" fmla="*/ 22 h 37"/>
              <a:gd name="T78" fmla="*/ 39 w 47"/>
              <a:gd name="T79" fmla="*/ 20 h 37"/>
              <a:gd name="T80" fmla="*/ 38 w 47"/>
              <a:gd name="T81" fmla="*/ 18 h 37"/>
              <a:gd name="T82" fmla="*/ 36 w 47"/>
              <a:gd name="T83" fmla="*/ 17 h 37"/>
              <a:gd name="T84" fmla="*/ 35 w 47"/>
              <a:gd name="T85" fmla="*/ 15 h 37"/>
              <a:gd name="T86" fmla="*/ 34 w 47"/>
              <a:gd name="T87" fmla="*/ 12 h 37"/>
              <a:gd name="T88" fmla="*/ 32 w 47"/>
              <a:gd name="T89" fmla="*/ 10 h 37"/>
              <a:gd name="T90" fmla="*/ 31 w 47"/>
              <a:gd name="T91" fmla="*/ 9 h 37"/>
              <a:gd name="T92" fmla="*/ 29 w 47"/>
              <a:gd name="T93" fmla="*/ 9 h 37"/>
              <a:gd name="T94" fmla="*/ 28 w 47"/>
              <a:gd name="T9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 h="37">
                <a:moveTo>
                  <a:pt x="28" y="8"/>
                </a:moveTo>
                <a:cubicBezTo>
                  <a:pt x="28" y="8"/>
                  <a:pt x="25" y="7"/>
                  <a:pt x="24" y="7"/>
                </a:cubicBezTo>
                <a:cubicBezTo>
                  <a:pt x="24" y="7"/>
                  <a:pt x="23" y="7"/>
                  <a:pt x="22" y="6"/>
                </a:cubicBezTo>
                <a:cubicBezTo>
                  <a:pt x="21" y="6"/>
                  <a:pt x="17" y="3"/>
                  <a:pt x="16" y="2"/>
                </a:cubicBezTo>
                <a:cubicBezTo>
                  <a:pt x="16" y="2"/>
                  <a:pt x="13" y="0"/>
                  <a:pt x="12" y="0"/>
                </a:cubicBezTo>
                <a:cubicBezTo>
                  <a:pt x="11" y="0"/>
                  <a:pt x="11" y="0"/>
                  <a:pt x="10" y="0"/>
                </a:cubicBezTo>
                <a:cubicBezTo>
                  <a:pt x="9" y="0"/>
                  <a:pt x="10" y="0"/>
                  <a:pt x="8" y="1"/>
                </a:cubicBezTo>
                <a:cubicBezTo>
                  <a:pt x="6" y="1"/>
                  <a:pt x="5" y="2"/>
                  <a:pt x="6" y="2"/>
                </a:cubicBezTo>
                <a:cubicBezTo>
                  <a:pt x="6" y="2"/>
                  <a:pt x="8" y="4"/>
                  <a:pt x="7" y="4"/>
                </a:cubicBezTo>
                <a:cubicBezTo>
                  <a:pt x="7" y="4"/>
                  <a:pt x="7" y="5"/>
                  <a:pt x="6" y="5"/>
                </a:cubicBezTo>
                <a:cubicBezTo>
                  <a:pt x="5" y="5"/>
                  <a:pt x="5" y="5"/>
                  <a:pt x="5" y="6"/>
                </a:cubicBezTo>
                <a:cubicBezTo>
                  <a:pt x="5" y="6"/>
                  <a:pt x="4" y="7"/>
                  <a:pt x="3" y="7"/>
                </a:cubicBezTo>
                <a:cubicBezTo>
                  <a:pt x="3" y="7"/>
                  <a:pt x="2" y="6"/>
                  <a:pt x="1" y="6"/>
                </a:cubicBezTo>
                <a:cubicBezTo>
                  <a:pt x="1" y="7"/>
                  <a:pt x="1" y="7"/>
                  <a:pt x="1" y="7"/>
                </a:cubicBezTo>
                <a:cubicBezTo>
                  <a:pt x="1" y="7"/>
                  <a:pt x="1" y="7"/>
                  <a:pt x="1" y="7"/>
                </a:cubicBezTo>
                <a:cubicBezTo>
                  <a:pt x="1" y="8"/>
                  <a:pt x="0" y="9"/>
                  <a:pt x="1" y="10"/>
                </a:cubicBezTo>
                <a:cubicBezTo>
                  <a:pt x="1" y="10"/>
                  <a:pt x="2" y="11"/>
                  <a:pt x="3" y="12"/>
                </a:cubicBezTo>
                <a:cubicBezTo>
                  <a:pt x="4" y="13"/>
                  <a:pt x="6" y="16"/>
                  <a:pt x="6" y="17"/>
                </a:cubicBezTo>
                <a:cubicBezTo>
                  <a:pt x="6" y="18"/>
                  <a:pt x="6" y="18"/>
                  <a:pt x="8" y="19"/>
                </a:cubicBezTo>
                <a:cubicBezTo>
                  <a:pt x="9" y="20"/>
                  <a:pt x="9" y="21"/>
                  <a:pt x="10" y="22"/>
                </a:cubicBezTo>
                <a:cubicBezTo>
                  <a:pt x="10" y="22"/>
                  <a:pt x="10" y="23"/>
                  <a:pt x="10" y="24"/>
                </a:cubicBezTo>
                <a:cubicBezTo>
                  <a:pt x="10" y="25"/>
                  <a:pt x="11" y="27"/>
                  <a:pt x="12" y="28"/>
                </a:cubicBezTo>
                <a:cubicBezTo>
                  <a:pt x="13" y="29"/>
                  <a:pt x="14" y="29"/>
                  <a:pt x="14" y="31"/>
                </a:cubicBezTo>
                <a:cubicBezTo>
                  <a:pt x="15" y="32"/>
                  <a:pt x="16" y="33"/>
                  <a:pt x="17" y="34"/>
                </a:cubicBezTo>
                <a:cubicBezTo>
                  <a:pt x="17" y="35"/>
                  <a:pt x="17" y="35"/>
                  <a:pt x="17" y="36"/>
                </a:cubicBezTo>
                <a:cubicBezTo>
                  <a:pt x="17" y="36"/>
                  <a:pt x="18" y="37"/>
                  <a:pt x="18" y="37"/>
                </a:cubicBezTo>
                <a:cubicBezTo>
                  <a:pt x="19" y="37"/>
                  <a:pt x="19" y="37"/>
                  <a:pt x="19" y="37"/>
                </a:cubicBezTo>
                <a:cubicBezTo>
                  <a:pt x="19" y="36"/>
                  <a:pt x="19" y="36"/>
                  <a:pt x="19" y="35"/>
                </a:cubicBezTo>
                <a:cubicBezTo>
                  <a:pt x="19" y="35"/>
                  <a:pt x="20" y="35"/>
                  <a:pt x="20" y="35"/>
                </a:cubicBezTo>
                <a:cubicBezTo>
                  <a:pt x="20" y="34"/>
                  <a:pt x="21" y="35"/>
                  <a:pt x="22" y="35"/>
                </a:cubicBezTo>
                <a:cubicBezTo>
                  <a:pt x="22" y="35"/>
                  <a:pt x="24" y="35"/>
                  <a:pt x="24" y="35"/>
                </a:cubicBezTo>
                <a:cubicBezTo>
                  <a:pt x="24" y="35"/>
                  <a:pt x="27" y="35"/>
                  <a:pt x="27" y="36"/>
                </a:cubicBezTo>
                <a:cubicBezTo>
                  <a:pt x="28" y="36"/>
                  <a:pt x="28" y="36"/>
                  <a:pt x="29" y="35"/>
                </a:cubicBezTo>
                <a:cubicBezTo>
                  <a:pt x="29" y="34"/>
                  <a:pt x="32" y="32"/>
                  <a:pt x="32" y="32"/>
                </a:cubicBezTo>
                <a:cubicBezTo>
                  <a:pt x="33" y="32"/>
                  <a:pt x="35" y="32"/>
                  <a:pt x="37" y="32"/>
                </a:cubicBezTo>
                <a:cubicBezTo>
                  <a:pt x="38" y="32"/>
                  <a:pt x="45" y="29"/>
                  <a:pt x="46" y="29"/>
                </a:cubicBezTo>
                <a:cubicBezTo>
                  <a:pt x="46" y="29"/>
                  <a:pt x="47" y="25"/>
                  <a:pt x="47" y="24"/>
                </a:cubicBezTo>
                <a:cubicBezTo>
                  <a:pt x="47" y="24"/>
                  <a:pt x="46" y="23"/>
                  <a:pt x="46" y="23"/>
                </a:cubicBezTo>
                <a:cubicBezTo>
                  <a:pt x="45" y="23"/>
                  <a:pt x="41" y="22"/>
                  <a:pt x="40" y="22"/>
                </a:cubicBezTo>
                <a:cubicBezTo>
                  <a:pt x="40" y="22"/>
                  <a:pt x="39" y="21"/>
                  <a:pt x="39" y="20"/>
                </a:cubicBezTo>
                <a:cubicBezTo>
                  <a:pt x="38" y="19"/>
                  <a:pt x="38" y="19"/>
                  <a:pt x="38" y="18"/>
                </a:cubicBezTo>
                <a:cubicBezTo>
                  <a:pt x="37" y="18"/>
                  <a:pt x="36" y="18"/>
                  <a:pt x="36" y="17"/>
                </a:cubicBezTo>
                <a:cubicBezTo>
                  <a:pt x="35" y="17"/>
                  <a:pt x="34" y="15"/>
                  <a:pt x="35" y="15"/>
                </a:cubicBezTo>
                <a:cubicBezTo>
                  <a:pt x="35" y="14"/>
                  <a:pt x="34" y="13"/>
                  <a:pt x="34" y="12"/>
                </a:cubicBezTo>
                <a:cubicBezTo>
                  <a:pt x="33" y="12"/>
                  <a:pt x="32" y="10"/>
                  <a:pt x="32" y="10"/>
                </a:cubicBezTo>
                <a:cubicBezTo>
                  <a:pt x="31" y="9"/>
                  <a:pt x="31" y="9"/>
                  <a:pt x="31" y="9"/>
                </a:cubicBezTo>
                <a:cubicBezTo>
                  <a:pt x="29" y="9"/>
                  <a:pt x="29" y="9"/>
                  <a:pt x="29" y="9"/>
                </a:cubicBezTo>
                <a:lnTo>
                  <a:pt x="28"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324"/>
          <p:cNvSpPr>
            <a:spLocks/>
          </p:cNvSpPr>
          <p:nvPr/>
        </p:nvSpPr>
        <p:spPr bwMode="auto">
          <a:xfrm>
            <a:off x="2752068" y="3003686"/>
            <a:ext cx="85796" cy="96521"/>
          </a:xfrm>
          <a:custGeom>
            <a:avLst/>
            <a:gdLst>
              <a:gd name="T0" fmla="*/ 9 w 18"/>
              <a:gd name="T1" fmla="*/ 0 h 20"/>
              <a:gd name="T2" fmla="*/ 9 w 18"/>
              <a:gd name="T3" fmla="*/ 2 h 20"/>
              <a:gd name="T4" fmla="*/ 7 w 18"/>
              <a:gd name="T5" fmla="*/ 4 h 20"/>
              <a:gd name="T6" fmla="*/ 6 w 18"/>
              <a:gd name="T7" fmla="*/ 6 h 20"/>
              <a:gd name="T8" fmla="*/ 7 w 18"/>
              <a:gd name="T9" fmla="*/ 6 h 20"/>
              <a:gd name="T10" fmla="*/ 8 w 18"/>
              <a:gd name="T11" fmla="*/ 7 h 20"/>
              <a:gd name="T12" fmla="*/ 7 w 18"/>
              <a:gd name="T13" fmla="*/ 12 h 20"/>
              <a:gd name="T14" fmla="*/ 0 w 18"/>
              <a:gd name="T15" fmla="*/ 14 h 20"/>
              <a:gd name="T16" fmla="*/ 2 w 18"/>
              <a:gd name="T17" fmla="*/ 20 h 20"/>
              <a:gd name="T18" fmla="*/ 3 w 18"/>
              <a:gd name="T19" fmla="*/ 19 h 20"/>
              <a:gd name="T20" fmla="*/ 7 w 18"/>
              <a:gd name="T21" fmla="*/ 19 h 20"/>
              <a:gd name="T22" fmla="*/ 7 w 18"/>
              <a:gd name="T23" fmla="*/ 17 h 20"/>
              <a:gd name="T24" fmla="*/ 10 w 18"/>
              <a:gd name="T25" fmla="*/ 17 h 20"/>
              <a:gd name="T26" fmla="*/ 11 w 18"/>
              <a:gd name="T27" fmla="*/ 15 h 20"/>
              <a:gd name="T28" fmla="*/ 13 w 18"/>
              <a:gd name="T29" fmla="*/ 14 h 20"/>
              <a:gd name="T30" fmla="*/ 13 w 18"/>
              <a:gd name="T31" fmla="*/ 11 h 20"/>
              <a:gd name="T32" fmla="*/ 15 w 18"/>
              <a:gd name="T33" fmla="*/ 10 h 20"/>
              <a:gd name="T34" fmla="*/ 17 w 18"/>
              <a:gd name="T35" fmla="*/ 7 h 20"/>
              <a:gd name="T36" fmla="*/ 17 w 18"/>
              <a:gd name="T37" fmla="*/ 6 h 20"/>
              <a:gd name="T38" fmla="*/ 15 w 18"/>
              <a:gd name="T39" fmla="*/ 4 h 20"/>
              <a:gd name="T40" fmla="*/ 11 w 18"/>
              <a:gd name="T41" fmla="*/ 2 h 20"/>
              <a:gd name="T42" fmla="*/ 10 w 18"/>
              <a:gd name="T43" fmla="*/ 0 h 20"/>
              <a:gd name="T44" fmla="*/ 9 w 18"/>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0">
                <a:moveTo>
                  <a:pt x="9" y="0"/>
                </a:moveTo>
                <a:cubicBezTo>
                  <a:pt x="9" y="2"/>
                  <a:pt x="9" y="2"/>
                  <a:pt x="9" y="2"/>
                </a:cubicBezTo>
                <a:cubicBezTo>
                  <a:pt x="7" y="4"/>
                  <a:pt x="7" y="4"/>
                  <a:pt x="7" y="4"/>
                </a:cubicBezTo>
                <a:cubicBezTo>
                  <a:pt x="6" y="6"/>
                  <a:pt x="6" y="6"/>
                  <a:pt x="6" y="6"/>
                </a:cubicBezTo>
                <a:cubicBezTo>
                  <a:pt x="7" y="6"/>
                  <a:pt x="7" y="6"/>
                  <a:pt x="7" y="6"/>
                </a:cubicBezTo>
                <a:cubicBezTo>
                  <a:pt x="7" y="6"/>
                  <a:pt x="8" y="7"/>
                  <a:pt x="8" y="7"/>
                </a:cubicBezTo>
                <a:cubicBezTo>
                  <a:pt x="8" y="8"/>
                  <a:pt x="7" y="12"/>
                  <a:pt x="7" y="12"/>
                </a:cubicBezTo>
                <a:cubicBezTo>
                  <a:pt x="6" y="12"/>
                  <a:pt x="2" y="13"/>
                  <a:pt x="0" y="14"/>
                </a:cubicBezTo>
                <a:cubicBezTo>
                  <a:pt x="0" y="15"/>
                  <a:pt x="1" y="18"/>
                  <a:pt x="2" y="20"/>
                </a:cubicBezTo>
                <a:cubicBezTo>
                  <a:pt x="3" y="20"/>
                  <a:pt x="3" y="20"/>
                  <a:pt x="3" y="19"/>
                </a:cubicBezTo>
                <a:cubicBezTo>
                  <a:pt x="4" y="19"/>
                  <a:pt x="6" y="19"/>
                  <a:pt x="7" y="19"/>
                </a:cubicBezTo>
                <a:cubicBezTo>
                  <a:pt x="8" y="19"/>
                  <a:pt x="7" y="18"/>
                  <a:pt x="7" y="17"/>
                </a:cubicBezTo>
                <a:cubicBezTo>
                  <a:pt x="8" y="16"/>
                  <a:pt x="9" y="17"/>
                  <a:pt x="10" y="17"/>
                </a:cubicBezTo>
                <a:cubicBezTo>
                  <a:pt x="10" y="17"/>
                  <a:pt x="11" y="15"/>
                  <a:pt x="11" y="15"/>
                </a:cubicBezTo>
                <a:cubicBezTo>
                  <a:pt x="12" y="14"/>
                  <a:pt x="13" y="15"/>
                  <a:pt x="13" y="14"/>
                </a:cubicBezTo>
                <a:cubicBezTo>
                  <a:pt x="13" y="13"/>
                  <a:pt x="13" y="11"/>
                  <a:pt x="13" y="11"/>
                </a:cubicBezTo>
                <a:cubicBezTo>
                  <a:pt x="14" y="11"/>
                  <a:pt x="15" y="10"/>
                  <a:pt x="15" y="10"/>
                </a:cubicBezTo>
                <a:cubicBezTo>
                  <a:pt x="15" y="9"/>
                  <a:pt x="17" y="8"/>
                  <a:pt x="17" y="7"/>
                </a:cubicBezTo>
                <a:cubicBezTo>
                  <a:pt x="18" y="6"/>
                  <a:pt x="18" y="6"/>
                  <a:pt x="17" y="6"/>
                </a:cubicBezTo>
                <a:cubicBezTo>
                  <a:pt x="16" y="6"/>
                  <a:pt x="15" y="4"/>
                  <a:pt x="15" y="4"/>
                </a:cubicBezTo>
                <a:cubicBezTo>
                  <a:pt x="15" y="3"/>
                  <a:pt x="13" y="4"/>
                  <a:pt x="11" y="2"/>
                </a:cubicBezTo>
                <a:cubicBezTo>
                  <a:pt x="11" y="2"/>
                  <a:pt x="10" y="1"/>
                  <a:pt x="10" y="0"/>
                </a:cubicBezTo>
                <a:cubicBezTo>
                  <a:pt x="9" y="0"/>
                  <a:pt x="9" y="0"/>
                  <a:pt x="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325"/>
          <p:cNvSpPr>
            <a:spLocks/>
          </p:cNvSpPr>
          <p:nvPr/>
        </p:nvSpPr>
        <p:spPr bwMode="auto">
          <a:xfrm>
            <a:off x="2737768" y="2996536"/>
            <a:ext cx="14299" cy="14299"/>
          </a:xfrm>
          <a:custGeom>
            <a:avLst/>
            <a:gdLst>
              <a:gd name="T0" fmla="*/ 2 w 3"/>
              <a:gd name="T1" fmla="*/ 3 h 3"/>
              <a:gd name="T2" fmla="*/ 2 w 3"/>
              <a:gd name="T3" fmla="*/ 3 h 3"/>
              <a:gd name="T4" fmla="*/ 2 w 3"/>
              <a:gd name="T5" fmla="*/ 0 h 3"/>
              <a:gd name="T6" fmla="*/ 0 w 3"/>
              <a:gd name="T7" fmla="*/ 2 h 3"/>
              <a:gd name="T8" fmla="*/ 0 w 3"/>
              <a:gd name="T9" fmla="*/ 2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cubicBezTo>
                  <a:pt x="2" y="3"/>
                  <a:pt x="2" y="3"/>
                  <a:pt x="2" y="3"/>
                </a:cubicBezTo>
                <a:cubicBezTo>
                  <a:pt x="2" y="2"/>
                  <a:pt x="3" y="0"/>
                  <a:pt x="2" y="0"/>
                </a:cubicBezTo>
                <a:cubicBezTo>
                  <a:pt x="1" y="0"/>
                  <a:pt x="0" y="1"/>
                  <a:pt x="0" y="2"/>
                </a:cubicBezTo>
                <a:cubicBezTo>
                  <a:pt x="0" y="2"/>
                  <a:pt x="0" y="2"/>
                  <a:pt x="0" y="2"/>
                </a:cubicBezTo>
                <a:cubicBezTo>
                  <a:pt x="0" y="3"/>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326"/>
          <p:cNvSpPr>
            <a:spLocks/>
          </p:cNvSpPr>
          <p:nvPr/>
        </p:nvSpPr>
        <p:spPr bwMode="auto">
          <a:xfrm>
            <a:off x="2752068" y="2989387"/>
            <a:ext cx="46473" cy="46473"/>
          </a:xfrm>
          <a:custGeom>
            <a:avLst/>
            <a:gdLst>
              <a:gd name="T0" fmla="*/ 1 w 10"/>
              <a:gd name="T1" fmla="*/ 8 h 9"/>
              <a:gd name="T2" fmla="*/ 6 w 10"/>
              <a:gd name="T3" fmla="*/ 9 h 9"/>
              <a:gd name="T4" fmla="*/ 7 w 10"/>
              <a:gd name="T5" fmla="*/ 7 h 9"/>
              <a:gd name="T6" fmla="*/ 9 w 10"/>
              <a:gd name="T7" fmla="*/ 5 h 9"/>
              <a:gd name="T8" fmla="*/ 9 w 10"/>
              <a:gd name="T9" fmla="*/ 3 h 9"/>
              <a:gd name="T10" fmla="*/ 9 w 10"/>
              <a:gd name="T11" fmla="*/ 3 h 9"/>
              <a:gd name="T12" fmla="*/ 10 w 10"/>
              <a:gd name="T13" fmla="*/ 3 h 9"/>
              <a:gd name="T14" fmla="*/ 10 w 10"/>
              <a:gd name="T15" fmla="*/ 0 h 9"/>
              <a:gd name="T16" fmla="*/ 7 w 10"/>
              <a:gd name="T17" fmla="*/ 3 h 9"/>
              <a:gd name="T18" fmla="*/ 3 w 10"/>
              <a:gd name="T19" fmla="*/ 5 h 9"/>
              <a:gd name="T20" fmla="*/ 0 w 10"/>
              <a:gd name="T21" fmla="*/ 6 h 9"/>
              <a:gd name="T22" fmla="*/ 0 w 10"/>
              <a:gd name="T23" fmla="*/ 6 h 9"/>
              <a:gd name="T24" fmla="*/ 1 w 10"/>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9">
                <a:moveTo>
                  <a:pt x="1" y="8"/>
                </a:moveTo>
                <a:cubicBezTo>
                  <a:pt x="2" y="8"/>
                  <a:pt x="5" y="9"/>
                  <a:pt x="6" y="9"/>
                </a:cubicBezTo>
                <a:cubicBezTo>
                  <a:pt x="7" y="7"/>
                  <a:pt x="7" y="7"/>
                  <a:pt x="7" y="7"/>
                </a:cubicBezTo>
                <a:cubicBezTo>
                  <a:pt x="9" y="5"/>
                  <a:pt x="9" y="5"/>
                  <a:pt x="9" y="5"/>
                </a:cubicBezTo>
                <a:cubicBezTo>
                  <a:pt x="9" y="3"/>
                  <a:pt x="9" y="3"/>
                  <a:pt x="9" y="3"/>
                </a:cubicBezTo>
                <a:cubicBezTo>
                  <a:pt x="9" y="3"/>
                  <a:pt x="9" y="3"/>
                  <a:pt x="9" y="3"/>
                </a:cubicBezTo>
                <a:cubicBezTo>
                  <a:pt x="10" y="3"/>
                  <a:pt x="10" y="3"/>
                  <a:pt x="10" y="3"/>
                </a:cubicBezTo>
                <a:cubicBezTo>
                  <a:pt x="10" y="2"/>
                  <a:pt x="10" y="0"/>
                  <a:pt x="10" y="0"/>
                </a:cubicBezTo>
                <a:cubicBezTo>
                  <a:pt x="9" y="0"/>
                  <a:pt x="8" y="2"/>
                  <a:pt x="7" y="3"/>
                </a:cubicBezTo>
                <a:cubicBezTo>
                  <a:pt x="6" y="4"/>
                  <a:pt x="4" y="5"/>
                  <a:pt x="3" y="5"/>
                </a:cubicBezTo>
                <a:cubicBezTo>
                  <a:pt x="1" y="5"/>
                  <a:pt x="1" y="6"/>
                  <a:pt x="0" y="6"/>
                </a:cubicBezTo>
                <a:cubicBezTo>
                  <a:pt x="0" y="6"/>
                  <a:pt x="0" y="6"/>
                  <a:pt x="0" y="6"/>
                </a:cubicBezTo>
                <a:cubicBezTo>
                  <a:pt x="0" y="7"/>
                  <a:pt x="1" y="8"/>
                  <a:pt x="1"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327"/>
          <p:cNvSpPr>
            <a:spLocks noEditPoints="1"/>
          </p:cNvSpPr>
          <p:nvPr/>
        </p:nvSpPr>
        <p:spPr bwMode="auto">
          <a:xfrm>
            <a:off x="3252546" y="3207453"/>
            <a:ext cx="207341" cy="67922"/>
          </a:xfrm>
          <a:custGeom>
            <a:avLst/>
            <a:gdLst>
              <a:gd name="T0" fmla="*/ 8 w 43"/>
              <a:gd name="T1" fmla="*/ 5 h 14"/>
              <a:gd name="T2" fmla="*/ 6 w 43"/>
              <a:gd name="T3" fmla="*/ 3 h 14"/>
              <a:gd name="T4" fmla="*/ 5 w 43"/>
              <a:gd name="T5" fmla="*/ 2 h 14"/>
              <a:gd name="T6" fmla="*/ 5 w 43"/>
              <a:gd name="T7" fmla="*/ 1 h 14"/>
              <a:gd name="T8" fmla="*/ 4 w 43"/>
              <a:gd name="T9" fmla="*/ 2 h 14"/>
              <a:gd name="T10" fmla="*/ 3 w 43"/>
              <a:gd name="T11" fmla="*/ 2 h 14"/>
              <a:gd name="T12" fmla="*/ 1 w 43"/>
              <a:gd name="T13" fmla="*/ 1 h 14"/>
              <a:gd name="T14" fmla="*/ 0 w 43"/>
              <a:gd name="T15" fmla="*/ 1 h 14"/>
              <a:gd name="T16" fmla="*/ 1 w 43"/>
              <a:gd name="T17" fmla="*/ 4 h 14"/>
              <a:gd name="T18" fmla="*/ 3 w 43"/>
              <a:gd name="T19" fmla="*/ 8 h 14"/>
              <a:gd name="T20" fmla="*/ 5 w 43"/>
              <a:gd name="T21" fmla="*/ 10 h 14"/>
              <a:gd name="T22" fmla="*/ 9 w 43"/>
              <a:gd name="T23" fmla="*/ 13 h 14"/>
              <a:gd name="T24" fmla="*/ 8 w 43"/>
              <a:gd name="T25" fmla="*/ 9 h 14"/>
              <a:gd name="T26" fmla="*/ 8 w 43"/>
              <a:gd name="T27" fmla="*/ 5 h 14"/>
              <a:gd name="T28" fmla="*/ 41 w 43"/>
              <a:gd name="T29" fmla="*/ 3 h 14"/>
              <a:gd name="T30" fmla="*/ 39 w 43"/>
              <a:gd name="T31" fmla="*/ 2 h 14"/>
              <a:gd name="T32" fmla="*/ 37 w 43"/>
              <a:gd name="T33" fmla="*/ 0 h 14"/>
              <a:gd name="T34" fmla="*/ 36 w 43"/>
              <a:gd name="T35" fmla="*/ 3 h 14"/>
              <a:gd name="T36" fmla="*/ 34 w 43"/>
              <a:gd name="T37" fmla="*/ 4 h 14"/>
              <a:gd name="T38" fmla="*/ 34 w 43"/>
              <a:gd name="T39" fmla="*/ 5 h 14"/>
              <a:gd name="T40" fmla="*/ 34 w 43"/>
              <a:gd name="T41" fmla="*/ 6 h 14"/>
              <a:gd name="T42" fmla="*/ 33 w 43"/>
              <a:gd name="T43" fmla="*/ 7 h 14"/>
              <a:gd name="T44" fmla="*/ 31 w 43"/>
              <a:gd name="T45" fmla="*/ 5 h 14"/>
              <a:gd name="T46" fmla="*/ 31 w 43"/>
              <a:gd name="T47" fmla="*/ 5 h 14"/>
              <a:gd name="T48" fmla="*/ 29 w 43"/>
              <a:gd name="T49" fmla="*/ 8 h 14"/>
              <a:gd name="T50" fmla="*/ 26 w 43"/>
              <a:gd name="T51" fmla="*/ 9 h 14"/>
              <a:gd name="T52" fmla="*/ 25 w 43"/>
              <a:gd name="T53" fmla="*/ 12 h 14"/>
              <a:gd name="T54" fmla="*/ 21 w 43"/>
              <a:gd name="T55" fmla="*/ 11 h 14"/>
              <a:gd name="T56" fmla="*/ 22 w 43"/>
              <a:gd name="T57" fmla="*/ 12 h 14"/>
              <a:gd name="T58" fmla="*/ 24 w 43"/>
              <a:gd name="T59" fmla="*/ 13 h 14"/>
              <a:gd name="T60" fmla="*/ 27 w 43"/>
              <a:gd name="T61" fmla="*/ 13 h 14"/>
              <a:gd name="T62" fmla="*/ 29 w 43"/>
              <a:gd name="T63" fmla="*/ 12 h 14"/>
              <a:gd name="T64" fmla="*/ 31 w 43"/>
              <a:gd name="T65" fmla="*/ 13 h 14"/>
              <a:gd name="T66" fmla="*/ 33 w 43"/>
              <a:gd name="T67" fmla="*/ 11 h 14"/>
              <a:gd name="T68" fmla="*/ 34 w 43"/>
              <a:gd name="T69" fmla="*/ 9 h 14"/>
              <a:gd name="T70" fmla="*/ 35 w 43"/>
              <a:gd name="T71" fmla="*/ 7 h 14"/>
              <a:gd name="T72" fmla="*/ 38 w 43"/>
              <a:gd name="T73" fmla="*/ 6 h 14"/>
              <a:gd name="T74" fmla="*/ 39 w 43"/>
              <a:gd name="T75" fmla="*/ 6 h 14"/>
              <a:gd name="T76" fmla="*/ 41 w 43"/>
              <a:gd name="T77" fmla="*/ 5 h 14"/>
              <a:gd name="T78" fmla="*/ 43 w 43"/>
              <a:gd name="T79" fmla="*/ 4 h 14"/>
              <a:gd name="T80" fmla="*/ 41 w 43"/>
              <a:gd name="T8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 h="14">
                <a:moveTo>
                  <a:pt x="8" y="5"/>
                </a:moveTo>
                <a:cubicBezTo>
                  <a:pt x="8" y="4"/>
                  <a:pt x="7" y="4"/>
                  <a:pt x="6" y="3"/>
                </a:cubicBezTo>
                <a:cubicBezTo>
                  <a:pt x="6" y="2"/>
                  <a:pt x="5" y="2"/>
                  <a:pt x="5" y="2"/>
                </a:cubicBezTo>
                <a:cubicBezTo>
                  <a:pt x="5" y="2"/>
                  <a:pt x="5" y="2"/>
                  <a:pt x="5" y="1"/>
                </a:cubicBezTo>
                <a:cubicBezTo>
                  <a:pt x="4" y="2"/>
                  <a:pt x="4" y="2"/>
                  <a:pt x="4" y="2"/>
                </a:cubicBezTo>
                <a:cubicBezTo>
                  <a:pt x="4" y="2"/>
                  <a:pt x="3" y="3"/>
                  <a:pt x="3" y="2"/>
                </a:cubicBezTo>
                <a:cubicBezTo>
                  <a:pt x="3" y="2"/>
                  <a:pt x="2" y="1"/>
                  <a:pt x="1" y="1"/>
                </a:cubicBezTo>
                <a:cubicBezTo>
                  <a:pt x="1" y="1"/>
                  <a:pt x="1" y="1"/>
                  <a:pt x="0" y="1"/>
                </a:cubicBezTo>
                <a:cubicBezTo>
                  <a:pt x="1" y="2"/>
                  <a:pt x="1" y="3"/>
                  <a:pt x="1" y="4"/>
                </a:cubicBezTo>
                <a:cubicBezTo>
                  <a:pt x="1" y="5"/>
                  <a:pt x="3" y="7"/>
                  <a:pt x="3" y="8"/>
                </a:cubicBezTo>
                <a:cubicBezTo>
                  <a:pt x="3" y="9"/>
                  <a:pt x="4" y="9"/>
                  <a:pt x="5" y="10"/>
                </a:cubicBezTo>
                <a:cubicBezTo>
                  <a:pt x="6" y="11"/>
                  <a:pt x="9" y="13"/>
                  <a:pt x="9" y="13"/>
                </a:cubicBezTo>
                <a:cubicBezTo>
                  <a:pt x="10" y="12"/>
                  <a:pt x="9" y="10"/>
                  <a:pt x="8" y="9"/>
                </a:cubicBezTo>
                <a:cubicBezTo>
                  <a:pt x="7" y="9"/>
                  <a:pt x="8" y="7"/>
                  <a:pt x="8" y="5"/>
                </a:cubicBezTo>
                <a:moveTo>
                  <a:pt x="41" y="3"/>
                </a:moveTo>
                <a:cubicBezTo>
                  <a:pt x="41" y="3"/>
                  <a:pt x="39" y="3"/>
                  <a:pt x="39" y="2"/>
                </a:cubicBezTo>
                <a:cubicBezTo>
                  <a:pt x="39" y="2"/>
                  <a:pt x="38" y="0"/>
                  <a:pt x="37" y="0"/>
                </a:cubicBezTo>
                <a:cubicBezTo>
                  <a:pt x="37" y="0"/>
                  <a:pt x="36" y="2"/>
                  <a:pt x="36" y="3"/>
                </a:cubicBezTo>
                <a:cubicBezTo>
                  <a:pt x="36" y="3"/>
                  <a:pt x="34" y="3"/>
                  <a:pt x="34" y="4"/>
                </a:cubicBezTo>
                <a:cubicBezTo>
                  <a:pt x="34" y="4"/>
                  <a:pt x="34" y="5"/>
                  <a:pt x="34" y="5"/>
                </a:cubicBezTo>
                <a:cubicBezTo>
                  <a:pt x="34" y="6"/>
                  <a:pt x="34" y="6"/>
                  <a:pt x="34" y="6"/>
                </a:cubicBezTo>
                <a:cubicBezTo>
                  <a:pt x="33" y="6"/>
                  <a:pt x="33" y="7"/>
                  <a:pt x="33" y="7"/>
                </a:cubicBezTo>
                <a:cubicBezTo>
                  <a:pt x="32" y="7"/>
                  <a:pt x="32" y="6"/>
                  <a:pt x="31" y="5"/>
                </a:cubicBezTo>
                <a:cubicBezTo>
                  <a:pt x="31" y="5"/>
                  <a:pt x="31" y="5"/>
                  <a:pt x="31" y="5"/>
                </a:cubicBezTo>
                <a:cubicBezTo>
                  <a:pt x="31" y="5"/>
                  <a:pt x="30" y="7"/>
                  <a:pt x="29" y="8"/>
                </a:cubicBezTo>
                <a:cubicBezTo>
                  <a:pt x="29" y="9"/>
                  <a:pt x="28" y="9"/>
                  <a:pt x="26" y="9"/>
                </a:cubicBezTo>
                <a:cubicBezTo>
                  <a:pt x="24" y="9"/>
                  <a:pt x="25" y="11"/>
                  <a:pt x="25" y="12"/>
                </a:cubicBezTo>
                <a:cubicBezTo>
                  <a:pt x="24" y="13"/>
                  <a:pt x="22" y="11"/>
                  <a:pt x="21" y="11"/>
                </a:cubicBezTo>
                <a:cubicBezTo>
                  <a:pt x="22" y="12"/>
                  <a:pt x="22" y="12"/>
                  <a:pt x="22" y="12"/>
                </a:cubicBezTo>
                <a:cubicBezTo>
                  <a:pt x="23" y="12"/>
                  <a:pt x="23" y="14"/>
                  <a:pt x="24" y="13"/>
                </a:cubicBezTo>
                <a:cubicBezTo>
                  <a:pt x="24" y="13"/>
                  <a:pt x="26" y="13"/>
                  <a:pt x="27" y="13"/>
                </a:cubicBezTo>
                <a:cubicBezTo>
                  <a:pt x="28" y="13"/>
                  <a:pt x="28" y="12"/>
                  <a:pt x="29" y="12"/>
                </a:cubicBezTo>
                <a:cubicBezTo>
                  <a:pt x="30" y="12"/>
                  <a:pt x="30" y="13"/>
                  <a:pt x="31" y="13"/>
                </a:cubicBezTo>
                <a:cubicBezTo>
                  <a:pt x="32" y="12"/>
                  <a:pt x="33" y="12"/>
                  <a:pt x="33" y="11"/>
                </a:cubicBezTo>
                <a:cubicBezTo>
                  <a:pt x="33" y="10"/>
                  <a:pt x="34" y="10"/>
                  <a:pt x="34" y="9"/>
                </a:cubicBezTo>
                <a:cubicBezTo>
                  <a:pt x="34" y="8"/>
                  <a:pt x="35" y="9"/>
                  <a:pt x="35" y="7"/>
                </a:cubicBezTo>
                <a:cubicBezTo>
                  <a:pt x="35" y="5"/>
                  <a:pt x="37" y="6"/>
                  <a:pt x="38" y="6"/>
                </a:cubicBezTo>
                <a:cubicBezTo>
                  <a:pt x="39" y="6"/>
                  <a:pt x="39" y="6"/>
                  <a:pt x="39" y="6"/>
                </a:cubicBezTo>
                <a:cubicBezTo>
                  <a:pt x="40" y="6"/>
                  <a:pt x="41" y="5"/>
                  <a:pt x="41" y="5"/>
                </a:cubicBezTo>
                <a:cubicBezTo>
                  <a:pt x="40" y="4"/>
                  <a:pt x="43" y="5"/>
                  <a:pt x="43" y="4"/>
                </a:cubicBezTo>
                <a:cubicBezTo>
                  <a:pt x="43" y="3"/>
                  <a:pt x="42" y="2"/>
                  <a:pt x="4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328"/>
          <p:cNvSpPr>
            <a:spLocks/>
          </p:cNvSpPr>
          <p:nvPr/>
        </p:nvSpPr>
        <p:spPr bwMode="auto">
          <a:xfrm>
            <a:off x="3402690" y="3232476"/>
            <a:ext cx="14299" cy="10725"/>
          </a:xfrm>
          <a:custGeom>
            <a:avLst/>
            <a:gdLst>
              <a:gd name="T0" fmla="*/ 2 w 3"/>
              <a:gd name="T1" fmla="*/ 2 h 2"/>
              <a:gd name="T2" fmla="*/ 3 w 3"/>
              <a:gd name="T3" fmla="*/ 1 h 2"/>
              <a:gd name="T4" fmla="*/ 3 w 3"/>
              <a:gd name="T5" fmla="*/ 0 h 2"/>
              <a:gd name="T6" fmla="*/ 2 w 3"/>
              <a:gd name="T7" fmla="*/ 0 h 2"/>
              <a:gd name="T8" fmla="*/ 0 w 3"/>
              <a:gd name="T9" fmla="*/ 0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2" y="2"/>
                  <a:pt x="2" y="1"/>
                  <a:pt x="3" y="1"/>
                </a:cubicBezTo>
                <a:cubicBezTo>
                  <a:pt x="3" y="1"/>
                  <a:pt x="3" y="1"/>
                  <a:pt x="3" y="0"/>
                </a:cubicBezTo>
                <a:cubicBezTo>
                  <a:pt x="2" y="0"/>
                  <a:pt x="2" y="0"/>
                  <a:pt x="2" y="0"/>
                </a:cubicBezTo>
                <a:cubicBezTo>
                  <a:pt x="2" y="1"/>
                  <a:pt x="1" y="0"/>
                  <a:pt x="0" y="0"/>
                </a:cubicBezTo>
                <a:cubicBezTo>
                  <a:pt x="1" y="1"/>
                  <a:pt x="1" y="2"/>
                  <a:pt x="2"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329"/>
          <p:cNvSpPr>
            <a:spLocks/>
          </p:cNvSpPr>
          <p:nvPr/>
        </p:nvSpPr>
        <p:spPr bwMode="auto">
          <a:xfrm>
            <a:off x="2609074" y="2857117"/>
            <a:ext cx="103671" cy="100096"/>
          </a:xfrm>
          <a:custGeom>
            <a:avLst/>
            <a:gdLst>
              <a:gd name="T0" fmla="*/ 18 w 21"/>
              <a:gd name="T1" fmla="*/ 20 h 21"/>
              <a:gd name="T2" fmla="*/ 19 w 21"/>
              <a:gd name="T3" fmla="*/ 19 h 21"/>
              <a:gd name="T4" fmla="*/ 20 w 21"/>
              <a:gd name="T5" fmla="*/ 20 h 21"/>
              <a:gd name="T6" fmla="*/ 21 w 21"/>
              <a:gd name="T7" fmla="*/ 19 h 21"/>
              <a:gd name="T8" fmla="*/ 20 w 21"/>
              <a:gd name="T9" fmla="*/ 17 h 21"/>
              <a:gd name="T10" fmla="*/ 19 w 21"/>
              <a:gd name="T11" fmla="*/ 16 h 21"/>
              <a:gd name="T12" fmla="*/ 19 w 21"/>
              <a:gd name="T13" fmla="*/ 14 h 21"/>
              <a:gd name="T14" fmla="*/ 18 w 21"/>
              <a:gd name="T15" fmla="*/ 13 h 21"/>
              <a:gd name="T16" fmla="*/ 16 w 21"/>
              <a:gd name="T17" fmla="*/ 11 h 21"/>
              <a:gd name="T18" fmla="*/ 15 w 21"/>
              <a:gd name="T19" fmla="*/ 10 h 21"/>
              <a:gd name="T20" fmla="*/ 15 w 21"/>
              <a:gd name="T21" fmla="*/ 8 h 21"/>
              <a:gd name="T22" fmla="*/ 16 w 21"/>
              <a:gd name="T23" fmla="*/ 6 h 21"/>
              <a:gd name="T24" fmla="*/ 16 w 21"/>
              <a:gd name="T25" fmla="*/ 5 h 21"/>
              <a:gd name="T26" fmla="*/ 15 w 21"/>
              <a:gd name="T27" fmla="*/ 4 h 21"/>
              <a:gd name="T28" fmla="*/ 14 w 21"/>
              <a:gd name="T29" fmla="*/ 3 h 21"/>
              <a:gd name="T30" fmla="*/ 13 w 21"/>
              <a:gd name="T31" fmla="*/ 1 h 21"/>
              <a:gd name="T32" fmla="*/ 11 w 21"/>
              <a:gd name="T33" fmla="*/ 1 h 21"/>
              <a:gd name="T34" fmla="*/ 9 w 21"/>
              <a:gd name="T35" fmla="*/ 0 h 21"/>
              <a:gd name="T36" fmla="*/ 8 w 21"/>
              <a:gd name="T37" fmla="*/ 1 h 21"/>
              <a:gd name="T38" fmla="*/ 8 w 21"/>
              <a:gd name="T39" fmla="*/ 1 h 21"/>
              <a:gd name="T40" fmla="*/ 6 w 21"/>
              <a:gd name="T41" fmla="*/ 2 h 21"/>
              <a:gd name="T42" fmla="*/ 5 w 21"/>
              <a:gd name="T43" fmla="*/ 3 h 21"/>
              <a:gd name="T44" fmla="*/ 5 w 21"/>
              <a:gd name="T45" fmla="*/ 5 h 21"/>
              <a:gd name="T46" fmla="*/ 5 w 21"/>
              <a:gd name="T47" fmla="*/ 7 h 21"/>
              <a:gd name="T48" fmla="*/ 4 w 21"/>
              <a:gd name="T49" fmla="*/ 8 h 21"/>
              <a:gd name="T50" fmla="*/ 0 w 21"/>
              <a:gd name="T51" fmla="*/ 11 h 21"/>
              <a:gd name="T52" fmla="*/ 0 w 21"/>
              <a:gd name="T53" fmla="*/ 12 h 21"/>
              <a:gd name="T54" fmla="*/ 0 w 21"/>
              <a:gd name="T55" fmla="*/ 14 h 21"/>
              <a:gd name="T56" fmla="*/ 2 w 21"/>
              <a:gd name="T57" fmla="*/ 14 h 21"/>
              <a:gd name="T58" fmla="*/ 6 w 21"/>
              <a:gd name="T59" fmla="*/ 16 h 21"/>
              <a:gd name="T60" fmla="*/ 12 w 21"/>
              <a:gd name="T61" fmla="*/ 20 h 21"/>
              <a:gd name="T62" fmla="*/ 14 w 21"/>
              <a:gd name="T63" fmla="*/ 21 h 21"/>
              <a:gd name="T64" fmla="*/ 17 w 21"/>
              <a:gd name="T65" fmla="*/ 21 h 21"/>
              <a:gd name="T66" fmla="*/ 18 w 21"/>
              <a:gd name="T6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1">
                <a:moveTo>
                  <a:pt x="18" y="20"/>
                </a:moveTo>
                <a:cubicBezTo>
                  <a:pt x="18" y="19"/>
                  <a:pt x="18" y="19"/>
                  <a:pt x="19" y="19"/>
                </a:cubicBezTo>
                <a:cubicBezTo>
                  <a:pt x="19" y="19"/>
                  <a:pt x="20" y="19"/>
                  <a:pt x="20" y="20"/>
                </a:cubicBezTo>
                <a:cubicBezTo>
                  <a:pt x="21" y="19"/>
                  <a:pt x="21" y="19"/>
                  <a:pt x="21" y="19"/>
                </a:cubicBezTo>
                <a:cubicBezTo>
                  <a:pt x="21" y="18"/>
                  <a:pt x="20" y="18"/>
                  <a:pt x="20" y="17"/>
                </a:cubicBezTo>
                <a:cubicBezTo>
                  <a:pt x="20" y="17"/>
                  <a:pt x="19" y="16"/>
                  <a:pt x="19" y="16"/>
                </a:cubicBezTo>
                <a:cubicBezTo>
                  <a:pt x="19" y="15"/>
                  <a:pt x="20" y="15"/>
                  <a:pt x="19" y="14"/>
                </a:cubicBezTo>
                <a:cubicBezTo>
                  <a:pt x="19" y="14"/>
                  <a:pt x="19" y="13"/>
                  <a:pt x="18" y="13"/>
                </a:cubicBezTo>
                <a:cubicBezTo>
                  <a:pt x="18" y="13"/>
                  <a:pt x="16" y="12"/>
                  <a:pt x="16" y="11"/>
                </a:cubicBezTo>
                <a:cubicBezTo>
                  <a:pt x="16" y="11"/>
                  <a:pt x="15" y="10"/>
                  <a:pt x="15" y="10"/>
                </a:cubicBezTo>
                <a:cubicBezTo>
                  <a:pt x="15" y="10"/>
                  <a:pt x="14" y="8"/>
                  <a:pt x="15" y="8"/>
                </a:cubicBezTo>
                <a:cubicBezTo>
                  <a:pt x="15" y="8"/>
                  <a:pt x="15" y="6"/>
                  <a:pt x="16" y="6"/>
                </a:cubicBezTo>
                <a:cubicBezTo>
                  <a:pt x="16" y="6"/>
                  <a:pt x="16" y="6"/>
                  <a:pt x="16" y="5"/>
                </a:cubicBezTo>
                <a:cubicBezTo>
                  <a:pt x="16" y="5"/>
                  <a:pt x="15" y="4"/>
                  <a:pt x="15" y="4"/>
                </a:cubicBezTo>
                <a:cubicBezTo>
                  <a:pt x="14" y="4"/>
                  <a:pt x="14" y="4"/>
                  <a:pt x="14" y="3"/>
                </a:cubicBezTo>
                <a:cubicBezTo>
                  <a:pt x="14" y="2"/>
                  <a:pt x="13" y="1"/>
                  <a:pt x="13" y="1"/>
                </a:cubicBezTo>
                <a:cubicBezTo>
                  <a:pt x="13" y="2"/>
                  <a:pt x="11" y="1"/>
                  <a:pt x="11" y="1"/>
                </a:cubicBezTo>
                <a:cubicBezTo>
                  <a:pt x="10" y="1"/>
                  <a:pt x="10" y="0"/>
                  <a:pt x="9" y="0"/>
                </a:cubicBezTo>
                <a:cubicBezTo>
                  <a:pt x="8" y="1"/>
                  <a:pt x="8" y="1"/>
                  <a:pt x="8" y="1"/>
                </a:cubicBezTo>
                <a:cubicBezTo>
                  <a:pt x="8" y="1"/>
                  <a:pt x="8" y="1"/>
                  <a:pt x="8" y="1"/>
                </a:cubicBezTo>
                <a:cubicBezTo>
                  <a:pt x="6" y="2"/>
                  <a:pt x="6" y="2"/>
                  <a:pt x="6" y="2"/>
                </a:cubicBezTo>
                <a:cubicBezTo>
                  <a:pt x="6" y="2"/>
                  <a:pt x="5" y="3"/>
                  <a:pt x="5" y="3"/>
                </a:cubicBezTo>
                <a:cubicBezTo>
                  <a:pt x="5" y="4"/>
                  <a:pt x="6" y="5"/>
                  <a:pt x="5" y="5"/>
                </a:cubicBezTo>
                <a:cubicBezTo>
                  <a:pt x="5" y="5"/>
                  <a:pt x="5" y="6"/>
                  <a:pt x="5" y="7"/>
                </a:cubicBezTo>
                <a:cubicBezTo>
                  <a:pt x="5" y="7"/>
                  <a:pt x="4" y="8"/>
                  <a:pt x="4" y="8"/>
                </a:cubicBezTo>
                <a:cubicBezTo>
                  <a:pt x="4" y="8"/>
                  <a:pt x="2" y="9"/>
                  <a:pt x="0" y="11"/>
                </a:cubicBezTo>
                <a:cubicBezTo>
                  <a:pt x="0" y="11"/>
                  <a:pt x="0" y="11"/>
                  <a:pt x="0" y="12"/>
                </a:cubicBezTo>
                <a:cubicBezTo>
                  <a:pt x="0" y="12"/>
                  <a:pt x="0" y="13"/>
                  <a:pt x="0" y="14"/>
                </a:cubicBezTo>
                <a:cubicBezTo>
                  <a:pt x="1" y="14"/>
                  <a:pt x="1" y="14"/>
                  <a:pt x="2" y="14"/>
                </a:cubicBezTo>
                <a:cubicBezTo>
                  <a:pt x="3" y="14"/>
                  <a:pt x="6" y="16"/>
                  <a:pt x="6" y="16"/>
                </a:cubicBezTo>
                <a:cubicBezTo>
                  <a:pt x="7" y="17"/>
                  <a:pt x="11" y="20"/>
                  <a:pt x="12" y="20"/>
                </a:cubicBezTo>
                <a:cubicBezTo>
                  <a:pt x="13" y="21"/>
                  <a:pt x="14" y="21"/>
                  <a:pt x="14" y="21"/>
                </a:cubicBezTo>
                <a:cubicBezTo>
                  <a:pt x="15" y="21"/>
                  <a:pt x="16" y="21"/>
                  <a:pt x="17" y="21"/>
                </a:cubicBezTo>
                <a:cubicBezTo>
                  <a:pt x="17" y="21"/>
                  <a:pt x="18" y="20"/>
                  <a:pt x="18"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330"/>
          <p:cNvSpPr>
            <a:spLocks/>
          </p:cNvSpPr>
          <p:nvPr/>
        </p:nvSpPr>
        <p:spPr bwMode="auto">
          <a:xfrm>
            <a:off x="2691295" y="2946489"/>
            <a:ext cx="21449" cy="21449"/>
          </a:xfrm>
          <a:custGeom>
            <a:avLst/>
            <a:gdLst>
              <a:gd name="T0" fmla="*/ 1 w 4"/>
              <a:gd name="T1" fmla="*/ 3 h 4"/>
              <a:gd name="T2" fmla="*/ 2 w 4"/>
              <a:gd name="T3" fmla="*/ 4 h 4"/>
              <a:gd name="T4" fmla="*/ 4 w 4"/>
              <a:gd name="T5" fmla="*/ 4 h 4"/>
              <a:gd name="T6" fmla="*/ 3 w 4"/>
              <a:gd name="T7" fmla="*/ 1 h 4"/>
              <a:gd name="T8" fmla="*/ 3 w 4"/>
              <a:gd name="T9" fmla="*/ 1 h 4"/>
              <a:gd name="T10" fmla="*/ 2 w 4"/>
              <a:gd name="T11" fmla="*/ 0 h 4"/>
              <a:gd name="T12" fmla="*/ 1 w 4"/>
              <a:gd name="T13" fmla="*/ 1 h 4"/>
              <a:gd name="T14" fmla="*/ 0 w 4"/>
              <a:gd name="T15" fmla="*/ 2 h 4"/>
              <a:gd name="T16" fmla="*/ 1 w 4"/>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1" y="3"/>
                </a:moveTo>
                <a:cubicBezTo>
                  <a:pt x="2" y="4"/>
                  <a:pt x="2" y="4"/>
                  <a:pt x="2" y="4"/>
                </a:cubicBezTo>
                <a:cubicBezTo>
                  <a:pt x="4" y="4"/>
                  <a:pt x="4" y="4"/>
                  <a:pt x="4" y="4"/>
                </a:cubicBezTo>
                <a:cubicBezTo>
                  <a:pt x="4" y="3"/>
                  <a:pt x="3" y="1"/>
                  <a:pt x="3" y="1"/>
                </a:cubicBezTo>
                <a:cubicBezTo>
                  <a:pt x="3" y="1"/>
                  <a:pt x="3" y="1"/>
                  <a:pt x="3" y="1"/>
                </a:cubicBezTo>
                <a:cubicBezTo>
                  <a:pt x="3" y="0"/>
                  <a:pt x="2" y="0"/>
                  <a:pt x="2" y="0"/>
                </a:cubicBezTo>
                <a:cubicBezTo>
                  <a:pt x="1" y="0"/>
                  <a:pt x="1" y="0"/>
                  <a:pt x="1" y="1"/>
                </a:cubicBezTo>
                <a:cubicBezTo>
                  <a:pt x="1" y="1"/>
                  <a:pt x="0" y="2"/>
                  <a:pt x="0" y="2"/>
                </a:cubicBezTo>
                <a:cubicBezTo>
                  <a:pt x="1" y="3"/>
                  <a:pt x="1"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331"/>
          <p:cNvSpPr>
            <a:spLocks noEditPoints="1"/>
          </p:cNvSpPr>
          <p:nvPr/>
        </p:nvSpPr>
        <p:spPr bwMode="auto">
          <a:xfrm>
            <a:off x="2147918" y="2678375"/>
            <a:ext cx="153718" cy="128695"/>
          </a:xfrm>
          <a:custGeom>
            <a:avLst/>
            <a:gdLst>
              <a:gd name="T0" fmla="*/ 28 w 32"/>
              <a:gd name="T1" fmla="*/ 6 h 27"/>
              <a:gd name="T2" fmla="*/ 27 w 32"/>
              <a:gd name="T3" fmla="*/ 6 h 27"/>
              <a:gd name="T4" fmla="*/ 26 w 32"/>
              <a:gd name="T5" fmla="*/ 5 h 27"/>
              <a:gd name="T6" fmla="*/ 24 w 32"/>
              <a:gd name="T7" fmla="*/ 5 h 27"/>
              <a:gd name="T8" fmla="*/ 22 w 32"/>
              <a:gd name="T9" fmla="*/ 4 h 27"/>
              <a:gd name="T10" fmla="*/ 22 w 32"/>
              <a:gd name="T11" fmla="*/ 3 h 27"/>
              <a:gd name="T12" fmla="*/ 21 w 32"/>
              <a:gd name="T13" fmla="*/ 3 h 27"/>
              <a:gd name="T14" fmla="*/ 20 w 32"/>
              <a:gd name="T15" fmla="*/ 3 h 27"/>
              <a:gd name="T16" fmla="*/ 19 w 32"/>
              <a:gd name="T17" fmla="*/ 2 h 27"/>
              <a:gd name="T18" fmla="*/ 18 w 32"/>
              <a:gd name="T19" fmla="*/ 1 h 27"/>
              <a:gd name="T20" fmla="*/ 17 w 32"/>
              <a:gd name="T21" fmla="*/ 0 h 27"/>
              <a:gd name="T22" fmla="*/ 17 w 32"/>
              <a:gd name="T23" fmla="*/ 0 h 27"/>
              <a:gd name="T24" fmla="*/ 16 w 32"/>
              <a:gd name="T25" fmla="*/ 0 h 27"/>
              <a:gd name="T26" fmla="*/ 15 w 32"/>
              <a:gd name="T27" fmla="*/ 2 h 27"/>
              <a:gd name="T28" fmla="*/ 12 w 32"/>
              <a:gd name="T29" fmla="*/ 3 h 27"/>
              <a:gd name="T30" fmla="*/ 11 w 32"/>
              <a:gd name="T31" fmla="*/ 5 h 27"/>
              <a:gd name="T32" fmla="*/ 8 w 32"/>
              <a:gd name="T33" fmla="*/ 4 h 27"/>
              <a:gd name="T34" fmla="*/ 7 w 32"/>
              <a:gd name="T35" fmla="*/ 5 h 27"/>
              <a:gd name="T36" fmla="*/ 7 w 32"/>
              <a:gd name="T37" fmla="*/ 7 h 27"/>
              <a:gd name="T38" fmla="*/ 5 w 32"/>
              <a:gd name="T39" fmla="*/ 7 h 27"/>
              <a:gd name="T40" fmla="*/ 4 w 32"/>
              <a:gd name="T41" fmla="*/ 7 h 27"/>
              <a:gd name="T42" fmla="*/ 2 w 32"/>
              <a:gd name="T43" fmla="*/ 7 h 27"/>
              <a:gd name="T44" fmla="*/ 1 w 32"/>
              <a:gd name="T45" fmla="*/ 8 h 27"/>
              <a:gd name="T46" fmla="*/ 1 w 32"/>
              <a:gd name="T47" fmla="*/ 9 h 27"/>
              <a:gd name="T48" fmla="*/ 4 w 32"/>
              <a:gd name="T49" fmla="*/ 10 h 27"/>
              <a:gd name="T50" fmla="*/ 6 w 32"/>
              <a:gd name="T51" fmla="*/ 11 h 27"/>
              <a:gd name="T52" fmla="*/ 6 w 32"/>
              <a:gd name="T53" fmla="*/ 12 h 27"/>
              <a:gd name="T54" fmla="*/ 8 w 32"/>
              <a:gd name="T55" fmla="*/ 14 h 27"/>
              <a:gd name="T56" fmla="*/ 9 w 32"/>
              <a:gd name="T57" fmla="*/ 15 h 27"/>
              <a:gd name="T58" fmla="*/ 8 w 32"/>
              <a:gd name="T59" fmla="*/ 18 h 27"/>
              <a:gd name="T60" fmla="*/ 7 w 32"/>
              <a:gd name="T61" fmla="*/ 22 h 27"/>
              <a:gd name="T62" fmla="*/ 7 w 32"/>
              <a:gd name="T63" fmla="*/ 22 h 27"/>
              <a:gd name="T64" fmla="*/ 8 w 32"/>
              <a:gd name="T65" fmla="*/ 23 h 27"/>
              <a:gd name="T66" fmla="*/ 11 w 32"/>
              <a:gd name="T67" fmla="*/ 24 h 27"/>
              <a:gd name="T68" fmla="*/ 12 w 32"/>
              <a:gd name="T69" fmla="*/ 23 h 27"/>
              <a:gd name="T70" fmla="*/ 13 w 32"/>
              <a:gd name="T71" fmla="*/ 24 h 27"/>
              <a:gd name="T72" fmla="*/ 16 w 32"/>
              <a:gd name="T73" fmla="*/ 24 h 27"/>
              <a:gd name="T74" fmla="*/ 18 w 32"/>
              <a:gd name="T75" fmla="*/ 24 h 27"/>
              <a:gd name="T76" fmla="*/ 18 w 32"/>
              <a:gd name="T77" fmla="*/ 24 h 27"/>
              <a:gd name="T78" fmla="*/ 20 w 32"/>
              <a:gd name="T79" fmla="*/ 22 h 27"/>
              <a:gd name="T80" fmla="*/ 24 w 32"/>
              <a:gd name="T81" fmla="*/ 22 h 27"/>
              <a:gd name="T82" fmla="*/ 27 w 32"/>
              <a:gd name="T83" fmla="*/ 22 h 27"/>
              <a:gd name="T84" fmla="*/ 28 w 32"/>
              <a:gd name="T85" fmla="*/ 21 h 27"/>
              <a:gd name="T86" fmla="*/ 28 w 32"/>
              <a:gd name="T87" fmla="*/ 20 h 27"/>
              <a:gd name="T88" fmla="*/ 27 w 32"/>
              <a:gd name="T89" fmla="*/ 20 h 27"/>
              <a:gd name="T90" fmla="*/ 27 w 32"/>
              <a:gd name="T91" fmla="*/ 19 h 27"/>
              <a:gd name="T92" fmla="*/ 26 w 32"/>
              <a:gd name="T93" fmla="*/ 17 h 27"/>
              <a:gd name="T94" fmla="*/ 26 w 32"/>
              <a:gd name="T95" fmla="*/ 17 h 27"/>
              <a:gd name="T96" fmla="*/ 27 w 32"/>
              <a:gd name="T97" fmla="*/ 16 h 27"/>
              <a:gd name="T98" fmla="*/ 27 w 32"/>
              <a:gd name="T99" fmla="*/ 15 h 27"/>
              <a:gd name="T100" fmla="*/ 26 w 32"/>
              <a:gd name="T101" fmla="*/ 14 h 27"/>
              <a:gd name="T102" fmla="*/ 25 w 32"/>
              <a:gd name="T103" fmla="*/ 14 h 27"/>
              <a:gd name="T104" fmla="*/ 25 w 32"/>
              <a:gd name="T105" fmla="*/ 13 h 27"/>
              <a:gd name="T106" fmla="*/ 26 w 32"/>
              <a:gd name="T107" fmla="*/ 11 h 27"/>
              <a:gd name="T108" fmla="*/ 28 w 32"/>
              <a:gd name="T109" fmla="*/ 10 h 27"/>
              <a:gd name="T110" fmla="*/ 28 w 32"/>
              <a:gd name="T111" fmla="*/ 9 h 27"/>
              <a:gd name="T112" fmla="*/ 29 w 32"/>
              <a:gd name="T113" fmla="*/ 7 h 27"/>
              <a:gd name="T114" fmla="*/ 28 w 32"/>
              <a:gd name="T115" fmla="*/ 6 h 27"/>
              <a:gd name="T116" fmla="*/ 32 w 32"/>
              <a:gd name="T117" fmla="*/ 23 h 27"/>
              <a:gd name="T118" fmla="*/ 31 w 32"/>
              <a:gd name="T119" fmla="*/ 24 h 27"/>
              <a:gd name="T120" fmla="*/ 32 w 32"/>
              <a:gd name="T121" fmla="*/ 27 h 27"/>
              <a:gd name="T122" fmla="*/ 32 w 32"/>
              <a:gd name="T1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7">
                <a:moveTo>
                  <a:pt x="28" y="6"/>
                </a:moveTo>
                <a:cubicBezTo>
                  <a:pt x="28" y="6"/>
                  <a:pt x="28" y="6"/>
                  <a:pt x="27" y="6"/>
                </a:cubicBezTo>
                <a:cubicBezTo>
                  <a:pt x="27" y="6"/>
                  <a:pt x="26" y="5"/>
                  <a:pt x="26" y="5"/>
                </a:cubicBezTo>
                <a:cubicBezTo>
                  <a:pt x="26" y="5"/>
                  <a:pt x="24" y="5"/>
                  <a:pt x="24" y="5"/>
                </a:cubicBezTo>
                <a:cubicBezTo>
                  <a:pt x="23" y="5"/>
                  <a:pt x="23" y="4"/>
                  <a:pt x="22" y="4"/>
                </a:cubicBezTo>
                <a:cubicBezTo>
                  <a:pt x="22" y="4"/>
                  <a:pt x="22" y="3"/>
                  <a:pt x="22" y="3"/>
                </a:cubicBezTo>
                <a:cubicBezTo>
                  <a:pt x="22" y="2"/>
                  <a:pt x="21" y="3"/>
                  <a:pt x="21" y="3"/>
                </a:cubicBezTo>
                <a:cubicBezTo>
                  <a:pt x="20" y="4"/>
                  <a:pt x="20" y="3"/>
                  <a:pt x="20" y="3"/>
                </a:cubicBezTo>
                <a:cubicBezTo>
                  <a:pt x="20" y="2"/>
                  <a:pt x="19" y="2"/>
                  <a:pt x="19" y="2"/>
                </a:cubicBezTo>
                <a:cubicBezTo>
                  <a:pt x="18" y="2"/>
                  <a:pt x="18" y="1"/>
                  <a:pt x="18" y="1"/>
                </a:cubicBezTo>
                <a:cubicBezTo>
                  <a:pt x="17" y="1"/>
                  <a:pt x="17" y="1"/>
                  <a:pt x="17" y="0"/>
                </a:cubicBezTo>
                <a:cubicBezTo>
                  <a:pt x="17" y="0"/>
                  <a:pt x="17" y="0"/>
                  <a:pt x="17" y="0"/>
                </a:cubicBezTo>
                <a:cubicBezTo>
                  <a:pt x="16" y="0"/>
                  <a:pt x="16" y="0"/>
                  <a:pt x="16" y="0"/>
                </a:cubicBezTo>
                <a:cubicBezTo>
                  <a:pt x="15" y="0"/>
                  <a:pt x="15" y="1"/>
                  <a:pt x="15" y="2"/>
                </a:cubicBezTo>
                <a:cubicBezTo>
                  <a:pt x="15" y="3"/>
                  <a:pt x="14" y="3"/>
                  <a:pt x="12" y="3"/>
                </a:cubicBezTo>
                <a:cubicBezTo>
                  <a:pt x="11" y="4"/>
                  <a:pt x="12" y="5"/>
                  <a:pt x="11" y="5"/>
                </a:cubicBezTo>
                <a:cubicBezTo>
                  <a:pt x="11" y="5"/>
                  <a:pt x="9" y="5"/>
                  <a:pt x="8" y="4"/>
                </a:cubicBezTo>
                <a:cubicBezTo>
                  <a:pt x="8" y="3"/>
                  <a:pt x="6" y="4"/>
                  <a:pt x="7" y="5"/>
                </a:cubicBezTo>
                <a:cubicBezTo>
                  <a:pt x="8" y="6"/>
                  <a:pt x="8" y="7"/>
                  <a:pt x="7" y="7"/>
                </a:cubicBezTo>
                <a:cubicBezTo>
                  <a:pt x="7" y="8"/>
                  <a:pt x="6" y="7"/>
                  <a:pt x="5" y="7"/>
                </a:cubicBezTo>
                <a:cubicBezTo>
                  <a:pt x="5" y="8"/>
                  <a:pt x="5" y="7"/>
                  <a:pt x="4" y="7"/>
                </a:cubicBezTo>
                <a:cubicBezTo>
                  <a:pt x="3" y="6"/>
                  <a:pt x="3" y="7"/>
                  <a:pt x="2" y="7"/>
                </a:cubicBezTo>
                <a:cubicBezTo>
                  <a:pt x="1" y="7"/>
                  <a:pt x="0" y="7"/>
                  <a:pt x="1" y="8"/>
                </a:cubicBezTo>
                <a:cubicBezTo>
                  <a:pt x="1" y="8"/>
                  <a:pt x="0" y="9"/>
                  <a:pt x="1" y="9"/>
                </a:cubicBezTo>
                <a:cubicBezTo>
                  <a:pt x="1" y="10"/>
                  <a:pt x="3" y="10"/>
                  <a:pt x="4" y="10"/>
                </a:cubicBezTo>
                <a:cubicBezTo>
                  <a:pt x="5" y="11"/>
                  <a:pt x="5" y="10"/>
                  <a:pt x="6" y="11"/>
                </a:cubicBezTo>
                <a:cubicBezTo>
                  <a:pt x="6" y="11"/>
                  <a:pt x="6" y="11"/>
                  <a:pt x="6" y="12"/>
                </a:cubicBezTo>
                <a:cubicBezTo>
                  <a:pt x="6" y="12"/>
                  <a:pt x="7" y="13"/>
                  <a:pt x="8" y="14"/>
                </a:cubicBezTo>
                <a:cubicBezTo>
                  <a:pt x="9" y="14"/>
                  <a:pt x="8" y="15"/>
                  <a:pt x="9" y="15"/>
                </a:cubicBezTo>
                <a:cubicBezTo>
                  <a:pt x="9" y="16"/>
                  <a:pt x="8" y="17"/>
                  <a:pt x="8" y="18"/>
                </a:cubicBezTo>
                <a:cubicBezTo>
                  <a:pt x="9" y="19"/>
                  <a:pt x="8" y="22"/>
                  <a:pt x="7" y="22"/>
                </a:cubicBezTo>
                <a:cubicBezTo>
                  <a:pt x="7" y="22"/>
                  <a:pt x="7" y="22"/>
                  <a:pt x="7" y="22"/>
                </a:cubicBezTo>
                <a:cubicBezTo>
                  <a:pt x="8" y="22"/>
                  <a:pt x="8" y="22"/>
                  <a:pt x="8" y="23"/>
                </a:cubicBezTo>
                <a:cubicBezTo>
                  <a:pt x="9" y="23"/>
                  <a:pt x="10" y="23"/>
                  <a:pt x="11" y="24"/>
                </a:cubicBezTo>
                <a:cubicBezTo>
                  <a:pt x="11" y="24"/>
                  <a:pt x="12" y="24"/>
                  <a:pt x="12" y="23"/>
                </a:cubicBezTo>
                <a:cubicBezTo>
                  <a:pt x="12" y="23"/>
                  <a:pt x="13" y="23"/>
                  <a:pt x="13" y="24"/>
                </a:cubicBezTo>
                <a:cubicBezTo>
                  <a:pt x="14" y="24"/>
                  <a:pt x="15" y="24"/>
                  <a:pt x="16" y="24"/>
                </a:cubicBezTo>
                <a:cubicBezTo>
                  <a:pt x="17" y="24"/>
                  <a:pt x="17" y="24"/>
                  <a:pt x="18" y="24"/>
                </a:cubicBezTo>
                <a:cubicBezTo>
                  <a:pt x="18" y="24"/>
                  <a:pt x="18" y="24"/>
                  <a:pt x="18" y="24"/>
                </a:cubicBezTo>
                <a:cubicBezTo>
                  <a:pt x="18" y="23"/>
                  <a:pt x="19" y="22"/>
                  <a:pt x="20" y="22"/>
                </a:cubicBezTo>
                <a:cubicBezTo>
                  <a:pt x="21" y="21"/>
                  <a:pt x="23" y="22"/>
                  <a:pt x="24" y="22"/>
                </a:cubicBezTo>
                <a:cubicBezTo>
                  <a:pt x="25" y="23"/>
                  <a:pt x="25" y="23"/>
                  <a:pt x="27" y="22"/>
                </a:cubicBezTo>
                <a:cubicBezTo>
                  <a:pt x="27" y="21"/>
                  <a:pt x="28" y="21"/>
                  <a:pt x="28" y="21"/>
                </a:cubicBezTo>
                <a:cubicBezTo>
                  <a:pt x="28" y="20"/>
                  <a:pt x="28" y="20"/>
                  <a:pt x="28" y="20"/>
                </a:cubicBezTo>
                <a:cubicBezTo>
                  <a:pt x="28" y="20"/>
                  <a:pt x="28" y="20"/>
                  <a:pt x="27" y="20"/>
                </a:cubicBezTo>
                <a:cubicBezTo>
                  <a:pt x="27" y="20"/>
                  <a:pt x="26" y="19"/>
                  <a:pt x="27" y="19"/>
                </a:cubicBezTo>
                <a:cubicBezTo>
                  <a:pt x="27" y="18"/>
                  <a:pt x="26" y="18"/>
                  <a:pt x="26" y="17"/>
                </a:cubicBezTo>
                <a:cubicBezTo>
                  <a:pt x="26" y="17"/>
                  <a:pt x="26" y="17"/>
                  <a:pt x="26" y="17"/>
                </a:cubicBezTo>
                <a:cubicBezTo>
                  <a:pt x="27" y="17"/>
                  <a:pt x="27" y="16"/>
                  <a:pt x="27" y="16"/>
                </a:cubicBezTo>
                <a:cubicBezTo>
                  <a:pt x="27" y="16"/>
                  <a:pt x="26" y="16"/>
                  <a:pt x="27" y="15"/>
                </a:cubicBezTo>
                <a:cubicBezTo>
                  <a:pt x="27" y="14"/>
                  <a:pt x="26" y="14"/>
                  <a:pt x="26" y="14"/>
                </a:cubicBezTo>
                <a:cubicBezTo>
                  <a:pt x="26" y="13"/>
                  <a:pt x="26" y="13"/>
                  <a:pt x="25" y="14"/>
                </a:cubicBezTo>
                <a:cubicBezTo>
                  <a:pt x="25" y="14"/>
                  <a:pt x="25" y="14"/>
                  <a:pt x="25" y="13"/>
                </a:cubicBezTo>
                <a:cubicBezTo>
                  <a:pt x="25" y="12"/>
                  <a:pt x="26" y="12"/>
                  <a:pt x="26" y="11"/>
                </a:cubicBezTo>
                <a:cubicBezTo>
                  <a:pt x="27" y="11"/>
                  <a:pt x="27" y="10"/>
                  <a:pt x="28" y="10"/>
                </a:cubicBezTo>
                <a:cubicBezTo>
                  <a:pt x="28" y="10"/>
                  <a:pt x="28" y="9"/>
                  <a:pt x="28" y="9"/>
                </a:cubicBezTo>
                <a:cubicBezTo>
                  <a:pt x="28" y="8"/>
                  <a:pt x="28" y="7"/>
                  <a:pt x="29" y="7"/>
                </a:cubicBezTo>
                <a:cubicBezTo>
                  <a:pt x="30" y="6"/>
                  <a:pt x="29" y="6"/>
                  <a:pt x="28" y="6"/>
                </a:cubicBezTo>
                <a:moveTo>
                  <a:pt x="32" y="23"/>
                </a:moveTo>
                <a:cubicBezTo>
                  <a:pt x="32" y="23"/>
                  <a:pt x="32" y="23"/>
                  <a:pt x="31" y="24"/>
                </a:cubicBezTo>
                <a:cubicBezTo>
                  <a:pt x="30" y="24"/>
                  <a:pt x="31" y="27"/>
                  <a:pt x="32" y="27"/>
                </a:cubicBezTo>
                <a:cubicBezTo>
                  <a:pt x="32" y="27"/>
                  <a:pt x="32" y="23"/>
                  <a:pt x="32" y="2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332"/>
          <p:cNvSpPr>
            <a:spLocks/>
          </p:cNvSpPr>
          <p:nvPr/>
        </p:nvSpPr>
        <p:spPr bwMode="auto">
          <a:xfrm>
            <a:off x="1232757" y="3125231"/>
            <a:ext cx="21449" cy="14299"/>
          </a:xfrm>
          <a:custGeom>
            <a:avLst/>
            <a:gdLst>
              <a:gd name="T0" fmla="*/ 5 w 5"/>
              <a:gd name="T1" fmla="*/ 1 h 3"/>
              <a:gd name="T2" fmla="*/ 3 w 5"/>
              <a:gd name="T3" fmla="*/ 0 h 3"/>
              <a:gd name="T4" fmla="*/ 2 w 5"/>
              <a:gd name="T5" fmla="*/ 0 h 3"/>
              <a:gd name="T6" fmla="*/ 2 w 5"/>
              <a:gd name="T7" fmla="*/ 0 h 3"/>
              <a:gd name="T8" fmla="*/ 0 w 5"/>
              <a:gd name="T9" fmla="*/ 1 h 3"/>
              <a:gd name="T10" fmla="*/ 4 w 5"/>
              <a:gd name="T11" fmla="*/ 3 h 3"/>
              <a:gd name="T12" fmla="*/ 5 w 5"/>
              <a:gd name="T13" fmla="*/ 2 h 3"/>
              <a:gd name="T14" fmla="*/ 5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1"/>
                </a:moveTo>
                <a:cubicBezTo>
                  <a:pt x="5" y="0"/>
                  <a:pt x="4" y="1"/>
                  <a:pt x="3" y="0"/>
                </a:cubicBezTo>
                <a:cubicBezTo>
                  <a:pt x="3" y="0"/>
                  <a:pt x="2" y="0"/>
                  <a:pt x="2" y="0"/>
                </a:cubicBezTo>
                <a:cubicBezTo>
                  <a:pt x="2" y="0"/>
                  <a:pt x="2" y="0"/>
                  <a:pt x="2" y="0"/>
                </a:cubicBezTo>
                <a:cubicBezTo>
                  <a:pt x="2" y="0"/>
                  <a:pt x="1" y="0"/>
                  <a:pt x="0" y="1"/>
                </a:cubicBezTo>
                <a:cubicBezTo>
                  <a:pt x="1" y="2"/>
                  <a:pt x="4" y="3"/>
                  <a:pt x="4" y="3"/>
                </a:cubicBezTo>
                <a:cubicBezTo>
                  <a:pt x="5" y="3"/>
                  <a:pt x="5" y="2"/>
                  <a:pt x="5" y="2"/>
                </a:cubicBezTo>
                <a:cubicBezTo>
                  <a:pt x="5" y="2"/>
                  <a:pt x="5" y="1"/>
                  <a:pt x="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333"/>
          <p:cNvSpPr>
            <a:spLocks/>
          </p:cNvSpPr>
          <p:nvPr/>
        </p:nvSpPr>
        <p:spPr bwMode="auto">
          <a:xfrm>
            <a:off x="1239907" y="3107357"/>
            <a:ext cx="64347" cy="32174"/>
          </a:xfrm>
          <a:custGeom>
            <a:avLst/>
            <a:gdLst>
              <a:gd name="T0" fmla="*/ 6 w 13"/>
              <a:gd name="T1" fmla="*/ 6 h 7"/>
              <a:gd name="T2" fmla="*/ 6 w 13"/>
              <a:gd name="T3" fmla="*/ 5 h 7"/>
              <a:gd name="T4" fmla="*/ 9 w 13"/>
              <a:gd name="T5" fmla="*/ 4 h 7"/>
              <a:gd name="T6" fmla="*/ 11 w 13"/>
              <a:gd name="T7" fmla="*/ 3 h 7"/>
              <a:gd name="T8" fmla="*/ 13 w 13"/>
              <a:gd name="T9" fmla="*/ 2 h 7"/>
              <a:gd name="T10" fmla="*/ 11 w 13"/>
              <a:gd name="T11" fmla="*/ 1 h 7"/>
              <a:gd name="T12" fmla="*/ 6 w 13"/>
              <a:gd name="T13" fmla="*/ 1 h 7"/>
              <a:gd name="T14" fmla="*/ 2 w 13"/>
              <a:gd name="T15" fmla="*/ 1 h 7"/>
              <a:gd name="T16" fmla="*/ 2 w 13"/>
              <a:gd name="T17" fmla="*/ 1 h 7"/>
              <a:gd name="T18" fmla="*/ 1 w 13"/>
              <a:gd name="T19" fmla="*/ 2 h 7"/>
              <a:gd name="T20" fmla="*/ 0 w 13"/>
              <a:gd name="T21" fmla="*/ 4 h 7"/>
              <a:gd name="T22" fmla="*/ 1 w 13"/>
              <a:gd name="T23" fmla="*/ 4 h 7"/>
              <a:gd name="T24" fmla="*/ 3 w 13"/>
              <a:gd name="T25" fmla="*/ 5 h 7"/>
              <a:gd name="T26" fmla="*/ 3 w 13"/>
              <a:gd name="T27" fmla="*/ 6 h 7"/>
              <a:gd name="T28" fmla="*/ 4 w 13"/>
              <a:gd name="T29" fmla="*/ 6 h 7"/>
              <a:gd name="T30" fmla="*/ 4 w 13"/>
              <a:gd name="T31" fmla="*/ 7 h 7"/>
              <a:gd name="T32" fmla="*/ 5 w 13"/>
              <a:gd name="T33" fmla="*/ 7 h 7"/>
              <a:gd name="T34" fmla="*/ 6 w 13"/>
              <a:gd name="T35"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7">
                <a:moveTo>
                  <a:pt x="6" y="6"/>
                </a:moveTo>
                <a:cubicBezTo>
                  <a:pt x="6" y="6"/>
                  <a:pt x="5" y="5"/>
                  <a:pt x="6" y="5"/>
                </a:cubicBezTo>
                <a:cubicBezTo>
                  <a:pt x="8" y="5"/>
                  <a:pt x="8" y="5"/>
                  <a:pt x="9" y="4"/>
                </a:cubicBezTo>
                <a:cubicBezTo>
                  <a:pt x="9" y="3"/>
                  <a:pt x="10" y="3"/>
                  <a:pt x="11" y="3"/>
                </a:cubicBezTo>
                <a:cubicBezTo>
                  <a:pt x="11" y="3"/>
                  <a:pt x="12" y="2"/>
                  <a:pt x="13" y="2"/>
                </a:cubicBezTo>
                <a:cubicBezTo>
                  <a:pt x="13" y="1"/>
                  <a:pt x="12" y="2"/>
                  <a:pt x="11" y="1"/>
                </a:cubicBezTo>
                <a:cubicBezTo>
                  <a:pt x="10" y="0"/>
                  <a:pt x="7" y="0"/>
                  <a:pt x="6" y="1"/>
                </a:cubicBezTo>
                <a:cubicBezTo>
                  <a:pt x="5" y="1"/>
                  <a:pt x="3" y="0"/>
                  <a:pt x="2" y="1"/>
                </a:cubicBezTo>
                <a:cubicBezTo>
                  <a:pt x="2" y="1"/>
                  <a:pt x="2" y="1"/>
                  <a:pt x="2" y="1"/>
                </a:cubicBezTo>
                <a:cubicBezTo>
                  <a:pt x="2" y="1"/>
                  <a:pt x="1" y="2"/>
                  <a:pt x="1" y="2"/>
                </a:cubicBezTo>
                <a:cubicBezTo>
                  <a:pt x="0" y="3"/>
                  <a:pt x="0" y="4"/>
                  <a:pt x="0" y="4"/>
                </a:cubicBezTo>
                <a:cubicBezTo>
                  <a:pt x="0" y="4"/>
                  <a:pt x="1" y="4"/>
                  <a:pt x="1" y="4"/>
                </a:cubicBezTo>
                <a:cubicBezTo>
                  <a:pt x="2" y="5"/>
                  <a:pt x="3" y="4"/>
                  <a:pt x="3" y="5"/>
                </a:cubicBezTo>
                <a:cubicBezTo>
                  <a:pt x="3" y="5"/>
                  <a:pt x="3" y="6"/>
                  <a:pt x="3" y="6"/>
                </a:cubicBezTo>
                <a:cubicBezTo>
                  <a:pt x="3" y="6"/>
                  <a:pt x="4" y="6"/>
                  <a:pt x="4" y="6"/>
                </a:cubicBezTo>
                <a:cubicBezTo>
                  <a:pt x="4" y="7"/>
                  <a:pt x="4" y="7"/>
                  <a:pt x="4" y="7"/>
                </a:cubicBezTo>
                <a:cubicBezTo>
                  <a:pt x="5" y="7"/>
                  <a:pt x="5" y="7"/>
                  <a:pt x="5" y="7"/>
                </a:cubicBezTo>
                <a:cubicBezTo>
                  <a:pt x="5" y="7"/>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334"/>
          <p:cNvSpPr>
            <a:spLocks/>
          </p:cNvSpPr>
          <p:nvPr/>
        </p:nvSpPr>
        <p:spPr bwMode="auto">
          <a:xfrm>
            <a:off x="943195" y="2917890"/>
            <a:ext cx="325311" cy="196617"/>
          </a:xfrm>
          <a:custGeom>
            <a:avLst/>
            <a:gdLst>
              <a:gd name="T0" fmla="*/ 59 w 68"/>
              <a:gd name="T1" fmla="*/ 39 h 41"/>
              <a:gd name="T2" fmla="*/ 58 w 68"/>
              <a:gd name="T3" fmla="*/ 35 h 41"/>
              <a:gd name="T4" fmla="*/ 64 w 68"/>
              <a:gd name="T5" fmla="*/ 34 h 41"/>
              <a:gd name="T6" fmla="*/ 66 w 68"/>
              <a:gd name="T7" fmla="*/ 31 h 41"/>
              <a:gd name="T8" fmla="*/ 68 w 68"/>
              <a:gd name="T9" fmla="*/ 27 h 41"/>
              <a:gd name="T10" fmla="*/ 62 w 68"/>
              <a:gd name="T11" fmla="*/ 27 h 41"/>
              <a:gd name="T12" fmla="*/ 59 w 68"/>
              <a:gd name="T13" fmla="*/ 31 h 41"/>
              <a:gd name="T14" fmla="*/ 56 w 68"/>
              <a:gd name="T15" fmla="*/ 33 h 41"/>
              <a:gd name="T16" fmla="*/ 48 w 68"/>
              <a:gd name="T17" fmla="*/ 33 h 41"/>
              <a:gd name="T18" fmla="*/ 44 w 68"/>
              <a:gd name="T19" fmla="*/ 28 h 41"/>
              <a:gd name="T20" fmla="*/ 44 w 68"/>
              <a:gd name="T21" fmla="*/ 17 h 41"/>
              <a:gd name="T22" fmla="*/ 43 w 68"/>
              <a:gd name="T23" fmla="*/ 16 h 41"/>
              <a:gd name="T24" fmla="*/ 40 w 68"/>
              <a:gd name="T25" fmla="*/ 13 h 41"/>
              <a:gd name="T26" fmla="*/ 37 w 68"/>
              <a:gd name="T27" fmla="*/ 9 h 41"/>
              <a:gd name="T28" fmla="*/ 31 w 68"/>
              <a:gd name="T29" fmla="*/ 9 h 41"/>
              <a:gd name="T30" fmla="*/ 28 w 68"/>
              <a:gd name="T31" fmla="*/ 6 h 41"/>
              <a:gd name="T32" fmla="*/ 24 w 68"/>
              <a:gd name="T33" fmla="*/ 2 h 41"/>
              <a:gd name="T34" fmla="*/ 20 w 68"/>
              <a:gd name="T35" fmla="*/ 3 h 41"/>
              <a:gd name="T36" fmla="*/ 8 w 68"/>
              <a:gd name="T37" fmla="*/ 1 h 41"/>
              <a:gd name="T38" fmla="*/ 0 w 68"/>
              <a:gd name="T39" fmla="*/ 0 h 41"/>
              <a:gd name="T40" fmla="*/ 3 w 68"/>
              <a:gd name="T41" fmla="*/ 6 h 41"/>
              <a:gd name="T42" fmla="*/ 7 w 68"/>
              <a:gd name="T43" fmla="*/ 12 h 41"/>
              <a:gd name="T44" fmla="*/ 8 w 68"/>
              <a:gd name="T45" fmla="*/ 14 h 41"/>
              <a:gd name="T46" fmla="*/ 11 w 68"/>
              <a:gd name="T47" fmla="*/ 18 h 41"/>
              <a:gd name="T48" fmla="*/ 16 w 68"/>
              <a:gd name="T49" fmla="*/ 23 h 41"/>
              <a:gd name="T50" fmla="*/ 17 w 68"/>
              <a:gd name="T51" fmla="*/ 21 h 41"/>
              <a:gd name="T52" fmla="*/ 14 w 68"/>
              <a:gd name="T53" fmla="*/ 18 h 41"/>
              <a:gd name="T54" fmla="*/ 10 w 68"/>
              <a:gd name="T55" fmla="*/ 11 h 41"/>
              <a:gd name="T56" fmla="*/ 9 w 68"/>
              <a:gd name="T57" fmla="*/ 8 h 41"/>
              <a:gd name="T58" fmla="*/ 6 w 68"/>
              <a:gd name="T59" fmla="*/ 5 h 41"/>
              <a:gd name="T60" fmla="*/ 6 w 68"/>
              <a:gd name="T61" fmla="*/ 2 h 41"/>
              <a:gd name="T62" fmla="*/ 8 w 68"/>
              <a:gd name="T63" fmla="*/ 3 h 41"/>
              <a:gd name="T64" fmla="*/ 10 w 68"/>
              <a:gd name="T65" fmla="*/ 6 h 41"/>
              <a:gd name="T66" fmla="*/ 11 w 68"/>
              <a:gd name="T67" fmla="*/ 9 h 41"/>
              <a:gd name="T68" fmla="*/ 15 w 68"/>
              <a:gd name="T69" fmla="*/ 11 h 41"/>
              <a:gd name="T70" fmla="*/ 17 w 68"/>
              <a:gd name="T71" fmla="*/ 14 h 41"/>
              <a:gd name="T72" fmla="*/ 19 w 68"/>
              <a:gd name="T73" fmla="*/ 17 h 41"/>
              <a:gd name="T74" fmla="*/ 26 w 68"/>
              <a:gd name="T75" fmla="*/ 24 h 41"/>
              <a:gd name="T76" fmla="*/ 27 w 68"/>
              <a:gd name="T77" fmla="*/ 28 h 41"/>
              <a:gd name="T78" fmla="*/ 28 w 68"/>
              <a:gd name="T79" fmla="*/ 32 h 41"/>
              <a:gd name="T80" fmla="*/ 34 w 68"/>
              <a:gd name="T81" fmla="*/ 35 h 41"/>
              <a:gd name="T82" fmla="*/ 44 w 68"/>
              <a:gd name="T83" fmla="*/ 39 h 41"/>
              <a:gd name="T84" fmla="*/ 52 w 68"/>
              <a:gd name="T85" fmla="*/ 40 h 41"/>
              <a:gd name="T86" fmla="*/ 56 w 68"/>
              <a:gd name="T8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41">
                <a:moveTo>
                  <a:pt x="56" y="39"/>
                </a:moveTo>
                <a:cubicBezTo>
                  <a:pt x="57" y="39"/>
                  <a:pt x="59" y="39"/>
                  <a:pt x="59" y="39"/>
                </a:cubicBezTo>
                <a:cubicBezTo>
                  <a:pt x="60" y="38"/>
                  <a:pt x="58" y="37"/>
                  <a:pt x="58" y="37"/>
                </a:cubicBezTo>
                <a:cubicBezTo>
                  <a:pt x="58" y="36"/>
                  <a:pt x="58" y="35"/>
                  <a:pt x="58" y="35"/>
                </a:cubicBezTo>
                <a:cubicBezTo>
                  <a:pt x="59" y="35"/>
                  <a:pt x="62" y="35"/>
                  <a:pt x="62" y="35"/>
                </a:cubicBezTo>
                <a:cubicBezTo>
                  <a:pt x="63" y="35"/>
                  <a:pt x="63" y="34"/>
                  <a:pt x="64" y="34"/>
                </a:cubicBezTo>
                <a:cubicBezTo>
                  <a:pt x="64" y="34"/>
                  <a:pt x="65" y="34"/>
                  <a:pt x="65" y="34"/>
                </a:cubicBezTo>
                <a:cubicBezTo>
                  <a:pt x="66" y="34"/>
                  <a:pt x="66" y="32"/>
                  <a:pt x="66" y="31"/>
                </a:cubicBezTo>
                <a:cubicBezTo>
                  <a:pt x="66" y="30"/>
                  <a:pt x="66" y="29"/>
                  <a:pt x="66" y="29"/>
                </a:cubicBezTo>
                <a:cubicBezTo>
                  <a:pt x="67" y="28"/>
                  <a:pt x="68" y="28"/>
                  <a:pt x="68" y="27"/>
                </a:cubicBezTo>
                <a:cubicBezTo>
                  <a:pt x="67" y="26"/>
                  <a:pt x="66" y="27"/>
                  <a:pt x="66" y="26"/>
                </a:cubicBezTo>
                <a:cubicBezTo>
                  <a:pt x="65" y="26"/>
                  <a:pt x="64" y="26"/>
                  <a:pt x="62" y="27"/>
                </a:cubicBezTo>
                <a:cubicBezTo>
                  <a:pt x="60" y="27"/>
                  <a:pt x="59" y="28"/>
                  <a:pt x="59" y="29"/>
                </a:cubicBezTo>
                <a:cubicBezTo>
                  <a:pt x="59" y="31"/>
                  <a:pt x="59" y="30"/>
                  <a:pt x="59" y="31"/>
                </a:cubicBezTo>
                <a:cubicBezTo>
                  <a:pt x="59" y="32"/>
                  <a:pt x="57" y="32"/>
                  <a:pt x="57" y="33"/>
                </a:cubicBezTo>
                <a:cubicBezTo>
                  <a:pt x="57" y="34"/>
                  <a:pt x="56" y="33"/>
                  <a:pt x="56" y="33"/>
                </a:cubicBezTo>
                <a:cubicBezTo>
                  <a:pt x="55" y="33"/>
                  <a:pt x="51" y="34"/>
                  <a:pt x="50" y="34"/>
                </a:cubicBezTo>
                <a:cubicBezTo>
                  <a:pt x="50" y="34"/>
                  <a:pt x="49" y="33"/>
                  <a:pt x="48" y="33"/>
                </a:cubicBezTo>
                <a:cubicBezTo>
                  <a:pt x="47" y="33"/>
                  <a:pt x="47" y="32"/>
                  <a:pt x="47" y="31"/>
                </a:cubicBezTo>
                <a:cubicBezTo>
                  <a:pt x="46" y="30"/>
                  <a:pt x="45" y="29"/>
                  <a:pt x="44" y="28"/>
                </a:cubicBezTo>
                <a:cubicBezTo>
                  <a:pt x="44" y="27"/>
                  <a:pt x="43" y="25"/>
                  <a:pt x="43" y="23"/>
                </a:cubicBezTo>
                <a:cubicBezTo>
                  <a:pt x="43" y="22"/>
                  <a:pt x="43" y="20"/>
                  <a:pt x="44" y="17"/>
                </a:cubicBezTo>
                <a:cubicBezTo>
                  <a:pt x="44" y="17"/>
                  <a:pt x="44" y="17"/>
                  <a:pt x="44" y="16"/>
                </a:cubicBezTo>
                <a:cubicBezTo>
                  <a:pt x="44" y="16"/>
                  <a:pt x="44" y="16"/>
                  <a:pt x="43" y="16"/>
                </a:cubicBezTo>
                <a:cubicBezTo>
                  <a:pt x="43" y="16"/>
                  <a:pt x="41" y="15"/>
                  <a:pt x="40" y="15"/>
                </a:cubicBezTo>
                <a:cubicBezTo>
                  <a:pt x="40" y="15"/>
                  <a:pt x="40" y="14"/>
                  <a:pt x="40" y="13"/>
                </a:cubicBezTo>
                <a:cubicBezTo>
                  <a:pt x="39" y="13"/>
                  <a:pt x="40" y="12"/>
                  <a:pt x="39" y="12"/>
                </a:cubicBezTo>
                <a:cubicBezTo>
                  <a:pt x="39" y="11"/>
                  <a:pt x="37" y="10"/>
                  <a:pt x="37" y="9"/>
                </a:cubicBezTo>
                <a:cubicBezTo>
                  <a:pt x="37" y="7"/>
                  <a:pt x="34" y="7"/>
                  <a:pt x="33" y="7"/>
                </a:cubicBezTo>
                <a:cubicBezTo>
                  <a:pt x="32" y="6"/>
                  <a:pt x="32" y="8"/>
                  <a:pt x="31" y="9"/>
                </a:cubicBezTo>
                <a:cubicBezTo>
                  <a:pt x="31" y="9"/>
                  <a:pt x="29" y="8"/>
                  <a:pt x="29" y="7"/>
                </a:cubicBezTo>
                <a:cubicBezTo>
                  <a:pt x="28" y="7"/>
                  <a:pt x="28" y="6"/>
                  <a:pt x="28" y="6"/>
                </a:cubicBezTo>
                <a:cubicBezTo>
                  <a:pt x="28" y="5"/>
                  <a:pt x="27" y="4"/>
                  <a:pt x="27" y="4"/>
                </a:cubicBezTo>
                <a:cubicBezTo>
                  <a:pt x="26" y="4"/>
                  <a:pt x="24" y="2"/>
                  <a:pt x="24" y="2"/>
                </a:cubicBezTo>
                <a:cubicBezTo>
                  <a:pt x="21" y="2"/>
                  <a:pt x="21" y="2"/>
                  <a:pt x="21" y="2"/>
                </a:cubicBezTo>
                <a:cubicBezTo>
                  <a:pt x="20" y="3"/>
                  <a:pt x="20" y="3"/>
                  <a:pt x="20" y="3"/>
                </a:cubicBezTo>
                <a:cubicBezTo>
                  <a:pt x="14" y="3"/>
                  <a:pt x="14" y="3"/>
                  <a:pt x="14" y="3"/>
                </a:cubicBezTo>
                <a:cubicBezTo>
                  <a:pt x="14" y="3"/>
                  <a:pt x="9" y="1"/>
                  <a:pt x="8" y="1"/>
                </a:cubicBezTo>
                <a:cubicBezTo>
                  <a:pt x="7" y="1"/>
                  <a:pt x="5" y="0"/>
                  <a:pt x="5" y="0"/>
                </a:cubicBezTo>
                <a:cubicBezTo>
                  <a:pt x="0" y="0"/>
                  <a:pt x="0" y="0"/>
                  <a:pt x="0" y="0"/>
                </a:cubicBezTo>
                <a:cubicBezTo>
                  <a:pt x="1" y="1"/>
                  <a:pt x="1" y="1"/>
                  <a:pt x="2" y="2"/>
                </a:cubicBezTo>
                <a:cubicBezTo>
                  <a:pt x="3" y="3"/>
                  <a:pt x="3" y="6"/>
                  <a:pt x="3" y="6"/>
                </a:cubicBezTo>
                <a:cubicBezTo>
                  <a:pt x="4" y="7"/>
                  <a:pt x="5" y="8"/>
                  <a:pt x="6" y="9"/>
                </a:cubicBezTo>
                <a:cubicBezTo>
                  <a:pt x="7" y="9"/>
                  <a:pt x="7" y="11"/>
                  <a:pt x="7" y="12"/>
                </a:cubicBezTo>
                <a:cubicBezTo>
                  <a:pt x="7" y="12"/>
                  <a:pt x="6" y="11"/>
                  <a:pt x="5" y="12"/>
                </a:cubicBezTo>
                <a:cubicBezTo>
                  <a:pt x="5" y="12"/>
                  <a:pt x="7" y="14"/>
                  <a:pt x="8" y="14"/>
                </a:cubicBezTo>
                <a:cubicBezTo>
                  <a:pt x="9" y="14"/>
                  <a:pt x="9" y="14"/>
                  <a:pt x="11" y="15"/>
                </a:cubicBezTo>
                <a:cubicBezTo>
                  <a:pt x="12" y="16"/>
                  <a:pt x="12" y="18"/>
                  <a:pt x="11" y="18"/>
                </a:cubicBezTo>
                <a:cubicBezTo>
                  <a:pt x="11" y="18"/>
                  <a:pt x="12" y="19"/>
                  <a:pt x="14" y="20"/>
                </a:cubicBezTo>
                <a:cubicBezTo>
                  <a:pt x="15" y="21"/>
                  <a:pt x="16" y="23"/>
                  <a:pt x="16" y="23"/>
                </a:cubicBezTo>
                <a:cubicBezTo>
                  <a:pt x="16" y="24"/>
                  <a:pt x="17" y="23"/>
                  <a:pt x="17" y="22"/>
                </a:cubicBezTo>
                <a:cubicBezTo>
                  <a:pt x="17" y="22"/>
                  <a:pt x="17" y="21"/>
                  <a:pt x="17" y="21"/>
                </a:cubicBezTo>
                <a:cubicBezTo>
                  <a:pt x="17" y="20"/>
                  <a:pt x="15" y="20"/>
                  <a:pt x="15" y="20"/>
                </a:cubicBezTo>
                <a:cubicBezTo>
                  <a:pt x="14" y="20"/>
                  <a:pt x="15" y="18"/>
                  <a:pt x="14" y="18"/>
                </a:cubicBezTo>
                <a:cubicBezTo>
                  <a:pt x="14" y="17"/>
                  <a:pt x="13" y="16"/>
                  <a:pt x="13" y="15"/>
                </a:cubicBezTo>
                <a:cubicBezTo>
                  <a:pt x="13" y="14"/>
                  <a:pt x="11" y="13"/>
                  <a:pt x="10" y="11"/>
                </a:cubicBezTo>
                <a:cubicBezTo>
                  <a:pt x="10" y="10"/>
                  <a:pt x="9" y="9"/>
                  <a:pt x="9" y="9"/>
                </a:cubicBezTo>
                <a:cubicBezTo>
                  <a:pt x="8" y="9"/>
                  <a:pt x="9" y="8"/>
                  <a:pt x="9" y="8"/>
                </a:cubicBezTo>
                <a:cubicBezTo>
                  <a:pt x="9" y="7"/>
                  <a:pt x="8" y="7"/>
                  <a:pt x="7" y="7"/>
                </a:cubicBezTo>
                <a:cubicBezTo>
                  <a:pt x="6" y="7"/>
                  <a:pt x="6" y="6"/>
                  <a:pt x="6" y="5"/>
                </a:cubicBezTo>
                <a:cubicBezTo>
                  <a:pt x="6" y="5"/>
                  <a:pt x="6" y="3"/>
                  <a:pt x="5" y="2"/>
                </a:cubicBezTo>
                <a:cubicBezTo>
                  <a:pt x="5" y="1"/>
                  <a:pt x="6" y="2"/>
                  <a:pt x="6" y="2"/>
                </a:cubicBezTo>
                <a:cubicBezTo>
                  <a:pt x="6" y="2"/>
                  <a:pt x="6" y="2"/>
                  <a:pt x="7" y="2"/>
                </a:cubicBezTo>
                <a:cubicBezTo>
                  <a:pt x="7" y="2"/>
                  <a:pt x="8" y="2"/>
                  <a:pt x="8" y="3"/>
                </a:cubicBezTo>
                <a:cubicBezTo>
                  <a:pt x="8" y="3"/>
                  <a:pt x="9" y="3"/>
                  <a:pt x="9" y="3"/>
                </a:cubicBezTo>
                <a:cubicBezTo>
                  <a:pt x="10" y="3"/>
                  <a:pt x="9" y="4"/>
                  <a:pt x="10" y="6"/>
                </a:cubicBezTo>
                <a:cubicBezTo>
                  <a:pt x="11" y="8"/>
                  <a:pt x="10" y="7"/>
                  <a:pt x="10" y="8"/>
                </a:cubicBezTo>
                <a:cubicBezTo>
                  <a:pt x="10" y="10"/>
                  <a:pt x="11" y="9"/>
                  <a:pt x="11" y="9"/>
                </a:cubicBezTo>
                <a:cubicBezTo>
                  <a:pt x="12" y="9"/>
                  <a:pt x="12" y="9"/>
                  <a:pt x="13" y="10"/>
                </a:cubicBezTo>
                <a:cubicBezTo>
                  <a:pt x="14" y="11"/>
                  <a:pt x="15" y="11"/>
                  <a:pt x="15" y="11"/>
                </a:cubicBezTo>
                <a:cubicBezTo>
                  <a:pt x="15" y="12"/>
                  <a:pt x="15" y="13"/>
                  <a:pt x="16" y="13"/>
                </a:cubicBezTo>
                <a:cubicBezTo>
                  <a:pt x="17" y="13"/>
                  <a:pt x="17" y="14"/>
                  <a:pt x="17" y="14"/>
                </a:cubicBezTo>
                <a:cubicBezTo>
                  <a:pt x="18" y="14"/>
                  <a:pt x="18" y="15"/>
                  <a:pt x="18" y="15"/>
                </a:cubicBezTo>
                <a:cubicBezTo>
                  <a:pt x="17" y="16"/>
                  <a:pt x="18" y="17"/>
                  <a:pt x="19" y="17"/>
                </a:cubicBezTo>
                <a:cubicBezTo>
                  <a:pt x="20" y="18"/>
                  <a:pt x="20" y="18"/>
                  <a:pt x="21" y="19"/>
                </a:cubicBezTo>
                <a:cubicBezTo>
                  <a:pt x="22" y="20"/>
                  <a:pt x="25" y="23"/>
                  <a:pt x="26" y="24"/>
                </a:cubicBezTo>
                <a:cubicBezTo>
                  <a:pt x="26" y="25"/>
                  <a:pt x="26" y="26"/>
                  <a:pt x="27" y="27"/>
                </a:cubicBezTo>
                <a:cubicBezTo>
                  <a:pt x="27" y="27"/>
                  <a:pt x="26" y="28"/>
                  <a:pt x="27" y="28"/>
                </a:cubicBezTo>
                <a:cubicBezTo>
                  <a:pt x="27" y="29"/>
                  <a:pt x="26" y="28"/>
                  <a:pt x="26" y="29"/>
                </a:cubicBezTo>
                <a:cubicBezTo>
                  <a:pt x="26" y="29"/>
                  <a:pt x="27" y="32"/>
                  <a:pt x="28" y="32"/>
                </a:cubicBezTo>
                <a:cubicBezTo>
                  <a:pt x="29" y="32"/>
                  <a:pt x="30" y="33"/>
                  <a:pt x="31" y="34"/>
                </a:cubicBezTo>
                <a:cubicBezTo>
                  <a:pt x="32" y="35"/>
                  <a:pt x="33" y="34"/>
                  <a:pt x="34" y="35"/>
                </a:cubicBezTo>
                <a:cubicBezTo>
                  <a:pt x="36" y="35"/>
                  <a:pt x="37" y="37"/>
                  <a:pt x="39" y="37"/>
                </a:cubicBezTo>
                <a:cubicBezTo>
                  <a:pt x="41" y="38"/>
                  <a:pt x="43" y="38"/>
                  <a:pt x="44" y="39"/>
                </a:cubicBezTo>
                <a:cubicBezTo>
                  <a:pt x="45" y="40"/>
                  <a:pt x="46" y="40"/>
                  <a:pt x="48" y="39"/>
                </a:cubicBezTo>
                <a:cubicBezTo>
                  <a:pt x="50" y="38"/>
                  <a:pt x="51" y="39"/>
                  <a:pt x="52" y="40"/>
                </a:cubicBezTo>
                <a:cubicBezTo>
                  <a:pt x="53" y="40"/>
                  <a:pt x="54" y="41"/>
                  <a:pt x="55" y="41"/>
                </a:cubicBezTo>
                <a:cubicBezTo>
                  <a:pt x="55" y="40"/>
                  <a:pt x="56" y="39"/>
                  <a:pt x="56" y="3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335"/>
          <p:cNvSpPr>
            <a:spLocks/>
          </p:cNvSpPr>
          <p:nvPr/>
        </p:nvSpPr>
        <p:spPr bwMode="auto">
          <a:xfrm>
            <a:off x="1207733" y="3085908"/>
            <a:ext cx="42898" cy="46473"/>
          </a:xfrm>
          <a:custGeom>
            <a:avLst/>
            <a:gdLst>
              <a:gd name="T0" fmla="*/ 8 w 9"/>
              <a:gd name="T1" fmla="*/ 6 h 9"/>
              <a:gd name="T2" fmla="*/ 9 w 9"/>
              <a:gd name="T3" fmla="*/ 5 h 9"/>
              <a:gd name="T4" fmla="*/ 8 w 9"/>
              <a:gd name="T5" fmla="*/ 4 h 9"/>
              <a:gd name="T6" fmla="*/ 7 w 9"/>
              <a:gd name="T7" fmla="*/ 4 h 9"/>
              <a:gd name="T8" fmla="*/ 7 w 9"/>
              <a:gd name="T9" fmla="*/ 0 h 9"/>
              <a:gd name="T10" fmla="*/ 3 w 9"/>
              <a:gd name="T11" fmla="*/ 0 h 9"/>
              <a:gd name="T12" fmla="*/ 3 w 9"/>
              <a:gd name="T13" fmla="*/ 2 h 9"/>
              <a:gd name="T14" fmla="*/ 4 w 9"/>
              <a:gd name="T15" fmla="*/ 4 h 9"/>
              <a:gd name="T16" fmla="*/ 1 w 9"/>
              <a:gd name="T17" fmla="*/ 4 h 9"/>
              <a:gd name="T18" fmla="*/ 0 w 9"/>
              <a:gd name="T19" fmla="*/ 6 h 9"/>
              <a:gd name="T20" fmla="*/ 2 w 9"/>
              <a:gd name="T21" fmla="*/ 9 h 9"/>
              <a:gd name="T22" fmla="*/ 5 w 9"/>
              <a:gd name="T23" fmla="*/ 9 h 9"/>
              <a:gd name="T24" fmla="*/ 5 w 9"/>
              <a:gd name="T25" fmla="*/ 9 h 9"/>
              <a:gd name="T26" fmla="*/ 7 w 9"/>
              <a:gd name="T27" fmla="*/ 8 h 9"/>
              <a:gd name="T28" fmla="*/ 8 w 9"/>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9">
                <a:moveTo>
                  <a:pt x="8" y="6"/>
                </a:moveTo>
                <a:cubicBezTo>
                  <a:pt x="8" y="6"/>
                  <a:pt x="9" y="5"/>
                  <a:pt x="9" y="5"/>
                </a:cubicBezTo>
                <a:cubicBezTo>
                  <a:pt x="8" y="5"/>
                  <a:pt x="8" y="5"/>
                  <a:pt x="8" y="4"/>
                </a:cubicBezTo>
                <a:cubicBezTo>
                  <a:pt x="7" y="4"/>
                  <a:pt x="7" y="4"/>
                  <a:pt x="7" y="4"/>
                </a:cubicBezTo>
                <a:cubicBezTo>
                  <a:pt x="7" y="0"/>
                  <a:pt x="7" y="0"/>
                  <a:pt x="7" y="0"/>
                </a:cubicBezTo>
                <a:cubicBezTo>
                  <a:pt x="6" y="0"/>
                  <a:pt x="4" y="0"/>
                  <a:pt x="3" y="0"/>
                </a:cubicBezTo>
                <a:cubicBezTo>
                  <a:pt x="3" y="0"/>
                  <a:pt x="3" y="1"/>
                  <a:pt x="3" y="2"/>
                </a:cubicBezTo>
                <a:cubicBezTo>
                  <a:pt x="3" y="2"/>
                  <a:pt x="5" y="3"/>
                  <a:pt x="4" y="4"/>
                </a:cubicBezTo>
                <a:cubicBezTo>
                  <a:pt x="4" y="4"/>
                  <a:pt x="2" y="4"/>
                  <a:pt x="1" y="4"/>
                </a:cubicBezTo>
                <a:cubicBezTo>
                  <a:pt x="1" y="4"/>
                  <a:pt x="0" y="5"/>
                  <a:pt x="0" y="6"/>
                </a:cubicBezTo>
                <a:cubicBezTo>
                  <a:pt x="1" y="7"/>
                  <a:pt x="2" y="8"/>
                  <a:pt x="2" y="9"/>
                </a:cubicBezTo>
                <a:cubicBezTo>
                  <a:pt x="3" y="9"/>
                  <a:pt x="4" y="8"/>
                  <a:pt x="5" y="9"/>
                </a:cubicBezTo>
                <a:cubicBezTo>
                  <a:pt x="5" y="9"/>
                  <a:pt x="5" y="9"/>
                  <a:pt x="5" y="9"/>
                </a:cubicBezTo>
                <a:cubicBezTo>
                  <a:pt x="6" y="8"/>
                  <a:pt x="7" y="8"/>
                  <a:pt x="7" y="8"/>
                </a:cubicBezTo>
                <a:cubicBezTo>
                  <a:pt x="7" y="8"/>
                  <a:pt x="7"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336"/>
          <p:cNvSpPr>
            <a:spLocks/>
          </p:cNvSpPr>
          <p:nvPr/>
        </p:nvSpPr>
        <p:spPr bwMode="auto">
          <a:xfrm>
            <a:off x="1239907" y="3082333"/>
            <a:ext cx="14299" cy="25024"/>
          </a:xfrm>
          <a:custGeom>
            <a:avLst/>
            <a:gdLst>
              <a:gd name="T0" fmla="*/ 0 w 3"/>
              <a:gd name="T1" fmla="*/ 1 h 5"/>
              <a:gd name="T2" fmla="*/ 0 w 3"/>
              <a:gd name="T3" fmla="*/ 1 h 5"/>
              <a:gd name="T4" fmla="*/ 0 w 3"/>
              <a:gd name="T5" fmla="*/ 5 h 5"/>
              <a:gd name="T6" fmla="*/ 1 w 3"/>
              <a:gd name="T7" fmla="*/ 5 h 5"/>
              <a:gd name="T8" fmla="*/ 2 w 3"/>
              <a:gd name="T9" fmla="*/ 4 h 5"/>
              <a:gd name="T10" fmla="*/ 2 w 3"/>
              <a:gd name="T11" fmla="*/ 0 h 5"/>
              <a:gd name="T12" fmla="*/ 3 w 3"/>
              <a:gd name="T13" fmla="*/ 0 h 5"/>
              <a:gd name="T14" fmla="*/ 2 w 3"/>
              <a:gd name="T15" fmla="*/ 0 h 5"/>
              <a:gd name="T16" fmla="*/ 0 w 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0" y="1"/>
                </a:moveTo>
                <a:cubicBezTo>
                  <a:pt x="0" y="1"/>
                  <a:pt x="0" y="1"/>
                  <a:pt x="0" y="1"/>
                </a:cubicBezTo>
                <a:cubicBezTo>
                  <a:pt x="0" y="5"/>
                  <a:pt x="0" y="5"/>
                  <a:pt x="0" y="5"/>
                </a:cubicBezTo>
                <a:cubicBezTo>
                  <a:pt x="1" y="5"/>
                  <a:pt x="1" y="5"/>
                  <a:pt x="1" y="5"/>
                </a:cubicBezTo>
                <a:cubicBezTo>
                  <a:pt x="1" y="5"/>
                  <a:pt x="1" y="4"/>
                  <a:pt x="2" y="4"/>
                </a:cubicBezTo>
                <a:cubicBezTo>
                  <a:pt x="3" y="3"/>
                  <a:pt x="1" y="1"/>
                  <a:pt x="2" y="0"/>
                </a:cubicBezTo>
                <a:cubicBezTo>
                  <a:pt x="3" y="0"/>
                  <a:pt x="3" y="0"/>
                  <a:pt x="3" y="0"/>
                </a:cubicBezTo>
                <a:cubicBezTo>
                  <a:pt x="3" y="0"/>
                  <a:pt x="2" y="0"/>
                  <a:pt x="2" y="0"/>
                </a:cubicBezTo>
                <a:cubicBezTo>
                  <a:pt x="1" y="0"/>
                  <a:pt x="1"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337"/>
          <p:cNvSpPr>
            <a:spLocks/>
          </p:cNvSpPr>
          <p:nvPr/>
        </p:nvSpPr>
        <p:spPr bwMode="auto">
          <a:xfrm>
            <a:off x="1400775" y="3057309"/>
            <a:ext cx="28599" cy="28599"/>
          </a:xfrm>
          <a:custGeom>
            <a:avLst/>
            <a:gdLst>
              <a:gd name="T0" fmla="*/ 3 w 6"/>
              <a:gd name="T1" fmla="*/ 1 h 6"/>
              <a:gd name="T2" fmla="*/ 4 w 6"/>
              <a:gd name="T3" fmla="*/ 4 h 6"/>
              <a:gd name="T4" fmla="*/ 0 w 6"/>
              <a:gd name="T5" fmla="*/ 5 h 6"/>
              <a:gd name="T6" fmla="*/ 3 w 6"/>
              <a:gd name="T7" fmla="*/ 5 h 6"/>
              <a:gd name="T8" fmla="*/ 6 w 6"/>
              <a:gd name="T9" fmla="*/ 6 h 6"/>
              <a:gd name="T10" fmla="*/ 6 w 6"/>
              <a:gd name="T11" fmla="*/ 1 h 6"/>
              <a:gd name="T12" fmla="*/ 3 w 6"/>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1"/>
                </a:moveTo>
                <a:cubicBezTo>
                  <a:pt x="2" y="2"/>
                  <a:pt x="4" y="3"/>
                  <a:pt x="4" y="4"/>
                </a:cubicBezTo>
                <a:cubicBezTo>
                  <a:pt x="4" y="5"/>
                  <a:pt x="0" y="4"/>
                  <a:pt x="0" y="5"/>
                </a:cubicBezTo>
                <a:cubicBezTo>
                  <a:pt x="0" y="5"/>
                  <a:pt x="1" y="6"/>
                  <a:pt x="3" y="5"/>
                </a:cubicBezTo>
                <a:cubicBezTo>
                  <a:pt x="4" y="5"/>
                  <a:pt x="5" y="5"/>
                  <a:pt x="6" y="6"/>
                </a:cubicBezTo>
                <a:cubicBezTo>
                  <a:pt x="6" y="4"/>
                  <a:pt x="6" y="3"/>
                  <a:pt x="6" y="1"/>
                </a:cubicBezTo>
                <a:cubicBezTo>
                  <a:pt x="5" y="1"/>
                  <a:pt x="3"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338"/>
          <p:cNvSpPr>
            <a:spLocks/>
          </p:cNvSpPr>
          <p:nvPr/>
        </p:nvSpPr>
        <p:spPr bwMode="auto">
          <a:xfrm>
            <a:off x="1429374" y="3064459"/>
            <a:ext cx="32174" cy="21449"/>
          </a:xfrm>
          <a:custGeom>
            <a:avLst/>
            <a:gdLst>
              <a:gd name="T0" fmla="*/ 3 w 7"/>
              <a:gd name="T1" fmla="*/ 4 h 5"/>
              <a:gd name="T2" fmla="*/ 7 w 7"/>
              <a:gd name="T3" fmla="*/ 3 h 5"/>
              <a:gd name="T4" fmla="*/ 1 w 7"/>
              <a:gd name="T5" fmla="*/ 1 h 5"/>
              <a:gd name="T6" fmla="*/ 0 w 7"/>
              <a:gd name="T7" fmla="*/ 0 h 5"/>
              <a:gd name="T8" fmla="*/ 0 w 7"/>
              <a:gd name="T9" fmla="*/ 5 h 5"/>
              <a:gd name="T10" fmla="*/ 0 w 7"/>
              <a:gd name="T11" fmla="*/ 5 h 5"/>
              <a:gd name="T12" fmla="*/ 3 w 7"/>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3" y="4"/>
                </a:moveTo>
                <a:cubicBezTo>
                  <a:pt x="4" y="3"/>
                  <a:pt x="7" y="4"/>
                  <a:pt x="7" y="3"/>
                </a:cubicBezTo>
                <a:cubicBezTo>
                  <a:pt x="7" y="2"/>
                  <a:pt x="2" y="0"/>
                  <a:pt x="1" y="1"/>
                </a:cubicBezTo>
                <a:cubicBezTo>
                  <a:pt x="1" y="1"/>
                  <a:pt x="1" y="1"/>
                  <a:pt x="0" y="0"/>
                </a:cubicBezTo>
                <a:cubicBezTo>
                  <a:pt x="0" y="2"/>
                  <a:pt x="0" y="3"/>
                  <a:pt x="0" y="5"/>
                </a:cubicBezTo>
                <a:cubicBezTo>
                  <a:pt x="0" y="5"/>
                  <a:pt x="0" y="5"/>
                  <a:pt x="0" y="5"/>
                </a:cubicBezTo>
                <a:cubicBezTo>
                  <a:pt x="1" y="5"/>
                  <a:pt x="1"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339"/>
          <p:cNvSpPr>
            <a:spLocks/>
          </p:cNvSpPr>
          <p:nvPr/>
        </p:nvSpPr>
        <p:spPr bwMode="auto">
          <a:xfrm>
            <a:off x="1261356" y="3114506"/>
            <a:ext cx="42898" cy="50048"/>
          </a:xfrm>
          <a:custGeom>
            <a:avLst/>
            <a:gdLst>
              <a:gd name="T0" fmla="*/ 5 w 9"/>
              <a:gd name="T1" fmla="*/ 10 h 10"/>
              <a:gd name="T2" fmla="*/ 7 w 9"/>
              <a:gd name="T3" fmla="*/ 10 h 10"/>
              <a:gd name="T4" fmla="*/ 8 w 9"/>
              <a:gd name="T5" fmla="*/ 10 h 10"/>
              <a:gd name="T6" fmla="*/ 8 w 9"/>
              <a:gd name="T7" fmla="*/ 10 h 10"/>
              <a:gd name="T8" fmla="*/ 9 w 9"/>
              <a:gd name="T9" fmla="*/ 7 h 10"/>
              <a:gd name="T10" fmla="*/ 9 w 9"/>
              <a:gd name="T11" fmla="*/ 3 h 10"/>
              <a:gd name="T12" fmla="*/ 9 w 9"/>
              <a:gd name="T13" fmla="*/ 1 h 10"/>
              <a:gd name="T14" fmla="*/ 9 w 9"/>
              <a:gd name="T15" fmla="*/ 0 h 10"/>
              <a:gd name="T16" fmla="*/ 7 w 9"/>
              <a:gd name="T17" fmla="*/ 1 h 10"/>
              <a:gd name="T18" fmla="*/ 5 w 9"/>
              <a:gd name="T19" fmla="*/ 2 h 10"/>
              <a:gd name="T20" fmla="*/ 2 w 9"/>
              <a:gd name="T21" fmla="*/ 3 h 10"/>
              <a:gd name="T22" fmla="*/ 2 w 9"/>
              <a:gd name="T23" fmla="*/ 4 h 10"/>
              <a:gd name="T24" fmla="*/ 1 w 9"/>
              <a:gd name="T25" fmla="*/ 5 h 10"/>
              <a:gd name="T26" fmla="*/ 0 w 9"/>
              <a:gd name="T27" fmla="*/ 5 h 10"/>
              <a:gd name="T28" fmla="*/ 0 w 9"/>
              <a:gd name="T29" fmla="*/ 6 h 10"/>
              <a:gd name="T30" fmla="*/ 3 w 9"/>
              <a:gd name="T31" fmla="*/ 9 h 10"/>
              <a:gd name="T32" fmla="*/ 4 w 9"/>
              <a:gd name="T33" fmla="*/ 9 h 10"/>
              <a:gd name="T34" fmla="*/ 5 w 9"/>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0">
                <a:moveTo>
                  <a:pt x="5" y="10"/>
                </a:moveTo>
                <a:cubicBezTo>
                  <a:pt x="6" y="10"/>
                  <a:pt x="7" y="10"/>
                  <a:pt x="7" y="10"/>
                </a:cubicBezTo>
                <a:cubicBezTo>
                  <a:pt x="7" y="10"/>
                  <a:pt x="8" y="10"/>
                  <a:pt x="8" y="10"/>
                </a:cubicBezTo>
                <a:cubicBezTo>
                  <a:pt x="8" y="10"/>
                  <a:pt x="8" y="10"/>
                  <a:pt x="8" y="10"/>
                </a:cubicBezTo>
                <a:cubicBezTo>
                  <a:pt x="8" y="9"/>
                  <a:pt x="8" y="8"/>
                  <a:pt x="9" y="7"/>
                </a:cubicBezTo>
                <a:cubicBezTo>
                  <a:pt x="9" y="6"/>
                  <a:pt x="8" y="3"/>
                  <a:pt x="9" y="3"/>
                </a:cubicBezTo>
                <a:cubicBezTo>
                  <a:pt x="9" y="2"/>
                  <a:pt x="9" y="2"/>
                  <a:pt x="9" y="1"/>
                </a:cubicBezTo>
                <a:cubicBezTo>
                  <a:pt x="9" y="1"/>
                  <a:pt x="9" y="0"/>
                  <a:pt x="9" y="0"/>
                </a:cubicBezTo>
                <a:cubicBezTo>
                  <a:pt x="8" y="0"/>
                  <a:pt x="7" y="1"/>
                  <a:pt x="7" y="1"/>
                </a:cubicBezTo>
                <a:cubicBezTo>
                  <a:pt x="6" y="1"/>
                  <a:pt x="5" y="1"/>
                  <a:pt x="5" y="2"/>
                </a:cubicBezTo>
                <a:cubicBezTo>
                  <a:pt x="4" y="3"/>
                  <a:pt x="4" y="3"/>
                  <a:pt x="2" y="3"/>
                </a:cubicBezTo>
                <a:cubicBezTo>
                  <a:pt x="1" y="3"/>
                  <a:pt x="2" y="4"/>
                  <a:pt x="2" y="4"/>
                </a:cubicBezTo>
                <a:cubicBezTo>
                  <a:pt x="1" y="4"/>
                  <a:pt x="1" y="5"/>
                  <a:pt x="1" y="5"/>
                </a:cubicBezTo>
                <a:cubicBezTo>
                  <a:pt x="0" y="5"/>
                  <a:pt x="0" y="5"/>
                  <a:pt x="0" y="5"/>
                </a:cubicBezTo>
                <a:cubicBezTo>
                  <a:pt x="0" y="5"/>
                  <a:pt x="0" y="6"/>
                  <a:pt x="0" y="6"/>
                </a:cubicBezTo>
                <a:cubicBezTo>
                  <a:pt x="1" y="6"/>
                  <a:pt x="2" y="8"/>
                  <a:pt x="3" y="9"/>
                </a:cubicBezTo>
                <a:cubicBezTo>
                  <a:pt x="3" y="9"/>
                  <a:pt x="4" y="9"/>
                  <a:pt x="4" y="9"/>
                </a:cubicBezTo>
                <a:cubicBezTo>
                  <a:pt x="4" y="9"/>
                  <a:pt x="5" y="9"/>
                  <a:pt x="5"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340"/>
          <p:cNvSpPr>
            <a:spLocks/>
          </p:cNvSpPr>
          <p:nvPr/>
        </p:nvSpPr>
        <p:spPr bwMode="auto">
          <a:xfrm>
            <a:off x="1404350" y="3221752"/>
            <a:ext cx="425407" cy="439706"/>
          </a:xfrm>
          <a:custGeom>
            <a:avLst/>
            <a:gdLst>
              <a:gd name="T0" fmla="*/ 49 w 88"/>
              <a:gd name="T1" fmla="*/ 84 h 91"/>
              <a:gd name="T2" fmla="*/ 51 w 88"/>
              <a:gd name="T3" fmla="*/ 84 h 91"/>
              <a:gd name="T4" fmla="*/ 56 w 88"/>
              <a:gd name="T5" fmla="*/ 75 h 91"/>
              <a:gd name="T6" fmla="*/ 60 w 88"/>
              <a:gd name="T7" fmla="*/ 68 h 91"/>
              <a:gd name="T8" fmla="*/ 66 w 88"/>
              <a:gd name="T9" fmla="*/ 64 h 91"/>
              <a:gd name="T10" fmla="*/ 73 w 88"/>
              <a:gd name="T11" fmla="*/ 62 h 91"/>
              <a:gd name="T12" fmla="*/ 75 w 88"/>
              <a:gd name="T13" fmla="*/ 57 h 91"/>
              <a:gd name="T14" fmla="*/ 78 w 88"/>
              <a:gd name="T15" fmla="*/ 52 h 91"/>
              <a:gd name="T16" fmla="*/ 78 w 88"/>
              <a:gd name="T17" fmla="*/ 42 h 91"/>
              <a:gd name="T18" fmla="*/ 80 w 88"/>
              <a:gd name="T19" fmla="*/ 41 h 91"/>
              <a:gd name="T20" fmla="*/ 87 w 88"/>
              <a:gd name="T21" fmla="*/ 31 h 91"/>
              <a:gd name="T22" fmla="*/ 79 w 88"/>
              <a:gd name="T23" fmla="*/ 21 h 91"/>
              <a:gd name="T24" fmla="*/ 66 w 88"/>
              <a:gd name="T25" fmla="*/ 19 h 91"/>
              <a:gd name="T26" fmla="*/ 58 w 88"/>
              <a:gd name="T27" fmla="*/ 15 h 91"/>
              <a:gd name="T28" fmla="*/ 57 w 88"/>
              <a:gd name="T29" fmla="*/ 13 h 91"/>
              <a:gd name="T30" fmla="*/ 52 w 88"/>
              <a:gd name="T31" fmla="*/ 12 h 91"/>
              <a:gd name="T32" fmla="*/ 50 w 88"/>
              <a:gd name="T33" fmla="*/ 3 h 91"/>
              <a:gd name="T34" fmla="*/ 43 w 88"/>
              <a:gd name="T35" fmla="*/ 7 h 91"/>
              <a:gd name="T36" fmla="*/ 37 w 88"/>
              <a:gd name="T37" fmla="*/ 8 h 91"/>
              <a:gd name="T38" fmla="*/ 32 w 88"/>
              <a:gd name="T39" fmla="*/ 8 h 91"/>
              <a:gd name="T40" fmla="*/ 31 w 88"/>
              <a:gd name="T41" fmla="*/ 1 h 91"/>
              <a:gd name="T42" fmla="*/ 25 w 88"/>
              <a:gd name="T43" fmla="*/ 4 h 91"/>
              <a:gd name="T44" fmla="*/ 21 w 88"/>
              <a:gd name="T45" fmla="*/ 3 h 91"/>
              <a:gd name="T46" fmla="*/ 23 w 88"/>
              <a:gd name="T47" fmla="*/ 7 h 91"/>
              <a:gd name="T48" fmla="*/ 20 w 88"/>
              <a:gd name="T49" fmla="*/ 9 h 91"/>
              <a:gd name="T50" fmla="*/ 16 w 88"/>
              <a:gd name="T51" fmla="*/ 10 h 91"/>
              <a:gd name="T52" fmla="*/ 9 w 88"/>
              <a:gd name="T53" fmla="*/ 9 h 91"/>
              <a:gd name="T54" fmla="*/ 9 w 88"/>
              <a:gd name="T55" fmla="*/ 12 h 91"/>
              <a:gd name="T56" fmla="*/ 9 w 88"/>
              <a:gd name="T57" fmla="*/ 22 h 91"/>
              <a:gd name="T58" fmla="*/ 2 w 88"/>
              <a:gd name="T59" fmla="*/ 24 h 91"/>
              <a:gd name="T60" fmla="*/ 0 w 88"/>
              <a:gd name="T61" fmla="*/ 29 h 91"/>
              <a:gd name="T62" fmla="*/ 3 w 88"/>
              <a:gd name="T63" fmla="*/ 33 h 91"/>
              <a:gd name="T64" fmla="*/ 7 w 88"/>
              <a:gd name="T65" fmla="*/ 34 h 91"/>
              <a:gd name="T66" fmla="*/ 13 w 88"/>
              <a:gd name="T67" fmla="*/ 36 h 91"/>
              <a:gd name="T68" fmla="*/ 19 w 88"/>
              <a:gd name="T69" fmla="*/ 34 h 91"/>
              <a:gd name="T70" fmla="*/ 24 w 88"/>
              <a:gd name="T71" fmla="*/ 41 h 91"/>
              <a:gd name="T72" fmla="*/ 29 w 88"/>
              <a:gd name="T73" fmla="*/ 43 h 91"/>
              <a:gd name="T74" fmla="*/ 31 w 88"/>
              <a:gd name="T75" fmla="*/ 48 h 91"/>
              <a:gd name="T76" fmla="*/ 36 w 88"/>
              <a:gd name="T77" fmla="*/ 52 h 91"/>
              <a:gd name="T78" fmla="*/ 35 w 88"/>
              <a:gd name="T79" fmla="*/ 58 h 91"/>
              <a:gd name="T80" fmla="*/ 39 w 88"/>
              <a:gd name="T81" fmla="*/ 63 h 91"/>
              <a:gd name="T82" fmla="*/ 43 w 88"/>
              <a:gd name="T83" fmla="*/ 66 h 91"/>
              <a:gd name="T84" fmla="*/ 45 w 88"/>
              <a:gd name="T85" fmla="*/ 74 h 91"/>
              <a:gd name="T86" fmla="*/ 37 w 88"/>
              <a:gd name="T87" fmla="*/ 82 h 91"/>
              <a:gd name="T88" fmla="*/ 40 w 88"/>
              <a:gd name="T89" fmla="*/ 84 h 91"/>
              <a:gd name="T90" fmla="*/ 45 w 88"/>
              <a:gd name="T91"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 h="91">
                <a:moveTo>
                  <a:pt x="47" y="89"/>
                </a:moveTo>
                <a:cubicBezTo>
                  <a:pt x="48" y="89"/>
                  <a:pt x="48" y="88"/>
                  <a:pt x="48" y="87"/>
                </a:cubicBezTo>
                <a:cubicBezTo>
                  <a:pt x="49" y="86"/>
                  <a:pt x="48" y="85"/>
                  <a:pt x="49" y="84"/>
                </a:cubicBezTo>
                <a:cubicBezTo>
                  <a:pt x="51" y="83"/>
                  <a:pt x="49" y="82"/>
                  <a:pt x="51" y="82"/>
                </a:cubicBezTo>
                <a:cubicBezTo>
                  <a:pt x="52" y="81"/>
                  <a:pt x="52" y="82"/>
                  <a:pt x="51" y="84"/>
                </a:cubicBezTo>
                <a:cubicBezTo>
                  <a:pt x="50" y="85"/>
                  <a:pt x="49" y="86"/>
                  <a:pt x="51" y="84"/>
                </a:cubicBezTo>
                <a:cubicBezTo>
                  <a:pt x="52" y="83"/>
                  <a:pt x="53" y="82"/>
                  <a:pt x="54" y="80"/>
                </a:cubicBezTo>
                <a:cubicBezTo>
                  <a:pt x="54" y="78"/>
                  <a:pt x="55" y="78"/>
                  <a:pt x="56" y="78"/>
                </a:cubicBezTo>
                <a:cubicBezTo>
                  <a:pt x="57" y="78"/>
                  <a:pt x="57" y="76"/>
                  <a:pt x="56" y="75"/>
                </a:cubicBezTo>
                <a:cubicBezTo>
                  <a:pt x="56" y="73"/>
                  <a:pt x="56" y="72"/>
                  <a:pt x="57" y="71"/>
                </a:cubicBezTo>
                <a:cubicBezTo>
                  <a:pt x="57" y="70"/>
                  <a:pt x="57" y="70"/>
                  <a:pt x="57" y="70"/>
                </a:cubicBezTo>
                <a:cubicBezTo>
                  <a:pt x="58" y="70"/>
                  <a:pt x="59" y="69"/>
                  <a:pt x="60" y="68"/>
                </a:cubicBezTo>
                <a:cubicBezTo>
                  <a:pt x="61" y="67"/>
                  <a:pt x="62" y="66"/>
                  <a:pt x="63" y="66"/>
                </a:cubicBezTo>
                <a:cubicBezTo>
                  <a:pt x="64" y="66"/>
                  <a:pt x="63" y="66"/>
                  <a:pt x="64" y="66"/>
                </a:cubicBezTo>
                <a:cubicBezTo>
                  <a:pt x="65" y="65"/>
                  <a:pt x="65" y="65"/>
                  <a:pt x="66" y="64"/>
                </a:cubicBezTo>
                <a:cubicBezTo>
                  <a:pt x="66" y="64"/>
                  <a:pt x="68" y="64"/>
                  <a:pt x="70" y="64"/>
                </a:cubicBezTo>
                <a:cubicBezTo>
                  <a:pt x="71" y="64"/>
                  <a:pt x="71" y="64"/>
                  <a:pt x="71" y="64"/>
                </a:cubicBezTo>
                <a:cubicBezTo>
                  <a:pt x="71" y="63"/>
                  <a:pt x="72" y="62"/>
                  <a:pt x="73" y="62"/>
                </a:cubicBezTo>
                <a:cubicBezTo>
                  <a:pt x="73" y="62"/>
                  <a:pt x="74" y="62"/>
                  <a:pt x="74" y="61"/>
                </a:cubicBezTo>
                <a:cubicBezTo>
                  <a:pt x="74" y="60"/>
                  <a:pt x="74" y="60"/>
                  <a:pt x="75" y="59"/>
                </a:cubicBezTo>
                <a:cubicBezTo>
                  <a:pt x="75" y="59"/>
                  <a:pt x="75" y="58"/>
                  <a:pt x="75" y="57"/>
                </a:cubicBezTo>
                <a:cubicBezTo>
                  <a:pt x="76" y="57"/>
                  <a:pt x="76" y="57"/>
                  <a:pt x="76" y="56"/>
                </a:cubicBezTo>
                <a:cubicBezTo>
                  <a:pt x="76" y="55"/>
                  <a:pt x="77" y="54"/>
                  <a:pt x="77" y="53"/>
                </a:cubicBezTo>
                <a:cubicBezTo>
                  <a:pt x="77" y="53"/>
                  <a:pt x="77" y="53"/>
                  <a:pt x="78" y="52"/>
                </a:cubicBezTo>
                <a:cubicBezTo>
                  <a:pt x="78" y="52"/>
                  <a:pt x="77" y="51"/>
                  <a:pt x="78" y="49"/>
                </a:cubicBezTo>
                <a:cubicBezTo>
                  <a:pt x="79" y="48"/>
                  <a:pt x="78" y="46"/>
                  <a:pt x="78" y="45"/>
                </a:cubicBezTo>
                <a:cubicBezTo>
                  <a:pt x="78" y="44"/>
                  <a:pt x="78" y="42"/>
                  <a:pt x="78" y="42"/>
                </a:cubicBezTo>
                <a:cubicBezTo>
                  <a:pt x="79" y="41"/>
                  <a:pt x="79" y="41"/>
                  <a:pt x="78" y="41"/>
                </a:cubicBezTo>
                <a:cubicBezTo>
                  <a:pt x="78" y="41"/>
                  <a:pt x="78" y="40"/>
                  <a:pt x="79" y="40"/>
                </a:cubicBezTo>
                <a:cubicBezTo>
                  <a:pt x="79" y="40"/>
                  <a:pt x="79" y="41"/>
                  <a:pt x="80" y="41"/>
                </a:cubicBezTo>
                <a:cubicBezTo>
                  <a:pt x="81" y="40"/>
                  <a:pt x="81" y="39"/>
                  <a:pt x="82" y="37"/>
                </a:cubicBezTo>
                <a:cubicBezTo>
                  <a:pt x="82" y="36"/>
                  <a:pt x="83" y="36"/>
                  <a:pt x="84" y="36"/>
                </a:cubicBezTo>
                <a:cubicBezTo>
                  <a:pt x="85" y="35"/>
                  <a:pt x="86" y="34"/>
                  <a:pt x="87" y="31"/>
                </a:cubicBezTo>
                <a:cubicBezTo>
                  <a:pt x="88" y="29"/>
                  <a:pt x="87" y="27"/>
                  <a:pt x="87" y="25"/>
                </a:cubicBezTo>
                <a:cubicBezTo>
                  <a:pt x="86" y="23"/>
                  <a:pt x="86" y="24"/>
                  <a:pt x="85" y="24"/>
                </a:cubicBezTo>
                <a:cubicBezTo>
                  <a:pt x="84" y="24"/>
                  <a:pt x="82" y="23"/>
                  <a:pt x="79" y="21"/>
                </a:cubicBezTo>
                <a:cubicBezTo>
                  <a:pt x="77" y="18"/>
                  <a:pt x="75" y="18"/>
                  <a:pt x="73" y="19"/>
                </a:cubicBezTo>
                <a:cubicBezTo>
                  <a:pt x="71" y="19"/>
                  <a:pt x="70" y="18"/>
                  <a:pt x="69" y="18"/>
                </a:cubicBezTo>
                <a:cubicBezTo>
                  <a:pt x="68" y="17"/>
                  <a:pt x="66" y="19"/>
                  <a:pt x="66" y="19"/>
                </a:cubicBezTo>
                <a:cubicBezTo>
                  <a:pt x="65" y="19"/>
                  <a:pt x="66" y="18"/>
                  <a:pt x="66" y="17"/>
                </a:cubicBezTo>
                <a:cubicBezTo>
                  <a:pt x="66" y="16"/>
                  <a:pt x="63" y="15"/>
                  <a:pt x="61" y="14"/>
                </a:cubicBezTo>
                <a:cubicBezTo>
                  <a:pt x="59" y="13"/>
                  <a:pt x="58" y="13"/>
                  <a:pt x="58" y="15"/>
                </a:cubicBezTo>
                <a:cubicBezTo>
                  <a:pt x="58" y="16"/>
                  <a:pt x="57" y="14"/>
                  <a:pt x="56" y="16"/>
                </a:cubicBezTo>
                <a:cubicBezTo>
                  <a:pt x="55" y="17"/>
                  <a:pt x="54" y="17"/>
                  <a:pt x="55" y="16"/>
                </a:cubicBezTo>
                <a:cubicBezTo>
                  <a:pt x="56" y="16"/>
                  <a:pt x="57" y="14"/>
                  <a:pt x="57" y="13"/>
                </a:cubicBezTo>
                <a:cubicBezTo>
                  <a:pt x="57" y="13"/>
                  <a:pt x="54" y="12"/>
                  <a:pt x="52" y="12"/>
                </a:cubicBezTo>
                <a:cubicBezTo>
                  <a:pt x="51" y="13"/>
                  <a:pt x="52" y="15"/>
                  <a:pt x="51" y="14"/>
                </a:cubicBezTo>
                <a:cubicBezTo>
                  <a:pt x="50" y="13"/>
                  <a:pt x="51" y="12"/>
                  <a:pt x="52" y="12"/>
                </a:cubicBezTo>
                <a:cubicBezTo>
                  <a:pt x="52" y="12"/>
                  <a:pt x="53" y="11"/>
                  <a:pt x="54" y="9"/>
                </a:cubicBezTo>
                <a:cubicBezTo>
                  <a:pt x="54" y="8"/>
                  <a:pt x="53" y="8"/>
                  <a:pt x="52" y="7"/>
                </a:cubicBezTo>
                <a:cubicBezTo>
                  <a:pt x="51" y="6"/>
                  <a:pt x="51" y="3"/>
                  <a:pt x="50" y="3"/>
                </a:cubicBezTo>
                <a:cubicBezTo>
                  <a:pt x="49" y="4"/>
                  <a:pt x="48" y="5"/>
                  <a:pt x="48" y="6"/>
                </a:cubicBezTo>
                <a:cubicBezTo>
                  <a:pt x="47" y="8"/>
                  <a:pt x="47" y="7"/>
                  <a:pt x="46" y="7"/>
                </a:cubicBezTo>
                <a:cubicBezTo>
                  <a:pt x="44" y="8"/>
                  <a:pt x="44" y="7"/>
                  <a:pt x="43" y="7"/>
                </a:cubicBezTo>
                <a:cubicBezTo>
                  <a:pt x="43" y="6"/>
                  <a:pt x="42" y="7"/>
                  <a:pt x="41" y="7"/>
                </a:cubicBezTo>
                <a:cubicBezTo>
                  <a:pt x="40" y="7"/>
                  <a:pt x="41" y="8"/>
                  <a:pt x="40" y="8"/>
                </a:cubicBezTo>
                <a:cubicBezTo>
                  <a:pt x="39" y="8"/>
                  <a:pt x="38" y="7"/>
                  <a:pt x="37" y="8"/>
                </a:cubicBezTo>
                <a:cubicBezTo>
                  <a:pt x="37" y="9"/>
                  <a:pt x="36" y="8"/>
                  <a:pt x="36" y="8"/>
                </a:cubicBezTo>
                <a:cubicBezTo>
                  <a:pt x="36" y="9"/>
                  <a:pt x="35" y="9"/>
                  <a:pt x="35" y="9"/>
                </a:cubicBezTo>
                <a:cubicBezTo>
                  <a:pt x="34" y="9"/>
                  <a:pt x="33" y="10"/>
                  <a:pt x="32" y="8"/>
                </a:cubicBezTo>
                <a:cubicBezTo>
                  <a:pt x="31" y="7"/>
                  <a:pt x="31" y="5"/>
                  <a:pt x="32" y="4"/>
                </a:cubicBezTo>
                <a:cubicBezTo>
                  <a:pt x="32" y="4"/>
                  <a:pt x="32" y="3"/>
                  <a:pt x="32" y="2"/>
                </a:cubicBezTo>
                <a:cubicBezTo>
                  <a:pt x="31" y="2"/>
                  <a:pt x="32" y="1"/>
                  <a:pt x="31" y="1"/>
                </a:cubicBezTo>
                <a:cubicBezTo>
                  <a:pt x="30" y="0"/>
                  <a:pt x="30" y="2"/>
                  <a:pt x="29" y="2"/>
                </a:cubicBezTo>
                <a:cubicBezTo>
                  <a:pt x="29" y="2"/>
                  <a:pt x="27" y="3"/>
                  <a:pt x="27" y="3"/>
                </a:cubicBezTo>
                <a:cubicBezTo>
                  <a:pt x="26" y="3"/>
                  <a:pt x="25" y="3"/>
                  <a:pt x="25" y="4"/>
                </a:cubicBezTo>
                <a:cubicBezTo>
                  <a:pt x="25" y="5"/>
                  <a:pt x="24" y="4"/>
                  <a:pt x="24" y="4"/>
                </a:cubicBezTo>
                <a:cubicBezTo>
                  <a:pt x="24" y="3"/>
                  <a:pt x="23" y="3"/>
                  <a:pt x="22" y="3"/>
                </a:cubicBezTo>
                <a:cubicBezTo>
                  <a:pt x="22" y="3"/>
                  <a:pt x="20" y="3"/>
                  <a:pt x="21" y="3"/>
                </a:cubicBezTo>
                <a:cubicBezTo>
                  <a:pt x="22" y="4"/>
                  <a:pt x="22" y="4"/>
                  <a:pt x="22" y="5"/>
                </a:cubicBezTo>
                <a:cubicBezTo>
                  <a:pt x="22" y="6"/>
                  <a:pt x="22" y="6"/>
                  <a:pt x="22" y="6"/>
                </a:cubicBezTo>
                <a:cubicBezTo>
                  <a:pt x="22" y="7"/>
                  <a:pt x="23" y="7"/>
                  <a:pt x="23" y="7"/>
                </a:cubicBezTo>
                <a:cubicBezTo>
                  <a:pt x="24" y="7"/>
                  <a:pt x="24" y="7"/>
                  <a:pt x="23" y="8"/>
                </a:cubicBezTo>
                <a:cubicBezTo>
                  <a:pt x="22" y="8"/>
                  <a:pt x="22" y="8"/>
                  <a:pt x="22" y="9"/>
                </a:cubicBezTo>
                <a:cubicBezTo>
                  <a:pt x="22" y="9"/>
                  <a:pt x="21" y="9"/>
                  <a:pt x="20" y="9"/>
                </a:cubicBezTo>
                <a:cubicBezTo>
                  <a:pt x="20" y="10"/>
                  <a:pt x="19" y="11"/>
                  <a:pt x="19" y="10"/>
                </a:cubicBezTo>
                <a:cubicBezTo>
                  <a:pt x="18" y="10"/>
                  <a:pt x="18" y="10"/>
                  <a:pt x="18" y="10"/>
                </a:cubicBezTo>
                <a:cubicBezTo>
                  <a:pt x="17" y="11"/>
                  <a:pt x="17" y="10"/>
                  <a:pt x="16" y="10"/>
                </a:cubicBezTo>
                <a:cubicBezTo>
                  <a:pt x="16" y="10"/>
                  <a:pt x="16" y="9"/>
                  <a:pt x="15" y="8"/>
                </a:cubicBezTo>
                <a:cubicBezTo>
                  <a:pt x="14" y="8"/>
                  <a:pt x="13" y="8"/>
                  <a:pt x="13" y="8"/>
                </a:cubicBezTo>
                <a:cubicBezTo>
                  <a:pt x="12" y="8"/>
                  <a:pt x="9" y="8"/>
                  <a:pt x="9" y="9"/>
                </a:cubicBezTo>
                <a:cubicBezTo>
                  <a:pt x="9" y="9"/>
                  <a:pt x="9" y="10"/>
                  <a:pt x="10" y="10"/>
                </a:cubicBezTo>
                <a:cubicBezTo>
                  <a:pt x="10" y="10"/>
                  <a:pt x="11" y="10"/>
                  <a:pt x="10" y="11"/>
                </a:cubicBezTo>
                <a:cubicBezTo>
                  <a:pt x="9" y="11"/>
                  <a:pt x="9" y="11"/>
                  <a:pt x="9" y="12"/>
                </a:cubicBezTo>
                <a:cubicBezTo>
                  <a:pt x="9" y="13"/>
                  <a:pt x="10" y="14"/>
                  <a:pt x="10" y="15"/>
                </a:cubicBezTo>
                <a:cubicBezTo>
                  <a:pt x="10" y="16"/>
                  <a:pt x="10" y="18"/>
                  <a:pt x="10" y="19"/>
                </a:cubicBezTo>
                <a:cubicBezTo>
                  <a:pt x="10" y="19"/>
                  <a:pt x="9" y="21"/>
                  <a:pt x="9" y="22"/>
                </a:cubicBezTo>
                <a:cubicBezTo>
                  <a:pt x="8" y="22"/>
                  <a:pt x="8" y="21"/>
                  <a:pt x="7" y="22"/>
                </a:cubicBezTo>
                <a:cubicBezTo>
                  <a:pt x="6" y="22"/>
                  <a:pt x="5" y="22"/>
                  <a:pt x="4" y="23"/>
                </a:cubicBezTo>
                <a:cubicBezTo>
                  <a:pt x="3" y="23"/>
                  <a:pt x="2" y="23"/>
                  <a:pt x="2" y="24"/>
                </a:cubicBezTo>
                <a:cubicBezTo>
                  <a:pt x="2" y="25"/>
                  <a:pt x="1" y="25"/>
                  <a:pt x="2" y="26"/>
                </a:cubicBezTo>
                <a:cubicBezTo>
                  <a:pt x="2" y="27"/>
                  <a:pt x="1" y="27"/>
                  <a:pt x="1" y="27"/>
                </a:cubicBezTo>
                <a:cubicBezTo>
                  <a:pt x="0" y="28"/>
                  <a:pt x="1" y="28"/>
                  <a:pt x="0" y="29"/>
                </a:cubicBezTo>
                <a:cubicBezTo>
                  <a:pt x="0" y="29"/>
                  <a:pt x="0" y="30"/>
                  <a:pt x="1" y="31"/>
                </a:cubicBezTo>
                <a:cubicBezTo>
                  <a:pt x="1" y="31"/>
                  <a:pt x="2" y="32"/>
                  <a:pt x="2" y="32"/>
                </a:cubicBezTo>
                <a:cubicBezTo>
                  <a:pt x="2" y="33"/>
                  <a:pt x="2" y="33"/>
                  <a:pt x="3" y="33"/>
                </a:cubicBezTo>
                <a:cubicBezTo>
                  <a:pt x="4" y="33"/>
                  <a:pt x="3" y="35"/>
                  <a:pt x="4" y="35"/>
                </a:cubicBezTo>
                <a:cubicBezTo>
                  <a:pt x="5" y="35"/>
                  <a:pt x="6" y="35"/>
                  <a:pt x="6" y="34"/>
                </a:cubicBezTo>
                <a:cubicBezTo>
                  <a:pt x="7" y="34"/>
                  <a:pt x="7" y="33"/>
                  <a:pt x="7" y="34"/>
                </a:cubicBezTo>
                <a:cubicBezTo>
                  <a:pt x="7" y="35"/>
                  <a:pt x="7" y="37"/>
                  <a:pt x="8" y="37"/>
                </a:cubicBezTo>
                <a:cubicBezTo>
                  <a:pt x="9" y="37"/>
                  <a:pt x="10" y="37"/>
                  <a:pt x="11" y="37"/>
                </a:cubicBezTo>
                <a:cubicBezTo>
                  <a:pt x="11" y="37"/>
                  <a:pt x="12" y="37"/>
                  <a:pt x="13" y="36"/>
                </a:cubicBezTo>
                <a:cubicBezTo>
                  <a:pt x="13" y="36"/>
                  <a:pt x="14" y="36"/>
                  <a:pt x="15" y="36"/>
                </a:cubicBezTo>
                <a:cubicBezTo>
                  <a:pt x="15" y="35"/>
                  <a:pt x="16" y="34"/>
                  <a:pt x="17" y="34"/>
                </a:cubicBezTo>
                <a:cubicBezTo>
                  <a:pt x="18" y="34"/>
                  <a:pt x="19" y="34"/>
                  <a:pt x="19" y="34"/>
                </a:cubicBezTo>
                <a:cubicBezTo>
                  <a:pt x="19" y="35"/>
                  <a:pt x="19" y="38"/>
                  <a:pt x="20" y="39"/>
                </a:cubicBezTo>
                <a:cubicBezTo>
                  <a:pt x="21" y="40"/>
                  <a:pt x="22" y="40"/>
                  <a:pt x="23" y="40"/>
                </a:cubicBezTo>
                <a:cubicBezTo>
                  <a:pt x="24" y="40"/>
                  <a:pt x="23" y="41"/>
                  <a:pt x="24" y="41"/>
                </a:cubicBezTo>
                <a:cubicBezTo>
                  <a:pt x="25" y="41"/>
                  <a:pt x="24" y="41"/>
                  <a:pt x="25" y="41"/>
                </a:cubicBezTo>
                <a:cubicBezTo>
                  <a:pt x="26" y="41"/>
                  <a:pt x="27" y="42"/>
                  <a:pt x="27" y="42"/>
                </a:cubicBezTo>
                <a:cubicBezTo>
                  <a:pt x="27" y="43"/>
                  <a:pt x="29" y="42"/>
                  <a:pt x="29" y="43"/>
                </a:cubicBezTo>
                <a:cubicBezTo>
                  <a:pt x="30" y="43"/>
                  <a:pt x="30" y="44"/>
                  <a:pt x="30" y="44"/>
                </a:cubicBezTo>
                <a:cubicBezTo>
                  <a:pt x="30" y="45"/>
                  <a:pt x="31" y="46"/>
                  <a:pt x="31" y="46"/>
                </a:cubicBezTo>
                <a:cubicBezTo>
                  <a:pt x="30" y="46"/>
                  <a:pt x="31" y="47"/>
                  <a:pt x="31" y="48"/>
                </a:cubicBezTo>
                <a:cubicBezTo>
                  <a:pt x="31" y="49"/>
                  <a:pt x="32" y="49"/>
                  <a:pt x="33" y="49"/>
                </a:cubicBezTo>
                <a:cubicBezTo>
                  <a:pt x="35" y="49"/>
                  <a:pt x="35" y="49"/>
                  <a:pt x="35" y="50"/>
                </a:cubicBezTo>
                <a:cubicBezTo>
                  <a:pt x="35" y="51"/>
                  <a:pt x="36" y="51"/>
                  <a:pt x="36" y="52"/>
                </a:cubicBezTo>
                <a:cubicBezTo>
                  <a:pt x="37" y="53"/>
                  <a:pt x="36" y="54"/>
                  <a:pt x="36" y="55"/>
                </a:cubicBezTo>
                <a:cubicBezTo>
                  <a:pt x="36" y="56"/>
                  <a:pt x="36" y="56"/>
                  <a:pt x="35" y="57"/>
                </a:cubicBezTo>
                <a:cubicBezTo>
                  <a:pt x="36" y="57"/>
                  <a:pt x="36" y="58"/>
                  <a:pt x="35" y="58"/>
                </a:cubicBezTo>
                <a:cubicBezTo>
                  <a:pt x="35" y="58"/>
                  <a:pt x="36" y="59"/>
                  <a:pt x="36" y="61"/>
                </a:cubicBezTo>
                <a:cubicBezTo>
                  <a:pt x="36" y="62"/>
                  <a:pt x="35" y="62"/>
                  <a:pt x="37" y="62"/>
                </a:cubicBezTo>
                <a:cubicBezTo>
                  <a:pt x="39" y="62"/>
                  <a:pt x="38" y="63"/>
                  <a:pt x="39" y="63"/>
                </a:cubicBezTo>
                <a:cubicBezTo>
                  <a:pt x="39" y="62"/>
                  <a:pt x="40" y="64"/>
                  <a:pt x="40" y="64"/>
                </a:cubicBezTo>
                <a:cubicBezTo>
                  <a:pt x="41" y="65"/>
                  <a:pt x="41" y="67"/>
                  <a:pt x="42" y="67"/>
                </a:cubicBezTo>
                <a:cubicBezTo>
                  <a:pt x="42" y="67"/>
                  <a:pt x="43" y="66"/>
                  <a:pt x="43" y="66"/>
                </a:cubicBezTo>
                <a:cubicBezTo>
                  <a:pt x="44" y="67"/>
                  <a:pt x="43" y="69"/>
                  <a:pt x="43" y="70"/>
                </a:cubicBezTo>
                <a:cubicBezTo>
                  <a:pt x="44" y="70"/>
                  <a:pt x="44" y="70"/>
                  <a:pt x="45" y="70"/>
                </a:cubicBezTo>
                <a:cubicBezTo>
                  <a:pt x="45" y="71"/>
                  <a:pt x="45" y="73"/>
                  <a:pt x="45" y="74"/>
                </a:cubicBezTo>
                <a:cubicBezTo>
                  <a:pt x="45" y="74"/>
                  <a:pt x="43" y="75"/>
                  <a:pt x="42" y="75"/>
                </a:cubicBezTo>
                <a:cubicBezTo>
                  <a:pt x="41" y="76"/>
                  <a:pt x="39" y="78"/>
                  <a:pt x="39" y="79"/>
                </a:cubicBezTo>
                <a:cubicBezTo>
                  <a:pt x="38" y="80"/>
                  <a:pt x="37" y="81"/>
                  <a:pt x="37" y="82"/>
                </a:cubicBezTo>
                <a:cubicBezTo>
                  <a:pt x="37" y="82"/>
                  <a:pt x="37" y="82"/>
                  <a:pt x="37" y="82"/>
                </a:cubicBezTo>
                <a:cubicBezTo>
                  <a:pt x="38" y="81"/>
                  <a:pt x="38" y="81"/>
                  <a:pt x="39" y="82"/>
                </a:cubicBezTo>
                <a:cubicBezTo>
                  <a:pt x="40" y="83"/>
                  <a:pt x="40" y="84"/>
                  <a:pt x="40" y="84"/>
                </a:cubicBezTo>
                <a:cubicBezTo>
                  <a:pt x="40" y="84"/>
                  <a:pt x="41" y="83"/>
                  <a:pt x="41" y="84"/>
                </a:cubicBezTo>
                <a:cubicBezTo>
                  <a:pt x="42" y="84"/>
                  <a:pt x="43" y="85"/>
                  <a:pt x="44" y="85"/>
                </a:cubicBezTo>
                <a:cubicBezTo>
                  <a:pt x="44" y="86"/>
                  <a:pt x="45" y="86"/>
                  <a:pt x="45" y="87"/>
                </a:cubicBezTo>
                <a:cubicBezTo>
                  <a:pt x="45" y="88"/>
                  <a:pt x="45" y="89"/>
                  <a:pt x="46" y="91"/>
                </a:cubicBezTo>
                <a:cubicBezTo>
                  <a:pt x="46" y="90"/>
                  <a:pt x="46" y="90"/>
                  <a:pt x="47" y="89"/>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41"/>
          <p:cNvSpPr>
            <a:spLocks/>
          </p:cNvSpPr>
          <p:nvPr/>
        </p:nvSpPr>
        <p:spPr bwMode="auto">
          <a:xfrm>
            <a:off x="1568793" y="3611410"/>
            <a:ext cx="57198" cy="64347"/>
          </a:xfrm>
          <a:custGeom>
            <a:avLst/>
            <a:gdLst>
              <a:gd name="T0" fmla="*/ 11 w 12"/>
              <a:gd name="T1" fmla="*/ 6 h 13"/>
              <a:gd name="T2" fmla="*/ 10 w 12"/>
              <a:gd name="T3" fmla="*/ 4 h 13"/>
              <a:gd name="T4" fmla="*/ 7 w 12"/>
              <a:gd name="T5" fmla="*/ 3 h 13"/>
              <a:gd name="T6" fmla="*/ 6 w 12"/>
              <a:gd name="T7" fmla="*/ 3 h 13"/>
              <a:gd name="T8" fmla="*/ 5 w 12"/>
              <a:gd name="T9" fmla="*/ 1 h 13"/>
              <a:gd name="T10" fmla="*/ 3 w 12"/>
              <a:gd name="T11" fmla="*/ 1 h 13"/>
              <a:gd name="T12" fmla="*/ 3 w 12"/>
              <a:gd name="T13" fmla="*/ 1 h 13"/>
              <a:gd name="T14" fmla="*/ 2 w 12"/>
              <a:gd name="T15" fmla="*/ 2 h 13"/>
              <a:gd name="T16" fmla="*/ 1 w 12"/>
              <a:gd name="T17" fmla="*/ 6 h 13"/>
              <a:gd name="T18" fmla="*/ 1 w 12"/>
              <a:gd name="T19" fmla="*/ 9 h 13"/>
              <a:gd name="T20" fmla="*/ 1 w 12"/>
              <a:gd name="T21" fmla="*/ 10 h 13"/>
              <a:gd name="T22" fmla="*/ 1 w 12"/>
              <a:gd name="T23" fmla="*/ 11 h 13"/>
              <a:gd name="T24" fmla="*/ 2 w 12"/>
              <a:gd name="T25" fmla="*/ 11 h 13"/>
              <a:gd name="T26" fmla="*/ 5 w 12"/>
              <a:gd name="T27" fmla="*/ 12 h 13"/>
              <a:gd name="T28" fmla="*/ 6 w 12"/>
              <a:gd name="T29" fmla="*/ 12 h 13"/>
              <a:gd name="T30" fmla="*/ 10 w 12"/>
              <a:gd name="T31" fmla="*/ 12 h 13"/>
              <a:gd name="T32" fmla="*/ 12 w 12"/>
              <a:gd name="T33" fmla="*/ 10 h 13"/>
              <a:gd name="T34" fmla="*/ 11 w 12"/>
              <a:gd name="T3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3">
                <a:moveTo>
                  <a:pt x="11" y="6"/>
                </a:moveTo>
                <a:cubicBezTo>
                  <a:pt x="11" y="5"/>
                  <a:pt x="10" y="5"/>
                  <a:pt x="10" y="4"/>
                </a:cubicBezTo>
                <a:cubicBezTo>
                  <a:pt x="9" y="4"/>
                  <a:pt x="8" y="3"/>
                  <a:pt x="7" y="3"/>
                </a:cubicBezTo>
                <a:cubicBezTo>
                  <a:pt x="7" y="2"/>
                  <a:pt x="6" y="3"/>
                  <a:pt x="6" y="3"/>
                </a:cubicBezTo>
                <a:cubicBezTo>
                  <a:pt x="6" y="3"/>
                  <a:pt x="6" y="2"/>
                  <a:pt x="5" y="1"/>
                </a:cubicBezTo>
                <a:cubicBezTo>
                  <a:pt x="4" y="0"/>
                  <a:pt x="4" y="0"/>
                  <a:pt x="3" y="1"/>
                </a:cubicBezTo>
                <a:cubicBezTo>
                  <a:pt x="3" y="1"/>
                  <a:pt x="3" y="1"/>
                  <a:pt x="3" y="1"/>
                </a:cubicBezTo>
                <a:cubicBezTo>
                  <a:pt x="2" y="1"/>
                  <a:pt x="2" y="2"/>
                  <a:pt x="2" y="2"/>
                </a:cubicBezTo>
                <a:cubicBezTo>
                  <a:pt x="2" y="3"/>
                  <a:pt x="1" y="4"/>
                  <a:pt x="1" y="6"/>
                </a:cubicBezTo>
                <a:cubicBezTo>
                  <a:pt x="1" y="8"/>
                  <a:pt x="1" y="7"/>
                  <a:pt x="1" y="9"/>
                </a:cubicBezTo>
                <a:cubicBezTo>
                  <a:pt x="0" y="10"/>
                  <a:pt x="1" y="10"/>
                  <a:pt x="1" y="10"/>
                </a:cubicBezTo>
                <a:cubicBezTo>
                  <a:pt x="1" y="10"/>
                  <a:pt x="1" y="10"/>
                  <a:pt x="1" y="11"/>
                </a:cubicBezTo>
                <a:cubicBezTo>
                  <a:pt x="1" y="11"/>
                  <a:pt x="1" y="11"/>
                  <a:pt x="2" y="11"/>
                </a:cubicBezTo>
                <a:cubicBezTo>
                  <a:pt x="3" y="11"/>
                  <a:pt x="4" y="12"/>
                  <a:pt x="5" y="12"/>
                </a:cubicBezTo>
                <a:cubicBezTo>
                  <a:pt x="6" y="13"/>
                  <a:pt x="5" y="12"/>
                  <a:pt x="6" y="12"/>
                </a:cubicBezTo>
                <a:cubicBezTo>
                  <a:pt x="7" y="12"/>
                  <a:pt x="9" y="12"/>
                  <a:pt x="10" y="12"/>
                </a:cubicBezTo>
                <a:cubicBezTo>
                  <a:pt x="11" y="11"/>
                  <a:pt x="11" y="10"/>
                  <a:pt x="12" y="10"/>
                </a:cubicBezTo>
                <a:cubicBezTo>
                  <a:pt x="11" y="8"/>
                  <a:pt x="11" y="7"/>
                  <a:pt x="1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342"/>
          <p:cNvSpPr>
            <a:spLocks noEditPoints="1"/>
          </p:cNvSpPr>
          <p:nvPr/>
        </p:nvSpPr>
        <p:spPr bwMode="auto">
          <a:xfrm>
            <a:off x="1404350" y="3514889"/>
            <a:ext cx="218066" cy="432557"/>
          </a:xfrm>
          <a:custGeom>
            <a:avLst/>
            <a:gdLst>
              <a:gd name="T0" fmla="*/ 13 w 45"/>
              <a:gd name="T1" fmla="*/ 84 h 89"/>
              <a:gd name="T2" fmla="*/ 12 w 45"/>
              <a:gd name="T3" fmla="*/ 82 h 89"/>
              <a:gd name="T4" fmla="*/ 11 w 45"/>
              <a:gd name="T5" fmla="*/ 88 h 89"/>
              <a:gd name="T6" fmla="*/ 16 w 45"/>
              <a:gd name="T7" fmla="*/ 88 h 89"/>
              <a:gd name="T8" fmla="*/ 17 w 45"/>
              <a:gd name="T9" fmla="*/ 87 h 89"/>
              <a:gd name="T10" fmla="*/ 43 w 45"/>
              <a:gd name="T11" fmla="*/ 9 h 89"/>
              <a:gd name="T12" fmla="*/ 42 w 45"/>
              <a:gd name="T13" fmla="*/ 13 h 89"/>
              <a:gd name="T14" fmla="*/ 38 w 45"/>
              <a:gd name="T15" fmla="*/ 14 h 89"/>
              <a:gd name="T16" fmla="*/ 34 w 45"/>
              <a:gd name="T17" fmla="*/ 13 h 89"/>
              <a:gd name="T18" fmla="*/ 37 w 45"/>
              <a:gd name="T19" fmla="*/ 9 h 89"/>
              <a:gd name="T20" fmla="*/ 30 w 45"/>
              <a:gd name="T21" fmla="*/ 6 h 89"/>
              <a:gd name="T22" fmla="*/ 25 w 45"/>
              <a:gd name="T23" fmla="*/ 1 h 89"/>
              <a:gd name="T24" fmla="*/ 21 w 45"/>
              <a:gd name="T25" fmla="*/ 2 h 89"/>
              <a:gd name="T26" fmla="*/ 17 w 45"/>
              <a:gd name="T27" fmla="*/ 1 h 89"/>
              <a:gd name="T28" fmla="*/ 15 w 45"/>
              <a:gd name="T29" fmla="*/ 5 h 89"/>
              <a:gd name="T30" fmla="*/ 12 w 45"/>
              <a:gd name="T31" fmla="*/ 9 h 89"/>
              <a:gd name="T32" fmla="*/ 12 w 45"/>
              <a:gd name="T33" fmla="*/ 13 h 89"/>
              <a:gd name="T34" fmla="*/ 10 w 45"/>
              <a:gd name="T35" fmla="*/ 16 h 89"/>
              <a:gd name="T36" fmla="*/ 9 w 45"/>
              <a:gd name="T37" fmla="*/ 19 h 89"/>
              <a:gd name="T38" fmla="*/ 8 w 45"/>
              <a:gd name="T39" fmla="*/ 23 h 89"/>
              <a:gd name="T40" fmla="*/ 8 w 45"/>
              <a:gd name="T41" fmla="*/ 27 h 89"/>
              <a:gd name="T42" fmla="*/ 8 w 45"/>
              <a:gd name="T43" fmla="*/ 31 h 89"/>
              <a:gd name="T44" fmla="*/ 8 w 45"/>
              <a:gd name="T45" fmla="*/ 36 h 89"/>
              <a:gd name="T46" fmla="*/ 6 w 45"/>
              <a:gd name="T47" fmla="*/ 41 h 89"/>
              <a:gd name="T48" fmla="*/ 5 w 45"/>
              <a:gd name="T49" fmla="*/ 43 h 89"/>
              <a:gd name="T50" fmla="*/ 5 w 45"/>
              <a:gd name="T51" fmla="*/ 46 h 89"/>
              <a:gd name="T52" fmla="*/ 4 w 45"/>
              <a:gd name="T53" fmla="*/ 49 h 89"/>
              <a:gd name="T54" fmla="*/ 4 w 45"/>
              <a:gd name="T55" fmla="*/ 54 h 89"/>
              <a:gd name="T56" fmla="*/ 4 w 45"/>
              <a:gd name="T57" fmla="*/ 56 h 89"/>
              <a:gd name="T58" fmla="*/ 5 w 45"/>
              <a:gd name="T59" fmla="*/ 58 h 89"/>
              <a:gd name="T60" fmla="*/ 5 w 45"/>
              <a:gd name="T61" fmla="*/ 60 h 89"/>
              <a:gd name="T62" fmla="*/ 5 w 45"/>
              <a:gd name="T63" fmla="*/ 64 h 89"/>
              <a:gd name="T64" fmla="*/ 3 w 45"/>
              <a:gd name="T65" fmla="*/ 67 h 89"/>
              <a:gd name="T66" fmla="*/ 2 w 45"/>
              <a:gd name="T67" fmla="*/ 70 h 89"/>
              <a:gd name="T68" fmla="*/ 1 w 45"/>
              <a:gd name="T69" fmla="*/ 73 h 89"/>
              <a:gd name="T70" fmla="*/ 3 w 45"/>
              <a:gd name="T71" fmla="*/ 76 h 89"/>
              <a:gd name="T72" fmla="*/ 5 w 45"/>
              <a:gd name="T73" fmla="*/ 79 h 89"/>
              <a:gd name="T74" fmla="*/ 10 w 45"/>
              <a:gd name="T75" fmla="*/ 80 h 89"/>
              <a:gd name="T76" fmla="*/ 11 w 45"/>
              <a:gd name="T77" fmla="*/ 78 h 89"/>
              <a:gd name="T78" fmla="*/ 11 w 45"/>
              <a:gd name="T79" fmla="*/ 74 h 89"/>
              <a:gd name="T80" fmla="*/ 13 w 45"/>
              <a:gd name="T81" fmla="*/ 72 h 89"/>
              <a:gd name="T82" fmla="*/ 18 w 45"/>
              <a:gd name="T83" fmla="*/ 67 h 89"/>
              <a:gd name="T84" fmla="*/ 16 w 45"/>
              <a:gd name="T85" fmla="*/ 64 h 89"/>
              <a:gd name="T86" fmla="*/ 18 w 45"/>
              <a:gd name="T87" fmla="*/ 59 h 89"/>
              <a:gd name="T88" fmla="*/ 19 w 45"/>
              <a:gd name="T89" fmla="*/ 56 h 89"/>
              <a:gd name="T90" fmla="*/ 20 w 45"/>
              <a:gd name="T91" fmla="*/ 53 h 89"/>
              <a:gd name="T92" fmla="*/ 22 w 45"/>
              <a:gd name="T93" fmla="*/ 53 h 89"/>
              <a:gd name="T94" fmla="*/ 21 w 45"/>
              <a:gd name="T95" fmla="*/ 52 h 89"/>
              <a:gd name="T96" fmla="*/ 20 w 45"/>
              <a:gd name="T97" fmla="*/ 49 h 89"/>
              <a:gd name="T98" fmla="*/ 23 w 45"/>
              <a:gd name="T99" fmla="*/ 48 h 89"/>
              <a:gd name="T100" fmla="*/ 26 w 45"/>
              <a:gd name="T101" fmla="*/ 45 h 89"/>
              <a:gd name="T102" fmla="*/ 26 w 45"/>
              <a:gd name="T103" fmla="*/ 43 h 89"/>
              <a:gd name="T104" fmla="*/ 36 w 45"/>
              <a:gd name="T105" fmla="*/ 40 h 89"/>
              <a:gd name="T106" fmla="*/ 37 w 45"/>
              <a:gd name="T107" fmla="*/ 36 h 89"/>
              <a:gd name="T108" fmla="*/ 36 w 45"/>
              <a:gd name="T109" fmla="*/ 33 h 89"/>
              <a:gd name="T110" fmla="*/ 35 w 45"/>
              <a:gd name="T111" fmla="*/ 31 h 89"/>
              <a:gd name="T112" fmla="*/ 35 w 45"/>
              <a:gd name="T113" fmla="*/ 29 h 89"/>
              <a:gd name="T114" fmla="*/ 36 w 45"/>
              <a:gd name="T115" fmla="*/ 22 h 89"/>
              <a:gd name="T116" fmla="*/ 42 w 45"/>
              <a:gd name="T117" fmla="*/ 14 h 89"/>
              <a:gd name="T118" fmla="*/ 45 w 45"/>
              <a:gd name="T119"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 h="89">
                <a:moveTo>
                  <a:pt x="17" y="87"/>
                </a:moveTo>
                <a:cubicBezTo>
                  <a:pt x="16" y="87"/>
                  <a:pt x="14" y="85"/>
                  <a:pt x="13" y="84"/>
                </a:cubicBezTo>
                <a:cubicBezTo>
                  <a:pt x="12" y="83"/>
                  <a:pt x="13" y="83"/>
                  <a:pt x="12" y="83"/>
                </a:cubicBezTo>
                <a:cubicBezTo>
                  <a:pt x="11" y="83"/>
                  <a:pt x="12" y="82"/>
                  <a:pt x="12" y="82"/>
                </a:cubicBezTo>
                <a:cubicBezTo>
                  <a:pt x="13" y="82"/>
                  <a:pt x="12" y="81"/>
                  <a:pt x="11" y="81"/>
                </a:cubicBezTo>
                <a:cubicBezTo>
                  <a:pt x="11" y="82"/>
                  <a:pt x="11" y="88"/>
                  <a:pt x="11" y="88"/>
                </a:cubicBezTo>
                <a:cubicBezTo>
                  <a:pt x="12" y="88"/>
                  <a:pt x="14" y="88"/>
                  <a:pt x="15" y="88"/>
                </a:cubicBezTo>
                <a:cubicBezTo>
                  <a:pt x="15" y="88"/>
                  <a:pt x="16" y="89"/>
                  <a:pt x="16" y="88"/>
                </a:cubicBezTo>
                <a:cubicBezTo>
                  <a:pt x="17" y="88"/>
                  <a:pt x="18" y="88"/>
                  <a:pt x="19" y="88"/>
                </a:cubicBezTo>
                <a:cubicBezTo>
                  <a:pt x="20" y="87"/>
                  <a:pt x="19" y="87"/>
                  <a:pt x="17" y="87"/>
                </a:cubicBezTo>
                <a:moveTo>
                  <a:pt x="45" y="9"/>
                </a:moveTo>
                <a:cubicBezTo>
                  <a:pt x="44" y="9"/>
                  <a:pt x="44" y="9"/>
                  <a:pt x="43" y="9"/>
                </a:cubicBezTo>
                <a:cubicBezTo>
                  <a:pt x="43" y="9"/>
                  <a:pt x="43" y="10"/>
                  <a:pt x="43" y="10"/>
                </a:cubicBezTo>
                <a:cubicBezTo>
                  <a:pt x="43" y="11"/>
                  <a:pt x="43" y="13"/>
                  <a:pt x="42" y="13"/>
                </a:cubicBezTo>
                <a:cubicBezTo>
                  <a:pt x="41" y="13"/>
                  <a:pt x="41" y="14"/>
                  <a:pt x="40" y="14"/>
                </a:cubicBezTo>
                <a:cubicBezTo>
                  <a:pt x="40" y="14"/>
                  <a:pt x="39" y="15"/>
                  <a:pt x="38" y="14"/>
                </a:cubicBezTo>
                <a:cubicBezTo>
                  <a:pt x="38" y="14"/>
                  <a:pt x="37" y="14"/>
                  <a:pt x="36" y="14"/>
                </a:cubicBezTo>
                <a:cubicBezTo>
                  <a:pt x="36" y="14"/>
                  <a:pt x="34" y="14"/>
                  <a:pt x="34" y="13"/>
                </a:cubicBezTo>
                <a:cubicBezTo>
                  <a:pt x="34" y="13"/>
                  <a:pt x="35" y="13"/>
                  <a:pt x="35" y="12"/>
                </a:cubicBezTo>
                <a:cubicBezTo>
                  <a:pt x="35" y="11"/>
                  <a:pt x="37" y="9"/>
                  <a:pt x="37" y="9"/>
                </a:cubicBezTo>
                <a:cubicBezTo>
                  <a:pt x="36" y="9"/>
                  <a:pt x="33" y="8"/>
                  <a:pt x="33" y="7"/>
                </a:cubicBezTo>
                <a:cubicBezTo>
                  <a:pt x="32" y="6"/>
                  <a:pt x="31" y="6"/>
                  <a:pt x="30" y="6"/>
                </a:cubicBezTo>
                <a:cubicBezTo>
                  <a:pt x="29" y="6"/>
                  <a:pt x="29" y="5"/>
                  <a:pt x="28" y="4"/>
                </a:cubicBezTo>
                <a:cubicBezTo>
                  <a:pt x="27" y="4"/>
                  <a:pt x="25" y="2"/>
                  <a:pt x="25" y="1"/>
                </a:cubicBezTo>
                <a:cubicBezTo>
                  <a:pt x="24" y="1"/>
                  <a:pt x="23" y="1"/>
                  <a:pt x="22" y="1"/>
                </a:cubicBezTo>
                <a:cubicBezTo>
                  <a:pt x="22" y="1"/>
                  <a:pt x="22" y="3"/>
                  <a:pt x="21" y="2"/>
                </a:cubicBezTo>
                <a:cubicBezTo>
                  <a:pt x="21" y="1"/>
                  <a:pt x="20" y="1"/>
                  <a:pt x="19" y="1"/>
                </a:cubicBezTo>
                <a:cubicBezTo>
                  <a:pt x="18" y="1"/>
                  <a:pt x="18" y="0"/>
                  <a:pt x="17" y="1"/>
                </a:cubicBezTo>
                <a:cubicBezTo>
                  <a:pt x="16" y="2"/>
                  <a:pt x="16" y="2"/>
                  <a:pt x="15" y="3"/>
                </a:cubicBezTo>
                <a:cubicBezTo>
                  <a:pt x="15" y="4"/>
                  <a:pt x="15" y="5"/>
                  <a:pt x="15" y="5"/>
                </a:cubicBezTo>
                <a:cubicBezTo>
                  <a:pt x="14" y="6"/>
                  <a:pt x="12" y="7"/>
                  <a:pt x="12" y="7"/>
                </a:cubicBezTo>
                <a:cubicBezTo>
                  <a:pt x="12" y="8"/>
                  <a:pt x="12" y="9"/>
                  <a:pt x="12" y="9"/>
                </a:cubicBezTo>
                <a:cubicBezTo>
                  <a:pt x="11" y="9"/>
                  <a:pt x="13" y="11"/>
                  <a:pt x="12" y="11"/>
                </a:cubicBezTo>
                <a:cubicBezTo>
                  <a:pt x="11" y="12"/>
                  <a:pt x="13" y="12"/>
                  <a:pt x="12" y="13"/>
                </a:cubicBezTo>
                <a:cubicBezTo>
                  <a:pt x="12" y="13"/>
                  <a:pt x="11" y="13"/>
                  <a:pt x="11" y="14"/>
                </a:cubicBezTo>
                <a:cubicBezTo>
                  <a:pt x="11" y="14"/>
                  <a:pt x="11" y="15"/>
                  <a:pt x="10" y="16"/>
                </a:cubicBezTo>
                <a:cubicBezTo>
                  <a:pt x="10" y="16"/>
                  <a:pt x="9" y="17"/>
                  <a:pt x="9" y="18"/>
                </a:cubicBezTo>
                <a:cubicBezTo>
                  <a:pt x="9" y="18"/>
                  <a:pt x="8" y="18"/>
                  <a:pt x="9" y="19"/>
                </a:cubicBezTo>
                <a:cubicBezTo>
                  <a:pt x="9" y="20"/>
                  <a:pt x="9" y="21"/>
                  <a:pt x="9" y="21"/>
                </a:cubicBezTo>
                <a:cubicBezTo>
                  <a:pt x="8" y="21"/>
                  <a:pt x="8" y="23"/>
                  <a:pt x="8" y="23"/>
                </a:cubicBezTo>
                <a:cubicBezTo>
                  <a:pt x="7" y="23"/>
                  <a:pt x="7" y="24"/>
                  <a:pt x="8" y="25"/>
                </a:cubicBezTo>
                <a:cubicBezTo>
                  <a:pt x="8" y="26"/>
                  <a:pt x="8" y="27"/>
                  <a:pt x="8" y="27"/>
                </a:cubicBezTo>
                <a:cubicBezTo>
                  <a:pt x="8" y="28"/>
                  <a:pt x="9" y="29"/>
                  <a:pt x="9" y="29"/>
                </a:cubicBezTo>
                <a:cubicBezTo>
                  <a:pt x="9" y="30"/>
                  <a:pt x="9" y="31"/>
                  <a:pt x="8" y="31"/>
                </a:cubicBezTo>
                <a:cubicBezTo>
                  <a:pt x="8" y="32"/>
                  <a:pt x="8" y="33"/>
                  <a:pt x="8" y="33"/>
                </a:cubicBezTo>
                <a:cubicBezTo>
                  <a:pt x="7" y="33"/>
                  <a:pt x="8" y="35"/>
                  <a:pt x="8" y="36"/>
                </a:cubicBezTo>
                <a:cubicBezTo>
                  <a:pt x="7" y="36"/>
                  <a:pt x="6" y="36"/>
                  <a:pt x="6" y="38"/>
                </a:cubicBezTo>
                <a:cubicBezTo>
                  <a:pt x="6" y="39"/>
                  <a:pt x="6" y="40"/>
                  <a:pt x="6" y="41"/>
                </a:cubicBezTo>
                <a:cubicBezTo>
                  <a:pt x="6" y="41"/>
                  <a:pt x="7" y="41"/>
                  <a:pt x="7" y="42"/>
                </a:cubicBezTo>
                <a:cubicBezTo>
                  <a:pt x="6" y="43"/>
                  <a:pt x="5" y="42"/>
                  <a:pt x="5" y="43"/>
                </a:cubicBezTo>
                <a:cubicBezTo>
                  <a:pt x="5" y="43"/>
                  <a:pt x="6" y="44"/>
                  <a:pt x="5" y="44"/>
                </a:cubicBezTo>
                <a:cubicBezTo>
                  <a:pt x="5" y="45"/>
                  <a:pt x="5" y="45"/>
                  <a:pt x="5" y="46"/>
                </a:cubicBezTo>
                <a:cubicBezTo>
                  <a:pt x="5" y="47"/>
                  <a:pt x="4" y="47"/>
                  <a:pt x="4" y="47"/>
                </a:cubicBezTo>
                <a:cubicBezTo>
                  <a:pt x="4" y="48"/>
                  <a:pt x="4" y="48"/>
                  <a:pt x="4" y="49"/>
                </a:cubicBezTo>
                <a:cubicBezTo>
                  <a:pt x="4" y="49"/>
                  <a:pt x="5" y="51"/>
                  <a:pt x="4" y="51"/>
                </a:cubicBezTo>
                <a:cubicBezTo>
                  <a:pt x="4" y="51"/>
                  <a:pt x="4" y="53"/>
                  <a:pt x="4" y="54"/>
                </a:cubicBezTo>
                <a:cubicBezTo>
                  <a:pt x="4" y="54"/>
                  <a:pt x="4" y="54"/>
                  <a:pt x="4" y="55"/>
                </a:cubicBezTo>
                <a:cubicBezTo>
                  <a:pt x="4" y="55"/>
                  <a:pt x="5" y="56"/>
                  <a:pt x="4" y="56"/>
                </a:cubicBezTo>
                <a:cubicBezTo>
                  <a:pt x="4" y="57"/>
                  <a:pt x="4" y="58"/>
                  <a:pt x="5" y="57"/>
                </a:cubicBezTo>
                <a:cubicBezTo>
                  <a:pt x="6" y="57"/>
                  <a:pt x="6" y="58"/>
                  <a:pt x="5" y="58"/>
                </a:cubicBezTo>
                <a:cubicBezTo>
                  <a:pt x="5" y="58"/>
                  <a:pt x="4" y="58"/>
                  <a:pt x="5" y="59"/>
                </a:cubicBezTo>
                <a:cubicBezTo>
                  <a:pt x="5" y="59"/>
                  <a:pt x="6" y="60"/>
                  <a:pt x="5" y="60"/>
                </a:cubicBezTo>
                <a:cubicBezTo>
                  <a:pt x="4" y="61"/>
                  <a:pt x="5" y="61"/>
                  <a:pt x="5" y="62"/>
                </a:cubicBezTo>
                <a:cubicBezTo>
                  <a:pt x="4" y="63"/>
                  <a:pt x="5" y="63"/>
                  <a:pt x="5" y="64"/>
                </a:cubicBezTo>
                <a:cubicBezTo>
                  <a:pt x="4" y="64"/>
                  <a:pt x="5" y="65"/>
                  <a:pt x="4" y="65"/>
                </a:cubicBezTo>
                <a:cubicBezTo>
                  <a:pt x="3" y="65"/>
                  <a:pt x="4" y="66"/>
                  <a:pt x="3" y="67"/>
                </a:cubicBezTo>
                <a:cubicBezTo>
                  <a:pt x="2" y="67"/>
                  <a:pt x="4" y="68"/>
                  <a:pt x="3" y="68"/>
                </a:cubicBezTo>
                <a:cubicBezTo>
                  <a:pt x="2" y="69"/>
                  <a:pt x="3" y="70"/>
                  <a:pt x="2" y="70"/>
                </a:cubicBezTo>
                <a:cubicBezTo>
                  <a:pt x="1" y="70"/>
                  <a:pt x="1" y="71"/>
                  <a:pt x="1" y="71"/>
                </a:cubicBezTo>
                <a:cubicBezTo>
                  <a:pt x="1" y="72"/>
                  <a:pt x="0" y="73"/>
                  <a:pt x="1" y="73"/>
                </a:cubicBezTo>
                <a:cubicBezTo>
                  <a:pt x="2" y="74"/>
                  <a:pt x="1" y="75"/>
                  <a:pt x="1" y="75"/>
                </a:cubicBezTo>
                <a:cubicBezTo>
                  <a:pt x="2" y="75"/>
                  <a:pt x="4" y="75"/>
                  <a:pt x="3" y="76"/>
                </a:cubicBezTo>
                <a:cubicBezTo>
                  <a:pt x="3" y="76"/>
                  <a:pt x="3" y="78"/>
                  <a:pt x="4" y="78"/>
                </a:cubicBezTo>
                <a:cubicBezTo>
                  <a:pt x="4" y="78"/>
                  <a:pt x="4" y="79"/>
                  <a:pt x="5" y="79"/>
                </a:cubicBezTo>
                <a:cubicBezTo>
                  <a:pt x="5" y="79"/>
                  <a:pt x="8" y="79"/>
                  <a:pt x="9" y="79"/>
                </a:cubicBezTo>
                <a:cubicBezTo>
                  <a:pt x="9" y="79"/>
                  <a:pt x="9" y="79"/>
                  <a:pt x="10" y="80"/>
                </a:cubicBezTo>
                <a:cubicBezTo>
                  <a:pt x="10" y="79"/>
                  <a:pt x="12" y="80"/>
                  <a:pt x="12" y="80"/>
                </a:cubicBezTo>
                <a:cubicBezTo>
                  <a:pt x="12" y="80"/>
                  <a:pt x="11" y="78"/>
                  <a:pt x="11" y="78"/>
                </a:cubicBezTo>
                <a:cubicBezTo>
                  <a:pt x="11" y="77"/>
                  <a:pt x="10" y="77"/>
                  <a:pt x="10" y="76"/>
                </a:cubicBezTo>
                <a:cubicBezTo>
                  <a:pt x="10" y="76"/>
                  <a:pt x="10" y="75"/>
                  <a:pt x="11" y="74"/>
                </a:cubicBezTo>
                <a:cubicBezTo>
                  <a:pt x="12" y="74"/>
                  <a:pt x="12" y="73"/>
                  <a:pt x="12" y="73"/>
                </a:cubicBezTo>
                <a:cubicBezTo>
                  <a:pt x="12" y="73"/>
                  <a:pt x="13" y="73"/>
                  <a:pt x="13" y="72"/>
                </a:cubicBezTo>
                <a:cubicBezTo>
                  <a:pt x="13" y="71"/>
                  <a:pt x="14" y="70"/>
                  <a:pt x="15" y="69"/>
                </a:cubicBezTo>
                <a:cubicBezTo>
                  <a:pt x="16" y="68"/>
                  <a:pt x="18" y="67"/>
                  <a:pt x="18" y="67"/>
                </a:cubicBezTo>
                <a:cubicBezTo>
                  <a:pt x="17" y="67"/>
                  <a:pt x="18" y="65"/>
                  <a:pt x="18" y="65"/>
                </a:cubicBezTo>
                <a:cubicBezTo>
                  <a:pt x="18" y="64"/>
                  <a:pt x="16" y="65"/>
                  <a:pt x="16" y="64"/>
                </a:cubicBezTo>
                <a:cubicBezTo>
                  <a:pt x="15" y="64"/>
                  <a:pt x="13" y="63"/>
                  <a:pt x="14" y="61"/>
                </a:cubicBezTo>
                <a:cubicBezTo>
                  <a:pt x="15" y="59"/>
                  <a:pt x="17" y="59"/>
                  <a:pt x="18" y="59"/>
                </a:cubicBezTo>
                <a:cubicBezTo>
                  <a:pt x="18" y="59"/>
                  <a:pt x="18" y="58"/>
                  <a:pt x="18" y="58"/>
                </a:cubicBezTo>
                <a:cubicBezTo>
                  <a:pt x="19" y="57"/>
                  <a:pt x="19" y="57"/>
                  <a:pt x="19" y="56"/>
                </a:cubicBezTo>
                <a:cubicBezTo>
                  <a:pt x="19" y="55"/>
                  <a:pt x="19" y="54"/>
                  <a:pt x="20" y="54"/>
                </a:cubicBezTo>
                <a:cubicBezTo>
                  <a:pt x="21" y="54"/>
                  <a:pt x="21" y="53"/>
                  <a:pt x="20" y="53"/>
                </a:cubicBezTo>
                <a:cubicBezTo>
                  <a:pt x="20" y="53"/>
                  <a:pt x="20" y="52"/>
                  <a:pt x="21" y="52"/>
                </a:cubicBezTo>
                <a:cubicBezTo>
                  <a:pt x="21" y="52"/>
                  <a:pt x="21" y="53"/>
                  <a:pt x="22" y="53"/>
                </a:cubicBezTo>
                <a:cubicBezTo>
                  <a:pt x="22" y="53"/>
                  <a:pt x="23" y="52"/>
                  <a:pt x="23" y="51"/>
                </a:cubicBezTo>
                <a:cubicBezTo>
                  <a:pt x="22" y="51"/>
                  <a:pt x="22" y="52"/>
                  <a:pt x="21" y="52"/>
                </a:cubicBezTo>
                <a:cubicBezTo>
                  <a:pt x="21" y="52"/>
                  <a:pt x="20" y="51"/>
                  <a:pt x="20" y="51"/>
                </a:cubicBezTo>
                <a:cubicBezTo>
                  <a:pt x="19" y="51"/>
                  <a:pt x="20" y="50"/>
                  <a:pt x="20" y="49"/>
                </a:cubicBezTo>
                <a:cubicBezTo>
                  <a:pt x="19" y="49"/>
                  <a:pt x="19" y="48"/>
                  <a:pt x="19" y="47"/>
                </a:cubicBezTo>
                <a:cubicBezTo>
                  <a:pt x="20" y="47"/>
                  <a:pt x="22" y="48"/>
                  <a:pt x="23" y="48"/>
                </a:cubicBezTo>
                <a:cubicBezTo>
                  <a:pt x="24" y="48"/>
                  <a:pt x="26" y="48"/>
                  <a:pt x="26" y="47"/>
                </a:cubicBezTo>
                <a:cubicBezTo>
                  <a:pt x="26" y="47"/>
                  <a:pt x="25" y="46"/>
                  <a:pt x="26" y="45"/>
                </a:cubicBezTo>
                <a:cubicBezTo>
                  <a:pt x="27" y="44"/>
                  <a:pt x="26" y="44"/>
                  <a:pt x="26" y="43"/>
                </a:cubicBezTo>
                <a:cubicBezTo>
                  <a:pt x="25" y="43"/>
                  <a:pt x="26" y="42"/>
                  <a:pt x="26" y="43"/>
                </a:cubicBezTo>
                <a:cubicBezTo>
                  <a:pt x="27" y="43"/>
                  <a:pt x="30" y="43"/>
                  <a:pt x="32" y="42"/>
                </a:cubicBezTo>
                <a:cubicBezTo>
                  <a:pt x="35" y="42"/>
                  <a:pt x="36" y="41"/>
                  <a:pt x="36" y="40"/>
                </a:cubicBezTo>
                <a:cubicBezTo>
                  <a:pt x="36" y="39"/>
                  <a:pt x="38" y="38"/>
                  <a:pt x="38" y="37"/>
                </a:cubicBezTo>
                <a:cubicBezTo>
                  <a:pt x="39" y="37"/>
                  <a:pt x="38" y="36"/>
                  <a:pt x="37" y="36"/>
                </a:cubicBezTo>
                <a:cubicBezTo>
                  <a:pt x="36" y="36"/>
                  <a:pt x="36" y="34"/>
                  <a:pt x="37" y="34"/>
                </a:cubicBezTo>
                <a:cubicBezTo>
                  <a:pt x="38" y="33"/>
                  <a:pt x="37" y="33"/>
                  <a:pt x="36" y="33"/>
                </a:cubicBezTo>
                <a:cubicBezTo>
                  <a:pt x="35" y="32"/>
                  <a:pt x="33" y="32"/>
                  <a:pt x="34" y="31"/>
                </a:cubicBezTo>
                <a:cubicBezTo>
                  <a:pt x="35" y="31"/>
                  <a:pt x="35" y="31"/>
                  <a:pt x="35" y="31"/>
                </a:cubicBezTo>
                <a:cubicBezTo>
                  <a:pt x="35" y="30"/>
                  <a:pt x="35" y="30"/>
                  <a:pt x="35" y="30"/>
                </a:cubicBezTo>
                <a:cubicBezTo>
                  <a:pt x="35" y="30"/>
                  <a:pt x="34" y="30"/>
                  <a:pt x="35" y="29"/>
                </a:cubicBezTo>
                <a:cubicBezTo>
                  <a:pt x="35" y="27"/>
                  <a:pt x="35" y="28"/>
                  <a:pt x="35" y="26"/>
                </a:cubicBezTo>
                <a:cubicBezTo>
                  <a:pt x="35" y="24"/>
                  <a:pt x="36" y="23"/>
                  <a:pt x="36" y="22"/>
                </a:cubicBezTo>
                <a:cubicBezTo>
                  <a:pt x="36" y="21"/>
                  <a:pt x="38" y="20"/>
                  <a:pt x="39" y="18"/>
                </a:cubicBezTo>
                <a:cubicBezTo>
                  <a:pt x="39" y="17"/>
                  <a:pt x="41" y="15"/>
                  <a:pt x="42" y="14"/>
                </a:cubicBezTo>
                <a:cubicBezTo>
                  <a:pt x="43" y="14"/>
                  <a:pt x="45" y="13"/>
                  <a:pt x="45" y="13"/>
                </a:cubicBezTo>
                <a:cubicBezTo>
                  <a:pt x="45" y="12"/>
                  <a:pt x="45" y="10"/>
                  <a:pt x="4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43"/>
          <p:cNvSpPr>
            <a:spLocks/>
          </p:cNvSpPr>
          <p:nvPr/>
        </p:nvSpPr>
        <p:spPr bwMode="auto">
          <a:xfrm>
            <a:off x="1386476" y="3468416"/>
            <a:ext cx="89371" cy="482604"/>
          </a:xfrm>
          <a:custGeom>
            <a:avLst/>
            <a:gdLst>
              <a:gd name="T0" fmla="*/ 7 w 19"/>
              <a:gd name="T1" fmla="*/ 86 h 100"/>
              <a:gd name="T2" fmla="*/ 5 w 19"/>
              <a:gd name="T3" fmla="*/ 81 h 100"/>
              <a:gd name="T4" fmla="*/ 7 w 19"/>
              <a:gd name="T5" fmla="*/ 77 h 100"/>
              <a:gd name="T6" fmla="*/ 9 w 19"/>
              <a:gd name="T7" fmla="*/ 72 h 100"/>
              <a:gd name="T8" fmla="*/ 9 w 19"/>
              <a:gd name="T9" fmla="*/ 68 h 100"/>
              <a:gd name="T10" fmla="*/ 8 w 19"/>
              <a:gd name="T11" fmla="*/ 65 h 100"/>
              <a:gd name="T12" fmla="*/ 8 w 19"/>
              <a:gd name="T13" fmla="*/ 59 h 100"/>
              <a:gd name="T14" fmla="*/ 9 w 19"/>
              <a:gd name="T15" fmla="*/ 54 h 100"/>
              <a:gd name="T16" fmla="*/ 10 w 19"/>
              <a:gd name="T17" fmla="*/ 51 h 100"/>
              <a:gd name="T18" fmla="*/ 12 w 19"/>
              <a:gd name="T19" fmla="*/ 43 h 100"/>
              <a:gd name="T20" fmla="*/ 12 w 19"/>
              <a:gd name="T21" fmla="*/ 37 h 100"/>
              <a:gd name="T22" fmla="*/ 13 w 19"/>
              <a:gd name="T23" fmla="*/ 31 h 100"/>
              <a:gd name="T24" fmla="*/ 14 w 19"/>
              <a:gd name="T25" fmla="*/ 26 h 100"/>
              <a:gd name="T26" fmla="*/ 16 w 19"/>
              <a:gd name="T27" fmla="*/ 21 h 100"/>
              <a:gd name="T28" fmla="*/ 19 w 19"/>
              <a:gd name="T29" fmla="*/ 15 h 100"/>
              <a:gd name="T30" fmla="*/ 17 w 19"/>
              <a:gd name="T31" fmla="*/ 11 h 100"/>
              <a:gd name="T32" fmla="*/ 16 w 19"/>
              <a:gd name="T33" fmla="*/ 5 h 100"/>
              <a:gd name="T34" fmla="*/ 14 w 19"/>
              <a:gd name="T35" fmla="*/ 1 h 100"/>
              <a:gd name="T36" fmla="*/ 12 w 19"/>
              <a:gd name="T37" fmla="*/ 5 h 100"/>
              <a:gd name="T38" fmla="*/ 12 w 19"/>
              <a:gd name="T39" fmla="*/ 15 h 100"/>
              <a:gd name="T40" fmla="*/ 10 w 19"/>
              <a:gd name="T41" fmla="*/ 25 h 100"/>
              <a:gd name="T42" fmla="*/ 9 w 19"/>
              <a:gd name="T43" fmla="*/ 32 h 100"/>
              <a:gd name="T44" fmla="*/ 8 w 19"/>
              <a:gd name="T45" fmla="*/ 41 h 100"/>
              <a:gd name="T46" fmla="*/ 5 w 19"/>
              <a:gd name="T47" fmla="*/ 50 h 100"/>
              <a:gd name="T48" fmla="*/ 4 w 19"/>
              <a:gd name="T49" fmla="*/ 56 h 100"/>
              <a:gd name="T50" fmla="*/ 3 w 19"/>
              <a:gd name="T51" fmla="*/ 63 h 100"/>
              <a:gd name="T52" fmla="*/ 6 w 19"/>
              <a:gd name="T53" fmla="*/ 59 h 100"/>
              <a:gd name="T54" fmla="*/ 6 w 19"/>
              <a:gd name="T55" fmla="*/ 63 h 100"/>
              <a:gd name="T56" fmla="*/ 5 w 19"/>
              <a:gd name="T57" fmla="*/ 67 h 100"/>
              <a:gd name="T58" fmla="*/ 4 w 19"/>
              <a:gd name="T59" fmla="*/ 70 h 100"/>
              <a:gd name="T60" fmla="*/ 4 w 19"/>
              <a:gd name="T61" fmla="*/ 70 h 100"/>
              <a:gd name="T62" fmla="*/ 2 w 19"/>
              <a:gd name="T63" fmla="*/ 70 h 100"/>
              <a:gd name="T64" fmla="*/ 0 w 19"/>
              <a:gd name="T65" fmla="*/ 74 h 100"/>
              <a:gd name="T66" fmla="*/ 3 w 19"/>
              <a:gd name="T67" fmla="*/ 74 h 100"/>
              <a:gd name="T68" fmla="*/ 4 w 19"/>
              <a:gd name="T69" fmla="*/ 77 h 100"/>
              <a:gd name="T70" fmla="*/ 2 w 19"/>
              <a:gd name="T71" fmla="*/ 77 h 100"/>
              <a:gd name="T72" fmla="*/ 2 w 19"/>
              <a:gd name="T73" fmla="*/ 79 h 100"/>
              <a:gd name="T74" fmla="*/ 1 w 19"/>
              <a:gd name="T75" fmla="*/ 81 h 100"/>
              <a:gd name="T76" fmla="*/ 2 w 19"/>
              <a:gd name="T77" fmla="*/ 82 h 100"/>
              <a:gd name="T78" fmla="*/ 3 w 19"/>
              <a:gd name="T79" fmla="*/ 84 h 100"/>
              <a:gd name="T80" fmla="*/ 1 w 19"/>
              <a:gd name="T81" fmla="*/ 87 h 100"/>
              <a:gd name="T82" fmla="*/ 4 w 19"/>
              <a:gd name="T83" fmla="*/ 87 h 100"/>
              <a:gd name="T84" fmla="*/ 5 w 19"/>
              <a:gd name="T85" fmla="*/ 88 h 100"/>
              <a:gd name="T86" fmla="*/ 4 w 19"/>
              <a:gd name="T87" fmla="*/ 91 h 100"/>
              <a:gd name="T88" fmla="*/ 8 w 19"/>
              <a:gd name="T89" fmla="*/ 91 h 100"/>
              <a:gd name="T90" fmla="*/ 5 w 19"/>
              <a:gd name="T91" fmla="*/ 93 h 100"/>
              <a:gd name="T92" fmla="*/ 8 w 19"/>
              <a:gd name="T93" fmla="*/ 92 h 100"/>
              <a:gd name="T94" fmla="*/ 5 w 19"/>
              <a:gd name="T95" fmla="*/ 95 h 100"/>
              <a:gd name="T96" fmla="*/ 8 w 19"/>
              <a:gd name="T97" fmla="*/ 95 h 100"/>
              <a:gd name="T98" fmla="*/ 12 w 19"/>
              <a:gd name="T99" fmla="*/ 91 h 100"/>
              <a:gd name="T100" fmla="*/ 13 w 19"/>
              <a:gd name="T101" fmla="*/ 93 h 100"/>
              <a:gd name="T102" fmla="*/ 11 w 19"/>
              <a:gd name="T103" fmla="*/ 94 h 100"/>
              <a:gd name="T104" fmla="*/ 9 w 19"/>
              <a:gd name="T105" fmla="*/ 96 h 100"/>
              <a:gd name="T106" fmla="*/ 11 w 19"/>
              <a:gd name="T107" fmla="*/ 99 h 100"/>
              <a:gd name="T108" fmla="*/ 14 w 19"/>
              <a:gd name="T109" fmla="*/ 98 h 100"/>
              <a:gd name="T110" fmla="*/ 17 w 19"/>
              <a:gd name="T111" fmla="*/ 99 h 100"/>
              <a:gd name="T112" fmla="*/ 15 w 19"/>
              <a:gd name="T113" fmla="*/ 98 h 100"/>
              <a:gd name="T114" fmla="*/ 13 w 19"/>
              <a:gd name="T115" fmla="*/ 90 h 100"/>
              <a:gd name="T116" fmla="*/ 9 w 19"/>
              <a:gd name="T117"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 h="100">
                <a:moveTo>
                  <a:pt x="9" y="89"/>
                </a:moveTo>
                <a:cubicBezTo>
                  <a:pt x="8" y="89"/>
                  <a:pt x="8" y="88"/>
                  <a:pt x="8" y="88"/>
                </a:cubicBezTo>
                <a:cubicBezTo>
                  <a:pt x="7" y="88"/>
                  <a:pt x="7" y="86"/>
                  <a:pt x="7" y="86"/>
                </a:cubicBezTo>
                <a:cubicBezTo>
                  <a:pt x="8" y="85"/>
                  <a:pt x="6" y="85"/>
                  <a:pt x="5" y="85"/>
                </a:cubicBezTo>
                <a:cubicBezTo>
                  <a:pt x="5" y="85"/>
                  <a:pt x="6" y="84"/>
                  <a:pt x="5" y="83"/>
                </a:cubicBezTo>
                <a:cubicBezTo>
                  <a:pt x="4" y="83"/>
                  <a:pt x="5" y="82"/>
                  <a:pt x="5" y="81"/>
                </a:cubicBezTo>
                <a:cubicBezTo>
                  <a:pt x="5" y="81"/>
                  <a:pt x="5" y="80"/>
                  <a:pt x="6" y="80"/>
                </a:cubicBezTo>
                <a:cubicBezTo>
                  <a:pt x="7" y="80"/>
                  <a:pt x="6" y="79"/>
                  <a:pt x="7" y="78"/>
                </a:cubicBezTo>
                <a:cubicBezTo>
                  <a:pt x="8" y="78"/>
                  <a:pt x="6" y="77"/>
                  <a:pt x="7" y="77"/>
                </a:cubicBezTo>
                <a:cubicBezTo>
                  <a:pt x="8" y="76"/>
                  <a:pt x="7" y="75"/>
                  <a:pt x="8" y="75"/>
                </a:cubicBezTo>
                <a:cubicBezTo>
                  <a:pt x="9" y="75"/>
                  <a:pt x="8" y="74"/>
                  <a:pt x="9" y="74"/>
                </a:cubicBezTo>
                <a:cubicBezTo>
                  <a:pt x="9" y="73"/>
                  <a:pt x="8" y="73"/>
                  <a:pt x="9" y="72"/>
                </a:cubicBezTo>
                <a:cubicBezTo>
                  <a:pt x="9" y="71"/>
                  <a:pt x="8" y="71"/>
                  <a:pt x="9" y="70"/>
                </a:cubicBezTo>
                <a:cubicBezTo>
                  <a:pt x="10" y="70"/>
                  <a:pt x="9" y="69"/>
                  <a:pt x="9" y="69"/>
                </a:cubicBezTo>
                <a:cubicBezTo>
                  <a:pt x="8" y="68"/>
                  <a:pt x="9" y="68"/>
                  <a:pt x="9" y="68"/>
                </a:cubicBezTo>
                <a:cubicBezTo>
                  <a:pt x="10" y="68"/>
                  <a:pt x="10" y="67"/>
                  <a:pt x="9" y="67"/>
                </a:cubicBezTo>
                <a:cubicBezTo>
                  <a:pt x="8" y="68"/>
                  <a:pt x="8" y="67"/>
                  <a:pt x="8" y="66"/>
                </a:cubicBezTo>
                <a:cubicBezTo>
                  <a:pt x="9" y="66"/>
                  <a:pt x="8" y="65"/>
                  <a:pt x="8" y="65"/>
                </a:cubicBezTo>
                <a:cubicBezTo>
                  <a:pt x="8" y="64"/>
                  <a:pt x="8" y="64"/>
                  <a:pt x="8" y="64"/>
                </a:cubicBezTo>
                <a:cubicBezTo>
                  <a:pt x="8" y="63"/>
                  <a:pt x="8" y="61"/>
                  <a:pt x="8" y="61"/>
                </a:cubicBezTo>
                <a:cubicBezTo>
                  <a:pt x="9" y="61"/>
                  <a:pt x="8" y="59"/>
                  <a:pt x="8" y="59"/>
                </a:cubicBezTo>
                <a:cubicBezTo>
                  <a:pt x="8" y="58"/>
                  <a:pt x="8" y="58"/>
                  <a:pt x="8" y="57"/>
                </a:cubicBezTo>
                <a:cubicBezTo>
                  <a:pt x="8" y="57"/>
                  <a:pt x="9" y="57"/>
                  <a:pt x="9" y="56"/>
                </a:cubicBezTo>
                <a:cubicBezTo>
                  <a:pt x="9" y="55"/>
                  <a:pt x="9" y="55"/>
                  <a:pt x="9" y="54"/>
                </a:cubicBezTo>
                <a:cubicBezTo>
                  <a:pt x="10" y="54"/>
                  <a:pt x="9" y="53"/>
                  <a:pt x="9" y="53"/>
                </a:cubicBezTo>
                <a:cubicBezTo>
                  <a:pt x="9" y="52"/>
                  <a:pt x="10" y="53"/>
                  <a:pt x="11" y="52"/>
                </a:cubicBezTo>
                <a:cubicBezTo>
                  <a:pt x="11" y="51"/>
                  <a:pt x="10" y="51"/>
                  <a:pt x="10" y="51"/>
                </a:cubicBezTo>
                <a:cubicBezTo>
                  <a:pt x="10" y="50"/>
                  <a:pt x="10" y="49"/>
                  <a:pt x="10" y="48"/>
                </a:cubicBezTo>
                <a:cubicBezTo>
                  <a:pt x="10" y="46"/>
                  <a:pt x="11" y="46"/>
                  <a:pt x="12" y="46"/>
                </a:cubicBezTo>
                <a:cubicBezTo>
                  <a:pt x="12" y="45"/>
                  <a:pt x="11" y="43"/>
                  <a:pt x="12" y="43"/>
                </a:cubicBezTo>
                <a:cubicBezTo>
                  <a:pt x="12" y="43"/>
                  <a:pt x="12" y="42"/>
                  <a:pt x="12" y="41"/>
                </a:cubicBezTo>
                <a:cubicBezTo>
                  <a:pt x="13" y="41"/>
                  <a:pt x="13" y="40"/>
                  <a:pt x="13" y="39"/>
                </a:cubicBezTo>
                <a:cubicBezTo>
                  <a:pt x="13" y="39"/>
                  <a:pt x="12" y="38"/>
                  <a:pt x="12" y="37"/>
                </a:cubicBezTo>
                <a:cubicBezTo>
                  <a:pt x="12" y="37"/>
                  <a:pt x="12" y="36"/>
                  <a:pt x="12" y="35"/>
                </a:cubicBezTo>
                <a:cubicBezTo>
                  <a:pt x="11" y="34"/>
                  <a:pt x="11" y="33"/>
                  <a:pt x="12" y="33"/>
                </a:cubicBezTo>
                <a:cubicBezTo>
                  <a:pt x="12" y="33"/>
                  <a:pt x="12" y="31"/>
                  <a:pt x="13" y="31"/>
                </a:cubicBezTo>
                <a:cubicBezTo>
                  <a:pt x="13" y="31"/>
                  <a:pt x="13" y="30"/>
                  <a:pt x="13" y="29"/>
                </a:cubicBezTo>
                <a:cubicBezTo>
                  <a:pt x="12" y="28"/>
                  <a:pt x="13" y="28"/>
                  <a:pt x="13" y="28"/>
                </a:cubicBezTo>
                <a:cubicBezTo>
                  <a:pt x="13" y="27"/>
                  <a:pt x="14" y="26"/>
                  <a:pt x="14" y="26"/>
                </a:cubicBezTo>
                <a:cubicBezTo>
                  <a:pt x="15" y="25"/>
                  <a:pt x="15" y="24"/>
                  <a:pt x="15" y="24"/>
                </a:cubicBezTo>
                <a:cubicBezTo>
                  <a:pt x="15" y="23"/>
                  <a:pt x="16" y="23"/>
                  <a:pt x="16" y="23"/>
                </a:cubicBezTo>
                <a:cubicBezTo>
                  <a:pt x="17" y="22"/>
                  <a:pt x="15" y="22"/>
                  <a:pt x="16" y="21"/>
                </a:cubicBezTo>
                <a:cubicBezTo>
                  <a:pt x="17" y="21"/>
                  <a:pt x="15" y="19"/>
                  <a:pt x="16" y="19"/>
                </a:cubicBezTo>
                <a:cubicBezTo>
                  <a:pt x="16" y="19"/>
                  <a:pt x="16" y="18"/>
                  <a:pt x="16" y="17"/>
                </a:cubicBezTo>
                <a:cubicBezTo>
                  <a:pt x="16" y="17"/>
                  <a:pt x="18" y="16"/>
                  <a:pt x="19" y="15"/>
                </a:cubicBezTo>
                <a:cubicBezTo>
                  <a:pt x="19" y="15"/>
                  <a:pt x="19" y="14"/>
                  <a:pt x="19" y="13"/>
                </a:cubicBezTo>
                <a:cubicBezTo>
                  <a:pt x="18" y="13"/>
                  <a:pt x="18" y="13"/>
                  <a:pt x="18" y="13"/>
                </a:cubicBezTo>
                <a:cubicBezTo>
                  <a:pt x="17" y="13"/>
                  <a:pt x="18" y="11"/>
                  <a:pt x="17" y="11"/>
                </a:cubicBezTo>
                <a:cubicBezTo>
                  <a:pt x="16" y="10"/>
                  <a:pt x="17" y="9"/>
                  <a:pt x="16" y="9"/>
                </a:cubicBezTo>
                <a:cubicBezTo>
                  <a:pt x="16" y="8"/>
                  <a:pt x="15" y="7"/>
                  <a:pt x="15" y="7"/>
                </a:cubicBezTo>
                <a:cubicBezTo>
                  <a:pt x="16" y="6"/>
                  <a:pt x="15" y="6"/>
                  <a:pt x="16" y="5"/>
                </a:cubicBezTo>
                <a:cubicBezTo>
                  <a:pt x="16" y="5"/>
                  <a:pt x="16" y="5"/>
                  <a:pt x="15" y="4"/>
                </a:cubicBezTo>
                <a:cubicBezTo>
                  <a:pt x="14" y="3"/>
                  <a:pt x="15" y="2"/>
                  <a:pt x="15" y="2"/>
                </a:cubicBezTo>
                <a:cubicBezTo>
                  <a:pt x="14" y="1"/>
                  <a:pt x="14" y="0"/>
                  <a:pt x="14" y="1"/>
                </a:cubicBezTo>
                <a:cubicBezTo>
                  <a:pt x="13" y="1"/>
                  <a:pt x="13" y="2"/>
                  <a:pt x="13" y="2"/>
                </a:cubicBezTo>
                <a:cubicBezTo>
                  <a:pt x="12" y="3"/>
                  <a:pt x="12" y="3"/>
                  <a:pt x="12" y="3"/>
                </a:cubicBezTo>
                <a:cubicBezTo>
                  <a:pt x="12" y="3"/>
                  <a:pt x="12" y="4"/>
                  <a:pt x="12" y="5"/>
                </a:cubicBezTo>
                <a:cubicBezTo>
                  <a:pt x="12" y="6"/>
                  <a:pt x="13" y="9"/>
                  <a:pt x="12" y="11"/>
                </a:cubicBezTo>
                <a:cubicBezTo>
                  <a:pt x="12" y="12"/>
                  <a:pt x="12" y="13"/>
                  <a:pt x="11" y="14"/>
                </a:cubicBezTo>
                <a:cubicBezTo>
                  <a:pt x="11" y="15"/>
                  <a:pt x="12" y="15"/>
                  <a:pt x="12" y="15"/>
                </a:cubicBezTo>
                <a:cubicBezTo>
                  <a:pt x="11" y="16"/>
                  <a:pt x="11" y="16"/>
                  <a:pt x="11" y="18"/>
                </a:cubicBezTo>
                <a:cubicBezTo>
                  <a:pt x="11" y="20"/>
                  <a:pt x="11" y="22"/>
                  <a:pt x="10" y="23"/>
                </a:cubicBezTo>
                <a:cubicBezTo>
                  <a:pt x="10" y="24"/>
                  <a:pt x="10" y="24"/>
                  <a:pt x="10" y="25"/>
                </a:cubicBezTo>
                <a:cubicBezTo>
                  <a:pt x="10" y="26"/>
                  <a:pt x="9" y="27"/>
                  <a:pt x="9" y="27"/>
                </a:cubicBezTo>
                <a:cubicBezTo>
                  <a:pt x="8" y="28"/>
                  <a:pt x="10" y="29"/>
                  <a:pt x="10" y="30"/>
                </a:cubicBezTo>
                <a:cubicBezTo>
                  <a:pt x="10" y="31"/>
                  <a:pt x="9" y="31"/>
                  <a:pt x="9" y="32"/>
                </a:cubicBezTo>
                <a:cubicBezTo>
                  <a:pt x="9" y="34"/>
                  <a:pt x="9" y="37"/>
                  <a:pt x="9" y="37"/>
                </a:cubicBezTo>
                <a:cubicBezTo>
                  <a:pt x="9" y="38"/>
                  <a:pt x="8" y="38"/>
                  <a:pt x="8" y="39"/>
                </a:cubicBezTo>
                <a:cubicBezTo>
                  <a:pt x="9" y="40"/>
                  <a:pt x="8" y="40"/>
                  <a:pt x="8" y="41"/>
                </a:cubicBezTo>
                <a:cubicBezTo>
                  <a:pt x="7" y="43"/>
                  <a:pt x="6" y="45"/>
                  <a:pt x="6" y="46"/>
                </a:cubicBezTo>
                <a:cubicBezTo>
                  <a:pt x="5" y="47"/>
                  <a:pt x="5" y="48"/>
                  <a:pt x="5" y="48"/>
                </a:cubicBezTo>
                <a:cubicBezTo>
                  <a:pt x="4" y="48"/>
                  <a:pt x="4" y="49"/>
                  <a:pt x="5" y="50"/>
                </a:cubicBezTo>
                <a:cubicBezTo>
                  <a:pt x="5" y="51"/>
                  <a:pt x="4" y="51"/>
                  <a:pt x="5" y="52"/>
                </a:cubicBezTo>
                <a:cubicBezTo>
                  <a:pt x="5" y="53"/>
                  <a:pt x="5" y="54"/>
                  <a:pt x="5" y="55"/>
                </a:cubicBezTo>
                <a:cubicBezTo>
                  <a:pt x="5" y="56"/>
                  <a:pt x="4" y="56"/>
                  <a:pt x="4" y="56"/>
                </a:cubicBezTo>
                <a:cubicBezTo>
                  <a:pt x="4" y="57"/>
                  <a:pt x="4" y="58"/>
                  <a:pt x="4" y="59"/>
                </a:cubicBezTo>
                <a:cubicBezTo>
                  <a:pt x="4" y="60"/>
                  <a:pt x="4" y="60"/>
                  <a:pt x="4" y="60"/>
                </a:cubicBezTo>
                <a:cubicBezTo>
                  <a:pt x="3" y="60"/>
                  <a:pt x="3" y="61"/>
                  <a:pt x="3" y="63"/>
                </a:cubicBezTo>
                <a:cubicBezTo>
                  <a:pt x="3" y="64"/>
                  <a:pt x="3" y="64"/>
                  <a:pt x="4" y="64"/>
                </a:cubicBezTo>
                <a:cubicBezTo>
                  <a:pt x="5" y="64"/>
                  <a:pt x="4" y="60"/>
                  <a:pt x="5" y="60"/>
                </a:cubicBezTo>
                <a:cubicBezTo>
                  <a:pt x="6" y="60"/>
                  <a:pt x="5" y="60"/>
                  <a:pt x="6" y="59"/>
                </a:cubicBezTo>
                <a:cubicBezTo>
                  <a:pt x="6" y="59"/>
                  <a:pt x="6" y="60"/>
                  <a:pt x="6" y="60"/>
                </a:cubicBezTo>
                <a:cubicBezTo>
                  <a:pt x="7" y="60"/>
                  <a:pt x="7" y="61"/>
                  <a:pt x="6" y="61"/>
                </a:cubicBezTo>
                <a:cubicBezTo>
                  <a:pt x="6" y="62"/>
                  <a:pt x="7" y="63"/>
                  <a:pt x="6" y="63"/>
                </a:cubicBezTo>
                <a:cubicBezTo>
                  <a:pt x="6" y="64"/>
                  <a:pt x="5" y="64"/>
                  <a:pt x="6" y="65"/>
                </a:cubicBezTo>
                <a:cubicBezTo>
                  <a:pt x="6" y="66"/>
                  <a:pt x="5" y="66"/>
                  <a:pt x="5" y="66"/>
                </a:cubicBezTo>
                <a:cubicBezTo>
                  <a:pt x="5" y="67"/>
                  <a:pt x="6" y="67"/>
                  <a:pt x="5" y="67"/>
                </a:cubicBezTo>
                <a:cubicBezTo>
                  <a:pt x="5" y="68"/>
                  <a:pt x="6" y="68"/>
                  <a:pt x="5" y="68"/>
                </a:cubicBezTo>
                <a:cubicBezTo>
                  <a:pt x="5" y="68"/>
                  <a:pt x="5" y="69"/>
                  <a:pt x="5" y="70"/>
                </a:cubicBezTo>
                <a:cubicBezTo>
                  <a:pt x="6" y="70"/>
                  <a:pt x="5" y="70"/>
                  <a:pt x="4" y="70"/>
                </a:cubicBezTo>
                <a:cubicBezTo>
                  <a:pt x="4" y="71"/>
                  <a:pt x="5" y="71"/>
                  <a:pt x="5" y="72"/>
                </a:cubicBezTo>
                <a:cubicBezTo>
                  <a:pt x="4" y="72"/>
                  <a:pt x="3" y="71"/>
                  <a:pt x="3" y="71"/>
                </a:cubicBezTo>
                <a:cubicBezTo>
                  <a:pt x="3" y="71"/>
                  <a:pt x="4" y="70"/>
                  <a:pt x="4" y="70"/>
                </a:cubicBezTo>
                <a:cubicBezTo>
                  <a:pt x="5" y="69"/>
                  <a:pt x="4" y="68"/>
                  <a:pt x="3" y="68"/>
                </a:cubicBezTo>
                <a:cubicBezTo>
                  <a:pt x="2" y="68"/>
                  <a:pt x="4" y="69"/>
                  <a:pt x="4" y="70"/>
                </a:cubicBezTo>
                <a:cubicBezTo>
                  <a:pt x="4" y="71"/>
                  <a:pt x="2" y="70"/>
                  <a:pt x="2" y="70"/>
                </a:cubicBezTo>
                <a:cubicBezTo>
                  <a:pt x="3" y="71"/>
                  <a:pt x="2" y="71"/>
                  <a:pt x="1" y="71"/>
                </a:cubicBezTo>
                <a:cubicBezTo>
                  <a:pt x="1" y="72"/>
                  <a:pt x="2" y="72"/>
                  <a:pt x="1" y="72"/>
                </a:cubicBezTo>
                <a:cubicBezTo>
                  <a:pt x="1" y="73"/>
                  <a:pt x="0" y="73"/>
                  <a:pt x="0" y="74"/>
                </a:cubicBezTo>
                <a:cubicBezTo>
                  <a:pt x="0" y="74"/>
                  <a:pt x="0" y="74"/>
                  <a:pt x="0" y="74"/>
                </a:cubicBezTo>
                <a:cubicBezTo>
                  <a:pt x="0" y="73"/>
                  <a:pt x="1" y="73"/>
                  <a:pt x="2" y="74"/>
                </a:cubicBezTo>
                <a:cubicBezTo>
                  <a:pt x="2" y="74"/>
                  <a:pt x="2" y="74"/>
                  <a:pt x="3" y="74"/>
                </a:cubicBezTo>
                <a:cubicBezTo>
                  <a:pt x="3" y="74"/>
                  <a:pt x="3" y="75"/>
                  <a:pt x="3" y="75"/>
                </a:cubicBezTo>
                <a:cubicBezTo>
                  <a:pt x="3" y="75"/>
                  <a:pt x="2" y="76"/>
                  <a:pt x="2" y="76"/>
                </a:cubicBezTo>
                <a:cubicBezTo>
                  <a:pt x="2" y="77"/>
                  <a:pt x="4" y="76"/>
                  <a:pt x="4" y="77"/>
                </a:cubicBezTo>
                <a:cubicBezTo>
                  <a:pt x="5" y="77"/>
                  <a:pt x="5" y="78"/>
                  <a:pt x="4" y="78"/>
                </a:cubicBezTo>
                <a:cubicBezTo>
                  <a:pt x="4" y="77"/>
                  <a:pt x="3" y="77"/>
                  <a:pt x="3" y="77"/>
                </a:cubicBezTo>
                <a:cubicBezTo>
                  <a:pt x="3" y="78"/>
                  <a:pt x="2" y="78"/>
                  <a:pt x="2" y="77"/>
                </a:cubicBezTo>
                <a:cubicBezTo>
                  <a:pt x="1" y="77"/>
                  <a:pt x="0" y="78"/>
                  <a:pt x="0" y="79"/>
                </a:cubicBezTo>
                <a:cubicBezTo>
                  <a:pt x="1" y="79"/>
                  <a:pt x="1" y="80"/>
                  <a:pt x="1" y="80"/>
                </a:cubicBezTo>
                <a:cubicBezTo>
                  <a:pt x="1" y="79"/>
                  <a:pt x="2" y="79"/>
                  <a:pt x="2" y="79"/>
                </a:cubicBezTo>
                <a:cubicBezTo>
                  <a:pt x="2" y="78"/>
                  <a:pt x="3" y="78"/>
                  <a:pt x="3" y="79"/>
                </a:cubicBezTo>
                <a:cubicBezTo>
                  <a:pt x="3" y="80"/>
                  <a:pt x="2" y="79"/>
                  <a:pt x="2" y="80"/>
                </a:cubicBezTo>
                <a:cubicBezTo>
                  <a:pt x="2" y="80"/>
                  <a:pt x="1" y="81"/>
                  <a:pt x="1" y="81"/>
                </a:cubicBezTo>
                <a:cubicBezTo>
                  <a:pt x="0" y="82"/>
                  <a:pt x="1" y="82"/>
                  <a:pt x="1" y="82"/>
                </a:cubicBezTo>
                <a:cubicBezTo>
                  <a:pt x="2" y="82"/>
                  <a:pt x="1" y="83"/>
                  <a:pt x="2" y="83"/>
                </a:cubicBezTo>
                <a:cubicBezTo>
                  <a:pt x="2" y="83"/>
                  <a:pt x="3" y="82"/>
                  <a:pt x="2" y="82"/>
                </a:cubicBezTo>
                <a:cubicBezTo>
                  <a:pt x="2" y="81"/>
                  <a:pt x="3" y="80"/>
                  <a:pt x="3" y="81"/>
                </a:cubicBezTo>
                <a:cubicBezTo>
                  <a:pt x="4" y="81"/>
                  <a:pt x="3" y="82"/>
                  <a:pt x="3" y="82"/>
                </a:cubicBezTo>
                <a:cubicBezTo>
                  <a:pt x="3" y="83"/>
                  <a:pt x="3" y="84"/>
                  <a:pt x="3" y="84"/>
                </a:cubicBezTo>
                <a:cubicBezTo>
                  <a:pt x="3" y="85"/>
                  <a:pt x="2" y="84"/>
                  <a:pt x="2" y="85"/>
                </a:cubicBezTo>
                <a:cubicBezTo>
                  <a:pt x="2" y="86"/>
                  <a:pt x="1" y="85"/>
                  <a:pt x="1" y="86"/>
                </a:cubicBezTo>
                <a:cubicBezTo>
                  <a:pt x="2" y="86"/>
                  <a:pt x="1" y="86"/>
                  <a:pt x="1" y="87"/>
                </a:cubicBezTo>
                <a:cubicBezTo>
                  <a:pt x="2" y="87"/>
                  <a:pt x="2" y="86"/>
                  <a:pt x="2" y="87"/>
                </a:cubicBezTo>
                <a:cubicBezTo>
                  <a:pt x="3" y="87"/>
                  <a:pt x="3" y="87"/>
                  <a:pt x="4" y="87"/>
                </a:cubicBezTo>
                <a:cubicBezTo>
                  <a:pt x="4" y="86"/>
                  <a:pt x="5" y="87"/>
                  <a:pt x="4" y="87"/>
                </a:cubicBezTo>
                <a:cubicBezTo>
                  <a:pt x="3" y="88"/>
                  <a:pt x="3" y="88"/>
                  <a:pt x="3" y="88"/>
                </a:cubicBezTo>
                <a:cubicBezTo>
                  <a:pt x="3" y="88"/>
                  <a:pt x="4" y="88"/>
                  <a:pt x="4" y="89"/>
                </a:cubicBezTo>
                <a:cubicBezTo>
                  <a:pt x="5" y="89"/>
                  <a:pt x="5" y="89"/>
                  <a:pt x="5" y="88"/>
                </a:cubicBezTo>
                <a:cubicBezTo>
                  <a:pt x="5" y="88"/>
                  <a:pt x="6" y="88"/>
                  <a:pt x="7" y="89"/>
                </a:cubicBezTo>
                <a:cubicBezTo>
                  <a:pt x="7" y="89"/>
                  <a:pt x="5" y="90"/>
                  <a:pt x="5" y="90"/>
                </a:cubicBezTo>
                <a:cubicBezTo>
                  <a:pt x="4" y="89"/>
                  <a:pt x="3" y="90"/>
                  <a:pt x="4" y="91"/>
                </a:cubicBezTo>
                <a:cubicBezTo>
                  <a:pt x="4" y="91"/>
                  <a:pt x="5" y="91"/>
                  <a:pt x="6" y="90"/>
                </a:cubicBezTo>
                <a:cubicBezTo>
                  <a:pt x="6" y="90"/>
                  <a:pt x="9" y="90"/>
                  <a:pt x="9" y="91"/>
                </a:cubicBezTo>
                <a:cubicBezTo>
                  <a:pt x="9" y="91"/>
                  <a:pt x="8" y="91"/>
                  <a:pt x="8" y="91"/>
                </a:cubicBezTo>
                <a:cubicBezTo>
                  <a:pt x="7" y="91"/>
                  <a:pt x="6" y="92"/>
                  <a:pt x="6" y="91"/>
                </a:cubicBezTo>
                <a:cubicBezTo>
                  <a:pt x="6" y="91"/>
                  <a:pt x="5" y="91"/>
                  <a:pt x="5" y="92"/>
                </a:cubicBezTo>
                <a:cubicBezTo>
                  <a:pt x="5" y="93"/>
                  <a:pt x="4" y="93"/>
                  <a:pt x="5" y="93"/>
                </a:cubicBezTo>
                <a:cubicBezTo>
                  <a:pt x="6" y="93"/>
                  <a:pt x="6" y="92"/>
                  <a:pt x="7" y="92"/>
                </a:cubicBezTo>
                <a:cubicBezTo>
                  <a:pt x="8" y="92"/>
                  <a:pt x="9" y="91"/>
                  <a:pt x="10" y="92"/>
                </a:cubicBezTo>
                <a:cubicBezTo>
                  <a:pt x="10" y="92"/>
                  <a:pt x="8" y="93"/>
                  <a:pt x="8" y="92"/>
                </a:cubicBezTo>
                <a:cubicBezTo>
                  <a:pt x="7" y="92"/>
                  <a:pt x="7" y="93"/>
                  <a:pt x="7" y="94"/>
                </a:cubicBezTo>
                <a:cubicBezTo>
                  <a:pt x="7" y="94"/>
                  <a:pt x="5" y="93"/>
                  <a:pt x="4" y="93"/>
                </a:cubicBezTo>
                <a:cubicBezTo>
                  <a:pt x="4" y="93"/>
                  <a:pt x="4" y="94"/>
                  <a:pt x="5" y="95"/>
                </a:cubicBezTo>
                <a:cubicBezTo>
                  <a:pt x="5" y="95"/>
                  <a:pt x="6" y="95"/>
                  <a:pt x="7" y="95"/>
                </a:cubicBezTo>
                <a:cubicBezTo>
                  <a:pt x="7" y="96"/>
                  <a:pt x="7" y="96"/>
                  <a:pt x="8" y="96"/>
                </a:cubicBezTo>
                <a:cubicBezTo>
                  <a:pt x="9" y="95"/>
                  <a:pt x="8" y="95"/>
                  <a:pt x="8" y="95"/>
                </a:cubicBezTo>
                <a:cubicBezTo>
                  <a:pt x="7" y="95"/>
                  <a:pt x="7" y="94"/>
                  <a:pt x="8" y="94"/>
                </a:cubicBezTo>
                <a:cubicBezTo>
                  <a:pt x="9" y="95"/>
                  <a:pt x="10" y="94"/>
                  <a:pt x="10" y="93"/>
                </a:cubicBezTo>
                <a:cubicBezTo>
                  <a:pt x="10" y="92"/>
                  <a:pt x="11" y="91"/>
                  <a:pt x="12" y="91"/>
                </a:cubicBezTo>
                <a:cubicBezTo>
                  <a:pt x="13" y="90"/>
                  <a:pt x="13" y="91"/>
                  <a:pt x="12" y="92"/>
                </a:cubicBezTo>
                <a:cubicBezTo>
                  <a:pt x="11" y="92"/>
                  <a:pt x="11" y="92"/>
                  <a:pt x="11" y="93"/>
                </a:cubicBezTo>
                <a:cubicBezTo>
                  <a:pt x="12" y="94"/>
                  <a:pt x="13" y="93"/>
                  <a:pt x="13" y="93"/>
                </a:cubicBezTo>
                <a:cubicBezTo>
                  <a:pt x="14" y="94"/>
                  <a:pt x="12" y="94"/>
                  <a:pt x="12" y="94"/>
                </a:cubicBezTo>
                <a:cubicBezTo>
                  <a:pt x="12" y="95"/>
                  <a:pt x="13" y="95"/>
                  <a:pt x="12" y="96"/>
                </a:cubicBezTo>
                <a:cubicBezTo>
                  <a:pt x="12" y="96"/>
                  <a:pt x="12" y="94"/>
                  <a:pt x="11" y="94"/>
                </a:cubicBezTo>
                <a:cubicBezTo>
                  <a:pt x="11" y="94"/>
                  <a:pt x="10" y="94"/>
                  <a:pt x="11" y="95"/>
                </a:cubicBezTo>
                <a:cubicBezTo>
                  <a:pt x="11" y="96"/>
                  <a:pt x="10" y="95"/>
                  <a:pt x="10" y="95"/>
                </a:cubicBezTo>
                <a:cubicBezTo>
                  <a:pt x="9" y="94"/>
                  <a:pt x="9" y="95"/>
                  <a:pt x="9" y="96"/>
                </a:cubicBezTo>
                <a:cubicBezTo>
                  <a:pt x="10" y="96"/>
                  <a:pt x="8" y="96"/>
                  <a:pt x="8" y="97"/>
                </a:cubicBezTo>
                <a:cubicBezTo>
                  <a:pt x="8" y="98"/>
                  <a:pt x="9" y="97"/>
                  <a:pt x="10" y="97"/>
                </a:cubicBezTo>
                <a:cubicBezTo>
                  <a:pt x="11" y="97"/>
                  <a:pt x="10" y="98"/>
                  <a:pt x="11" y="99"/>
                </a:cubicBezTo>
                <a:cubicBezTo>
                  <a:pt x="12" y="99"/>
                  <a:pt x="11" y="97"/>
                  <a:pt x="12" y="97"/>
                </a:cubicBezTo>
                <a:cubicBezTo>
                  <a:pt x="12" y="97"/>
                  <a:pt x="12" y="99"/>
                  <a:pt x="13" y="99"/>
                </a:cubicBezTo>
                <a:cubicBezTo>
                  <a:pt x="15" y="100"/>
                  <a:pt x="13" y="99"/>
                  <a:pt x="14" y="98"/>
                </a:cubicBezTo>
                <a:cubicBezTo>
                  <a:pt x="15" y="98"/>
                  <a:pt x="16" y="100"/>
                  <a:pt x="16" y="100"/>
                </a:cubicBezTo>
                <a:cubicBezTo>
                  <a:pt x="17" y="100"/>
                  <a:pt x="17" y="99"/>
                  <a:pt x="16" y="99"/>
                </a:cubicBezTo>
                <a:cubicBezTo>
                  <a:pt x="16" y="98"/>
                  <a:pt x="17" y="98"/>
                  <a:pt x="17" y="99"/>
                </a:cubicBezTo>
                <a:cubicBezTo>
                  <a:pt x="18" y="99"/>
                  <a:pt x="19" y="99"/>
                  <a:pt x="19" y="98"/>
                </a:cubicBezTo>
                <a:cubicBezTo>
                  <a:pt x="19" y="98"/>
                  <a:pt x="19" y="98"/>
                  <a:pt x="19" y="98"/>
                </a:cubicBezTo>
                <a:cubicBezTo>
                  <a:pt x="18" y="98"/>
                  <a:pt x="16" y="98"/>
                  <a:pt x="15" y="98"/>
                </a:cubicBezTo>
                <a:cubicBezTo>
                  <a:pt x="15" y="98"/>
                  <a:pt x="15" y="92"/>
                  <a:pt x="15" y="91"/>
                </a:cubicBezTo>
                <a:cubicBezTo>
                  <a:pt x="15" y="91"/>
                  <a:pt x="15" y="91"/>
                  <a:pt x="15" y="91"/>
                </a:cubicBezTo>
                <a:cubicBezTo>
                  <a:pt x="15" y="91"/>
                  <a:pt x="13" y="91"/>
                  <a:pt x="13" y="90"/>
                </a:cubicBezTo>
                <a:cubicBezTo>
                  <a:pt x="14" y="90"/>
                  <a:pt x="14" y="90"/>
                  <a:pt x="14" y="90"/>
                </a:cubicBezTo>
                <a:cubicBezTo>
                  <a:pt x="13" y="89"/>
                  <a:pt x="13" y="89"/>
                  <a:pt x="13" y="89"/>
                </a:cubicBezTo>
                <a:cubicBezTo>
                  <a:pt x="12" y="89"/>
                  <a:pt x="9" y="89"/>
                  <a:pt x="9" y="8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44"/>
          <p:cNvSpPr>
            <a:spLocks/>
          </p:cNvSpPr>
          <p:nvPr/>
        </p:nvSpPr>
        <p:spPr bwMode="auto">
          <a:xfrm>
            <a:off x="1525895" y="3493440"/>
            <a:ext cx="89371" cy="96521"/>
          </a:xfrm>
          <a:custGeom>
            <a:avLst/>
            <a:gdLst>
              <a:gd name="T0" fmla="*/ 18 w 19"/>
              <a:gd name="T1" fmla="*/ 10 h 20"/>
              <a:gd name="T2" fmla="*/ 17 w 19"/>
              <a:gd name="T3" fmla="*/ 11 h 20"/>
              <a:gd name="T4" fmla="*/ 15 w 19"/>
              <a:gd name="T5" fmla="*/ 8 h 20"/>
              <a:gd name="T6" fmla="*/ 14 w 19"/>
              <a:gd name="T7" fmla="*/ 7 h 20"/>
              <a:gd name="T8" fmla="*/ 12 w 19"/>
              <a:gd name="T9" fmla="*/ 6 h 20"/>
              <a:gd name="T10" fmla="*/ 11 w 19"/>
              <a:gd name="T11" fmla="*/ 5 h 20"/>
              <a:gd name="T12" fmla="*/ 10 w 19"/>
              <a:gd name="T13" fmla="*/ 2 h 20"/>
              <a:gd name="T14" fmla="*/ 10 w 19"/>
              <a:gd name="T15" fmla="*/ 1 h 20"/>
              <a:gd name="T16" fmla="*/ 10 w 19"/>
              <a:gd name="T17" fmla="*/ 1 h 20"/>
              <a:gd name="T18" fmla="*/ 8 w 19"/>
              <a:gd name="T19" fmla="*/ 0 h 20"/>
              <a:gd name="T20" fmla="*/ 5 w 19"/>
              <a:gd name="T21" fmla="*/ 0 h 20"/>
              <a:gd name="T22" fmla="*/ 3 w 19"/>
              <a:gd name="T23" fmla="*/ 1 h 20"/>
              <a:gd name="T24" fmla="*/ 1 w 19"/>
              <a:gd name="T25" fmla="*/ 3 h 20"/>
              <a:gd name="T26" fmla="*/ 0 w 19"/>
              <a:gd name="T27" fmla="*/ 6 h 20"/>
              <a:gd name="T28" fmla="*/ 0 w 19"/>
              <a:gd name="T29" fmla="*/ 6 h 20"/>
              <a:gd name="T30" fmla="*/ 3 w 19"/>
              <a:gd name="T31" fmla="*/ 9 h 20"/>
              <a:gd name="T32" fmla="*/ 5 w 19"/>
              <a:gd name="T33" fmla="*/ 11 h 20"/>
              <a:gd name="T34" fmla="*/ 8 w 19"/>
              <a:gd name="T35" fmla="*/ 12 h 20"/>
              <a:gd name="T36" fmla="*/ 12 w 19"/>
              <a:gd name="T37" fmla="*/ 14 h 20"/>
              <a:gd name="T38" fmla="*/ 10 w 19"/>
              <a:gd name="T39" fmla="*/ 17 h 20"/>
              <a:gd name="T40" fmla="*/ 9 w 19"/>
              <a:gd name="T41" fmla="*/ 18 h 20"/>
              <a:gd name="T42" fmla="*/ 11 w 19"/>
              <a:gd name="T43" fmla="*/ 19 h 20"/>
              <a:gd name="T44" fmla="*/ 13 w 19"/>
              <a:gd name="T45" fmla="*/ 19 h 20"/>
              <a:gd name="T46" fmla="*/ 15 w 19"/>
              <a:gd name="T47" fmla="*/ 19 h 20"/>
              <a:gd name="T48" fmla="*/ 17 w 19"/>
              <a:gd name="T49" fmla="*/ 18 h 20"/>
              <a:gd name="T50" fmla="*/ 18 w 19"/>
              <a:gd name="T51" fmla="*/ 15 h 20"/>
              <a:gd name="T52" fmla="*/ 18 w 19"/>
              <a:gd name="T5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20">
                <a:moveTo>
                  <a:pt x="18" y="10"/>
                </a:moveTo>
                <a:cubicBezTo>
                  <a:pt x="18" y="10"/>
                  <a:pt x="17" y="11"/>
                  <a:pt x="17" y="11"/>
                </a:cubicBezTo>
                <a:cubicBezTo>
                  <a:pt x="16" y="11"/>
                  <a:pt x="16" y="9"/>
                  <a:pt x="15" y="8"/>
                </a:cubicBezTo>
                <a:cubicBezTo>
                  <a:pt x="15" y="8"/>
                  <a:pt x="14" y="6"/>
                  <a:pt x="14" y="7"/>
                </a:cubicBezTo>
                <a:cubicBezTo>
                  <a:pt x="13" y="7"/>
                  <a:pt x="14" y="6"/>
                  <a:pt x="12" y="6"/>
                </a:cubicBezTo>
                <a:cubicBezTo>
                  <a:pt x="10" y="6"/>
                  <a:pt x="11" y="6"/>
                  <a:pt x="11" y="5"/>
                </a:cubicBezTo>
                <a:cubicBezTo>
                  <a:pt x="11" y="3"/>
                  <a:pt x="10" y="2"/>
                  <a:pt x="10" y="2"/>
                </a:cubicBezTo>
                <a:cubicBezTo>
                  <a:pt x="11" y="2"/>
                  <a:pt x="11" y="1"/>
                  <a:pt x="10" y="1"/>
                </a:cubicBezTo>
                <a:cubicBezTo>
                  <a:pt x="10" y="1"/>
                  <a:pt x="10" y="1"/>
                  <a:pt x="10" y="1"/>
                </a:cubicBezTo>
                <a:cubicBezTo>
                  <a:pt x="9" y="1"/>
                  <a:pt x="9" y="0"/>
                  <a:pt x="8" y="0"/>
                </a:cubicBezTo>
                <a:cubicBezTo>
                  <a:pt x="7" y="0"/>
                  <a:pt x="6" y="0"/>
                  <a:pt x="5" y="0"/>
                </a:cubicBezTo>
                <a:cubicBezTo>
                  <a:pt x="5" y="0"/>
                  <a:pt x="3" y="0"/>
                  <a:pt x="3" y="1"/>
                </a:cubicBezTo>
                <a:cubicBezTo>
                  <a:pt x="2" y="1"/>
                  <a:pt x="1" y="2"/>
                  <a:pt x="1" y="3"/>
                </a:cubicBezTo>
                <a:cubicBezTo>
                  <a:pt x="1" y="3"/>
                  <a:pt x="1" y="6"/>
                  <a:pt x="0" y="6"/>
                </a:cubicBezTo>
                <a:cubicBezTo>
                  <a:pt x="0" y="6"/>
                  <a:pt x="0" y="6"/>
                  <a:pt x="0" y="6"/>
                </a:cubicBezTo>
                <a:cubicBezTo>
                  <a:pt x="0" y="7"/>
                  <a:pt x="2" y="9"/>
                  <a:pt x="3" y="9"/>
                </a:cubicBezTo>
                <a:cubicBezTo>
                  <a:pt x="4" y="10"/>
                  <a:pt x="4" y="11"/>
                  <a:pt x="5" y="11"/>
                </a:cubicBezTo>
                <a:cubicBezTo>
                  <a:pt x="6" y="11"/>
                  <a:pt x="7" y="11"/>
                  <a:pt x="8" y="12"/>
                </a:cubicBezTo>
                <a:cubicBezTo>
                  <a:pt x="8" y="13"/>
                  <a:pt x="11" y="14"/>
                  <a:pt x="12" y="14"/>
                </a:cubicBezTo>
                <a:cubicBezTo>
                  <a:pt x="12" y="14"/>
                  <a:pt x="10" y="16"/>
                  <a:pt x="10" y="17"/>
                </a:cubicBezTo>
                <a:cubicBezTo>
                  <a:pt x="10" y="18"/>
                  <a:pt x="9" y="18"/>
                  <a:pt x="9" y="18"/>
                </a:cubicBezTo>
                <a:cubicBezTo>
                  <a:pt x="9" y="19"/>
                  <a:pt x="11" y="19"/>
                  <a:pt x="11" y="19"/>
                </a:cubicBezTo>
                <a:cubicBezTo>
                  <a:pt x="12" y="19"/>
                  <a:pt x="13" y="19"/>
                  <a:pt x="13" y="19"/>
                </a:cubicBezTo>
                <a:cubicBezTo>
                  <a:pt x="14" y="20"/>
                  <a:pt x="15" y="19"/>
                  <a:pt x="15" y="19"/>
                </a:cubicBezTo>
                <a:cubicBezTo>
                  <a:pt x="16" y="19"/>
                  <a:pt x="16" y="18"/>
                  <a:pt x="17" y="18"/>
                </a:cubicBezTo>
                <a:cubicBezTo>
                  <a:pt x="18" y="18"/>
                  <a:pt x="18" y="16"/>
                  <a:pt x="18" y="15"/>
                </a:cubicBezTo>
                <a:cubicBezTo>
                  <a:pt x="18" y="14"/>
                  <a:pt x="19" y="11"/>
                  <a:pt x="1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45"/>
          <p:cNvSpPr>
            <a:spLocks/>
          </p:cNvSpPr>
          <p:nvPr/>
        </p:nvSpPr>
        <p:spPr bwMode="auto">
          <a:xfrm>
            <a:off x="1275656" y="3160979"/>
            <a:ext cx="35748" cy="28599"/>
          </a:xfrm>
          <a:custGeom>
            <a:avLst/>
            <a:gdLst>
              <a:gd name="T0" fmla="*/ 7 w 8"/>
              <a:gd name="T1" fmla="*/ 5 h 6"/>
              <a:gd name="T2" fmla="*/ 8 w 8"/>
              <a:gd name="T3" fmla="*/ 4 h 6"/>
              <a:gd name="T4" fmla="*/ 5 w 8"/>
              <a:gd name="T5" fmla="*/ 1 h 6"/>
              <a:gd name="T6" fmla="*/ 4 w 8"/>
              <a:gd name="T7" fmla="*/ 1 h 6"/>
              <a:gd name="T8" fmla="*/ 2 w 8"/>
              <a:gd name="T9" fmla="*/ 1 h 6"/>
              <a:gd name="T10" fmla="*/ 1 w 8"/>
              <a:gd name="T11" fmla="*/ 0 h 6"/>
              <a:gd name="T12" fmla="*/ 1 w 8"/>
              <a:gd name="T13" fmla="*/ 1 h 6"/>
              <a:gd name="T14" fmla="*/ 1 w 8"/>
              <a:gd name="T15" fmla="*/ 3 h 6"/>
              <a:gd name="T16" fmla="*/ 3 w 8"/>
              <a:gd name="T17" fmla="*/ 3 h 6"/>
              <a:gd name="T18" fmla="*/ 4 w 8"/>
              <a:gd name="T19" fmla="*/ 4 h 6"/>
              <a:gd name="T20" fmla="*/ 5 w 8"/>
              <a:gd name="T21" fmla="*/ 5 h 6"/>
              <a:gd name="T22" fmla="*/ 6 w 8"/>
              <a:gd name="T23" fmla="*/ 6 h 6"/>
              <a:gd name="T24" fmla="*/ 7 w 8"/>
              <a:gd name="T25" fmla="*/ 6 h 6"/>
              <a:gd name="T26" fmla="*/ 7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7" y="5"/>
                </a:moveTo>
                <a:cubicBezTo>
                  <a:pt x="7" y="5"/>
                  <a:pt x="7" y="4"/>
                  <a:pt x="8" y="4"/>
                </a:cubicBezTo>
                <a:cubicBezTo>
                  <a:pt x="7" y="3"/>
                  <a:pt x="6" y="2"/>
                  <a:pt x="5" y="1"/>
                </a:cubicBezTo>
                <a:cubicBezTo>
                  <a:pt x="5" y="1"/>
                  <a:pt x="4" y="1"/>
                  <a:pt x="4" y="1"/>
                </a:cubicBezTo>
                <a:cubicBezTo>
                  <a:pt x="4" y="1"/>
                  <a:pt x="3" y="1"/>
                  <a:pt x="2" y="1"/>
                </a:cubicBezTo>
                <a:cubicBezTo>
                  <a:pt x="2" y="0"/>
                  <a:pt x="1" y="0"/>
                  <a:pt x="1" y="0"/>
                </a:cubicBezTo>
                <a:cubicBezTo>
                  <a:pt x="1" y="1"/>
                  <a:pt x="1" y="1"/>
                  <a:pt x="1" y="1"/>
                </a:cubicBezTo>
                <a:cubicBezTo>
                  <a:pt x="0" y="2"/>
                  <a:pt x="0" y="3"/>
                  <a:pt x="1" y="3"/>
                </a:cubicBezTo>
                <a:cubicBezTo>
                  <a:pt x="2" y="4"/>
                  <a:pt x="2" y="3"/>
                  <a:pt x="3" y="3"/>
                </a:cubicBezTo>
                <a:cubicBezTo>
                  <a:pt x="3" y="3"/>
                  <a:pt x="3" y="4"/>
                  <a:pt x="4" y="4"/>
                </a:cubicBezTo>
                <a:cubicBezTo>
                  <a:pt x="4" y="4"/>
                  <a:pt x="5" y="4"/>
                  <a:pt x="5" y="5"/>
                </a:cubicBezTo>
                <a:cubicBezTo>
                  <a:pt x="5" y="6"/>
                  <a:pt x="5" y="6"/>
                  <a:pt x="6" y="6"/>
                </a:cubicBezTo>
                <a:cubicBezTo>
                  <a:pt x="7" y="6"/>
                  <a:pt x="7" y="6"/>
                  <a:pt x="7" y="6"/>
                </a:cubicBezTo>
                <a:cubicBezTo>
                  <a:pt x="7" y="6"/>
                  <a:pt x="7" y="5"/>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46"/>
          <p:cNvSpPr>
            <a:spLocks/>
          </p:cNvSpPr>
          <p:nvPr/>
        </p:nvSpPr>
        <p:spPr bwMode="auto">
          <a:xfrm>
            <a:off x="1307829" y="3175279"/>
            <a:ext cx="64347" cy="28599"/>
          </a:xfrm>
          <a:custGeom>
            <a:avLst/>
            <a:gdLst>
              <a:gd name="T0" fmla="*/ 11 w 13"/>
              <a:gd name="T1" fmla="*/ 2 h 6"/>
              <a:gd name="T2" fmla="*/ 8 w 13"/>
              <a:gd name="T3" fmla="*/ 1 h 6"/>
              <a:gd name="T4" fmla="*/ 5 w 13"/>
              <a:gd name="T5" fmla="*/ 2 h 6"/>
              <a:gd name="T6" fmla="*/ 2 w 13"/>
              <a:gd name="T7" fmla="*/ 2 h 6"/>
              <a:gd name="T8" fmla="*/ 1 w 13"/>
              <a:gd name="T9" fmla="*/ 1 h 6"/>
              <a:gd name="T10" fmla="*/ 0 w 13"/>
              <a:gd name="T11" fmla="*/ 2 h 6"/>
              <a:gd name="T12" fmla="*/ 0 w 13"/>
              <a:gd name="T13" fmla="*/ 3 h 6"/>
              <a:gd name="T14" fmla="*/ 3 w 13"/>
              <a:gd name="T15" fmla="*/ 5 h 6"/>
              <a:gd name="T16" fmla="*/ 4 w 13"/>
              <a:gd name="T17" fmla="*/ 6 h 6"/>
              <a:gd name="T18" fmla="*/ 6 w 13"/>
              <a:gd name="T19" fmla="*/ 5 h 6"/>
              <a:gd name="T20" fmla="*/ 5 w 13"/>
              <a:gd name="T21" fmla="*/ 4 h 6"/>
              <a:gd name="T22" fmla="*/ 7 w 13"/>
              <a:gd name="T23" fmla="*/ 3 h 6"/>
              <a:gd name="T24" fmla="*/ 9 w 13"/>
              <a:gd name="T25" fmla="*/ 2 h 6"/>
              <a:gd name="T26" fmla="*/ 10 w 13"/>
              <a:gd name="T27" fmla="*/ 4 h 6"/>
              <a:gd name="T28" fmla="*/ 11 w 13"/>
              <a:gd name="T29" fmla="*/ 6 h 6"/>
              <a:gd name="T30" fmla="*/ 13 w 13"/>
              <a:gd name="T31" fmla="*/ 5 h 6"/>
              <a:gd name="T32" fmla="*/ 13 w 13"/>
              <a:gd name="T33" fmla="*/ 4 h 6"/>
              <a:gd name="T34" fmla="*/ 11 w 13"/>
              <a:gd name="T3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6">
                <a:moveTo>
                  <a:pt x="11" y="2"/>
                </a:moveTo>
                <a:cubicBezTo>
                  <a:pt x="11" y="1"/>
                  <a:pt x="9" y="1"/>
                  <a:pt x="8" y="1"/>
                </a:cubicBezTo>
                <a:cubicBezTo>
                  <a:pt x="7" y="0"/>
                  <a:pt x="6" y="1"/>
                  <a:pt x="5" y="2"/>
                </a:cubicBezTo>
                <a:cubicBezTo>
                  <a:pt x="4" y="3"/>
                  <a:pt x="3" y="2"/>
                  <a:pt x="2" y="2"/>
                </a:cubicBezTo>
                <a:cubicBezTo>
                  <a:pt x="1" y="2"/>
                  <a:pt x="1" y="1"/>
                  <a:pt x="1" y="1"/>
                </a:cubicBezTo>
                <a:cubicBezTo>
                  <a:pt x="0" y="1"/>
                  <a:pt x="0" y="2"/>
                  <a:pt x="0" y="2"/>
                </a:cubicBezTo>
                <a:cubicBezTo>
                  <a:pt x="0" y="2"/>
                  <a:pt x="0" y="3"/>
                  <a:pt x="0" y="3"/>
                </a:cubicBezTo>
                <a:cubicBezTo>
                  <a:pt x="1" y="3"/>
                  <a:pt x="2" y="4"/>
                  <a:pt x="3" y="5"/>
                </a:cubicBezTo>
                <a:cubicBezTo>
                  <a:pt x="3" y="6"/>
                  <a:pt x="4" y="5"/>
                  <a:pt x="4" y="6"/>
                </a:cubicBezTo>
                <a:cubicBezTo>
                  <a:pt x="5" y="6"/>
                  <a:pt x="6" y="6"/>
                  <a:pt x="6" y="5"/>
                </a:cubicBezTo>
                <a:cubicBezTo>
                  <a:pt x="6" y="5"/>
                  <a:pt x="6" y="5"/>
                  <a:pt x="5" y="4"/>
                </a:cubicBezTo>
                <a:cubicBezTo>
                  <a:pt x="5" y="4"/>
                  <a:pt x="6" y="4"/>
                  <a:pt x="7" y="3"/>
                </a:cubicBezTo>
                <a:cubicBezTo>
                  <a:pt x="7" y="2"/>
                  <a:pt x="8" y="2"/>
                  <a:pt x="9" y="2"/>
                </a:cubicBezTo>
                <a:cubicBezTo>
                  <a:pt x="10" y="2"/>
                  <a:pt x="10" y="3"/>
                  <a:pt x="10" y="4"/>
                </a:cubicBezTo>
                <a:cubicBezTo>
                  <a:pt x="9" y="4"/>
                  <a:pt x="10" y="5"/>
                  <a:pt x="11" y="6"/>
                </a:cubicBezTo>
                <a:cubicBezTo>
                  <a:pt x="12" y="5"/>
                  <a:pt x="12" y="5"/>
                  <a:pt x="13" y="5"/>
                </a:cubicBezTo>
                <a:cubicBezTo>
                  <a:pt x="13" y="4"/>
                  <a:pt x="13" y="4"/>
                  <a:pt x="13" y="4"/>
                </a:cubicBezTo>
                <a:cubicBezTo>
                  <a:pt x="12" y="4"/>
                  <a:pt x="12" y="3"/>
                  <a:pt x="11"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47"/>
          <p:cNvSpPr>
            <a:spLocks/>
          </p:cNvSpPr>
          <p:nvPr/>
        </p:nvSpPr>
        <p:spPr bwMode="auto">
          <a:xfrm>
            <a:off x="1350727" y="3146680"/>
            <a:ext cx="125120" cy="182317"/>
          </a:xfrm>
          <a:custGeom>
            <a:avLst/>
            <a:gdLst>
              <a:gd name="T0" fmla="*/ 4 w 26"/>
              <a:gd name="T1" fmla="*/ 27 h 38"/>
              <a:gd name="T2" fmla="*/ 5 w 26"/>
              <a:gd name="T3" fmla="*/ 27 h 38"/>
              <a:gd name="T4" fmla="*/ 7 w 26"/>
              <a:gd name="T5" fmla="*/ 29 h 38"/>
              <a:gd name="T6" fmla="*/ 7 w 26"/>
              <a:gd name="T7" fmla="*/ 29 h 38"/>
              <a:gd name="T8" fmla="*/ 9 w 26"/>
              <a:gd name="T9" fmla="*/ 29 h 38"/>
              <a:gd name="T10" fmla="*/ 10 w 26"/>
              <a:gd name="T11" fmla="*/ 30 h 38"/>
              <a:gd name="T12" fmla="*/ 12 w 26"/>
              <a:gd name="T13" fmla="*/ 32 h 38"/>
              <a:gd name="T14" fmla="*/ 13 w 26"/>
              <a:gd name="T15" fmla="*/ 33 h 38"/>
              <a:gd name="T16" fmla="*/ 15 w 26"/>
              <a:gd name="T17" fmla="*/ 34 h 38"/>
              <a:gd name="T18" fmla="*/ 16 w 26"/>
              <a:gd name="T19" fmla="*/ 33 h 38"/>
              <a:gd name="T20" fmla="*/ 18 w 26"/>
              <a:gd name="T21" fmla="*/ 33 h 38"/>
              <a:gd name="T22" fmla="*/ 20 w 26"/>
              <a:gd name="T23" fmla="*/ 35 h 38"/>
              <a:gd name="T24" fmla="*/ 18 w 26"/>
              <a:gd name="T25" fmla="*/ 36 h 38"/>
              <a:gd name="T26" fmla="*/ 20 w 26"/>
              <a:gd name="T27" fmla="*/ 38 h 38"/>
              <a:gd name="T28" fmla="*/ 20 w 26"/>
              <a:gd name="T29" fmla="*/ 38 h 38"/>
              <a:gd name="T30" fmla="*/ 21 w 26"/>
              <a:gd name="T31" fmla="*/ 35 h 38"/>
              <a:gd name="T32" fmla="*/ 21 w 26"/>
              <a:gd name="T33" fmla="*/ 31 h 38"/>
              <a:gd name="T34" fmla="*/ 20 w 26"/>
              <a:gd name="T35" fmla="*/ 28 h 38"/>
              <a:gd name="T36" fmla="*/ 21 w 26"/>
              <a:gd name="T37" fmla="*/ 27 h 38"/>
              <a:gd name="T38" fmla="*/ 21 w 26"/>
              <a:gd name="T39" fmla="*/ 26 h 38"/>
              <a:gd name="T40" fmla="*/ 20 w 26"/>
              <a:gd name="T41" fmla="*/ 25 h 38"/>
              <a:gd name="T42" fmla="*/ 24 w 26"/>
              <a:gd name="T43" fmla="*/ 24 h 38"/>
              <a:gd name="T44" fmla="*/ 26 w 26"/>
              <a:gd name="T45" fmla="*/ 24 h 38"/>
              <a:gd name="T46" fmla="*/ 26 w 26"/>
              <a:gd name="T47" fmla="*/ 22 h 38"/>
              <a:gd name="T48" fmla="*/ 26 w 26"/>
              <a:gd name="T49" fmla="*/ 21 h 38"/>
              <a:gd name="T50" fmla="*/ 25 w 26"/>
              <a:gd name="T51" fmla="*/ 19 h 38"/>
              <a:gd name="T52" fmla="*/ 25 w 26"/>
              <a:gd name="T53" fmla="*/ 15 h 38"/>
              <a:gd name="T54" fmla="*/ 23 w 26"/>
              <a:gd name="T55" fmla="*/ 14 h 38"/>
              <a:gd name="T56" fmla="*/ 20 w 26"/>
              <a:gd name="T57" fmla="*/ 13 h 38"/>
              <a:gd name="T58" fmla="*/ 16 w 26"/>
              <a:gd name="T59" fmla="*/ 13 h 38"/>
              <a:gd name="T60" fmla="*/ 14 w 26"/>
              <a:gd name="T61" fmla="*/ 10 h 38"/>
              <a:gd name="T62" fmla="*/ 13 w 26"/>
              <a:gd name="T63" fmla="*/ 8 h 38"/>
              <a:gd name="T64" fmla="*/ 12 w 26"/>
              <a:gd name="T65" fmla="*/ 8 h 38"/>
              <a:gd name="T66" fmla="*/ 13 w 26"/>
              <a:gd name="T67" fmla="*/ 7 h 38"/>
              <a:gd name="T68" fmla="*/ 13 w 26"/>
              <a:gd name="T69" fmla="*/ 5 h 38"/>
              <a:gd name="T70" fmla="*/ 15 w 26"/>
              <a:gd name="T71" fmla="*/ 3 h 38"/>
              <a:gd name="T72" fmla="*/ 16 w 26"/>
              <a:gd name="T73" fmla="*/ 2 h 38"/>
              <a:gd name="T74" fmla="*/ 16 w 26"/>
              <a:gd name="T75" fmla="*/ 2 h 38"/>
              <a:gd name="T76" fmla="*/ 17 w 26"/>
              <a:gd name="T77" fmla="*/ 0 h 38"/>
              <a:gd name="T78" fmla="*/ 14 w 26"/>
              <a:gd name="T79" fmla="*/ 2 h 38"/>
              <a:gd name="T80" fmla="*/ 12 w 26"/>
              <a:gd name="T81" fmla="*/ 3 h 38"/>
              <a:gd name="T82" fmla="*/ 10 w 26"/>
              <a:gd name="T83" fmla="*/ 3 h 38"/>
              <a:gd name="T84" fmla="*/ 9 w 26"/>
              <a:gd name="T85" fmla="*/ 3 h 38"/>
              <a:gd name="T86" fmla="*/ 7 w 26"/>
              <a:gd name="T87" fmla="*/ 5 h 38"/>
              <a:gd name="T88" fmla="*/ 6 w 26"/>
              <a:gd name="T89" fmla="*/ 7 h 38"/>
              <a:gd name="T90" fmla="*/ 4 w 26"/>
              <a:gd name="T91" fmla="*/ 10 h 38"/>
              <a:gd name="T92" fmla="*/ 4 w 26"/>
              <a:gd name="T93" fmla="*/ 10 h 38"/>
              <a:gd name="T94" fmla="*/ 4 w 26"/>
              <a:gd name="T95" fmla="*/ 11 h 38"/>
              <a:gd name="T96" fmla="*/ 2 w 26"/>
              <a:gd name="T97" fmla="*/ 12 h 38"/>
              <a:gd name="T98" fmla="*/ 3 w 26"/>
              <a:gd name="T99" fmla="*/ 13 h 38"/>
              <a:gd name="T100" fmla="*/ 3 w 26"/>
              <a:gd name="T101" fmla="*/ 14 h 38"/>
              <a:gd name="T102" fmla="*/ 3 w 26"/>
              <a:gd name="T103" fmla="*/ 16 h 38"/>
              <a:gd name="T104" fmla="*/ 4 w 26"/>
              <a:gd name="T105" fmla="*/ 19 h 38"/>
              <a:gd name="T106" fmla="*/ 3 w 26"/>
              <a:gd name="T107" fmla="*/ 21 h 38"/>
              <a:gd name="T108" fmla="*/ 1 w 26"/>
              <a:gd name="T109" fmla="*/ 22 h 38"/>
              <a:gd name="T110" fmla="*/ 0 w 26"/>
              <a:gd name="T111" fmla="*/ 24 h 38"/>
              <a:gd name="T112" fmla="*/ 0 w 26"/>
              <a:gd name="T113" fmla="*/ 25 h 38"/>
              <a:gd name="T114" fmla="*/ 2 w 26"/>
              <a:gd name="T115" fmla="*/ 26 h 38"/>
              <a:gd name="T116" fmla="*/ 4 w 26"/>
              <a:gd name="T11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38">
                <a:moveTo>
                  <a:pt x="4" y="27"/>
                </a:moveTo>
                <a:cubicBezTo>
                  <a:pt x="4" y="28"/>
                  <a:pt x="5" y="28"/>
                  <a:pt x="5" y="27"/>
                </a:cubicBezTo>
                <a:cubicBezTo>
                  <a:pt x="6" y="27"/>
                  <a:pt x="6" y="28"/>
                  <a:pt x="7" y="29"/>
                </a:cubicBezTo>
                <a:cubicBezTo>
                  <a:pt x="7" y="29"/>
                  <a:pt x="7" y="29"/>
                  <a:pt x="7" y="29"/>
                </a:cubicBezTo>
                <a:cubicBezTo>
                  <a:pt x="8" y="29"/>
                  <a:pt x="9" y="28"/>
                  <a:pt x="9" y="29"/>
                </a:cubicBezTo>
                <a:cubicBezTo>
                  <a:pt x="10" y="29"/>
                  <a:pt x="10" y="30"/>
                  <a:pt x="10" y="30"/>
                </a:cubicBezTo>
                <a:cubicBezTo>
                  <a:pt x="11" y="31"/>
                  <a:pt x="12" y="31"/>
                  <a:pt x="12" y="32"/>
                </a:cubicBezTo>
                <a:cubicBezTo>
                  <a:pt x="12" y="32"/>
                  <a:pt x="13" y="33"/>
                  <a:pt x="13" y="33"/>
                </a:cubicBezTo>
                <a:cubicBezTo>
                  <a:pt x="13" y="34"/>
                  <a:pt x="15" y="34"/>
                  <a:pt x="15" y="34"/>
                </a:cubicBezTo>
                <a:cubicBezTo>
                  <a:pt x="15" y="33"/>
                  <a:pt x="16" y="33"/>
                  <a:pt x="16" y="33"/>
                </a:cubicBezTo>
                <a:cubicBezTo>
                  <a:pt x="17" y="34"/>
                  <a:pt x="18" y="33"/>
                  <a:pt x="18" y="33"/>
                </a:cubicBezTo>
                <a:cubicBezTo>
                  <a:pt x="18" y="33"/>
                  <a:pt x="20" y="34"/>
                  <a:pt x="20" y="35"/>
                </a:cubicBezTo>
                <a:cubicBezTo>
                  <a:pt x="19" y="35"/>
                  <a:pt x="18" y="36"/>
                  <a:pt x="18" y="36"/>
                </a:cubicBezTo>
                <a:cubicBezTo>
                  <a:pt x="19" y="37"/>
                  <a:pt x="19" y="37"/>
                  <a:pt x="20" y="38"/>
                </a:cubicBezTo>
                <a:cubicBezTo>
                  <a:pt x="20" y="38"/>
                  <a:pt x="20" y="38"/>
                  <a:pt x="20" y="38"/>
                </a:cubicBezTo>
                <a:cubicBezTo>
                  <a:pt x="20" y="37"/>
                  <a:pt x="21" y="35"/>
                  <a:pt x="21" y="35"/>
                </a:cubicBezTo>
                <a:cubicBezTo>
                  <a:pt x="21" y="34"/>
                  <a:pt x="21" y="32"/>
                  <a:pt x="21" y="31"/>
                </a:cubicBezTo>
                <a:cubicBezTo>
                  <a:pt x="21" y="30"/>
                  <a:pt x="20" y="29"/>
                  <a:pt x="20" y="28"/>
                </a:cubicBezTo>
                <a:cubicBezTo>
                  <a:pt x="20" y="27"/>
                  <a:pt x="20" y="27"/>
                  <a:pt x="21" y="27"/>
                </a:cubicBezTo>
                <a:cubicBezTo>
                  <a:pt x="22" y="26"/>
                  <a:pt x="21" y="26"/>
                  <a:pt x="21" y="26"/>
                </a:cubicBezTo>
                <a:cubicBezTo>
                  <a:pt x="20" y="26"/>
                  <a:pt x="20" y="25"/>
                  <a:pt x="20" y="25"/>
                </a:cubicBezTo>
                <a:cubicBezTo>
                  <a:pt x="20" y="24"/>
                  <a:pt x="23" y="24"/>
                  <a:pt x="24" y="24"/>
                </a:cubicBezTo>
                <a:cubicBezTo>
                  <a:pt x="24" y="24"/>
                  <a:pt x="26" y="24"/>
                  <a:pt x="26" y="24"/>
                </a:cubicBezTo>
                <a:cubicBezTo>
                  <a:pt x="26" y="23"/>
                  <a:pt x="26" y="23"/>
                  <a:pt x="26" y="22"/>
                </a:cubicBezTo>
                <a:cubicBezTo>
                  <a:pt x="25" y="22"/>
                  <a:pt x="25" y="21"/>
                  <a:pt x="26" y="21"/>
                </a:cubicBezTo>
                <a:cubicBezTo>
                  <a:pt x="26" y="20"/>
                  <a:pt x="25" y="20"/>
                  <a:pt x="25" y="19"/>
                </a:cubicBezTo>
                <a:cubicBezTo>
                  <a:pt x="24" y="18"/>
                  <a:pt x="25" y="16"/>
                  <a:pt x="25" y="15"/>
                </a:cubicBezTo>
                <a:cubicBezTo>
                  <a:pt x="26" y="14"/>
                  <a:pt x="24" y="14"/>
                  <a:pt x="23" y="14"/>
                </a:cubicBezTo>
                <a:cubicBezTo>
                  <a:pt x="22" y="14"/>
                  <a:pt x="20" y="14"/>
                  <a:pt x="20" y="13"/>
                </a:cubicBezTo>
                <a:cubicBezTo>
                  <a:pt x="19" y="12"/>
                  <a:pt x="18" y="13"/>
                  <a:pt x="16" y="13"/>
                </a:cubicBezTo>
                <a:cubicBezTo>
                  <a:pt x="14" y="13"/>
                  <a:pt x="14" y="11"/>
                  <a:pt x="14" y="10"/>
                </a:cubicBezTo>
                <a:cubicBezTo>
                  <a:pt x="15" y="9"/>
                  <a:pt x="13" y="9"/>
                  <a:pt x="13" y="8"/>
                </a:cubicBezTo>
                <a:cubicBezTo>
                  <a:pt x="13" y="8"/>
                  <a:pt x="13" y="8"/>
                  <a:pt x="12" y="8"/>
                </a:cubicBezTo>
                <a:cubicBezTo>
                  <a:pt x="12" y="8"/>
                  <a:pt x="12" y="7"/>
                  <a:pt x="13" y="7"/>
                </a:cubicBezTo>
                <a:cubicBezTo>
                  <a:pt x="13" y="6"/>
                  <a:pt x="13" y="6"/>
                  <a:pt x="13" y="5"/>
                </a:cubicBezTo>
                <a:cubicBezTo>
                  <a:pt x="13" y="4"/>
                  <a:pt x="14" y="3"/>
                  <a:pt x="15" y="3"/>
                </a:cubicBezTo>
                <a:cubicBezTo>
                  <a:pt x="15" y="2"/>
                  <a:pt x="15" y="2"/>
                  <a:pt x="16" y="2"/>
                </a:cubicBezTo>
                <a:cubicBezTo>
                  <a:pt x="16" y="2"/>
                  <a:pt x="16" y="2"/>
                  <a:pt x="16" y="2"/>
                </a:cubicBezTo>
                <a:cubicBezTo>
                  <a:pt x="17" y="2"/>
                  <a:pt x="18" y="1"/>
                  <a:pt x="17" y="0"/>
                </a:cubicBezTo>
                <a:cubicBezTo>
                  <a:pt x="16" y="0"/>
                  <a:pt x="15" y="1"/>
                  <a:pt x="14" y="2"/>
                </a:cubicBezTo>
                <a:cubicBezTo>
                  <a:pt x="13" y="2"/>
                  <a:pt x="13" y="2"/>
                  <a:pt x="12" y="3"/>
                </a:cubicBezTo>
                <a:cubicBezTo>
                  <a:pt x="12" y="3"/>
                  <a:pt x="10" y="3"/>
                  <a:pt x="10" y="3"/>
                </a:cubicBezTo>
                <a:cubicBezTo>
                  <a:pt x="10" y="4"/>
                  <a:pt x="10" y="3"/>
                  <a:pt x="9" y="3"/>
                </a:cubicBezTo>
                <a:cubicBezTo>
                  <a:pt x="9" y="3"/>
                  <a:pt x="7" y="4"/>
                  <a:pt x="7" y="5"/>
                </a:cubicBezTo>
                <a:cubicBezTo>
                  <a:pt x="7" y="6"/>
                  <a:pt x="8" y="7"/>
                  <a:pt x="6" y="7"/>
                </a:cubicBezTo>
                <a:cubicBezTo>
                  <a:pt x="5" y="8"/>
                  <a:pt x="5" y="9"/>
                  <a:pt x="4" y="10"/>
                </a:cubicBezTo>
                <a:cubicBezTo>
                  <a:pt x="4" y="10"/>
                  <a:pt x="4" y="10"/>
                  <a:pt x="4" y="10"/>
                </a:cubicBezTo>
                <a:cubicBezTo>
                  <a:pt x="4" y="10"/>
                  <a:pt x="4" y="10"/>
                  <a:pt x="4" y="11"/>
                </a:cubicBezTo>
                <a:cubicBezTo>
                  <a:pt x="3" y="11"/>
                  <a:pt x="3" y="11"/>
                  <a:pt x="2" y="12"/>
                </a:cubicBezTo>
                <a:cubicBezTo>
                  <a:pt x="2" y="12"/>
                  <a:pt x="3" y="13"/>
                  <a:pt x="3" y="13"/>
                </a:cubicBezTo>
                <a:cubicBezTo>
                  <a:pt x="3" y="13"/>
                  <a:pt x="3" y="14"/>
                  <a:pt x="3" y="14"/>
                </a:cubicBezTo>
                <a:cubicBezTo>
                  <a:pt x="3" y="15"/>
                  <a:pt x="4" y="15"/>
                  <a:pt x="3" y="16"/>
                </a:cubicBezTo>
                <a:cubicBezTo>
                  <a:pt x="3" y="16"/>
                  <a:pt x="3" y="19"/>
                  <a:pt x="4" y="19"/>
                </a:cubicBezTo>
                <a:cubicBezTo>
                  <a:pt x="4" y="20"/>
                  <a:pt x="4" y="20"/>
                  <a:pt x="3" y="21"/>
                </a:cubicBezTo>
                <a:cubicBezTo>
                  <a:pt x="3" y="22"/>
                  <a:pt x="2" y="22"/>
                  <a:pt x="1" y="22"/>
                </a:cubicBezTo>
                <a:cubicBezTo>
                  <a:pt x="0" y="23"/>
                  <a:pt x="0" y="24"/>
                  <a:pt x="0" y="24"/>
                </a:cubicBezTo>
                <a:cubicBezTo>
                  <a:pt x="0" y="24"/>
                  <a:pt x="0" y="24"/>
                  <a:pt x="0" y="25"/>
                </a:cubicBezTo>
                <a:cubicBezTo>
                  <a:pt x="1" y="25"/>
                  <a:pt x="2" y="26"/>
                  <a:pt x="2" y="26"/>
                </a:cubicBezTo>
                <a:cubicBezTo>
                  <a:pt x="3" y="26"/>
                  <a:pt x="3" y="27"/>
                  <a:pt x="4"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48"/>
          <p:cNvSpPr>
            <a:spLocks/>
          </p:cNvSpPr>
          <p:nvPr/>
        </p:nvSpPr>
        <p:spPr bwMode="auto">
          <a:xfrm>
            <a:off x="1454398" y="3386195"/>
            <a:ext cx="128695" cy="150144"/>
          </a:xfrm>
          <a:custGeom>
            <a:avLst/>
            <a:gdLst>
              <a:gd name="T0" fmla="*/ 26 w 27"/>
              <a:gd name="T1" fmla="*/ 18 h 31"/>
              <a:gd name="T2" fmla="*/ 25 w 27"/>
              <a:gd name="T3" fmla="*/ 16 h 31"/>
              <a:gd name="T4" fmla="*/ 23 w 27"/>
              <a:gd name="T5" fmla="*/ 15 h 31"/>
              <a:gd name="T6" fmla="*/ 21 w 27"/>
              <a:gd name="T7" fmla="*/ 14 h 31"/>
              <a:gd name="T8" fmla="*/ 21 w 27"/>
              <a:gd name="T9" fmla="*/ 12 h 31"/>
              <a:gd name="T10" fmla="*/ 20 w 27"/>
              <a:gd name="T11" fmla="*/ 10 h 31"/>
              <a:gd name="T12" fmla="*/ 19 w 27"/>
              <a:gd name="T13" fmla="*/ 9 h 31"/>
              <a:gd name="T14" fmla="*/ 17 w 27"/>
              <a:gd name="T15" fmla="*/ 8 h 31"/>
              <a:gd name="T16" fmla="*/ 15 w 27"/>
              <a:gd name="T17" fmla="*/ 7 h 31"/>
              <a:gd name="T18" fmla="*/ 14 w 27"/>
              <a:gd name="T19" fmla="*/ 7 h 31"/>
              <a:gd name="T20" fmla="*/ 13 w 27"/>
              <a:gd name="T21" fmla="*/ 6 h 31"/>
              <a:gd name="T22" fmla="*/ 10 w 27"/>
              <a:gd name="T23" fmla="*/ 5 h 31"/>
              <a:gd name="T24" fmla="*/ 9 w 27"/>
              <a:gd name="T25" fmla="*/ 0 h 31"/>
              <a:gd name="T26" fmla="*/ 7 w 27"/>
              <a:gd name="T27" fmla="*/ 0 h 31"/>
              <a:gd name="T28" fmla="*/ 5 w 27"/>
              <a:gd name="T29" fmla="*/ 2 h 31"/>
              <a:gd name="T30" fmla="*/ 3 w 27"/>
              <a:gd name="T31" fmla="*/ 2 h 31"/>
              <a:gd name="T32" fmla="*/ 1 w 27"/>
              <a:gd name="T33" fmla="*/ 3 h 31"/>
              <a:gd name="T34" fmla="*/ 0 w 27"/>
              <a:gd name="T35" fmla="*/ 3 h 31"/>
              <a:gd name="T36" fmla="*/ 2 w 27"/>
              <a:gd name="T37" fmla="*/ 6 h 31"/>
              <a:gd name="T38" fmla="*/ 1 w 27"/>
              <a:gd name="T39" fmla="*/ 7 h 31"/>
              <a:gd name="T40" fmla="*/ 1 w 27"/>
              <a:gd name="T41" fmla="*/ 10 h 31"/>
              <a:gd name="T42" fmla="*/ 1 w 27"/>
              <a:gd name="T43" fmla="*/ 12 h 31"/>
              <a:gd name="T44" fmla="*/ 0 w 27"/>
              <a:gd name="T45" fmla="*/ 14 h 31"/>
              <a:gd name="T46" fmla="*/ 1 w 27"/>
              <a:gd name="T47" fmla="*/ 15 h 31"/>
              <a:gd name="T48" fmla="*/ 0 w 27"/>
              <a:gd name="T49" fmla="*/ 17 h 31"/>
              <a:gd name="T50" fmla="*/ 0 w 27"/>
              <a:gd name="T51" fmla="*/ 18 h 31"/>
              <a:gd name="T52" fmla="*/ 0 w 27"/>
              <a:gd name="T53" fmla="*/ 19 h 31"/>
              <a:gd name="T54" fmla="*/ 1 w 27"/>
              <a:gd name="T55" fmla="*/ 21 h 31"/>
              <a:gd name="T56" fmla="*/ 2 w 27"/>
              <a:gd name="T57" fmla="*/ 22 h 31"/>
              <a:gd name="T58" fmla="*/ 1 w 27"/>
              <a:gd name="T59" fmla="*/ 24 h 31"/>
              <a:gd name="T60" fmla="*/ 2 w 27"/>
              <a:gd name="T61" fmla="*/ 26 h 31"/>
              <a:gd name="T62" fmla="*/ 3 w 27"/>
              <a:gd name="T63" fmla="*/ 28 h 31"/>
              <a:gd name="T64" fmla="*/ 4 w 27"/>
              <a:gd name="T65" fmla="*/ 30 h 31"/>
              <a:gd name="T66" fmla="*/ 7 w 27"/>
              <a:gd name="T67" fmla="*/ 28 h 31"/>
              <a:gd name="T68" fmla="*/ 9 w 27"/>
              <a:gd name="T69" fmla="*/ 28 h 31"/>
              <a:gd name="T70" fmla="*/ 11 w 27"/>
              <a:gd name="T71" fmla="*/ 29 h 31"/>
              <a:gd name="T72" fmla="*/ 12 w 27"/>
              <a:gd name="T73" fmla="*/ 28 h 31"/>
              <a:gd name="T74" fmla="*/ 15 w 27"/>
              <a:gd name="T75" fmla="*/ 28 h 31"/>
              <a:gd name="T76" fmla="*/ 16 w 27"/>
              <a:gd name="T77" fmla="*/ 25 h 31"/>
              <a:gd name="T78" fmla="*/ 18 w 27"/>
              <a:gd name="T79" fmla="*/ 23 h 31"/>
              <a:gd name="T80" fmla="*/ 20 w 27"/>
              <a:gd name="T81" fmla="*/ 22 h 31"/>
              <a:gd name="T82" fmla="*/ 23 w 27"/>
              <a:gd name="T83" fmla="*/ 22 h 31"/>
              <a:gd name="T84" fmla="*/ 25 w 27"/>
              <a:gd name="T85" fmla="*/ 23 h 31"/>
              <a:gd name="T86" fmla="*/ 26 w 27"/>
              <a:gd name="T87" fmla="*/ 21 h 31"/>
              <a:gd name="T88" fmla="*/ 26 w 27"/>
              <a:gd name="T8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 h="31">
                <a:moveTo>
                  <a:pt x="26" y="18"/>
                </a:moveTo>
                <a:cubicBezTo>
                  <a:pt x="26" y="17"/>
                  <a:pt x="25" y="17"/>
                  <a:pt x="25" y="16"/>
                </a:cubicBezTo>
                <a:cubicBezTo>
                  <a:pt x="25" y="15"/>
                  <a:pt x="25" y="15"/>
                  <a:pt x="23" y="15"/>
                </a:cubicBezTo>
                <a:cubicBezTo>
                  <a:pt x="22" y="15"/>
                  <a:pt x="21" y="15"/>
                  <a:pt x="21" y="14"/>
                </a:cubicBezTo>
                <a:cubicBezTo>
                  <a:pt x="21" y="13"/>
                  <a:pt x="20" y="12"/>
                  <a:pt x="21" y="12"/>
                </a:cubicBezTo>
                <a:cubicBezTo>
                  <a:pt x="21" y="12"/>
                  <a:pt x="20" y="11"/>
                  <a:pt x="20" y="10"/>
                </a:cubicBezTo>
                <a:cubicBezTo>
                  <a:pt x="20" y="10"/>
                  <a:pt x="20" y="9"/>
                  <a:pt x="19" y="9"/>
                </a:cubicBezTo>
                <a:cubicBezTo>
                  <a:pt x="19" y="8"/>
                  <a:pt x="17" y="9"/>
                  <a:pt x="17" y="8"/>
                </a:cubicBezTo>
                <a:cubicBezTo>
                  <a:pt x="17" y="8"/>
                  <a:pt x="16" y="7"/>
                  <a:pt x="15" y="7"/>
                </a:cubicBezTo>
                <a:cubicBezTo>
                  <a:pt x="14" y="7"/>
                  <a:pt x="15" y="7"/>
                  <a:pt x="14" y="7"/>
                </a:cubicBezTo>
                <a:cubicBezTo>
                  <a:pt x="13" y="7"/>
                  <a:pt x="14" y="6"/>
                  <a:pt x="13" y="6"/>
                </a:cubicBezTo>
                <a:cubicBezTo>
                  <a:pt x="12" y="6"/>
                  <a:pt x="11" y="6"/>
                  <a:pt x="10" y="5"/>
                </a:cubicBezTo>
                <a:cubicBezTo>
                  <a:pt x="9" y="4"/>
                  <a:pt x="9" y="1"/>
                  <a:pt x="9" y="0"/>
                </a:cubicBezTo>
                <a:cubicBezTo>
                  <a:pt x="9" y="0"/>
                  <a:pt x="8" y="0"/>
                  <a:pt x="7" y="0"/>
                </a:cubicBezTo>
                <a:cubicBezTo>
                  <a:pt x="6" y="0"/>
                  <a:pt x="5" y="1"/>
                  <a:pt x="5" y="2"/>
                </a:cubicBezTo>
                <a:cubicBezTo>
                  <a:pt x="4" y="2"/>
                  <a:pt x="3" y="2"/>
                  <a:pt x="3" y="2"/>
                </a:cubicBezTo>
                <a:cubicBezTo>
                  <a:pt x="2" y="3"/>
                  <a:pt x="1" y="3"/>
                  <a:pt x="1" y="3"/>
                </a:cubicBezTo>
                <a:cubicBezTo>
                  <a:pt x="1" y="3"/>
                  <a:pt x="0" y="3"/>
                  <a:pt x="0" y="3"/>
                </a:cubicBezTo>
                <a:cubicBezTo>
                  <a:pt x="0" y="4"/>
                  <a:pt x="1" y="5"/>
                  <a:pt x="2" y="6"/>
                </a:cubicBezTo>
                <a:cubicBezTo>
                  <a:pt x="2" y="7"/>
                  <a:pt x="1" y="7"/>
                  <a:pt x="1" y="7"/>
                </a:cubicBezTo>
                <a:cubicBezTo>
                  <a:pt x="1" y="7"/>
                  <a:pt x="1" y="10"/>
                  <a:pt x="1" y="10"/>
                </a:cubicBezTo>
                <a:cubicBezTo>
                  <a:pt x="1" y="11"/>
                  <a:pt x="0" y="12"/>
                  <a:pt x="1" y="12"/>
                </a:cubicBezTo>
                <a:cubicBezTo>
                  <a:pt x="1" y="12"/>
                  <a:pt x="0" y="13"/>
                  <a:pt x="0" y="14"/>
                </a:cubicBezTo>
                <a:cubicBezTo>
                  <a:pt x="0" y="15"/>
                  <a:pt x="1" y="15"/>
                  <a:pt x="1" y="15"/>
                </a:cubicBezTo>
                <a:cubicBezTo>
                  <a:pt x="1" y="15"/>
                  <a:pt x="0" y="16"/>
                  <a:pt x="0" y="17"/>
                </a:cubicBezTo>
                <a:cubicBezTo>
                  <a:pt x="0" y="17"/>
                  <a:pt x="0" y="17"/>
                  <a:pt x="0" y="18"/>
                </a:cubicBezTo>
                <a:cubicBezTo>
                  <a:pt x="0" y="18"/>
                  <a:pt x="0" y="18"/>
                  <a:pt x="0" y="19"/>
                </a:cubicBezTo>
                <a:cubicBezTo>
                  <a:pt x="1" y="19"/>
                  <a:pt x="0" y="20"/>
                  <a:pt x="1" y="21"/>
                </a:cubicBezTo>
                <a:cubicBezTo>
                  <a:pt x="2" y="22"/>
                  <a:pt x="2" y="22"/>
                  <a:pt x="2" y="22"/>
                </a:cubicBezTo>
                <a:cubicBezTo>
                  <a:pt x="1" y="23"/>
                  <a:pt x="2" y="23"/>
                  <a:pt x="1" y="24"/>
                </a:cubicBezTo>
                <a:cubicBezTo>
                  <a:pt x="1" y="24"/>
                  <a:pt x="2" y="25"/>
                  <a:pt x="2" y="26"/>
                </a:cubicBezTo>
                <a:cubicBezTo>
                  <a:pt x="3" y="26"/>
                  <a:pt x="2" y="27"/>
                  <a:pt x="3" y="28"/>
                </a:cubicBezTo>
                <a:cubicBezTo>
                  <a:pt x="4" y="28"/>
                  <a:pt x="3" y="30"/>
                  <a:pt x="4" y="30"/>
                </a:cubicBezTo>
                <a:cubicBezTo>
                  <a:pt x="4" y="31"/>
                  <a:pt x="6" y="29"/>
                  <a:pt x="7" y="28"/>
                </a:cubicBezTo>
                <a:cubicBezTo>
                  <a:pt x="8" y="27"/>
                  <a:pt x="8" y="28"/>
                  <a:pt x="9" y="28"/>
                </a:cubicBezTo>
                <a:cubicBezTo>
                  <a:pt x="10" y="28"/>
                  <a:pt x="11" y="28"/>
                  <a:pt x="11" y="29"/>
                </a:cubicBezTo>
                <a:cubicBezTo>
                  <a:pt x="12" y="30"/>
                  <a:pt x="12" y="28"/>
                  <a:pt x="12" y="28"/>
                </a:cubicBezTo>
                <a:cubicBezTo>
                  <a:pt x="13" y="28"/>
                  <a:pt x="15" y="28"/>
                  <a:pt x="15" y="28"/>
                </a:cubicBezTo>
                <a:cubicBezTo>
                  <a:pt x="16" y="28"/>
                  <a:pt x="16" y="25"/>
                  <a:pt x="16" y="25"/>
                </a:cubicBezTo>
                <a:cubicBezTo>
                  <a:pt x="16" y="24"/>
                  <a:pt x="17" y="23"/>
                  <a:pt x="18" y="23"/>
                </a:cubicBezTo>
                <a:cubicBezTo>
                  <a:pt x="18" y="22"/>
                  <a:pt x="20" y="22"/>
                  <a:pt x="20" y="22"/>
                </a:cubicBezTo>
                <a:cubicBezTo>
                  <a:pt x="21" y="22"/>
                  <a:pt x="22" y="22"/>
                  <a:pt x="23" y="22"/>
                </a:cubicBezTo>
                <a:cubicBezTo>
                  <a:pt x="24" y="22"/>
                  <a:pt x="24" y="23"/>
                  <a:pt x="25" y="23"/>
                </a:cubicBezTo>
                <a:cubicBezTo>
                  <a:pt x="26" y="23"/>
                  <a:pt x="26" y="22"/>
                  <a:pt x="26" y="21"/>
                </a:cubicBezTo>
                <a:cubicBezTo>
                  <a:pt x="26" y="20"/>
                  <a:pt x="27" y="19"/>
                  <a:pt x="26"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49"/>
          <p:cNvSpPr>
            <a:spLocks/>
          </p:cNvSpPr>
          <p:nvPr/>
        </p:nvSpPr>
        <p:spPr bwMode="auto">
          <a:xfrm>
            <a:off x="1322129" y="3278949"/>
            <a:ext cx="139419" cy="203766"/>
          </a:xfrm>
          <a:custGeom>
            <a:avLst/>
            <a:gdLst>
              <a:gd name="T0" fmla="*/ 27 w 29"/>
              <a:gd name="T1" fmla="*/ 40 h 42"/>
              <a:gd name="T2" fmla="*/ 27 w 29"/>
              <a:gd name="T3" fmla="*/ 40 h 42"/>
              <a:gd name="T4" fmla="*/ 27 w 29"/>
              <a:gd name="T5" fmla="*/ 39 h 42"/>
              <a:gd name="T6" fmla="*/ 28 w 29"/>
              <a:gd name="T7" fmla="*/ 37 h 42"/>
              <a:gd name="T8" fmla="*/ 27 w 29"/>
              <a:gd name="T9" fmla="*/ 36 h 42"/>
              <a:gd name="T10" fmla="*/ 28 w 29"/>
              <a:gd name="T11" fmla="*/ 34 h 42"/>
              <a:gd name="T12" fmla="*/ 28 w 29"/>
              <a:gd name="T13" fmla="*/ 32 h 42"/>
              <a:gd name="T14" fmla="*/ 28 w 29"/>
              <a:gd name="T15" fmla="*/ 29 h 42"/>
              <a:gd name="T16" fmla="*/ 29 w 29"/>
              <a:gd name="T17" fmla="*/ 28 h 42"/>
              <a:gd name="T18" fmla="*/ 27 w 29"/>
              <a:gd name="T19" fmla="*/ 25 h 42"/>
              <a:gd name="T20" fmla="*/ 25 w 29"/>
              <a:gd name="T21" fmla="*/ 25 h 42"/>
              <a:gd name="T22" fmla="*/ 24 w 29"/>
              <a:gd name="T23" fmla="*/ 22 h 42"/>
              <a:gd name="T24" fmla="*/ 23 w 29"/>
              <a:gd name="T25" fmla="*/ 22 h 42"/>
              <a:gd name="T26" fmla="*/ 21 w 29"/>
              <a:gd name="T27" fmla="*/ 23 h 42"/>
              <a:gd name="T28" fmla="*/ 20 w 29"/>
              <a:gd name="T29" fmla="*/ 21 h 42"/>
              <a:gd name="T30" fmla="*/ 19 w 29"/>
              <a:gd name="T31" fmla="*/ 20 h 42"/>
              <a:gd name="T32" fmla="*/ 18 w 29"/>
              <a:gd name="T33" fmla="*/ 19 h 42"/>
              <a:gd name="T34" fmla="*/ 17 w 29"/>
              <a:gd name="T35" fmla="*/ 17 h 42"/>
              <a:gd name="T36" fmla="*/ 18 w 29"/>
              <a:gd name="T37" fmla="*/ 15 h 42"/>
              <a:gd name="T38" fmla="*/ 19 w 29"/>
              <a:gd name="T39" fmla="*/ 14 h 42"/>
              <a:gd name="T40" fmla="*/ 19 w 29"/>
              <a:gd name="T41" fmla="*/ 12 h 42"/>
              <a:gd name="T42" fmla="*/ 21 w 29"/>
              <a:gd name="T43" fmla="*/ 11 h 42"/>
              <a:gd name="T44" fmla="*/ 24 w 29"/>
              <a:gd name="T45" fmla="*/ 10 h 42"/>
              <a:gd name="T46" fmla="*/ 26 w 29"/>
              <a:gd name="T47" fmla="*/ 10 h 42"/>
              <a:gd name="T48" fmla="*/ 24 w 29"/>
              <a:gd name="T49" fmla="*/ 8 h 42"/>
              <a:gd name="T50" fmla="*/ 26 w 29"/>
              <a:gd name="T51" fmla="*/ 7 h 42"/>
              <a:gd name="T52" fmla="*/ 24 w 29"/>
              <a:gd name="T53" fmla="*/ 5 h 42"/>
              <a:gd name="T54" fmla="*/ 22 w 29"/>
              <a:gd name="T55" fmla="*/ 5 h 42"/>
              <a:gd name="T56" fmla="*/ 21 w 29"/>
              <a:gd name="T57" fmla="*/ 6 h 42"/>
              <a:gd name="T58" fmla="*/ 19 w 29"/>
              <a:gd name="T59" fmla="*/ 5 h 42"/>
              <a:gd name="T60" fmla="*/ 18 w 29"/>
              <a:gd name="T61" fmla="*/ 4 h 42"/>
              <a:gd name="T62" fmla="*/ 16 w 29"/>
              <a:gd name="T63" fmla="*/ 2 h 42"/>
              <a:gd name="T64" fmla="*/ 15 w 29"/>
              <a:gd name="T65" fmla="*/ 1 h 42"/>
              <a:gd name="T66" fmla="*/ 13 w 29"/>
              <a:gd name="T67" fmla="*/ 1 h 42"/>
              <a:gd name="T68" fmla="*/ 14 w 29"/>
              <a:gd name="T69" fmla="*/ 2 h 42"/>
              <a:gd name="T70" fmla="*/ 12 w 29"/>
              <a:gd name="T71" fmla="*/ 5 h 42"/>
              <a:gd name="T72" fmla="*/ 8 w 29"/>
              <a:gd name="T73" fmla="*/ 7 h 42"/>
              <a:gd name="T74" fmla="*/ 6 w 29"/>
              <a:gd name="T75" fmla="*/ 10 h 42"/>
              <a:gd name="T76" fmla="*/ 5 w 29"/>
              <a:gd name="T77" fmla="*/ 10 h 42"/>
              <a:gd name="T78" fmla="*/ 3 w 29"/>
              <a:gd name="T79" fmla="*/ 10 h 42"/>
              <a:gd name="T80" fmla="*/ 3 w 29"/>
              <a:gd name="T81" fmla="*/ 9 h 42"/>
              <a:gd name="T82" fmla="*/ 2 w 29"/>
              <a:gd name="T83" fmla="*/ 8 h 42"/>
              <a:gd name="T84" fmla="*/ 1 w 29"/>
              <a:gd name="T85" fmla="*/ 10 h 42"/>
              <a:gd name="T86" fmla="*/ 1 w 29"/>
              <a:gd name="T87" fmla="*/ 13 h 42"/>
              <a:gd name="T88" fmla="*/ 1 w 29"/>
              <a:gd name="T89" fmla="*/ 13 h 42"/>
              <a:gd name="T90" fmla="*/ 3 w 29"/>
              <a:gd name="T91" fmla="*/ 15 h 42"/>
              <a:gd name="T92" fmla="*/ 5 w 29"/>
              <a:gd name="T93" fmla="*/ 18 h 42"/>
              <a:gd name="T94" fmla="*/ 7 w 29"/>
              <a:gd name="T95" fmla="*/ 22 h 42"/>
              <a:gd name="T96" fmla="*/ 10 w 29"/>
              <a:gd name="T97" fmla="*/ 28 h 42"/>
              <a:gd name="T98" fmla="*/ 12 w 29"/>
              <a:gd name="T99" fmla="*/ 31 h 42"/>
              <a:gd name="T100" fmla="*/ 12 w 29"/>
              <a:gd name="T101" fmla="*/ 33 h 42"/>
              <a:gd name="T102" fmla="*/ 16 w 29"/>
              <a:gd name="T103" fmla="*/ 35 h 42"/>
              <a:gd name="T104" fmla="*/ 22 w 29"/>
              <a:gd name="T105" fmla="*/ 39 h 42"/>
              <a:gd name="T106" fmla="*/ 25 w 29"/>
              <a:gd name="T107" fmla="*/ 41 h 42"/>
              <a:gd name="T108" fmla="*/ 25 w 29"/>
              <a:gd name="T109" fmla="*/ 42 h 42"/>
              <a:gd name="T110" fmla="*/ 26 w 29"/>
              <a:gd name="T111" fmla="*/ 41 h 42"/>
              <a:gd name="T112" fmla="*/ 27 w 29"/>
              <a:gd name="T11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 h="42">
                <a:moveTo>
                  <a:pt x="27" y="40"/>
                </a:moveTo>
                <a:cubicBezTo>
                  <a:pt x="27" y="40"/>
                  <a:pt x="27" y="40"/>
                  <a:pt x="27" y="40"/>
                </a:cubicBezTo>
                <a:cubicBezTo>
                  <a:pt x="27" y="39"/>
                  <a:pt x="27" y="39"/>
                  <a:pt x="27" y="39"/>
                </a:cubicBezTo>
                <a:cubicBezTo>
                  <a:pt x="27" y="38"/>
                  <a:pt x="28" y="37"/>
                  <a:pt x="28" y="37"/>
                </a:cubicBezTo>
                <a:cubicBezTo>
                  <a:pt x="28" y="37"/>
                  <a:pt x="27" y="37"/>
                  <a:pt x="27" y="36"/>
                </a:cubicBezTo>
                <a:cubicBezTo>
                  <a:pt x="27" y="35"/>
                  <a:pt x="28" y="34"/>
                  <a:pt x="28" y="34"/>
                </a:cubicBezTo>
                <a:cubicBezTo>
                  <a:pt x="27" y="34"/>
                  <a:pt x="28" y="33"/>
                  <a:pt x="28" y="32"/>
                </a:cubicBezTo>
                <a:cubicBezTo>
                  <a:pt x="28" y="32"/>
                  <a:pt x="28" y="29"/>
                  <a:pt x="28" y="29"/>
                </a:cubicBezTo>
                <a:cubicBezTo>
                  <a:pt x="28" y="29"/>
                  <a:pt x="29" y="29"/>
                  <a:pt x="29" y="28"/>
                </a:cubicBezTo>
                <a:cubicBezTo>
                  <a:pt x="28" y="27"/>
                  <a:pt x="27" y="26"/>
                  <a:pt x="27" y="25"/>
                </a:cubicBezTo>
                <a:cubicBezTo>
                  <a:pt x="26" y="25"/>
                  <a:pt x="25" y="25"/>
                  <a:pt x="25" y="25"/>
                </a:cubicBezTo>
                <a:cubicBezTo>
                  <a:pt x="24" y="25"/>
                  <a:pt x="24" y="23"/>
                  <a:pt x="24" y="22"/>
                </a:cubicBezTo>
                <a:cubicBezTo>
                  <a:pt x="24" y="21"/>
                  <a:pt x="24" y="22"/>
                  <a:pt x="23" y="22"/>
                </a:cubicBezTo>
                <a:cubicBezTo>
                  <a:pt x="23" y="23"/>
                  <a:pt x="22" y="23"/>
                  <a:pt x="21" y="23"/>
                </a:cubicBezTo>
                <a:cubicBezTo>
                  <a:pt x="20" y="23"/>
                  <a:pt x="21" y="21"/>
                  <a:pt x="20" y="21"/>
                </a:cubicBezTo>
                <a:cubicBezTo>
                  <a:pt x="19" y="21"/>
                  <a:pt x="19" y="21"/>
                  <a:pt x="19" y="20"/>
                </a:cubicBezTo>
                <a:cubicBezTo>
                  <a:pt x="19" y="20"/>
                  <a:pt x="18" y="19"/>
                  <a:pt x="18" y="19"/>
                </a:cubicBezTo>
                <a:cubicBezTo>
                  <a:pt x="17" y="18"/>
                  <a:pt x="17" y="17"/>
                  <a:pt x="17" y="17"/>
                </a:cubicBezTo>
                <a:cubicBezTo>
                  <a:pt x="18" y="16"/>
                  <a:pt x="17" y="16"/>
                  <a:pt x="18" y="15"/>
                </a:cubicBezTo>
                <a:cubicBezTo>
                  <a:pt x="18" y="15"/>
                  <a:pt x="19" y="15"/>
                  <a:pt x="19" y="14"/>
                </a:cubicBezTo>
                <a:cubicBezTo>
                  <a:pt x="18" y="13"/>
                  <a:pt x="19" y="13"/>
                  <a:pt x="19" y="12"/>
                </a:cubicBezTo>
                <a:cubicBezTo>
                  <a:pt x="19" y="11"/>
                  <a:pt x="20" y="11"/>
                  <a:pt x="21" y="11"/>
                </a:cubicBezTo>
                <a:cubicBezTo>
                  <a:pt x="22" y="10"/>
                  <a:pt x="23" y="10"/>
                  <a:pt x="24" y="10"/>
                </a:cubicBezTo>
                <a:cubicBezTo>
                  <a:pt x="25" y="9"/>
                  <a:pt x="25" y="10"/>
                  <a:pt x="26" y="10"/>
                </a:cubicBezTo>
                <a:cubicBezTo>
                  <a:pt x="25" y="9"/>
                  <a:pt x="25" y="9"/>
                  <a:pt x="24" y="8"/>
                </a:cubicBezTo>
                <a:cubicBezTo>
                  <a:pt x="24" y="8"/>
                  <a:pt x="25" y="7"/>
                  <a:pt x="26" y="7"/>
                </a:cubicBezTo>
                <a:cubicBezTo>
                  <a:pt x="26" y="6"/>
                  <a:pt x="24" y="5"/>
                  <a:pt x="24" y="5"/>
                </a:cubicBezTo>
                <a:cubicBezTo>
                  <a:pt x="24" y="5"/>
                  <a:pt x="23" y="6"/>
                  <a:pt x="22" y="5"/>
                </a:cubicBezTo>
                <a:cubicBezTo>
                  <a:pt x="22" y="5"/>
                  <a:pt x="21" y="5"/>
                  <a:pt x="21" y="6"/>
                </a:cubicBezTo>
                <a:cubicBezTo>
                  <a:pt x="21" y="6"/>
                  <a:pt x="19" y="6"/>
                  <a:pt x="19" y="5"/>
                </a:cubicBezTo>
                <a:cubicBezTo>
                  <a:pt x="19" y="5"/>
                  <a:pt x="18" y="4"/>
                  <a:pt x="18" y="4"/>
                </a:cubicBezTo>
                <a:cubicBezTo>
                  <a:pt x="18" y="3"/>
                  <a:pt x="17" y="3"/>
                  <a:pt x="16" y="2"/>
                </a:cubicBezTo>
                <a:cubicBezTo>
                  <a:pt x="16" y="2"/>
                  <a:pt x="16" y="1"/>
                  <a:pt x="15" y="1"/>
                </a:cubicBezTo>
                <a:cubicBezTo>
                  <a:pt x="15" y="0"/>
                  <a:pt x="14" y="1"/>
                  <a:pt x="13" y="1"/>
                </a:cubicBezTo>
                <a:cubicBezTo>
                  <a:pt x="14" y="2"/>
                  <a:pt x="14" y="2"/>
                  <a:pt x="14" y="2"/>
                </a:cubicBezTo>
                <a:cubicBezTo>
                  <a:pt x="13" y="3"/>
                  <a:pt x="14" y="3"/>
                  <a:pt x="12" y="5"/>
                </a:cubicBezTo>
                <a:cubicBezTo>
                  <a:pt x="11" y="6"/>
                  <a:pt x="9" y="7"/>
                  <a:pt x="8" y="7"/>
                </a:cubicBezTo>
                <a:cubicBezTo>
                  <a:pt x="7" y="7"/>
                  <a:pt x="7" y="9"/>
                  <a:pt x="6" y="10"/>
                </a:cubicBezTo>
                <a:cubicBezTo>
                  <a:pt x="6" y="12"/>
                  <a:pt x="5" y="11"/>
                  <a:pt x="5" y="10"/>
                </a:cubicBezTo>
                <a:cubicBezTo>
                  <a:pt x="4" y="10"/>
                  <a:pt x="4" y="11"/>
                  <a:pt x="3" y="10"/>
                </a:cubicBezTo>
                <a:cubicBezTo>
                  <a:pt x="2" y="9"/>
                  <a:pt x="2" y="9"/>
                  <a:pt x="3" y="9"/>
                </a:cubicBezTo>
                <a:cubicBezTo>
                  <a:pt x="3" y="9"/>
                  <a:pt x="3" y="8"/>
                  <a:pt x="2" y="8"/>
                </a:cubicBezTo>
                <a:cubicBezTo>
                  <a:pt x="2" y="8"/>
                  <a:pt x="1" y="9"/>
                  <a:pt x="1" y="10"/>
                </a:cubicBezTo>
                <a:cubicBezTo>
                  <a:pt x="0" y="11"/>
                  <a:pt x="1" y="12"/>
                  <a:pt x="1" y="13"/>
                </a:cubicBezTo>
                <a:cubicBezTo>
                  <a:pt x="2" y="13"/>
                  <a:pt x="1" y="13"/>
                  <a:pt x="1" y="13"/>
                </a:cubicBezTo>
                <a:cubicBezTo>
                  <a:pt x="1" y="14"/>
                  <a:pt x="2" y="15"/>
                  <a:pt x="3" y="15"/>
                </a:cubicBezTo>
                <a:cubicBezTo>
                  <a:pt x="4" y="16"/>
                  <a:pt x="5" y="17"/>
                  <a:pt x="5" y="18"/>
                </a:cubicBezTo>
                <a:cubicBezTo>
                  <a:pt x="6" y="19"/>
                  <a:pt x="6" y="20"/>
                  <a:pt x="7" y="22"/>
                </a:cubicBezTo>
                <a:cubicBezTo>
                  <a:pt x="8" y="24"/>
                  <a:pt x="9" y="27"/>
                  <a:pt x="10" y="28"/>
                </a:cubicBezTo>
                <a:cubicBezTo>
                  <a:pt x="11" y="30"/>
                  <a:pt x="12" y="31"/>
                  <a:pt x="12" y="31"/>
                </a:cubicBezTo>
                <a:cubicBezTo>
                  <a:pt x="11" y="31"/>
                  <a:pt x="12" y="32"/>
                  <a:pt x="12" y="33"/>
                </a:cubicBezTo>
                <a:cubicBezTo>
                  <a:pt x="13" y="34"/>
                  <a:pt x="14" y="34"/>
                  <a:pt x="16" y="35"/>
                </a:cubicBezTo>
                <a:cubicBezTo>
                  <a:pt x="18" y="37"/>
                  <a:pt x="22" y="38"/>
                  <a:pt x="22" y="39"/>
                </a:cubicBezTo>
                <a:cubicBezTo>
                  <a:pt x="23" y="40"/>
                  <a:pt x="25" y="41"/>
                  <a:pt x="25" y="41"/>
                </a:cubicBezTo>
                <a:cubicBezTo>
                  <a:pt x="25" y="41"/>
                  <a:pt x="25" y="42"/>
                  <a:pt x="25" y="42"/>
                </a:cubicBezTo>
                <a:cubicBezTo>
                  <a:pt x="25" y="42"/>
                  <a:pt x="25" y="42"/>
                  <a:pt x="26" y="41"/>
                </a:cubicBezTo>
                <a:cubicBezTo>
                  <a:pt x="26" y="41"/>
                  <a:pt x="26" y="40"/>
                  <a:pt x="27"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50"/>
          <p:cNvSpPr>
            <a:spLocks/>
          </p:cNvSpPr>
          <p:nvPr/>
        </p:nvSpPr>
        <p:spPr bwMode="auto">
          <a:xfrm>
            <a:off x="1407925" y="3150255"/>
            <a:ext cx="150144" cy="125120"/>
          </a:xfrm>
          <a:custGeom>
            <a:avLst/>
            <a:gdLst>
              <a:gd name="T0" fmla="*/ 3 w 31"/>
              <a:gd name="T1" fmla="*/ 2 h 26"/>
              <a:gd name="T2" fmla="*/ 1 w 31"/>
              <a:gd name="T3" fmla="*/ 4 h 26"/>
              <a:gd name="T4" fmla="*/ 1 w 31"/>
              <a:gd name="T5" fmla="*/ 6 h 26"/>
              <a:gd name="T6" fmla="*/ 0 w 31"/>
              <a:gd name="T7" fmla="*/ 7 h 26"/>
              <a:gd name="T8" fmla="*/ 1 w 31"/>
              <a:gd name="T9" fmla="*/ 7 h 26"/>
              <a:gd name="T10" fmla="*/ 2 w 31"/>
              <a:gd name="T11" fmla="*/ 9 h 26"/>
              <a:gd name="T12" fmla="*/ 4 w 31"/>
              <a:gd name="T13" fmla="*/ 12 h 26"/>
              <a:gd name="T14" fmla="*/ 8 w 31"/>
              <a:gd name="T15" fmla="*/ 12 h 26"/>
              <a:gd name="T16" fmla="*/ 11 w 31"/>
              <a:gd name="T17" fmla="*/ 13 h 26"/>
              <a:gd name="T18" fmla="*/ 13 w 31"/>
              <a:gd name="T19" fmla="*/ 14 h 26"/>
              <a:gd name="T20" fmla="*/ 13 w 31"/>
              <a:gd name="T21" fmla="*/ 18 h 26"/>
              <a:gd name="T22" fmla="*/ 14 w 31"/>
              <a:gd name="T23" fmla="*/ 20 h 26"/>
              <a:gd name="T24" fmla="*/ 14 w 31"/>
              <a:gd name="T25" fmla="*/ 21 h 26"/>
              <a:gd name="T26" fmla="*/ 14 w 31"/>
              <a:gd name="T27" fmla="*/ 23 h 26"/>
              <a:gd name="T28" fmla="*/ 14 w 31"/>
              <a:gd name="T29" fmla="*/ 23 h 26"/>
              <a:gd name="T30" fmla="*/ 15 w 31"/>
              <a:gd name="T31" fmla="*/ 25 h 26"/>
              <a:gd name="T32" fmla="*/ 17 w 31"/>
              <a:gd name="T33" fmla="*/ 25 h 26"/>
              <a:gd name="T34" fmla="*/ 18 w 31"/>
              <a:gd name="T35" fmla="*/ 25 h 26"/>
              <a:gd name="T36" fmla="*/ 19 w 31"/>
              <a:gd name="T37" fmla="*/ 24 h 26"/>
              <a:gd name="T38" fmla="*/ 21 w 31"/>
              <a:gd name="T39" fmla="*/ 24 h 26"/>
              <a:gd name="T40" fmla="*/ 22 w 31"/>
              <a:gd name="T41" fmla="*/ 23 h 26"/>
              <a:gd name="T42" fmla="*/ 22 w 31"/>
              <a:gd name="T43" fmla="*/ 22 h 26"/>
              <a:gd name="T44" fmla="*/ 21 w 31"/>
              <a:gd name="T45" fmla="*/ 21 h 26"/>
              <a:gd name="T46" fmla="*/ 21 w 31"/>
              <a:gd name="T47" fmla="*/ 20 h 26"/>
              <a:gd name="T48" fmla="*/ 20 w 31"/>
              <a:gd name="T49" fmla="*/ 18 h 26"/>
              <a:gd name="T50" fmla="*/ 21 w 31"/>
              <a:gd name="T51" fmla="*/ 18 h 26"/>
              <a:gd name="T52" fmla="*/ 23 w 31"/>
              <a:gd name="T53" fmla="*/ 19 h 26"/>
              <a:gd name="T54" fmla="*/ 24 w 31"/>
              <a:gd name="T55" fmla="*/ 19 h 26"/>
              <a:gd name="T56" fmla="*/ 26 w 31"/>
              <a:gd name="T57" fmla="*/ 18 h 26"/>
              <a:gd name="T58" fmla="*/ 28 w 31"/>
              <a:gd name="T59" fmla="*/ 17 h 26"/>
              <a:gd name="T60" fmla="*/ 29 w 31"/>
              <a:gd name="T61" fmla="*/ 16 h 26"/>
              <a:gd name="T62" fmla="*/ 27 w 31"/>
              <a:gd name="T63" fmla="*/ 14 h 26"/>
              <a:gd name="T64" fmla="*/ 28 w 31"/>
              <a:gd name="T65" fmla="*/ 13 h 26"/>
              <a:gd name="T66" fmla="*/ 29 w 31"/>
              <a:gd name="T67" fmla="*/ 12 h 26"/>
              <a:gd name="T68" fmla="*/ 29 w 31"/>
              <a:gd name="T69" fmla="*/ 11 h 26"/>
              <a:gd name="T70" fmla="*/ 30 w 31"/>
              <a:gd name="T71" fmla="*/ 9 h 26"/>
              <a:gd name="T72" fmla="*/ 31 w 31"/>
              <a:gd name="T73" fmla="*/ 8 h 26"/>
              <a:gd name="T74" fmla="*/ 27 w 31"/>
              <a:gd name="T75" fmla="*/ 8 h 26"/>
              <a:gd name="T76" fmla="*/ 28 w 31"/>
              <a:gd name="T77" fmla="*/ 6 h 26"/>
              <a:gd name="T78" fmla="*/ 25 w 31"/>
              <a:gd name="T79" fmla="*/ 5 h 26"/>
              <a:gd name="T80" fmla="*/ 25 w 31"/>
              <a:gd name="T81" fmla="*/ 4 h 26"/>
              <a:gd name="T82" fmla="*/ 23 w 31"/>
              <a:gd name="T83" fmla="*/ 3 h 26"/>
              <a:gd name="T84" fmla="*/ 19 w 31"/>
              <a:gd name="T85" fmla="*/ 5 h 26"/>
              <a:gd name="T86" fmla="*/ 15 w 31"/>
              <a:gd name="T87" fmla="*/ 3 h 26"/>
              <a:gd name="T88" fmla="*/ 12 w 31"/>
              <a:gd name="T89" fmla="*/ 3 h 26"/>
              <a:gd name="T90" fmla="*/ 10 w 31"/>
              <a:gd name="T91" fmla="*/ 1 h 26"/>
              <a:gd name="T92" fmla="*/ 8 w 31"/>
              <a:gd name="T93" fmla="*/ 0 h 26"/>
              <a:gd name="T94" fmla="*/ 8 w 31"/>
              <a:gd name="T95" fmla="*/ 1 h 26"/>
              <a:gd name="T96" fmla="*/ 5 w 31"/>
              <a:gd name="T97" fmla="*/ 3 h 26"/>
              <a:gd name="T98" fmla="*/ 5 w 31"/>
              <a:gd name="T99" fmla="*/ 6 h 26"/>
              <a:gd name="T100" fmla="*/ 3 w 31"/>
              <a:gd name="T101" fmla="*/ 6 h 26"/>
              <a:gd name="T102" fmla="*/ 4 w 31"/>
              <a:gd name="T103" fmla="*/ 3 h 26"/>
              <a:gd name="T104" fmla="*/ 4 w 31"/>
              <a:gd name="T105" fmla="*/ 1 h 26"/>
              <a:gd name="T106" fmla="*/ 3 w 31"/>
              <a:gd name="T10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26">
                <a:moveTo>
                  <a:pt x="3" y="2"/>
                </a:moveTo>
                <a:cubicBezTo>
                  <a:pt x="2" y="2"/>
                  <a:pt x="1" y="3"/>
                  <a:pt x="1" y="4"/>
                </a:cubicBezTo>
                <a:cubicBezTo>
                  <a:pt x="1" y="5"/>
                  <a:pt x="1" y="5"/>
                  <a:pt x="1" y="6"/>
                </a:cubicBezTo>
                <a:cubicBezTo>
                  <a:pt x="0" y="6"/>
                  <a:pt x="0" y="7"/>
                  <a:pt x="0" y="7"/>
                </a:cubicBezTo>
                <a:cubicBezTo>
                  <a:pt x="1" y="7"/>
                  <a:pt x="1" y="7"/>
                  <a:pt x="1" y="7"/>
                </a:cubicBezTo>
                <a:cubicBezTo>
                  <a:pt x="1" y="8"/>
                  <a:pt x="3" y="8"/>
                  <a:pt x="2" y="9"/>
                </a:cubicBezTo>
                <a:cubicBezTo>
                  <a:pt x="2" y="10"/>
                  <a:pt x="2" y="12"/>
                  <a:pt x="4" y="12"/>
                </a:cubicBezTo>
                <a:cubicBezTo>
                  <a:pt x="6" y="12"/>
                  <a:pt x="7" y="11"/>
                  <a:pt x="8" y="12"/>
                </a:cubicBezTo>
                <a:cubicBezTo>
                  <a:pt x="8" y="13"/>
                  <a:pt x="10" y="13"/>
                  <a:pt x="11" y="13"/>
                </a:cubicBezTo>
                <a:cubicBezTo>
                  <a:pt x="12" y="13"/>
                  <a:pt x="14" y="13"/>
                  <a:pt x="13" y="14"/>
                </a:cubicBezTo>
                <a:cubicBezTo>
                  <a:pt x="13" y="15"/>
                  <a:pt x="12" y="17"/>
                  <a:pt x="13" y="18"/>
                </a:cubicBezTo>
                <a:cubicBezTo>
                  <a:pt x="13" y="19"/>
                  <a:pt x="14" y="19"/>
                  <a:pt x="14" y="20"/>
                </a:cubicBezTo>
                <a:cubicBezTo>
                  <a:pt x="13" y="20"/>
                  <a:pt x="13" y="21"/>
                  <a:pt x="14" y="21"/>
                </a:cubicBezTo>
                <a:cubicBezTo>
                  <a:pt x="14" y="22"/>
                  <a:pt x="14" y="22"/>
                  <a:pt x="14" y="23"/>
                </a:cubicBezTo>
                <a:cubicBezTo>
                  <a:pt x="14" y="23"/>
                  <a:pt x="14" y="23"/>
                  <a:pt x="14" y="23"/>
                </a:cubicBezTo>
                <a:cubicBezTo>
                  <a:pt x="15" y="24"/>
                  <a:pt x="15" y="25"/>
                  <a:pt x="15" y="25"/>
                </a:cubicBezTo>
                <a:cubicBezTo>
                  <a:pt x="16" y="25"/>
                  <a:pt x="16" y="26"/>
                  <a:pt x="17" y="25"/>
                </a:cubicBezTo>
                <a:cubicBezTo>
                  <a:pt x="17" y="25"/>
                  <a:pt x="17" y="25"/>
                  <a:pt x="18" y="25"/>
                </a:cubicBezTo>
                <a:cubicBezTo>
                  <a:pt x="18" y="26"/>
                  <a:pt x="19" y="25"/>
                  <a:pt x="19" y="24"/>
                </a:cubicBezTo>
                <a:cubicBezTo>
                  <a:pt x="20" y="24"/>
                  <a:pt x="21" y="24"/>
                  <a:pt x="21" y="24"/>
                </a:cubicBezTo>
                <a:cubicBezTo>
                  <a:pt x="21" y="23"/>
                  <a:pt x="21" y="23"/>
                  <a:pt x="22" y="23"/>
                </a:cubicBezTo>
                <a:cubicBezTo>
                  <a:pt x="23" y="22"/>
                  <a:pt x="23" y="22"/>
                  <a:pt x="22" y="22"/>
                </a:cubicBezTo>
                <a:cubicBezTo>
                  <a:pt x="22" y="22"/>
                  <a:pt x="21" y="22"/>
                  <a:pt x="21" y="21"/>
                </a:cubicBezTo>
                <a:cubicBezTo>
                  <a:pt x="21" y="21"/>
                  <a:pt x="21" y="21"/>
                  <a:pt x="21" y="20"/>
                </a:cubicBezTo>
                <a:cubicBezTo>
                  <a:pt x="21" y="19"/>
                  <a:pt x="21" y="19"/>
                  <a:pt x="20" y="18"/>
                </a:cubicBezTo>
                <a:cubicBezTo>
                  <a:pt x="19" y="18"/>
                  <a:pt x="21" y="18"/>
                  <a:pt x="21" y="18"/>
                </a:cubicBezTo>
                <a:cubicBezTo>
                  <a:pt x="22" y="18"/>
                  <a:pt x="23" y="18"/>
                  <a:pt x="23" y="19"/>
                </a:cubicBezTo>
                <a:cubicBezTo>
                  <a:pt x="23" y="19"/>
                  <a:pt x="24" y="20"/>
                  <a:pt x="24" y="19"/>
                </a:cubicBezTo>
                <a:cubicBezTo>
                  <a:pt x="24" y="18"/>
                  <a:pt x="25" y="18"/>
                  <a:pt x="26" y="18"/>
                </a:cubicBezTo>
                <a:cubicBezTo>
                  <a:pt x="26" y="18"/>
                  <a:pt x="28" y="17"/>
                  <a:pt x="28" y="17"/>
                </a:cubicBezTo>
                <a:cubicBezTo>
                  <a:pt x="29" y="17"/>
                  <a:pt x="29" y="16"/>
                  <a:pt x="29" y="16"/>
                </a:cubicBezTo>
                <a:cubicBezTo>
                  <a:pt x="28" y="15"/>
                  <a:pt x="28" y="15"/>
                  <a:pt x="27" y="14"/>
                </a:cubicBezTo>
                <a:cubicBezTo>
                  <a:pt x="27" y="14"/>
                  <a:pt x="28" y="14"/>
                  <a:pt x="28" y="13"/>
                </a:cubicBezTo>
                <a:cubicBezTo>
                  <a:pt x="28" y="13"/>
                  <a:pt x="28" y="12"/>
                  <a:pt x="29" y="12"/>
                </a:cubicBezTo>
                <a:cubicBezTo>
                  <a:pt x="30" y="12"/>
                  <a:pt x="30" y="11"/>
                  <a:pt x="29" y="11"/>
                </a:cubicBezTo>
                <a:cubicBezTo>
                  <a:pt x="28" y="11"/>
                  <a:pt x="29" y="10"/>
                  <a:pt x="30" y="9"/>
                </a:cubicBezTo>
                <a:cubicBezTo>
                  <a:pt x="30" y="9"/>
                  <a:pt x="30" y="9"/>
                  <a:pt x="31" y="8"/>
                </a:cubicBezTo>
                <a:cubicBezTo>
                  <a:pt x="30" y="8"/>
                  <a:pt x="28" y="8"/>
                  <a:pt x="27" y="8"/>
                </a:cubicBezTo>
                <a:cubicBezTo>
                  <a:pt x="27" y="8"/>
                  <a:pt x="28" y="7"/>
                  <a:pt x="28" y="6"/>
                </a:cubicBezTo>
                <a:cubicBezTo>
                  <a:pt x="28" y="5"/>
                  <a:pt x="26" y="5"/>
                  <a:pt x="25" y="5"/>
                </a:cubicBezTo>
                <a:cubicBezTo>
                  <a:pt x="24" y="5"/>
                  <a:pt x="24" y="4"/>
                  <a:pt x="25" y="4"/>
                </a:cubicBezTo>
                <a:cubicBezTo>
                  <a:pt x="26" y="4"/>
                  <a:pt x="25" y="3"/>
                  <a:pt x="23" y="3"/>
                </a:cubicBezTo>
                <a:cubicBezTo>
                  <a:pt x="22" y="3"/>
                  <a:pt x="20" y="4"/>
                  <a:pt x="19" y="5"/>
                </a:cubicBezTo>
                <a:cubicBezTo>
                  <a:pt x="18" y="5"/>
                  <a:pt x="16" y="3"/>
                  <a:pt x="15" y="3"/>
                </a:cubicBezTo>
                <a:cubicBezTo>
                  <a:pt x="14" y="4"/>
                  <a:pt x="12" y="4"/>
                  <a:pt x="12" y="3"/>
                </a:cubicBezTo>
                <a:cubicBezTo>
                  <a:pt x="12" y="2"/>
                  <a:pt x="11" y="1"/>
                  <a:pt x="10" y="1"/>
                </a:cubicBezTo>
                <a:cubicBezTo>
                  <a:pt x="9" y="1"/>
                  <a:pt x="9" y="0"/>
                  <a:pt x="8" y="0"/>
                </a:cubicBezTo>
                <a:cubicBezTo>
                  <a:pt x="7" y="0"/>
                  <a:pt x="8" y="1"/>
                  <a:pt x="8" y="1"/>
                </a:cubicBezTo>
                <a:cubicBezTo>
                  <a:pt x="7" y="2"/>
                  <a:pt x="5" y="2"/>
                  <a:pt x="5" y="3"/>
                </a:cubicBezTo>
                <a:cubicBezTo>
                  <a:pt x="5" y="4"/>
                  <a:pt x="6" y="6"/>
                  <a:pt x="5" y="6"/>
                </a:cubicBezTo>
                <a:cubicBezTo>
                  <a:pt x="5" y="7"/>
                  <a:pt x="3" y="7"/>
                  <a:pt x="3" y="6"/>
                </a:cubicBezTo>
                <a:cubicBezTo>
                  <a:pt x="3" y="5"/>
                  <a:pt x="4" y="3"/>
                  <a:pt x="4" y="3"/>
                </a:cubicBezTo>
                <a:cubicBezTo>
                  <a:pt x="4" y="2"/>
                  <a:pt x="4" y="2"/>
                  <a:pt x="4" y="1"/>
                </a:cubicBezTo>
                <a:cubicBezTo>
                  <a:pt x="3" y="1"/>
                  <a:pt x="3" y="1"/>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51"/>
          <p:cNvSpPr>
            <a:spLocks/>
          </p:cNvSpPr>
          <p:nvPr/>
        </p:nvSpPr>
        <p:spPr bwMode="auto">
          <a:xfrm>
            <a:off x="1572368" y="3211027"/>
            <a:ext cx="50048" cy="50048"/>
          </a:xfrm>
          <a:custGeom>
            <a:avLst/>
            <a:gdLst>
              <a:gd name="T0" fmla="*/ 3 w 10"/>
              <a:gd name="T1" fmla="*/ 2 h 10"/>
              <a:gd name="T2" fmla="*/ 2 w 10"/>
              <a:gd name="T3" fmla="*/ 3 h 10"/>
              <a:gd name="T4" fmla="*/ 1 w 10"/>
              <a:gd name="T5" fmla="*/ 5 h 10"/>
              <a:gd name="T6" fmla="*/ 3 w 10"/>
              <a:gd name="T7" fmla="*/ 7 h 10"/>
              <a:gd name="T8" fmla="*/ 4 w 10"/>
              <a:gd name="T9" fmla="*/ 10 h 10"/>
              <a:gd name="T10" fmla="*/ 5 w 10"/>
              <a:gd name="T11" fmla="*/ 10 h 10"/>
              <a:gd name="T12" fmla="*/ 6 w 10"/>
              <a:gd name="T13" fmla="*/ 9 h 10"/>
              <a:gd name="T14" fmla="*/ 8 w 10"/>
              <a:gd name="T15" fmla="*/ 9 h 10"/>
              <a:gd name="T16" fmla="*/ 9 w 10"/>
              <a:gd name="T17" fmla="*/ 9 h 10"/>
              <a:gd name="T18" fmla="*/ 9 w 10"/>
              <a:gd name="T19" fmla="*/ 8 h 10"/>
              <a:gd name="T20" fmla="*/ 9 w 10"/>
              <a:gd name="T21" fmla="*/ 5 h 10"/>
              <a:gd name="T22" fmla="*/ 9 w 10"/>
              <a:gd name="T23" fmla="*/ 2 h 10"/>
              <a:gd name="T24" fmla="*/ 10 w 10"/>
              <a:gd name="T25" fmla="*/ 1 h 10"/>
              <a:gd name="T26" fmla="*/ 8 w 10"/>
              <a:gd name="T27" fmla="*/ 1 h 10"/>
              <a:gd name="T28" fmla="*/ 5 w 10"/>
              <a:gd name="T29" fmla="*/ 1 h 10"/>
              <a:gd name="T30" fmla="*/ 3 w 10"/>
              <a:gd name="T31" fmla="*/ 1 h 10"/>
              <a:gd name="T32" fmla="*/ 3 w 10"/>
              <a:gd name="T33" fmla="*/ 1 h 10"/>
              <a:gd name="T34" fmla="*/ 3 w 10"/>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0">
                <a:moveTo>
                  <a:pt x="3" y="2"/>
                </a:moveTo>
                <a:cubicBezTo>
                  <a:pt x="3" y="3"/>
                  <a:pt x="2" y="3"/>
                  <a:pt x="2" y="3"/>
                </a:cubicBezTo>
                <a:cubicBezTo>
                  <a:pt x="1" y="3"/>
                  <a:pt x="1" y="5"/>
                  <a:pt x="1" y="5"/>
                </a:cubicBezTo>
                <a:cubicBezTo>
                  <a:pt x="0" y="6"/>
                  <a:pt x="2" y="7"/>
                  <a:pt x="3" y="7"/>
                </a:cubicBezTo>
                <a:cubicBezTo>
                  <a:pt x="3" y="8"/>
                  <a:pt x="3" y="9"/>
                  <a:pt x="4" y="10"/>
                </a:cubicBezTo>
                <a:cubicBezTo>
                  <a:pt x="4" y="10"/>
                  <a:pt x="5" y="10"/>
                  <a:pt x="5" y="10"/>
                </a:cubicBezTo>
                <a:cubicBezTo>
                  <a:pt x="6" y="10"/>
                  <a:pt x="5" y="9"/>
                  <a:pt x="6" y="9"/>
                </a:cubicBezTo>
                <a:cubicBezTo>
                  <a:pt x="7" y="9"/>
                  <a:pt x="8" y="8"/>
                  <a:pt x="8" y="9"/>
                </a:cubicBezTo>
                <a:cubicBezTo>
                  <a:pt x="8" y="9"/>
                  <a:pt x="8" y="9"/>
                  <a:pt x="9" y="9"/>
                </a:cubicBezTo>
                <a:cubicBezTo>
                  <a:pt x="9" y="9"/>
                  <a:pt x="9" y="8"/>
                  <a:pt x="9" y="8"/>
                </a:cubicBezTo>
                <a:cubicBezTo>
                  <a:pt x="9" y="8"/>
                  <a:pt x="9" y="6"/>
                  <a:pt x="9" y="5"/>
                </a:cubicBezTo>
                <a:cubicBezTo>
                  <a:pt x="9" y="4"/>
                  <a:pt x="9" y="3"/>
                  <a:pt x="9" y="2"/>
                </a:cubicBezTo>
                <a:cubicBezTo>
                  <a:pt x="9" y="2"/>
                  <a:pt x="10" y="2"/>
                  <a:pt x="10" y="1"/>
                </a:cubicBezTo>
                <a:cubicBezTo>
                  <a:pt x="9" y="1"/>
                  <a:pt x="8" y="1"/>
                  <a:pt x="8" y="1"/>
                </a:cubicBezTo>
                <a:cubicBezTo>
                  <a:pt x="6" y="1"/>
                  <a:pt x="5" y="1"/>
                  <a:pt x="5" y="1"/>
                </a:cubicBezTo>
                <a:cubicBezTo>
                  <a:pt x="4" y="0"/>
                  <a:pt x="4" y="0"/>
                  <a:pt x="3" y="1"/>
                </a:cubicBezTo>
                <a:cubicBezTo>
                  <a:pt x="3" y="1"/>
                  <a:pt x="3" y="1"/>
                  <a:pt x="3" y="1"/>
                </a:cubicBezTo>
                <a:cubicBezTo>
                  <a:pt x="3" y="1"/>
                  <a:pt x="2"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52"/>
          <p:cNvSpPr>
            <a:spLocks/>
          </p:cNvSpPr>
          <p:nvPr/>
        </p:nvSpPr>
        <p:spPr bwMode="auto">
          <a:xfrm>
            <a:off x="1540194" y="3189578"/>
            <a:ext cx="53623" cy="82221"/>
          </a:xfrm>
          <a:custGeom>
            <a:avLst/>
            <a:gdLst>
              <a:gd name="T0" fmla="*/ 3 w 11"/>
              <a:gd name="T1" fmla="*/ 1 h 17"/>
              <a:gd name="T2" fmla="*/ 2 w 11"/>
              <a:gd name="T3" fmla="*/ 3 h 17"/>
              <a:gd name="T4" fmla="*/ 2 w 11"/>
              <a:gd name="T5" fmla="*/ 4 h 17"/>
              <a:gd name="T6" fmla="*/ 1 w 11"/>
              <a:gd name="T7" fmla="*/ 5 h 17"/>
              <a:gd name="T8" fmla="*/ 0 w 11"/>
              <a:gd name="T9" fmla="*/ 6 h 17"/>
              <a:gd name="T10" fmla="*/ 2 w 11"/>
              <a:gd name="T11" fmla="*/ 8 h 17"/>
              <a:gd name="T12" fmla="*/ 3 w 11"/>
              <a:gd name="T13" fmla="*/ 8 h 17"/>
              <a:gd name="T14" fmla="*/ 4 w 11"/>
              <a:gd name="T15" fmla="*/ 9 h 17"/>
              <a:gd name="T16" fmla="*/ 4 w 11"/>
              <a:gd name="T17" fmla="*/ 11 h 17"/>
              <a:gd name="T18" fmla="*/ 4 w 11"/>
              <a:gd name="T19" fmla="*/ 15 h 17"/>
              <a:gd name="T20" fmla="*/ 7 w 11"/>
              <a:gd name="T21" fmla="*/ 16 h 17"/>
              <a:gd name="T22" fmla="*/ 8 w 11"/>
              <a:gd name="T23" fmla="*/ 15 h 17"/>
              <a:gd name="T24" fmla="*/ 9 w 11"/>
              <a:gd name="T25" fmla="*/ 15 h 17"/>
              <a:gd name="T26" fmla="*/ 11 w 11"/>
              <a:gd name="T27" fmla="*/ 15 h 17"/>
              <a:gd name="T28" fmla="*/ 10 w 11"/>
              <a:gd name="T29" fmla="*/ 12 h 17"/>
              <a:gd name="T30" fmla="*/ 8 w 11"/>
              <a:gd name="T31" fmla="*/ 10 h 17"/>
              <a:gd name="T32" fmla="*/ 9 w 11"/>
              <a:gd name="T33" fmla="*/ 8 h 17"/>
              <a:gd name="T34" fmla="*/ 10 w 11"/>
              <a:gd name="T35" fmla="*/ 7 h 17"/>
              <a:gd name="T36" fmla="*/ 10 w 11"/>
              <a:gd name="T37" fmla="*/ 6 h 17"/>
              <a:gd name="T38" fmla="*/ 8 w 11"/>
              <a:gd name="T39" fmla="*/ 4 h 17"/>
              <a:gd name="T40" fmla="*/ 7 w 11"/>
              <a:gd name="T41" fmla="*/ 3 h 17"/>
              <a:gd name="T42" fmla="*/ 4 w 11"/>
              <a:gd name="T43" fmla="*/ 1 h 17"/>
              <a:gd name="T44" fmla="*/ 4 w 11"/>
              <a:gd name="T45" fmla="*/ 0 h 17"/>
              <a:gd name="T46" fmla="*/ 3 w 11"/>
              <a:gd name="T4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7">
                <a:moveTo>
                  <a:pt x="3" y="1"/>
                </a:moveTo>
                <a:cubicBezTo>
                  <a:pt x="2" y="2"/>
                  <a:pt x="1" y="3"/>
                  <a:pt x="2" y="3"/>
                </a:cubicBezTo>
                <a:cubicBezTo>
                  <a:pt x="3" y="3"/>
                  <a:pt x="3" y="4"/>
                  <a:pt x="2" y="4"/>
                </a:cubicBezTo>
                <a:cubicBezTo>
                  <a:pt x="1" y="4"/>
                  <a:pt x="1" y="5"/>
                  <a:pt x="1" y="5"/>
                </a:cubicBezTo>
                <a:cubicBezTo>
                  <a:pt x="1" y="6"/>
                  <a:pt x="0" y="6"/>
                  <a:pt x="0" y="6"/>
                </a:cubicBezTo>
                <a:cubicBezTo>
                  <a:pt x="1" y="7"/>
                  <a:pt x="1" y="7"/>
                  <a:pt x="2" y="8"/>
                </a:cubicBezTo>
                <a:cubicBezTo>
                  <a:pt x="2" y="8"/>
                  <a:pt x="2" y="8"/>
                  <a:pt x="3" y="8"/>
                </a:cubicBezTo>
                <a:cubicBezTo>
                  <a:pt x="4" y="8"/>
                  <a:pt x="3" y="9"/>
                  <a:pt x="4" y="9"/>
                </a:cubicBezTo>
                <a:cubicBezTo>
                  <a:pt x="4" y="10"/>
                  <a:pt x="4" y="11"/>
                  <a:pt x="4" y="11"/>
                </a:cubicBezTo>
                <a:cubicBezTo>
                  <a:pt x="3" y="12"/>
                  <a:pt x="3" y="14"/>
                  <a:pt x="4" y="15"/>
                </a:cubicBezTo>
                <a:cubicBezTo>
                  <a:pt x="5" y="17"/>
                  <a:pt x="6" y="16"/>
                  <a:pt x="7" y="16"/>
                </a:cubicBezTo>
                <a:cubicBezTo>
                  <a:pt x="7" y="16"/>
                  <a:pt x="8" y="16"/>
                  <a:pt x="8" y="15"/>
                </a:cubicBezTo>
                <a:cubicBezTo>
                  <a:pt x="8" y="15"/>
                  <a:pt x="9" y="16"/>
                  <a:pt x="9" y="15"/>
                </a:cubicBezTo>
                <a:cubicBezTo>
                  <a:pt x="10" y="15"/>
                  <a:pt x="10" y="15"/>
                  <a:pt x="11" y="15"/>
                </a:cubicBezTo>
                <a:cubicBezTo>
                  <a:pt x="10" y="14"/>
                  <a:pt x="10" y="13"/>
                  <a:pt x="10" y="12"/>
                </a:cubicBezTo>
                <a:cubicBezTo>
                  <a:pt x="9" y="12"/>
                  <a:pt x="7" y="11"/>
                  <a:pt x="8" y="10"/>
                </a:cubicBezTo>
                <a:cubicBezTo>
                  <a:pt x="8" y="10"/>
                  <a:pt x="8" y="8"/>
                  <a:pt x="9" y="8"/>
                </a:cubicBezTo>
                <a:cubicBezTo>
                  <a:pt x="9" y="8"/>
                  <a:pt x="10" y="8"/>
                  <a:pt x="10" y="7"/>
                </a:cubicBezTo>
                <a:cubicBezTo>
                  <a:pt x="9" y="7"/>
                  <a:pt x="10" y="6"/>
                  <a:pt x="10" y="6"/>
                </a:cubicBezTo>
                <a:cubicBezTo>
                  <a:pt x="9" y="6"/>
                  <a:pt x="8" y="4"/>
                  <a:pt x="8" y="4"/>
                </a:cubicBezTo>
                <a:cubicBezTo>
                  <a:pt x="7" y="4"/>
                  <a:pt x="7" y="3"/>
                  <a:pt x="7" y="3"/>
                </a:cubicBezTo>
                <a:cubicBezTo>
                  <a:pt x="7" y="2"/>
                  <a:pt x="5" y="2"/>
                  <a:pt x="4" y="1"/>
                </a:cubicBezTo>
                <a:cubicBezTo>
                  <a:pt x="4" y="1"/>
                  <a:pt x="4" y="0"/>
                  <a:pt x="4" y="0"/>
                </a:cubicBezTo>
                <a:cubicBezTo>
                  <a:pt x="3"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353"/>
          <p:cNvSpPr>
            <a:spLocks/>
          </p:cNvSpPr>
          <p:nvPr/>
        </p:nvSpPr>
        <p:spPr bwMode="auto">
          <a:xfrm>
            <a:off x="1615266" y="3218177"/>
            <a:ext cx="32174" cy="42898"/>
          </a:xfrm>
          <a:custGeom>
            <a:avLst/>
            <a:gdLst>
              <a:gd name="T0" fmla="*/ 0 w 6"/>
              <a:gd name="T1" fmla="*/ 4 h 9"/>
              <a:gd name="T2" fmla="*/ 0 w 6"/>
              <a:gd name="T3" fmla="*/ 7 h 9"/>
              <a:gd name="T4" fmla="*/ 0 w 6"/>
              <a:gd name="T5" fmla="*/ 8 h 9"/>
              <a:gd name="T6" fmla="*/ 2 w 6"/>
              <a:gd name="T7" fmla="*/ 8 h 9"/>
              <a:gd name="T8" fmla="*/ 4 w 6"/>
              <a:gd name="T9" fmla="*/ 7 h 9"/>
              <a:gd name="T10" fmla="*/ 6 w 6"/>
              <a:gd name="T11" fmla="*/ 4 h 9"/>
              <a:gd name="T12" fmla="*/ 6 w 6"/>
              <a:gd name="T13" fmla="*/ 4 h 9"/>
              <a:gd name="T14" fmla="*/ 3 w 6"/>
              <a:gd name="T15" fmla="*/ 1 h 9"/>
              <a:gd name="T16" fmla="*/ 1 w 6"/>
              <a:gd name="T17" fmla="*/ 0 h 9"/>
              <a:gd name="T18" fmla="*/ 0 w 6"/>
              <a:gd name="T19" fmla="*/ 1 h 9"/>
              <a:gd name="T20" fmla="*/ 0 w 6"/>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0" y="4"/>
                </a:moveTo>
                <a:cubicBezTo>
                  <a:pt x="0" y="5"/>
                  <a:pt x="0" y="7"/>
                  <a:pt x="0" y="7"/>
                </a:cubicBezTo>
                <a:cubicBezTo>
                  <a:pt x="0" y="7"/>
                  <a:pt x="0" y="8"/>
                  <a:pt x="0" y="8"/>
                </a:cubicBezTo>
                <a:cubicBezTo>
                  <a:pt x="0" y="8"/>
                  <a:pt x="0" y="9"/>
                  <a:pt x="2" y="8"/>
                </a:cubicBezTo>
                <a:cubicBezTo>
                  <a:pt x="3" y="8"/>
                  <a:pt x="3" y="9"/>
                  <a:pt x="4" y="7"/>
                </a:cubicBezTo>
                <a:cubicBezTo>
                  <a:pt x="4" y="6"/>
                  <a:pt x="5" y="5"/>
                  <a:pt x="6" y="4"/>
                </a:cubicBezTo>
                <a:cubicBezTo>
                  <a:pt x="6" y="4"/>
                  <a:pt x="6" y="4"/>
                  <a:pt x="6" y="4"/>
                </a:cubicBezTo>
                <a:cubicBezTo>
                  <a:pt x="5" y="3"/>
                  <a:pt x="4" y="1"/>
                  <a:pt x="3" y="1"/>
                </a:cubicBezTo>
                <a:cubicBezTo>
                  <a:pt x="2" y="1"/>
                  <a:pt x="1" y="0"/>
                  <a:pt x="1" y="0"/>
                </a:cubicBezTo>
                <a:cubicBezTo>
                  <a:pt x="1" y="1"/>
                  <a:pt x="0" y="1"/>
                  <a:pt x="0" y="1"/>
                </a:cubicBezTo>
                <a:cubicBezTo>
                  <a:pt x="0" y="2"/>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54"/>
          <p:cNvSpPr>
            <a:spLocks/>
          </p:cNvSpPr>
          <p:nvPr/>
        </p:nvSpPr>
        <p:spPr bwMode="auto">
          <a:xfrm>
            <a:off x="1289955" y="3025135"/>
            <a:ext cx="114395" cy="39323"/>
          </a:xfrm>
          <a:custGeom>
            <a:avLst/>
            <a:gdLst>
              <a:gd name="T0" fmla="*/ 19 w 24"/>
              <a:gd name="T1" fmla="*/ 5 h 8"/>
              <a:gd name="T2" fmla="*/ 8 w 24"/>
              <a:gd name="T3" fmla="*/ 1 h 8"/>
              <a:gd name="T4" fmla="*/ 0 w 24"/>
              <a:gd name="T5" fmla="*/ 4 h 8"/>
              <a:gd name="T6" fmla="*/ 4 w 24"/>
              <a:gd name="T7" fmla="*/ 2 h 8"/>
              <a:gd name="T8" fmla="*/ 6 w 24"/>
              <a:gd name="T9" fmla="*/ 3 h 8"/>
              <a:gd name="T10" fmla="*/ 10 w 24"/>
              <a:gd name="T11" fmla="*/ 4 h 8"/>
              <a:gd name="T12" fmla="*/ 15 w 24"/>
              <a:gd name="T13" fmla="*/ 6 h 8"/>
              <a:gd name="T14" fmla="*/ 16 w 24"/>
              <a:gd name="T15" fmla="*/ 8 h 8"/>
              <a:gd name="T16" fmla="*/ 23 w 24"/>
              <a:gd name="T17" fmla="*/ 8 h 8"/>
              <a:gd name="T18" fmla="*/ 19 w 24"/>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8">
                <a:moveTo>
                  <a:pt x="19" y="5"/>
                </a:moveTo>
                <a:cubicBezTo>
                  <a:pt x="18" y="5"/>
                  <a:pt x="13" y="2"/>
                  <a:pt x="8" y="1"/>
                </a:cubicBezTo>
                <a:cubicBezTo>
                  <a:pt x="4" y="0"/>
                  <a:pt x="0" y="3"/>
                  <a:pt x="0" y="4"/>
                </a:cubicBezTo>
                <a:cubicBezTo>
                  <a:pt x="1" y="4"/>
                  <a:pt x="3" y="3"/>
                  <a:pt x="4" y="2"/>
                </a:cubicBezTo>
                <a:cubicBezTo>
                  <a:pt x="5" y="1"/>
                  <a:pt x="6" y="2"/>
                  <a:pt x="6" y="3"/>
                </a:cubicBezTo>
                <a:cubicBezTo>
                  <a:pt x="7" y="3"/>
                  <a:pt x="8" y="3"/>
                  <a:pt x="10" y="4"/>
                </a:cubicBezTo>
                <a:cubicBezTo>
                  <a:pt x="12" y="4"/>
                  <a:pt x="13" y="5"/>
                  <a:pt x="15" y="6"/>
                </a:cubicBezTo>
                <a:cubicBezTo>
                  <a:pt x="17" y="6"/>
                  <a:pt x="15" y="7"/>
                  <a:pt x="16" y="8"/>
                </a:cubicBezTo>
                <a:cubicBezTo>
                  <a:pt x="17" y="8"/>
                  <a:pt x="23" y="8"/>
                  <a:pt x="23" y="8"/>
                </a:cubicBezTo>
                <a:cubicBezTo>
                  <a:pt x="24" y="7"/>
                  <a:pt x="20" y="5"/>
                  <a:pt x="19"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355"/>
          <p:cNvSpPr>
            <a:spLocks/>
          </p:cNvSpPr>
          <p:nvPr/>
        </p:nvSpPr>
        <p:spPr bwMode="auto">
          <a:xfrm>
            <a:off x="1357877" y="3078758"/>
            <a:ext cx="21449" cy="14299"/>
          </a:xfrm>
          <a:custGeom>
            <a:avLst/>
            <a:gdLst>
              <a:gd name="T0" fmla="*/ 0 w 5"/>
              <a:gd name="T1" fmla="*/ 1 h 3"/>
              <a:gd name="T2" fmla="*/ 5 w 5"/>
              <a:gd name="T3" fmla="*/ 2 h 3"/>
              <a:gd name="T4" fmla="*/ 0 w 5"/>
              <a:gd name="T5" fmla="*/ 1 h 3"/>
            </a:gdLst>
            <a:ahLst/>
            <a:cxnLst>
              <a:cxn ang="0">
                <a:pos x="T0" y="T1"/>
              </a:cxn>
              <a:cxn ang="0">
                <a:pos x="T2" y="T3"/>
              </a:cxn>
              <a:cxn ang="0">
                <a:pos x="T4" y="T5"/>
              </a:cxn>
            </a:cxnLst>
            <a:rect l="0" t="0" r="r" b="b"/>
            <a:pathLst>
              <a:path w="5" h="3">
                <a:moveTo>
                  <a:pt x="0" y="1"/>
                </a:moveTo>
                <a:cubicBezTo>
                  <a:pt x="0" y="2"/>
                  <a:pt x="4" y="3"/>
                  <a:pt x="5" y="2"/>
                </a:cubicBezTo>
                <a:cubicBezTo>
                  <a:pt x="5" y="1"/>
                  <a:pt x="0" y="0"/>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356"/>
          <p:cNvSpPr>
            <a:spLocks/>
          </p:cNvSpPr>
          <p:nvPr/>
        </p:nvSpPr>
        <p:spPr bwMode="auto">
          <a:xfrm>
            <a:off x="1472272" y="3078758"/>
            <a:ext cx="25024" cy="7150"/>
          </a:xfrm>
          <a:custGeom>
            <a:avLst/>
            <a:gdLst>
              <a:gd name="T0" fmla="*/ 1 w 5"/>
              <a:gd name="T1" fmla="*/ 1 h 2"/>
              <a:gd name="T2" fmla="*/ 5 w 5"/>
              <a:gd name="T3" fmla="*/ 1 h 2"/>
              <a:gd name="T4" fmla="*/ 1 w 5"/>
              <a:gd name="T5" fmla="*/ 1 h 2"/>
            </a:gdLst>
            <a:ahLst/>
            <a:cxnLst>
              <a:cxn ang="0">
                <a:pos x="T0" y="T1"/>
              </a:cxn>
              <a:cxn ang="0">
                <a:pos x="T2" y="T3"/>
              </a:cxn>
              <a:cxn ang="0">
                <a:pos x="T4" y="T5"/>
              </a:cxn>
            </a:cxnLst>
            <a:rect l="0" t="0" r="r" b="b"/>
            <a:pathLst>
              <a:path w="5" h="2">
                <a:moveTo>
                  <a:pt x="1" y="1"/>
                </a:moveTo>
                <a:cubicBezTo>
                  <a:pt x="2" y="2"/>
                  <a:pt x="5" y="2"/>
                  <a:pt x="5" y="1"/>
                </a:cubicBezTo>
                <a:cubicBezTo>
                  <a:pt x="5" y="0"/>
                  <a:pt x="0" y="0"/>
                  <a:pt x="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57"/>
          <p:cNvSpPr>
            <a:spLocks/>
          </p:cNvSpPr>
          <p:nvPr/>
        </p:nvSpPr>
        <p:spPr bwMode="auto">
          <a:xfrm>
            <a:off x="1329278" y="3264650"/>
            <a:ext cx="60772" cy="75072"/>
          </a:xfrm>
          <a:custGeom>
            <a:avLst/>
            <a:gdLst>
              <a:gd name="T0" fmla="*/ 12 w 13"/>
              <a:gd name="T1" fmla="*/ 4 h 15"/>
              <a:gd name="T2" fmla="*/ 10 w 13"/>
              <a:gd name="T3" fmla="*/ 2 h 15"/>
              <a:gd name="T4" fmla="*/ 9 w 13"/>
              <a:gd name="T5" fmla="*/ 2 h 15"/>
              <a:gd name="T6" fmla="*/ 7 w 13"/>
              <a:gd name="T7" fmla="*/ 1 h 15"/>
              <a:gd name="T8" fmla="*/ 5 w 13"/>
              <a:gd name="T9" fmla="*/ 0 h 15"/>
              <a:gd name="T10" fmla="*/ 5 w 13"/>
              <a:gd name="T11" fmla="*/ 0 h 15"/>
              <a:gd name="T12" fmla="*/ 3 w 13"/>
              <a:gd name="T13" fmla="*/ 1 h 15"/>
              <a:gd name="T14" fmla="*/ 2 w 13"/>
              <a:gd name="T15" fmla="*/ 2 h 15"/>
              <a:gd name="T16" fmla="*/ 1 w 13"/>
              <a:gd name="T17" fmla="*/ 4 h 15"/>
              <a:gd name="T18" fmla="*/ 1 w 13"/>
              <a:gd name="T19" fmla="*/ 5 h 15"/>
              <a:gd name="T20" fmla="*/ 0 w 13"/>
              <a:gd name="T21" fmla="*/ 7 h 15"/>
              <a:gd name="T22" fmla="*/ 0 w 13"/>
              <a:gd name="T23" fmla="*/ 8 h 15"/>
              <a:gd name="T24" fmla="*/ 1 w 13"/>
              <a:gd name="T25" fmla="*/ 9 h 15"/>
              <a:gd name="T26" fmla="*/ 3 w 13"/>
              <a:gd name="T27" fmla="*/ 9 h 15"/>
              <a:gd name="T28" fmla="*/ 2 w 13"/>
              <a:gd name="T29" fmla="*/ 11 h 15"/>
              <a:gd name="T30" fmla="*/ 1 w 13"/>
              <a:gd name="T31" fmla="*/ 11 h 15"/>
              <a:gd name="T32" fmla="*/ 2 w 13"/>
              <a:gd name="T33" fmla="*/ 12 h 15"/>
              <a:gd name="T34" fmla="*/ 2 w 13"/>
              <a:gd name="T35" fmla="*/ 13 h 15"/>
              <a:gd name="T36" fmla="*/ 4 w 13"/>
              <a:gd name="T37" fmla="*/ 13 h 15"/>
              <a:gd name="T38" fmla="*/ 5 w 13"/>
              <a:gd name="T39" fmla="*/ 13 h 15"/>
              <a:gd name="T40" fmla="*/ 7 w 13"/>
              <a:gd name="T41" fmla="*/ 10 h 15"/>
              <a:gd name="T42" fmla="*/ 11 w 13"/>
              <a:gd name="T43" fmla="*/ 8 h 15"/>
              <a:gd name="T44" fmla="*/ 13 w 13"/>
              <a:gd name="T45" fmla="*/ 5 h 15"/>
              <a:gd name="T46" fmla="*/ 12 w 13"/>
              <a:gd name="T4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15">
                <a:moveTo>
                  <a:pt x="12" y="4"/>
                </a:moveTo>
                <a:cubicBezTo>
                  <a:pt x="11" y="3"/>
                  <a:pt x="11" y="2"/>
                  <a:pt x="10" y="2"/>
                </a:cubicBezTo>
                <a:cubicBezTo>
                  <a:pt x="10" y="3"/>
                  <a:pt x="9" y="3"/>
                  <a:pt x="9" y="2"/>
                </a:cubicBezTo>
                <a:cubicBezTo>
                  <a:pt x="8" y="2"/>
                  <a:pt x="8" y="1"/>
                  <a:pt x="7" y="1"/>
                </a:cubicBezTo>
                <a:cubicBezTo>
                  <a:pt x="7" y="1"/>
                  <a:pt x="6" y="0"/>
                  <a:pt x="5" y="0"/>
                </a:cubicBezTo>
                <a:cubicBezTo>
                  <a:pt x="5" y="0"/>
                  <a:pt x="5" y="0"/>
                  <a:pt x="5" y="0"/>
                </a:cubicBezTo>
                <a:cubicBezTo>
                  <a:pt x="5" y="1"/>
                  <a:pt x="4" y="1"/>
                  <a:pt x="3" y="1"/>
                </a:cubicBezTo>
                <a:cubicBezTo>
                  <a:pt x="2" y="1"/>
                  <a:pt x="2" y="2"/>
                  <a:pt x="2" y="2"/>
                </a:cubicBezTo>
                <a:cubicBezTo>
                  <a:pt x="2" y="3"/>
                  <a:pt x="2" y="3"/>
                  <a:pt x="1" y="4"/>
                </a:cubicBezTo>
                <a:cubicBezTo>
                  <a:pt x="1" y="5"/>
                  <a:pt x="2" y="5"/>
                  <a:pt x="1" y="5"/>
                </a:cubicBezTo>
                <a:cubicBezTo>
                  <a:pt x="0" y="5"/>
                  <a:pt x="0" y="6"/>
                  <a:pt x="0" y="7"/>
                </a:cubicBezTo>
                <a:cubicBezTo>
                  <a:pt x="1" y="7"/>
                  <a:pt x="0" y="8"/>
                  <a:pt x="0" y="8"/>
                </a:cubicBezTo>
                <a:cubicBezTo>
                  <a:pt x="0" y="8"/>
                  <a:pt x="1" y="8"/>
                  <a:pt x="1" y="9"/>
                </a:cubicBezTo>
                <a:cubicBezTo>
                  <a:pt x="2" y="10"/>
                  <a:pt x="2" y="9"/>
                  <a:pt x="3" y="9"/>
                </a:cubicBezTo>
                <a:cubicBezTo>
                  <a:pt x="3" y="10"/>
                  <a:pt x="2" y="11"/>
                  <a:pt x="2" y="11"/>
                </a:cubicBezTo>
                <a:cubicBezTo>
                  <a:pt x="2" y="11"/>
                  <a:pt x="1" y="11"/>
                  <a:pt x="1" y="11"/>
                </a:cubicBezTo>
                <a:cubicBezTo>
                  <a:pt x="2" y="11"/>
                  <a:pt x="2" y="12"/>
                  <a:pt x="2" y="12"/>
                </a:cubicBezTo>
                <a:cubicBezTo>
                  <a:pt x="1" y="12"/>
                  <a:pt x="1" y="12"/>
                  <a:pt x="2" y="13"/>
                </a:cubicBezTo>
                <a:cubicBezTo>
                  <a:pt x="3" y="14"/>
                  <a:pt x="3" y="13"/>
                  <a:pt x="4" y="13"/>
                </a:cubicBezTo>
                <a:cubicBezTo>
                  <a:pt x="4" y="14"/>
                  <a:pt x="5" y="15"/>
                  <a:pt x="5" y="13"/>
                </a:cubicBezTo>
                <a:cubicBezTo>
                  <a:pt x="6" y="12"/>
                  <a:pt x="6" y="10"/>
                  <a:pt x="7" y="10"/>
                </a:cubicBezTo>
                <a:cubicBezTo>
                  <a:pt x="8" y="10"/>
                  <a:pt x="10" y="9"/>
                  <a:pt x="11" y="8"/>
                </a:cubicBezTo>
                <a:cubicBezTo>
                  <a:pt x="13" y="6"/>
                  <a:pt x="12" y="6"/>
                  <a:pt x="13" y="5"/>
                </a:cubicBezTo>
                <a:cubicBezTo>
                  <a:pt x="13" y="5"/>
                  <a:pt x="13"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58"/>
          <p:cNvSpPr>
            <a:spLocks noEditPoints="1"/>
          </p:cNvSpPr>
          <p:nvPr/>
        </p:nvSpPr>
        <p:spPr bwMode="auto">
          <a:xfrm>
            <a:off x="1418649" y="2056352"/>
            <a:ext cx="650622" cy="486179"/>
          </a:xfrm>
          <a:custGeom>
            <a:avLst/>
            <a:gdLst>
              <a:gd name="T0" fmla="*/ 119 w 135"/>
              <a:gd name="T1" fmla="*/ 12 h 101"/>
              <a:gd name="T2" fmla="*/ 109 w 135"/>
              <a:gd name="T3" fmla="*/ 17 h 101"/>
              <a:gd name="T4" fmla="*/ 108 w 135"/>
              <a:gd name="T5" fmla="*/ 11 h 101"/>
              <a:gd name="T6" fmla="*/ 97 w 135"/>
              <a:gd name="T7" fmla="*/ 10 h 101"/>
              <a:gd name="T8" fmla="*/ 108 w 135"/>
              <a:gd name="T9" fmla="*/ 8 h 101"/>
              <a:gd name="T10" fmla="*/ 107 w 135"/>
              <a:gd name="T11" fmla="*/ 4 h 101"/>
              <a:gd name="T12" fmla="*/ 91 w 135"/>
              <a:gd name="T13" fmla="*/ 0 h 101"/>
              <a:gd name="T14" fmla="*/ 77 w 135"/>
              <a:gd name="T15" fmla="*/ 2 h 101"/>
              <a:gd name="T16" fmla="*/ 66 w 135"/>
              <a:gd name="T17" fmla="*/ 2 h 101"/>
              <a:gd name="T18" fmla="*/ 57 w 135"/>
              <a:gd name="T19" fmla="*/ 6 h 101"/>
              <a:gd name="T20" fmla="*/ 55 w 135"/>
              <a:gd name="T21" fmla="*/ 8 h 101"/>
              <a:gd name="T22" fmla="*/ 48 w 135"/>
              <a:gd name="T23" fmla="*/ 10 h 101"/>
              <a:gd name="T24" fmla="*/ 42 w 135"/>
              <a:gd name="T25" fmla="*/ 12 h 101"/>
              <a:gd name="T26" fmla="*/ 32 w 135"/>
              <a:gd name="T27" fmla="*/ 10 h 101"/>
              <a:gd name="T28" fmla="*/ 26 w 135"/>
              <a:gd name="T29" fmla="*/ 14 h 101"/>
              <a:gd name="T30" fmla="*/ 17 w 135"/>
              <a:gd name="T31" fmla="*/ 20 h 101"/>
              <a:gd name="T32" fmla="*/ 0 w 135"/>
              <a:gd name="T33" fmla="*/ 28 h 101"/>
              <a:gd name="T34" fmla="*/ 11 w 135"/>
              <a:gd name="T35" fmla="*/ 31 h 101"/>
              <a:gd name="T36" fmla="*/ 3 w 135"/>
              <a:gd name="T37" fmla="*/ 34 h 101"/>
              <a:gd name="T38" fmla="*/ 10 w 135"/>
              <a:gd name="T39" fmla="*/ 38 h 101"/>
              <a:gd name="T40" fmla="*/ 18 w 135"/>
              <a:gd name="T41" fmla="*/ 38 h 101"/>
              <a:gd name="T42" fmla="*/ 32 w 135"/>
              <a:gd name="T43" fmla="*/ 42 h 101"/>
              <a:gd name="T44" fmla="*/ 38 w 135"/>
              <a:gd name="T45" fmla="*/ 51 h 101"/>
              <a:gd name="T46" fmla="*/ 39 w 135"/>
              <a:gd name="T47" fmla="*/ 59 h 101"/>
              <a:gd name="T48" fmla="*/ 48 w 135"/>
              <a:gd name="T49" fmla="*/ 61 h 101"/>
              <a:gd name="T50" fmla="*/ 47 w 135"/>
              <a:gd name="T51" fmla="*/ 65 h 101"/>
              <a:gd name="T52" fmla="*/ 46 w 135"/>
              <a:gd name="T53" fmla="*/ 70 h 101"/>
              <a:gd name="T54" fmla="*/ 44 w 135"/>
              <a:gd name="T55" fmla="*/ 77 h 101"/>
              <a:gd name="T56" fmla="*/ 46 w 135"/>
              <a:gd name="T57" fmla="*/ 86 h 101"/>
              <a:gd name="T58" fmla="*/ 50 w 135"/>
              <a:gd name="T59" fmla="*/ 91 h 101"/>
              <a:gd name="T60" fmla="*/ 56 w 135"/>
              <a:gd name="T61" fmla="*/ 98 h 101"/>
              <a:gd name="T62" fmla="*/ 65 w 135"/>
              <a:gd name="T63" fmla="*/ 101 h 101"/>
              <a:gd name="T64" fmla="*/ 67 w 135"/>
              <a:gd name="T65" fmla="*/ 93 h 101"/>
              <a:gd name="T66" fmla="*/ 71 w 135"/>
              <a:gd name="T67" fmla="*/ 88 h 101"/>
              <a:gd name="T68" fmla="*/ 71 w 135"/>
              <a:gd name="T69" fmla="*/ 84 h 101"/>
              <a:gd name="T70" fmla="*/ 75 w 135"/>
              <a:gd name="T71" fmla="*/ 81 h 101"/>
              <a:gd name="T72" fmla="*/ 78 w 135"/>
              <a:gd name="T73" fmla="*/ 81 h 101"/>
              <a:gd name="T74" fmla="*/ 90 w 135"/>
              <a:gd name="T75" fmla="*/ 73 h 101"/>
              <a:gd name="T76" fmla="*/ 98 w 135"/>
              <a:gd name="T77" fmla="*/ 71 h 101"/>
              <a:gd name="T78" fmla="*/ 113 w 135"/>
              <a:gd name="T79" fmla="*/ 64 h 101"/>
              <a:gd name="T80" fmla="*/ 105 w 135"/>
              <a:gd name="T81" fmla="*/ 62 h 101"/>
              <a:gd name="T82" fmla="*/ 113 w 135"/>
              <a:gd name="T83" fmla="*/ 63 h 101"/>
              <a:gd name="T84" fmla="*/ 111 w 135"/>
              <a:gd name="T85" fmla="*/ 55 h 101"/>
              <a:gd name="T86" fmla="*/ 107 w 135"/>
              <a:gd name="T87" fmla="*/ 51 h 101"/>
              <a:gd name="T88" fmla="*/ 117 w 135"/>
              <a:gd name="T89" fmla="*/ 50 h 101"/>
              <a:gd name="T90" fmla="*/ 119 w 135"/>
              <a:gd name="T91" fmla="*/ 45 h 101"/>
              <a:gd name="T92" fmla="*/ 118 w 135"/>
              <a:gd name="T93" fmla="*/ 38 h 101"/>
              <a:gd name="T94" fmla="*/ 115 w 135"/>
              <a:gd name="T95" fmla="*/ 35 h 101"/>
              <a:gd name="T96" fmla="*/ 116 w 135"/>
              <a:gd name="T97" fmla="*/ 32 h 101"/>
              <a:gd name="T98" fmla="*/ 113 w 135"/>
              <a:gd name="T99" fmla="*/ 31 h 101"/>
              <a:gd name="T100" fmla="*/ 122 w 135"/>
              <a:gd name="T101" fmla="*/ 21 h 101"/>
              <a:gd name="T102" fmla="*/ 120 w 135"/>
              <a:gd name="T103" fmla="*/ 19 h 101"/>
              <a:gd name="T104" fmla="*/ 123 w 135"/>
              <a:gd name="T105" fmla="*/ 16 h 101"/>
              <a:gd name="T106" fmla="*/ 135 w 135"/>
              <a:gd name="T107" fmla="*/ 12 h 101"/>
              <a:gd name="T108" fmla="*/ 44 w 135"/>
              <a:gd name="T109" fmla="*/ 65 h 101"/>
              <a:gd name="T110" fmla="*/ 42 w 135"/>
              <a:gd name="T111" fmla="*/ 6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1">
                <a:moveTo>
                  <a:pt x="128" y="10"/>
                </a:moveTo>
                <a:cubicBezTo>
                  <a:pt x="125" y="10"/>
                  <a:pt x="123" y="10"/>
                  <a:pt x="123" y="12"/>
                </a:cubicBezTo>
                <a:cubicBezTo>
                  <a:pt x="123" y="13"/>
                  <a:pt x="120" y="11"/>
                  <a:pt x="119" y="12"/>
                </a:cubicBezTo>
                <a:cubicBezTo>
                  <a:pt x="117" y="13"/>
                  <a:pt x="118" y="11"/>
                  <a:pt x="117" y="11"/>
                </a:cubicBezTo>
                <a:cubicBezTo>
                  <a:pt x="115" y="12"/>
                  <a:pt x="114" y="13"/>
                  <a:pt x="112" y="14"/>
                </a:cubicBezTo>
                <a:cubicBezTo>
                  <a:pt x="111" y="15"/>
                  <a:pt x="110" y="16"/>
                  <a:pt x="109" y="17"/>
                </a:cubicBezTo>
                <a:cubicBezTo>
                  <a:pt x="108" y="17"/>
                  <a:pt x="111" y="14"/>
                  <a:pt x="112" y="12"/>
                </a:cubicBezTo>
                <a:cubicBezTo>
                  <a:pt x="114" y="10"/>
                  <a:pt x="113" y="9"/>
                  <a:pt x="111" y="9"/>
                </a:cubicBezTo>
                <a:cubicBezTo>
                  <a:pt x="109" y="9"/>
                  <a:pt x="109" y="10"/>
                  <a:pt x="108" y="11"/>
                </a:cubicBezTo>
                <a:cubicBezTo>
                  <a:pt x="107" y="11"/>
                  <a:pt x="101" y="14"/>
                  <a:pt x="101" y="13"/>
                </a:cubicBezTo>
                <a:cubicBezTo>
                  <a:pt x="101" y="12"/>
                  <a:pt x="106" y="10"/>
                  <a:pt x="106" y="10"/>
                </a:cubicBezTo>
                <a:cubicBezTo>
                  <a:pt x="106" y="9"/>
                  <a:pt x="99" y="9"/>
                  <a:pt x="97" y="10"/>
                </a:cubicBezTo>
                <a:cubicBezTo>
                  <a:pt x="94" y="10"/>
                  <a:pt x="89" y="12"/>
                  <a:pt x="89" y="11"/>
                </a:cubicBezTo>
                <a:cubicBezTo>
                  <a:pt x="89" y="10"/>
                  <a:pt x="95" y="9"/>
                  <a:pt x="98" y="9"/>
                </a:cubicBezTo>
                <a:cubicBezTo>
                  <a:pt x="100" y="8"/>
                  <a:pt x="106" y="9"/>
                  <a:pt x="108" y="8"/>
                </a:cubicBezTo>
                <a:cubicBezTo>
                  <a:pt x="110" y="7"/>
                  <a:pt x="113" y="7"/>
                  <a:pt x="114" y="6"/>
                </a:cubicBezTo>
                <a:cubicBezTo>
                  <a:pt x="115" y="5"/>
                  <a:pt x="111" y="4"/>
                  <a:pt x="110" y="5"/>
                </a:cubicBezTo>
                <a:cubicBezTo>
                  <a:pt x="108" y="5"/>
                  <a:pt x="107" y="4"/>
                  <a:pt x="107" y="4"/>
                </a:cubicBezTo>
                <a:cubicBezTo>
                  <a:pt x="107" y="3"/>
                  <a:pt x="105" y="3"/>
                  <a:pt x="104" y="2"/>
                </a:cubicBezTo>
                <a:cubicBezTo>
                  <a:pt x="104" y="1"/>
                  <a:pt x="99" y="2"/>
                  <a:pt x="98" y="1"/>
                </a:cubicBezTo>
                <a:cubicBezTo>
                  <a:pt x="97" y="1"/>
                  <a:pt x="94" y="0"/>
                  <a:pt x="91" y="0"/>
                </a:cubicBezTo>
                <a:cubicBezTo>
                  <a:pt x="89" y="1"/>
                  <a:pt x="83" y="1"/>
                  <a:pt x="82" y="1"/>
                </a:cubicBezTo>
                <a:cubicBezTo>
                  <a:pt x="81" y="1"/>
                  <a:pt x="80" y="1"/>
                  <a:pt x="79" y="1"/>
                </a:cubicBezTo>
                <a:cubicBezTo>
                  <a:pt x="78" y="1"/>
                  <a:pt x="76" y="2"/>
                  <a:pt x="77" y="2"/>
                </a:cubicBezTo>
                <a:cubicBezTo>
                  <a:pt x="78" y="4"/>
                  <a:pt x="75" y="4"/>
                  <a:pt x="75" y="3"/>
                </a:cubicBezTo>
                <a:cubicBezTo>
                  <a:pt x="75" y="2"/>
                  <a:pt x="73" y="2"/>
                  <a:pt x="72" y="2"/>
                </a:cubicBezTo>
                <a:cubicBezTo>
                  <a:pt x="71" y="3"/>
                  <a:pt x="66" y="2"/>
                  <a:pt x="66" y="2"/>
                </a:cubicBezTo>
                <a:cubicBezTo>
                  <a:pt x="65" y="3"/>
                  <a:pt x="60" y="3"/>
                  <a:pt x="58" y="3"/>
                </a:cubicBezTo>
                <a:cubicBezTo>
                  <a:pt x="57" y="4"/>
                  <a:pt x="61" y="5"/>
                  <a:pt x="61" y="5"/>
                </a:cubicBezTo>
                <a:cubicBezTo>
                  <a:pt x="61" y="6"/>
                  <a:pt x="56" y="5"/>
                  <a:pt x="57" y="6"/>
                </a:cubicBezTo>
                <a:cubicBezTo>
                  <a:pt x="58" y="8"/>
                  <a:pt x="61" y="9"/>
                  <a:pt x="62" y="10"/>
                </a:cubicBezTo>
                <a:cubicBezTo>
                  <a:pt x="64" y="12"/>
                  <a:pt x="61" y="11"/>
                  <a:pt x="60" y="10"/>
                </a:cubicBezTo>
                <a:cubicBezTo>
                  <a:pt x="58" y="8"/>
                  <a:pt x="56" y="9"/>
                  <a:pt x="55" y="8"/>
                </a:cubicBezTo>
                <a:cubicBezTo>
                  <a:pt x="54" y="7"/>
                  <a:pt x="50" y="6"/>
                  <a:pt x="49" y="6"/>
                </a:cubicBezTo>
                <a:cubicBezTo>
                  <a:pt x="48" y="7"/>
                  <a:pt x="51" y="9"/>
                  <a:pt x="51" y="9"/>
                </a:cubicBezTo>
                <a:cubicBezTo>
                  <a:pt x="51" y="10"/>
                  <a:pt x="49" y="9"/>
                  <a:pt x="48" y="10"/>
                </a:cubicBezTo>
                <a:cubicBezTo>
                  <a:pt x="48" y="10"/>
                  <a:pt x="46" y="7"/>
                  <a:pt x="44" y="7"/>
                </a:cubicBezTo>
                <a:cubicBezTo>
                  <a:pt x="43" y="7"/>
                  <a:pt x="44" y="9"/>
                  <a:pt x="44" y="10"/>
                </a:cubicBezTo>
                <a:cubicBezTo>
                  <a:pt x="44" y="12"/>
                  <a:pt x="41" y="13"/>
                  <a:pt x="42" y="12"/>
                </a:cubicBezTo>
                <a:cubicBezTo>
                  <a:pt x="43" y="11"/>
                  <a:pt x="42" y="8"/>
                  <a:pt x="41" y="7"/>
                </a:cubicBezTo>
                <a:cubicBezTo>
                  <a:pt x="40" y="7"/>
                  <a:pt x="36" y="8"/>
                  <a:pt x="34" y="8"/>
                </a:cubicBezTo>
                <a:cubicBezTo>
                  <a:pt x="32" y="8"/>
                  <a:pt x="30" y="9"/>
                  <a:pt x="32" y="10"/>
                </a:cubicBezTo>
                <a:cubicBezTo>
                  <a:pt x="33" y="11"/>
                  <a:pt x="32" y="11"/>
                  <a:pt x="30" y="10"/>
                </a:cubicBezTo>
                <a:cubicBezTo>
                  <a:pt x="29" y="9"/>
                  <a:pt x="24" y="10"/>
                  <a:pt x="25" y="11"/>
                </a:cubicBezTo>
                <a:cubicBezTo>
                  <a:pt x="26" y="11"/>
                  <a:pt x="26" y="13"/>
                  <a:pt x="26" y="14"/>
                </a:cubicBezTo>
                <a:cubicBezTo>
                  <a:pt x="25" y="15"/>
                  <a:pt x="23" y="13"/>
                  <a:pt x="22" y="13"/>
                </a:cubicBezTo>
                <a:cubicBezTo>
                  <a:pt x="20" y="14"/>
                  <a:pt x="11" y="18"/>
                  <a:pt x="12" y="19"/>
                </a:cubicBezTo>
                <a:cubicBezTo>
                  <a:pt x="12" y="20"/>
                  <a:pt x="16" y="19"/>
                  <a:pt x="17" y="20"/>
                </a:cubicBezTo>
                <a:cubicBezTo>
                  <a:pt x="18" y="20"/>
                  <a:pt x="17" y="23"/>
                  <a:pt x="15" y="24"/>
                </a:cubicBezTo>
                <a:cubicBezTo>
                  <a:pt x="14" y="25"/>
                  <a:pt x="8" y="24"/>
                  <a:pt x="8" y="25"/>
                </a:cubicBezTo>
                <a:cubicBezTo>
                  <a:pt x="8" y="26"/>
                  <a:pt x="0" y="26"/>
                  <a:pt x="0" y="28"/>
                </a:cubicBezTo>
                <a:cubicBezTo>
                  <a:pt x="0" y="29"/>
                  <a:pt x="0" y="30"/>
                  <a:pt x="1" y="30"/>
                </a:cubicBezTo>
                <a:cubicBezTo>
                  <a:pt x="2" y="30"/>
                  <a:pt x="4" y="30"/>
                  <a:pt x="5" y="31"/>
                </a:cubicBezTo>
                <a:cubicBezTo>
                  <a:pt x="6" y="32"/>
                  <a:pt x="9" y="32"/>
                  <a:pt x="11" y="31"/>
                </a:cubicBezTo>
                <a:cubicBezTo>
                  <a:pt x="13" y="31"/>
                  <a:pt x="14" y="32"/>
                  <a:pt x="14" y="33"/>
                </a:cubicBezTo>
                <a:cubicBezTo>
                  <a:pt x="14" y="34"/>
                  <a:pt x="10" y="32"/>
                  <a:pt x="8" y="33"/>
                </a:cubicBezTo>
                <a:cubicBezTo>
                  <a:pt x="7" y="34"/>
                  <a:pt x="3" y="33"/>
                  <a:pt x="3" y="34"/>
                </a:cubicBezTo>
                <a:cubicBezTo>
                  <a:pt x="3" y="35"/>
                  <a:pt x="5" y="35"/>
                  <a:pt x="7" y="35"/>
                </a:cubicBezTo>
                <a:cubicBezTo>
                  <a:pt x="9" y="36"/>
                  <a:pt x="7" y="36"/>
                  <a:pt x="7" y="37"/>
                </a:cubicBezTo>
                <a:cubicBezTo>
                  <a:pt x="7" y="38"/>
                  <a:pt x="8" y="38"/>
                  <a:pt x="10" y="38"/>
                </a:cubicBezTo>
                <a:cubicBezTo>
                  <a:pt x="11" y="39"/>
                  <a:pt x="14" y="40"/>
                  <a:pt x="13" y="39"/>
                </a:cubicBezTo>
                <a:cubicBezTo>
                  <a:pt x="12" y="38"/>
                  <a:pt x="15" y="38"/>
                  <a:pt x="15" y="39"/>
                </a:cubicBezTo>
                <a:cubicBezTo>
                  <a:pt x="16" y="39"/>
                  <a:pt x="17" y="38"/>
                  <a:pt x="18" y="38"/>
                </a:cubicBezTo>
                <a:cubicBezTo>
                  <a:pt x="20" y="38"/>
                  <a:pt x="20" y="37"/>
                  <a:pt x="21" y="37"/>
                </a:cubicBezTo>
                <a:cubicBezTo>
                  <a:pt x="22" y="38"/>
                  <a:pt x="27" y="39"/>
                  <a:pt x="28" y="39"/>
                </a:cubicBezTo>
                <a:cubicBezTo>
                  <a:pt x="30" y="40"/>
                  <a:pt x="32" y="40"/>
                  <a:pt x="32" y="42"/>
                </a:cubicBezTo>
                <a:cubicBezTo>
                  <a:pt x="31" y="43"/>
                  <a:pt x="33" y="44"/>
                  <a:pt x="35" y="45"/>
                </a:cubicBezTo>
                <a:cubicBezTo>
                  <a:pt x="37" y="45"/>
                  <a:pt x="37" y="47"/>
                  <a:pt x="37" y="48"/>
                </a:cubicBezTo>
                <a:cubicBezTo>
                  <a:pt x="37" y="49"/>
                  <a:pt x="39" y="50"/>
                  <a:pt x="38" y="51"/>
                </a:cubicBezTo>
                <a:cubicBezTo>
                  <a:pt x="38" y="51"/>
                  <a:pt x="38" y="52"/>
                  <a:pt x="39" y="53"/>
                </a:cubicBezTo>
                <a:cubicBezTo>
                  <a:pt x="41" y="54"/>
                  <a:pt x="38" y="55"/>
                  <a:pt x="38" y="56"/>
                </a:cubicBezTo>
                <a:cubicBezTo>
                  <a:pt x="39" y="57"/>
                  <a:pt x="37" y="58"/>
                  <a:pt x="39" y="59"/>
                </a:cubicBezTo>
                <a:cubicBezTo>
                  <a:pt x="41" y="59"/>
                  <a:pt x="41" y="57"/>
                  <a:pt x="43" y="57"/>
                </a:cubicBezTo>
                <a:cubicBezTo>
                  <a:pt x="44" y="57"/>
                  <a:pt x="43" y="59"/>
                  <a:pt x="44" y="59"/>
                </a:cubicBezTo>
                <a:cubicBezTo>
                  <a:pt x="44" y="60"/>
                  <a:pt x="46" y="60"/>
                  <a:pt x="48" y="61"/>
                </a:cubicBezTo>
                <a:cubicBezTo>
                  <a:pt x="49" y="63"/>
                  <a:pt x="48" y="63"/>
                  <a:pt x="47" y="62"/>
                </a:cubicBezTo>
                <a:cubicBezTo>
                  <a:pt x="45" y="61"/>
                  <a:pt x="41" y="62"/>
                  <a:pt x="41" y="62"/>
                </a:cubicBezTo>
                <a:cubicBezTo>
                  <a:pt x="41" y="62"/>
                  <a:pt x="46" y="65"/>
                  <a:pt x="47" y="65"/>
                </a:cubicBezTo>
                <a:cubicBezTo>
                  <a:pt x="48" y="64"/>
                  <a:pt x="50" y="66"/>
                  <a:pt x="49" y="67"/>
                </a:cubicBezTo>
                <a:cubicBezTo>
                  <a:pt x="48" y="68"/>
                  <a:pt x="49" y="69"/>
                  <a:pt x="48" y="70"/>
                </a:cubicBezTo>
                <a:cubicBezTo>
                  <a:pt x="48" y="71"/>
                  <a:pt x="47" y="70"/>
                  <a:pt x="46" y="70"/>
                </a:cubicBezTo>
                <a:cubicBezTo>
                  <a:pt x="45" y="70"/>
                  <a:pt x="44" y="71"/>
                  <a:pt x="44" y="72"/>
                </a:cubicBezTo>
                <a:cubicBezTo>
                  <a:pt x="44" y="73"/>
                  <a:pt x="42" y="74"/>
                  <a:pt x="42" y="75"/>
                </a:cubicBezTo>
                <a:cubicBezTo>
                  <a:pt x="42" y="76"/>
                  <a:pt x="43" y="76"/>
                  <a:pt x="44" y="77"/>
                </a:cubicBezTo>
                <a:cubicBezTo>
                  <a:pt x="45" y="77"/>
                  <a:pt x="43" y="78"/>
                  <a:pt x="42" y="79"/>
                </a:cubicBezTo>
                <a:cubicBezTo>
                  <a:pt x="42" y="80"/>
                  <a:pt x="45" y="82"/>
                  <a:pt x="46" y="82"/>
                </a:cubicBezTo>
                <a:cubicBezTo>
                  <a:pt x="46" y="83"/>
                  <a:pt x="46" y="85"/>
                  <a:pt x="46" y="86"/>
                </a:cubicBezTo>
                <a:cubicBezTo>
                  <a:pt x="46" y="87"/>
                  <a:pt x="47" y="86"/>
                  <a:pt x="47" y="87"/>
                </a:cubicBezTo>
                <a:cubicBezTo>
                  <a:pt x="47" y="88"/>
                  <a:pt x="48" y="88"/>
                  <a:pt x="48" y="89"/>
                </a:cubicBezTo>
                <a:cubicBezTo>
                  <a:pt x="48" y="90"/>
                  <a:pt x="50" y="90"/>
                  <a:pt x="50" y="91"/>
                </a:cubicBezTo>
                <a:cubicBezTo>
                  <a:pt x="50" y="92"/>
                  <a:pt x="51" y="93"/>
                  <a:pt x="51" y="94"/>
                </a:cubicBezTo>
                <a:cubicBezTo>
                  <a:pt x="52" y="94"/>
                  <a:pt x="53" y="96"/>
                  <a:pt x="54" y="96"/>
                </a:cubicBezTo>
                <a:cubicBezTo>
                  <a:pt x="54" y="97"/>
                  <a:pt x="55" y="98"/>
                  <a:pt x="56" y="98"/>
                </a:cubicBezTo>
                <a:cubicBezTo>
                  <a:pt x="57" y="98"/>
                  <a:pt x="57" y="99"/>
                  <a:pt x="58" y="99"/>
                </a:cubicBezTo>
                <a:cubicBezTo>
                  <a:pt x="59" y="99"/>
                  <a:pt x="61" y="99"/>
                  <a:pt x="61" y="100"/>
                </a:cubicBezTo>
                <a:cubicBezTo>
                  <a:pt x="61" y="101"/>
                  <a:pt x="64" y="101"/>
                  <a:pt x="65" y="101"/>
                </a:cubicBezTo>
                <a:cubicBezTo>
                  <a:pt x="65" y="101"/>
                  <a:pt x="66" y="100"/>
                  <a:pt x="66" y="100"/>
                </a:cubicBezTo>
                <a:cubicBezTo>
                  <a:pt x="67" y="99"/>
                  <a:pt x="67" y="96"/>
                  <a:pt x="67" y="96"/>
                </a:cubicBezTo>
                <a:cubicBezTo>
                  <a:pt x="68" y="96"/>
                  <a:pt x="68" y="93"/>
                  <a:pt x="67" y="93"/>
                </a:cubicBezTo>
                <a:cubicBezTo>
                  <a:pt x="67" y="92"/>
                  <a:pt x="67" y="91"/>
                  <a:pt x="68" y="92"/>
                </a:cubicBezTo>
                <a:cubicBezTo>
                  <a:pt x="70" y="92"/>
                  <a:pt x="69" y="90"/>
                  <a:pt x="70" y="90"/>
                </a:cubicBezTo>
                <a:cubicBezTo>
                  <a:pt x="71" y="90"/>
                  <a:pt x="70" y="89"/>
                  <a:pt x="71" y="88"/>
                </a:cubicBezTo>
                <a:cubicBezTo>
                  <a:pt x="71" y="88"/>
                  <a:pt x="71" y="87"/>
                  <a:pt x="71" y="87"/>
                </a:cubicBezTo>
                <a:cubicBezTo>
                  <a:pt x="71" y="86"/>
                  <a:pt x="71" y="86"/>
                  <a:pt x="72" y="86"/>
                </a:cubicBezTo>
                <a:cubicBezTo>
                  <a:pt x="73" y="86"/>
                  <a:pt x="72" y="85"/>
                  <a:pt x="71" y="84"/>
                </a:cubicBezTo>
                <a:cubicBezTo>
                  <a:pt x="70" y="84"/>
                  <a:pt x="71" y="83"/>
                  <a:pt x="72" y="83"/>
                </a:cubicBezTo>
                <a:cubicBezTo>
                  <a:pt x="73" y="84"/>
                  <a:pt x="74" y="83"/>
                  <a:pt x="73" y="83"/>
                </a:cubicBezTo>
                <a:cubicBezTo>
                  <a:pt x="72" y="82"/>
                  <a:pt x="74" y="82"/>
                  <a:pt x="75" y="81"/>
                </a:cubicBezTo>
                <a:cubicBezTo>
                  <a:pt x="76" y="81"/>
                  <a:pt x="77" y="81"/>
                  <a:pt x="77" y="80"/>
                </a:cubicBezTo>
                <a:cubicBezTo>
                  <a:pt x="77" y="78"/>
                  <a:pt x="78" y="79"/>
                  <a:pt x="78" y="79"/>
                </a:cubicBezTo>
                <a:cubicBezTo>
                  <a:pt x="78" y="80"/>
                  <a:pt x="78" y="81"/>
                  <a:pt x="78" y="81"/>
                </a:cubicBezTo>
                <a:cubicBezTo>
                  <a:pt x="79" y="80"/>
                  <a:pt x="80" y="80"/>
                  <a:pt x="83" y="80"/>
                </a:cubicBezTo>
                <a:cubicBezTo>
                  <a:pt x="85" y="79"/>
                  <a:pt x="87" y="77"/>
                  <a:pt x="88" y="76"/>
                </a:cubicBezTo>
                <a:cubicBezTo>
                  <a:pt x="88" y="74"/>
                  <a:pt x="91" y="74"/>
                  <a:pt x="90" y="73"/>
                </a:cubicBezTo>
                <a:cubicBezTo>
                  <a:pt x="90" y="72"/>
                  <a:pt x="91" y="71"/>
                  <a:pt x="92" y="72"/>
                </a:cubicBezTo>
                <a:cubicBezTo>
                  <a:pt x="94" y="73"/>
                  <a:pt x="93" y="71"/>
                  <a:pt x="95" y="71"/>
                </a:cubicBezTo>
                <a:cubicBezTo>
                  <a:pt x="96" y="71"/>
                  <a:pt x="96" y="71"/>
                  <a:pt x="98" y="71"/>
                </a:cubicBezTo>
                <a:cubicBezTo>
                  <a:pt x="100" y="71"/>
                  <a:pt x="104" y="70"/>
                  <a:pt x="106" y="69"/>
                </a:cubicBezTo>
                <a:cubicBezTo>
                  <a:pt x="107" y="67"/>
                  <a:pt x="111" y="66"/>
                  <a:pt x="112" y="65"/>
                </a:cubicBezTo>
                <a:cubicBezTo>
                  <a:pt x="113" y="64"/>
                  <a:pt x="114" y="64"/>
                  <a:pt x="113" y="64"/>
                </a:cubicBezTo>
                <a:cubicBezTo>
                  <a:pt x="112" y="65"/>
                  <a:pt x="110" y="65"/>
                  <a:pt x="109" y="64"/>
                </a:cubicBezTo>
                <a:cubicBezTo>
                  <a:pt x="108" y="64"/>
                  <a:pt x="105" y="63"/>
                  <a:pt x="104" y="64"/>
                </a:cubicBezTo>
                <a:cubicBezTo>
                  <a:pt x="102" y="65"/>
                  <a:pt x="103" y="63"/>
                  <a:pt x="105" y="62"/>
                </a:cubicBezTo>
                <a:cubicBezTo>
                  <a:pt x="106" y="62"/>
                  <a:pt x="105" y="62"/>
                  <a:pt x="105" y="60"/>
                </a:cubicBezTo>
                <a:cubicBezTo>
                  <a:pt x="105" y="59"/>
                  <a:pt x="107" y="60"/>
                  <a:pt x="108" y="61"/>
                </a:cubicBezTo>
                <a:cubicBezTo>
                  <a:pt x="109" y="63"/>
                  <a:pt x="111" y="63"/>
                  <a:pt x="113" y="63"/>
                </a:cubicBezTo>
                <a:cubicBezTo>
                  <a:pt x="115" y="62"/>
                  <a:pt x="113" y="61"/>
                  <a:pt x="114" y="60"/>
                </a:cubicBezTo>
                <a:cubicBezTo>
                  <a:pt x="115" y="59"/>
                  <a:pt x="108" y="56"/>
                  <a:pt x="108" y="55"/>
                </a:cubicBezTo>
                <a:cubicBezTo>
                  <a:pt x="108" y="54"/>
                  <a:pt x="110" y="55"/>
                  <a:pt x="111" y="55"/>
                </a:cubicBezTo>
                <a:cubicBezTo>
                  <a:pt x="113" y="56"/>
                  <a:pt x="113" y="54"/>
                  <a:pt x="113" y="53"/>
                </a:cubicBezTo>
                <a:cubicBezTo>
                  <a:pt x="113" y="52"/>
                  <a:pt x="110" y="52"/>
                  <a:pt x="108" y="53"/>
                </a:cubicBezTo>
                <a:cubicBezTo>
                  <a:pt x="106" y="54"/>
                  <a:pt x="105" y="52"/>
                  <a:pt x="107" y="51"/>
                </a:cubicBezTo>
                <a:cubicBezTo>
                  <a:pt x="109" y="51"/>
                  <a:pt x="107" y="50"/>
                  <a:pt x="108" y="50"/>
                </a:cubicBezTo>
                <a:cubicBezTo>
                  <a:pt x="109" y="49"/>
                  <a:pt x="111" y="52"/>
                  <a:pt x="113" y="51"/>
                </a:cubicBezTo>
                <a:cubicBezTo>
                  <a:pt x="114" y="51"/>
                  <a:pt x="115" y="51"/>
                  <a:pt x="117" y="50"/>
                </a:cubicBezTo>
                <a:cubicBezTo>
                  <a:pt x="118" y="49"/>
                  <a:pt x="114" y="48"/>
                  <a:pt x="114" y="47"/>
                </a:cubicBezTo>
                <a:cubicBezTo>
                  <a:pt x="113" y="47"/>
                  <a:pt x="117" y="47"/>
                  <a:pt x="119" y="47"/>
                </a:cubicBezTo>
                <a:cubicBezTo>
                  <a:pt x="120" y="47"/>
                  <a:pt x="120" y="45"/>
                  <a:pt x="119" y="45"/>
                </a:cubicBezTo>
                <a:cubicBezTo>
                  <a:pt x="118" y="46"/>
                  <a:pt x="114" y="44"/>
                  <a:pt x="115" y="43"/>
                </a:cubicBezTo>
                <a:cubicBezTo>
                  <a:pt x="116" y="42"/>
                  <a:pt x="117" y="43"/>
                  <a:pt x="119" y="42"/>
                </a:cubicBezTo>
                <a:cubicBezTo>
                  <a:pt x="121" y="41"/>
                  <a:pt x="119" y="38"/>
                  <a:pt x="118" y="38"/>
                </a:cubicBezTo>
                <a:cubicBezTo>
                  <a:pt x="117" y="38"/>
                  <a:pt x="114" y="38"/>
                  <a:pt x="114" y="37"/>
                </a:cubicBezTo>
                <a:cubicBezTo>
                  <a:pt x="114" y="37"/>
                  <a:pt x="112" y="36"/>
                  <a:pt x="112" y="36"/>
                </a:cubicBezTo>
                <a:cubicBezTo>
                  <a:pt x="113" y="35"/>
                  <a:pt x="114" y="36"/>
                  <a:pt x="115" y="35"/>
                </a:cubicBezTo>
                <a:cubicBezTo>
                  <a:pt x="117" y="34"/>
                  <a:pt x="120" y="35"/>
                  <a:pt x="121" y="35"/>
                </a:cubicBezTo>
                <a:cubicBezTo>
                  <a:pt x="123" y="35"/>
                  <a:pt x="121" y="32"/>
                  <a:pt x="120" y="33"/>
                </a:cubicBezTo>
                <a:cubicBezTo>
                  <a:pt x="119" y="33"/>
                  <a:pt x="117" y="33"/>
                  <a:pt x="116" y="32"/>
                </a:cubicBezTo>
                <a:cubicBezTo>
                  <a:pt x="116" y="31"/>
                  <a:pt x="119" y="32"/>
                  <a:pt x="119" y="31"/>
                </a:cubicBezTo>
                <a:cubicBezTo>
                  <a:pt x="120" y="31"/>
                  <a:pt x="116" y="29"/>
                  <a:pt x="115" y="30"/>
                </a:cubicBezTo>
                <a:cubicBezTo>
                  <a:pt x="114" y="32"/>
                  <a:pt x="112" y="31"/>
                  <a:pt x="113" y="31"/>
                </a:cubicBezTo>
                <a:cubicBezTo>
                  <a:pt x="114" y="30"/>
                  <a:pt x="115" y="28"/>
                  <a:pt x="115" y="26"/>
                </a:cubicBezTo>
                <a:cubicBezTo>
                  <a:pt x="114" y="25"/>
                  <a:pt x="119" y="25"/>
                  <a:pt x="118" y="23"/>
                </a:cubicBezTo>
                <a:cubicBezTo>
                  <a:pt x="118" y="22"/>
                  <a:pt x="121" y="21"/>
                  <a:pt x="122" y="21"/>
                </a:cubicBezTo>
                <a:cubicBezTo>
                  <a:pt x="124" y="21"/>
                  <a:pt x="122" y="19"/>
                  <a:pt x="121" y="19"/>
                </a:cubicBezTo>
                <a:cubicBezTo>
                  <a:pt x="119" y="20"/>
                  <a:pt x="118" y="21"/>
                  <a:pt x="117" y="21"/>
                </a:cubicBezTo>
                <a:cubicBezTo>
                  <a:pt x="116" y="20"/>
                  <a:pt x="119" y="19"/>
                  <a:pt x="120" y="19"/>
                </a:cubicBezTo>
                <a:cubicBezTo>
                  <a:pt x="121" y="19"/>
                  <a:pt x="124" y="19"/>
                  <a:pt x="126" y="18"/>
                </a:cubicBezTo>
                <a:cubicBezTo>
                  <a:pt x="127" y="17"/>
                  <a:pt x="124" y="17"/>
                  <a:pt x="121" y="17"/>
                </a:cubicBezTo>
                <a:cubicBezTo>
                  <a:pt x="119" y="17"/>
                  <a:pt x="119" y="16"/>
                  <a:pt x="123" y="16"/>
                </a:cubicBezTo>
                <a:cubicBezTo>
                  <a:pt x="126" y="16"/>
                  <a:pt x="125" y="16"/>
                  <a:pt x="127" y="15"/>
                </a:cubicBezTo>
                <a:cubicBezTo>
                  <a:pt x="130" y="15"/>
                  <a:pt x="129" y="14"/>
                  <a:pt x="130" y="14"/>
                </a:cubicBezTo>
                <a:cubicBezTo>
                  <a:pt x="132" y="14"/>
                  <a:pt x="135" y="13"/>
                  <a:pt x="135" y="12"/>
                </a:cubicBezTo>
                <a:cubicBezTo>
                  <a:pt x="135" y="11"/>
                  <a:pt x="130" y="10"/>
                  <a:pt x="128" y="10"/>
                </a:cubicBezTo>
                <a:moveTo>
                  <a:pt x="46" y="67"/>
                </a:moveTo>
                <a:cubicBezTo>
                  <a:pt x="46" y="66"/>
                  <a:pt x="45" y="66"/>
                  <a:pt x="44" y="65"/>
                </a:cubicBezTo>
                <a:cubicBezTo>
                  <a:pt x="44" y="64"/>
                  <a:pt x="40" y="63"/>
                  <a:pt x="40" y="64"/>
                </a:cubicBezTo>
                <a:cubicBezTo>
                  <a:pt x="40" y="65"/>
                  <a:pt x="39" y="65"/>
                  <a:pt x="40" y="66"/>
                </a:cubicBezTo>
                <a:cubicBezTo>
                  <a:pt x="41" y="67"/>
                  <a:pt x="41" y="67"/>
                  <a:pt x="42" y="67"/>
                </a:cubicBezTo>
                <a:cubicBezTo>
                  <a:pt x="43" y="68"/>
                  <a:pt x="46" y="68"/>
                  <a:pt x="46" y="67"/>
                </a:cubicBezTo>
              </a:path>
            </a:pathLst>
          </a:cu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359"/>
          <p:cNvSpPr>
            <a:spLocks noEditPoints="1"/>
          </p:cNvSpPr>
          <p:nvPr/>
        </p:nvSpPr>
        <p:spPr bwMode="auto">
          <a:xfrm>
            <a:off x="685806" y="2063501"/>
            <a:ext cx="950909" cy="732844"/>
          </a:xfrm>
          <a:custGeom>
            <a:avLst/>
            <a:gdLst>
              <a:gd name="T0" fmla="*/ 40 w 197"/>
              <a:gd name="T1" fmla="*/ 134 h 152"/>
              <a:gd name="T2" fmla="*/ 37 w 197"/>
              <a:gd name="T3" fmla="*/ 45 h 152"/>
              <a:gd name="T4" fmla="*/ 76 w 197"/>
              <a:gd name="T5" fmla="*/ 49 h 152"/>
              <a:gd name="T6" fmla="*/ 50 w 197"/>
              <a:gd name="T7" fmla="*/ 53 h 152"/>
              <a:gd name="T8" fmla="*/ 76 w 197"/>
              <a:gd name="T9" fmla="*/ 66 h 152"/>
              <a:gd name="T10" fmla="*/ 46 w 197"/>
              <a:gd name="T11" fmla="*/ 38 h 152"/>
              <a:gd name="T12" fmla="*/ 41 w 197"/>
              <a:gd name="T13" fmla="*/ 36 h 152"/>
              <a:gd name="T14" fmla="*/ 72 w 197"/>
              <a:gd name="T15" fmla="*/ 42 h 152"/>
              <a:gd name="T16" fmla="*/ 58 w 197"/>
              <a:gd name="T17" fmla="*/ 28 h 152"/>
              <a:gd name="T18" fmla="*/ 81 w 197"/>
              <a:gd name="T19" fmla="*/ 23 h 152"/>
              <a:gd name="T20" fmla="*/ 81 w 197"/>
              <a:gd name="T21" fmla="*/ 32 h 152"/>
              <a:gd name="T22" fmla="*/ 82 w 197"/>
              <a:gd name="T23" fmla="*/ 36 h 152"/>
              <a:gd name="T24" fmla="*/ 106 w 197"/>
              <a:gd name="T25" fmla="*/ 29 h 152"/>
              <a:gd name="T26" fmla="*/ 96 w 197"/>
              <a:gd name="T27" fmla="*/ 46 h 152"/>
              <a:gd name="T28" fmla="*/ 134 w 197"/>
              <a:gd name="T29" fmla="*/ 43 h 152"/>
              <a:gd name="T30" fmla="*/ 114 w 197"/>
              <a:gd name="T31" fmla="*/ 30 h 152"/>
              <a:gd name="T32" fmla="*/ 117 w 197"/>
              <a:gd name="T33" fmla="*/ 16 h 152"/>
              <a:gd name="T34" fmla="*/ 115 w 197"/>
              <a:gd name="T35" fmla="*/ 13 h 152"/>
              <a:gd name="T36" fmla="*/ 124 w 197"/>
              <a:gd name="T37" fmla="*/ 24 h 152"/>
              <a:gd name="T38" fmla="*/ 137 w 197"/>
              <a:gd name="T39" fmla="*/ 35 h 152"/>
              <a:gd name="T40" fmla="*/ 156 w 197"/>
              <a:gd name="T41" fmla="*/ 17 h 152"/>
              <a:gd name="T42" fmla="*/ 149 w 197"/>
              <a:gd name="T43" fmla="*/ 2 h 152"/>
              <a:gd name="T44" fmla="*/ 111 w 197"/>
              <a:gd name="T45" fmla="*/ 9 h 152"/>
              <a:gd name="T46" fmla="*/ 122 w 197"/>
              <a:gd name="T47" fmla="*/ 86 h 152"/>
              <a:gd name="T48" fmla="*/ 162 w 197"/>
              <a:gd name="T49" fmla="*/ 67 h 152"/>
              <a:gd name="T50" fmla="*/ 146 w 197"/>
              <a:gd name="T51" fmla="*/ 53 h 152"/>
              <a:gd name="T52" fmla="*/ 122 w 197"/>
              <a:gd name="T53" fmla="*/ 49 h 152"/>
              <a:gd name="T54" fmla="*/ 138 w 197"/>
              <a:gd name="T55" fmla="*/ 61 h 152"/>
              <a:gd name="T56" fmla="*/ 144 w 197"/>
              <a:gd name="T57" fmla="*/ 80 h 152"/>
              <a:gd name="T58" fmla="*/ 166 w 197"/>
              <a:gd name="T59" fmla="*/ 82 h 152"/>
              <a:gd name="T60" fmla="*/ 134 w 197"/>
              <a:gd name="T61" fmla="*/ 47 h 152"/>
              <a:gd name="T62" fmla="*/ 189 w 197"/>
              <a:gd name="T63" fmla="*/ 126 h 152"/>
              <a:gd name="T64" fmla="*/ 21 w 197"/>
              <a:gd name="T65" fmla="*/ 123 h 152"/>
              <a:gd name="T66" fmla="*/ 161 w 197"/>
              <a:gd name="T67" fmla="*/ 135 h 152"/>
              <a:gd name="T68" fmla="*/ 189 w 197"/>
              <a:gd name="T69" fmla="*/ 119 h 152"/>
              <a:gd name="T70" fmla="*/ 175 w 197"/>
              <a:gd name="T71" fmla="*/ 110 h 152"/>
              <a:gd name="T72" fmla="*/ 165 w 197"/>
              <a:gd name="T73" fmla="*/ 104 h 152"/>
              <a:gd name="T74" fmla="*/ 149 w 197"/>
              <a:gd name="T75" fmla="*/ 91 h 152"/>
              <a:gd name="T76" fmla="*/ 142 w 197"/>
              <a:gd name="T77" fmla="*/ 107 h 152"/>
              <a:gd name="T78" fmla="*/ 130 w 197"/>
              <a:gd name="T79" fmla="*/ 121 h 152"/>
              <a:gd name="T80" fmla="*/ 105 w 197"/>
              <a:gd name="T81" fmla="*/ 103 h 152"/>
              <a:gd name="T82" fmla="*/ 113 w 197"/>
              <a:gd name="T83" fmla="*/ 85 h 152"/>
              <a:gd name="T84" fmla="*/ 127 w 197"/>
              <a:gd name="T85" fmla="*/ 76 h 152"/>
              <a:gd name="T86" fmla="*/ 125 w 197"/>
              <a:gd name="T87" fmla="*/ 67 h 152"/>
              <a:gd name="T88" fmla="*/ 113 w 197"/>
              <a:gd name="T89" fmla="*/ 67 h 152"/>
              <a:gd name="T90" fmla="*/ 105 w 197"/>
              <a:gd name="T91" fmla="*/ 53 h 152"/>
              <a:gd name="T92" fmla="*/ 101 w 197"/>
              <a:gd name="T93" fmla="*/ 57 h 152"/>
              <a:gd name="T94" fmla="*/ 99 w 197"/>
              <a:gd name="T95" fmla="*/ 71 h 152"/>
              <a:gd name="T96" fmla="*/ 96 w 197"/>
              <a:gd name="T97" fmla="*/ 68 h 152"/>
              <a:gd name="T98" fmla="*/ 78 w 197"/>
              <a:gd name="T99" fmla="*/ 68 h 152"/>
              <a:gd name="T100" fmla="*/ 52 w 197"/>
              <a:gd name="T101" fmla="*/ 67 h 152"/>
              <a:gd name="T102" fmla="*/ 19 w 197"/>
              <a:gd name="T103" fmla="*/ 67 h 152"/>
              <a:gd name="T104" fmla="*/ 9 w 197"/>
              <a:gd name="T105" fmla="*/ 67 h 152"/>
              <a:gd name="T106" fmla="*/ 25 w 197"/>
              <a:gd name="T107" fmla="*/ 115 h 152"/>
              <a:gd name="T108" fmla="*/ 35 w 197"/>
              <a:gd name="T109" fmla="*/ 129 h 152"/>
              <a:gd name="T110" fmla="*/ 122 w 197"/>
              <a:gd name="T111" fmla="*/ 135 h 152"/>
              <a:gd name="T112" fmla="*/ 137 w 197"/>
              <a:gd name="T113" fmla="*/ 150 h 152"/>
              <a:gd name="T114" fmla="*/ 170 w 197"/>
              <a:gd name="T115" fmla="*/ 142 h 152"/>
              <a:gd name="T116" fmla="*/ 47 w 197"/>
              <a:gd name="T117" fmla="*/ 80 h 152"/>
              <a:gd name="T118" fmla="*/ 47 w 197"/>
              <a:gd name="T119" fmla="*/ 77 h 152"/>
              <a:gd name="T120" fmla="*/ 99 w 197"/>
              <a:gd name="T121"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7" h="152">
                <a:moveTo>
                  <a:pt x="39" y="133"/>
                </a:moveTo>
                <a:cubicBezTo>
                  <a:pt x="38" y="132"/>
                  <a:pt x="36" y="133"/>
                  <a:pt x="36" y="132"/>
                </a:cubicBezTo>
                <a:cubicBezTo>
                  <a:pt x="36" y="131"/>
                  <a:pt x="34" y="129"/>
                  <a:pt x="34" y="129"/>
                </a:cubicBezTo>
                <a:cubicBezTo>
                  <a:pt x="33" y="129"/>
                  <a:pt x="32" y="129"/>
                  <a:pt x="31" y="128"/>
                </a:cubicBezTo>
                <a:cubicBezTo>
                  <a:pt x="30" y="128"/>
                  <a:pt x="29" y="128"/>
                  <a:pt x="28" y="128"/>
                </a:cubicBezTo>
                <a:cubicBezTo>
                  <a:pt x="28" y="129"/>
                  <a:pt x="29" y="129"/>
                  <a:pt x="29" y="129"/>
                </a:cubicBezTo>
                <a:cubicBezTo>
                  <a:pt x="29" y="130"/>
                  <a:pt x="29" y="130"/>
                  <a:pt x="30" y="130"/>
                </a:cubicBezTo>
                <a:cubicBezTo>
                  <a:pt x="31" y="130"/>
                  <a:pt x="31" y="131"/>
                  <a:pt x="32" y="131"/>
                </a:cubicBezTo>
                <a:cubicBezTo>
                  <a:pt x="32" y="131"/>
                  <a:pt x="32" y="132"/>
                  <a:pt x="33" y="132"/>
                </a:cubicBezTo>
                <a:cubicBezTo>
                  <a:pt x="34" y="132"/>
                  <a:pt x="34" y="133"/>
                  <a:pt x="34" y="133"/>
                </a:cubicBezTo>
                <a:cubicBezTo>
                  <a:pt x="35" y="134"/>
                  <a:pt x="35" y="133"/>
                  <a:pt x="35" y="134"/>
                </a:cubicBezTo>
                <a:cubicBezTo>
                  <a:pt x="35" y="134"/>
                  <a:pt x="36" y="134"/>
                  <a:pt x="36" y="135"/>
                </a:cubicBezTo>
                <a:cubicBezTo>
                  <a:pt x="38" y="135"/>
                  <a:pt x="39" y="135"/>
                  <a:pt x="40" y="135"/>
                </a:cubicBezTo>
                <a:cubicBezTo>
                  <a:pt x="40" y="135"/>
                  <a:pt x="40" y="134"/>
                  <a:pt x="40" y="134"/>
                </a:cubicBezTo>
                <a:cubicBezTo>
                  <a:pt x="40" y="133"/>
                  <a:pt x="39" y="134"/>
                  <a:pt x="39" y="133"/>
                </a:cubicBezTo>
                <a:moveTo>
                  <a:pt x="37" y="55"/>
                </a:moveTo>
                <a:cubicBezTo>
                  <a:pt x="39" y="56"/>
                  <a:pt x="39" y="59"/>
                  <a:pt x="40" y="59"/>
                </a:cubicBezTo>
                <a:cubicBezTo>
                  <a:pt x="41" y="59"/>
                  <a:pt x="40" y="58"/>
                  <a:pt x="42" y="58"/>
                </a:cubicBezTo>
                <a:cubicBezTo>
                  <a:pt x="43" y="58"/>
                  <a:pt x="43" y="57"/>
                  <a:pt x="44" y="57"/>
                </a:cubicBezTo>
                <a:cubicBezTo>
                  <a:pt x="45" y="57"/>
                  <a:pt x="46" y="57"/>
                  <a:pt x="46" y="56"/>
                </a:cubicBezTo>
                <a:cubicBezTo>
                  <a:pt x="46" y="54"/>
                  <a:pt x="47" y="54"/>
                  <a:pt x="48" y="53"/>
                </a:cubicBezTo>
                <a:cubicBezTo>
                  <a:pt x="49" y="53"/>
                  <a:pt x="48" y="52"/>
                  <a:pt x="50" y="51"/>
                </a:cubicBezTo>
                <a:cubicBezTo>
                  <a:pt x="51" y="51"/>
                  <a:pt x="56" y="49"/>
                  <a:pt x="57" y="48"/>
                </a:cubicBezTo>
                <a:cubicBezTo>
                  <a:pt x="58" y="48"/>
                  <a:pt x="56" y="47"/>
                  <a:pt x="54" y="46"/>
                </a:cubicBezTo>
                <a:cubicBezTo>
                  <a:pt x="52" y="45"/>
                  <a:pt x="51" y="44"/>
                  <a:pt x="50" y="45"/>
                </a:cubicBezTo>
                <a:cubicBezTo>
                  <a:pt x="48" y="46"/>
                  <a:pt x="49" y="44"/>
                  <a:pt x="48" y="45"/>
                </a:cubicBezTo>
                <a:cubicBezTo>
                  <a:pt x="47" y="45"/>
                  <a:pt x="44" y="44"/>
                  <a:pt x="44" y="44"/>
                </a:cubicBezTo>
                <a:cubicBezTo>
                  <a:pt x="43" y="43"/>
                  <a:pt x="38" y="45"/>
                  <a:pt x="37" y="45"/>
                </a:cubicBezTo>
                <a:cubicBezTo>
                  <a:pt x="36" y="45"/>
                  <a:pt x="37" y="46"/>
                  <a:pt x="38" y="47"/>
                </a:cubicBezTo>
                <a:cubicBezTo>
                  <a:pt x="39" y="47"/>
                  <a:pt x="36" y="50"/>
                  <a:pt x="36" y="50"/>
                </a:cubicBezTo>
                <a:cubicBezTo>
                  <a:pt x="37" y="51"/>
                  <a:pt x="36" y="52"/>
                  <a:pt x="34" y="53"/>
                </a:cubicBezTo>
                <a:cubicBezTo>
                  <a:pt x="33" y="55"/>
                  <a:pt x="35" y="55"/>
                  <a:pt x="37" y="55"/>
                </a:cubicBezTo>
                <a:moveTo>
                  <a:pt x="86" y="63"/>
                </a:moveTo>
                <a:cubicBezTo>
                  <a:pt x="87" y="63"/>
                  <a:pt x="89" y="65"/>
                  <a:pt x="89" y="63"/>
                </a:cubicBezTo>
                <a:cubicBezTo>
                  <a:pt x="89" y="62"/>
                  <a:pt x="86" y="61"/>
                  <a:pt x="85" y="60"/>
                </a:cubicBezTo>
                <a:cubicBezTo>
                  <a:pt x="84" y="59"/>
                  <a:pt x="84" y="60"/>
                  <a:pt x="82" y="58"/>
                </a:cubicBezTo>
                <a:cubicBezTo>
                  <a:pt x="80" y="57"/>
                  <a:pt x="82" y="56"/>
                  <a:pt x="81" y="55"/>
                </a:cubicBezTo>
                <a:cubicBezTo>
                  <a:pt x="79" y="54"/>
                  <a:pt x="79" y="51"/>
                  <a:pt x="80" y="50"/>
                </a:cubicBezTo>
                <a:cubicBezTo>
                  <a:pt x="81" y="49"/>
                  <a:pt x="82" y="48"/>
                  <a:pt x="80" y="47"/>
                </a:cubicBezTo>
                <a:cubicBezTo>
                  <a:pt x="79" y="47"/>
                  <a:pt x="76" y="48"/>
                  <a:pt x="76" y="48"/>
                </a:cubicBezTo>
                <a:cubicBezTo>
                  <a:pt x="76" y="49"/>
                  <a:pt x="79" y="50"/>
                  <a:pt x="79" y="51"/>
                </a:cubicBezTo>
                <a:cubicBezTo>
                  <a:pt x="79" y="51"/>
                  <a:pt x="76" y="49"/>
                  <a:pt x="76" y="49"/>
                </a:cubicBezTo>
                <a:cubicBezTo>
                  <a:pt x="75" y="50"/>
                  <a:pt x="74" y="48"/>
                  <a:pt x="73" y="49"/>
                </a:cubicBezTo>
                <a:cubicBezTo>
                  <a:pt x="73" y="50"/>
                  <a:pt x="74" y="54"/>
                  <a:pt x="75" y="55"/>
                </a:cubicBezTo>
                <a:cubicBezTo>
                  <a:pt x="75" y="56"/>
                  <a:pt x="74" y="56"/>
                  <a:pt x="73" y="56"/>
                </a:cubicBezTo>
                <a:cubicBezTo>
                  <a:pt x="73" y="56"/>
                  <a:pt x="73" y="53"/>
                  <a:pt x="72" y="52"/>
                </a:cubicBezTo>
                <a:cubicBezTo>
                  <a:pt x="71" y="51"/>
                  <a:pt x="68" y="50"/>
                  <a:pt x="68" y="51"/>
                </a:cubicBezTo>
                <a:cubicBezTo>
                  <a:pt x="67" y="51"/>
                  <a:pt x="70" y="51"/>
                  <a:pt x="69" y="52"/>
                </a:cubicBezTo>
                <a:cubicBezTo>
                  <a:pt x="69" y="53"/>
                  <a:pt x="68" y="52"/>
                  <a:pt x="67" y="53"/>
                </a:cubicBezTo>
                <a:cubicBezTo>
                  <a:pt x="66" y="53"/>
                  <a:pt x="66" y="53"/>
                  <a:pt x="66" y="52"/>
                </a:cubicBezTo>
                <a:cubicBezTo>
                  <a:pt x="66" y="51"/>
                  <a:pt x="64" y="50"/>
                  <a:pt x="63" y="50"/>
                </a:cubicBezTo>
                <a:cubicBezTo>
                  <a:pt x="61" y="51"/>
                  <a:pt x="62" y="52"/>
                  <a:pt x="61" y="52"/>
                </a:cubicBezTo>
                <a:cubicBezTo>
                  <a:pt x="60" y="53"/>
                  <a:pt x="58" y="52"/>
                  <a:pt x="59" y="52"/>
                </a:cubicBezTo>
                <a:cubicBezTo>
                  <a:pt x="61" y="51"/>
                  <a:pt x="60" y="50"/>
                  <a:pt x="60" y="49"/>
                </a:cubicBezTo>
                <a:cubicBezTo>
                  <a:pt x="59" y="48"/>
                  <a:pt x="57" y="49"/>
                  <a:pt x="54" y="50"/>
                </a:cubicBezTo>
                <a:cubicBezTo>
                  <a:pt x="51" y="52"/>
                  <a:pt x="50" y="53"/>
                  <a:pt x="50" y="53"/>
                </a:cubicBezTo>
                <a:cubicBezTo>
                  <a:pt x="51" y="53"/>
                  <a:pt x="51" y="53"/>
                  <a:pt x="49" y="54"/>
                </a:cubicBezTo>
                <a:cubicBezTo>
                  <a:pt x="48" y="55"/>
                  <a:pt x="49" y="56"/>
                  <a:pt x="51" y="56"/>
                </a:cubicBezTo>
                <a:cubicBezTo>
                  <a:pt x="52" y="56"/>
                  <a:pt x="51" y="57"/>
                  <a:pt x="51" y="57"/>
                </a:cubicBezTo>
                <a:cubicBezTo>
                  <a:pt x="52" y="58"/>
                  <a:pt x="56" y="56"/>
                  <a:pt x="57" y="57"/>
                </a:cubicBezTo>
                <a:cubicBezTo>
                  <a:pt x="58" y="57"/>
                  <a:pt x="51" y="58"/>
                  <a:pt x="51" y="59"/>
                </a:cubicBezTo>
                <a:cubicBezTo>
                  <a:pt x="51" y="60"/>
                  <a:pt x="55" y="61"/>
                  <a:pt x="57" y="60"/>
                </a:cubicBezTo>
                <a:cubicBezTo>
                  <a:pt x="60" y="60"/>
                  <a:pt x="65" y="61"/>
                  <a:pt x="65" y="61"/>
                </a:cubicBezTo>
                <a:cubicBezTo>
                  <a:pt x="65" y="62"/>
                  <a:pt x="62" y="62"/>
                  <a:pt x="59" y="62"/>
                </a:cubicBezTo>
                <a:cubicBezTo>
                  <a:pt x="57" y="62"/>
                  <a:pt x="53" y="62"/>
                  <a:pt x="53" y="63"/>
                </a:cubicBezTo>
                <a:cubicBezTo>
                  <a:pt x="53" y="64"/>
                  <a:pt x="53" y="64"/>
                  <a:pt x="56" y="65"/>
                </a:cubicBezTo>
                <a:cubicBezTo>
                  <a:pt x="58" y="66"/>
                  <a:pt x="61" y="65"/>
                  <a:pt x="61" y="66"/>
                </a:cubicBezTo>
                <a:cubicBezTo>
                  <a:pt x="61" y="68"/>
                  <a:pt x="62" y="68"/>
                  <a:pt x="66" y="68"/>
                </a:cubicBezTo>
                <a:cubicBezTo>
                  <a:pt x="69" y="69"/>
                  <a:pt x="71" y="67"/>
                  <a:pt x="72" y="67"/>
                </a:cubicBezTo>
                <a:cubicBezTo>
                  <a:pt x="74" y="67"/>
                  <a:pt x="75" y="67"/>
                  <a:pt x="76" y="66"/>
                </a:cubicBezTo>
                <a:cubicBezTo>
                  <a:pt x="76" y="64"/>
                  <a:pt x="77" y="65"/>
                  <a:pt x="77" y="66"/>
                </a:cubicBezTo>
                <a:cubicBezTo>
                  <a:pt x="77" y="66"/>
                  <a:pt x="80" y="66"/>
                  <a:pt x="80" y="67"/>
                </a:cubicBezTo>
                <a:cubicBezTo>
                  <a:pt x="81" y="68"/>
                  <a:pt x="85" y="68"/>
                  <a:pt x="87" y="67"/>
                </a:cubicBezTo>
                <a:cubicBezTo>
                  <a:pt x="89" y="66"/>
                  <a:pt x="86" y="64"/>
                  <a:pt x="86" y="65"/>
                </a:cubicBezTo>
                <a:cubicBezTo>
                  <a:pt x="85" y="66"/>
                  <a:pt x="84" y="65"/>
                  <a:pt x="84" y="65"/>
                </a:cubicBezTo>
                <a:cubicBezTo>
                  <a:pt x="84" y="64"/>
                  <a:pt x="85" y="64"/>
                  <a:pt x="86" y="63"/>
                </a:cubicBezTo>
                <a:moveTo>
                  <a:pt x="49" y="39"/>
                </a:moveTo>
                <a:cubicBezTo>
                  <a:pt x="51" y="39"/>
                  <a:pt x="52" y="38"/>
                  <a:pt x="52" y="37"/>
                </a:cubicBezTo>
                <a:cubicBezTo>
                  <a:pt x="52" y="36"/>
                  <a:pt x="48" y="39"/>
                  <a:pt x="49" y="39"/>
                </a:cubicBezTo>
                <a:moveTo>
                  <a:pt x="41" y="36"/>
                </a:moveTo>
                <a:cubicBezTo>
                  <a:pt x="41" y="37"/>
                  <a:pt x="41" y="38"/>
                  <a:pt x="41" y="38"/>
                </a:cubicBezTo>
                <a:cubicBezTo>
                  <a:pt x="42" y="37"/>
                  <a:pt x="42" y="37"/>
                  <a:pt x="43" y="37"/>
                </a:cubicBezTo>
                <a:cubicBezTo>
                  <a:pt x="44" y="38"/>
                  <a:pt x="44" y="37"/>
                  <a:pt x="45" y="36"/>
                </a:cubicBezTo>
                <a:cubicBezTo>
                  <a:pt x="45" y="36"/>
                  <a:pt x="45" y="38"/>
                  <a:pt x="46" y="38"/>
                </a:cubicBezTo>
                <a:cubicBezTo>
                  <a:pt x="47" y="38"/>
                  <a:pt x="47" y="36"/>
                  <a:pt x="48" y="36"/>
                </a:cubicBezTo>
                <a:cubicBezTo>
                  <a:pt x="49" y="37"/>
                  <a:pt x="49" y="36"/>
                  <a:pt x="50" y="35"/>
                </a:cubicBezTo>
                <a:cubicBezTo>
                  <a:pt x="50" y="35"/>
                  <a:pt x="50" y="34"/>
                  <a:pt x="51" y="33"/>
                </a:cubicBezTo>
                <a:cubicBezTo>
                  <a:pt x="52" y="33"/>
                  <a:pt x="51" y="34"/>
                  <a:pt x="52" y="35"/>
                </a:cubicBezTo>
                <a:cubicBezTo>
                  <a:pt x="52" y="37"/>
                  <a:pt x="54" y="35"/>
                  <a:pt x="54" y="35"/>
                </a:cubicBezTo>
                <a:cubicBezTo>
                  <a:pt x="54" y="34"/>
                  <a:pt x="56" y="35"/>
                  <a:pt x="55" y="34"/>
                </a:cubicBezTo>
                <a:cubicBezTo>
                  <a:pt x="55" y="33"/>
                  <a:pt x="56" y="33"/>
                  <a:pt x="55" y="32"/>
                </a:cubicBezTo>
                <a:cubicBezTo>
                  <a:pt x="55" y="32"/>
                  <a:pt x="56" y="32"/>
                  <a:pt x="57" y="31"/>
                </a:cubicBezTo>
                <a:cubicBezTo>
                  <a:pt x="57" y="31"/>
                  <a:pt x="56" y="31"/>
                  <a:pt x="55" y="30"/>
                </a:cubicBezTo>
                <a:cubicBezTo>
                  <a:pt x="54" y="29"/>
                  <a:pt x="54" y="30"/>
                  <a:pt x="54" y="31"/>
                </a:cubicBezTo>
                <a:cubicBezTo>
                  <a:pt x="54" y="32"/>
                  <a:pt x="52" y="31"/>
                  <a:pt x="51" y="31"/>
                </a:cubicBezTo>
                <a:cubicBezTo>
                  <a:pt x="50" y="30"/>
                  <a:pt x="48" y="32"/>
                  <a:pt x="47" y="33"/>
                </a:cubicBezTo>
                <a:cubicBezTo>
                  <a:pt x="45" y="34"/>
                  <a:pt x="45" y="35"/>
                  <a:pt x="44" y="35"/>
                </a:cubicBezTo>
                <a:cubicBezTo>
                  <a:pt x="42" y="35"/>
                  <a:pt x="40" y="36"/>
                  <a:pt x="41" y="36"/>
                </a:cubicBezTo>
                <a:moveTo>
                  <a:pt x="56" y="36"/>
                </a:moveTo>
                <a:cubicBezTo>
                  <a:pt x="55" y="36"/>
                  <a:pt x="55" y="37"/>
                  <a:pt x="56" y="37"/>
                </a:cubicBezTo>
                <a:cubicBezTo>
                  <a:pt x="58" y="37"/>
                  <a:pt x="58" y="38"/>
                  <a:pt x="56" y="38"/>
                </a:cubicBezTo>
                <a:cubicBezTo>
                  <a:pt x="54" y="38"/>
                  <a:pt x="53" y="40"/>
                  <a:pt x="54" y="39"/>
                </a:cubicBezTo>
                <a:cubicBezTo>
                  <a:pt x="56" y="39"/>
                  <a:pt x="58" y="39"/>
                  <a:pt x="57" y="39"/>
                </a:cubicBezTo>
                <a:cubicBezTo>
                  <a:pt x="55" y="40"/>
                  <a:pt x="52" y="40"/>
                  <a:pt x="53" y="41"/>
                </a:cubicBezTo>
                <a:cubicBezTo>
                  <a:pt x="53" y="41"/>
                  <a:pt x="54" y="41"/>
                  <a:pt x="56" y="41"/>
                </a:cubicBezTo>
                <a:cubicBezTo>
                  <a:pt x="57" y="42"/>
                  <a:pt x="58" y="42"/>
                  <a:pt x="59" y="41"/>
                </a:cubicBezTo>
                <a:cubicBezTo>
                  <a:pt x="60" y="40"/>
                  <a:pt x="61" y="39"/>
                  <a:pt x="60" y="40"/>
                </a:cubicBezTo>
                <a:cubicBezTo>
                  <a:pt x="60" y="42"/>
                  <a:pt x="62" y="41"/>
                  <a:pt x="65" y="41"/>
                </a:cubicBezTo>
                <a:cubicBezTo>
                  <a:pt x="67" y="41"/>
                  <a:pt x="64" y="42"/>
                  <a:pt x="61" y="42"/>
                </a:cubicBezTo>
                <a:cubicBezTo>
                  <a:pt x="59" y="43"/>
                  <a:pt x="59" y="44"/>
                  <a:pt x="61" y="44"/>
                </a:cubicBezTo>
                <a:cubicBezTo>
                  <a:pt x="63" y="45"/>
                  <a:pt x="68" y="43"/>
                  <a:pt x="69" y="42"/>
                </a:cubicBezTo>
                <a:cubicBezTo>
                  <a:pt x="70" y="41"/>
                  <a:pt x="71" y="43"/>
                  <a:pt x="72" y="42"/>
                </a:cubicBezTo>
                <a:cubicBezTo>
                  <a:pt x="73" y="41"/>
                  <a:pt x="75" y="42"/>
                  <a:pt x="77" y="42"/>
                </a:cubicBezTo>
                <a:cubicBezTo>
                  <a:pt x="79" y="41"/>
                  <a:pt x="79" y="38"/>
                  <a:pt x="78" y="37"/>
                </a:cubicBezTo>
                <a:cubicBezTo>
                  <a:pt x="77" y="36"/>
                  <a:pt x="77" y="38"/>
                  <a:pt x="76" y="38"/>
                </a:cubicBezTo>
                <a:cubicBezTo>
                  <a:pt x="74" y="38"/>
                  <a:pt x="74" y="37"/>
                  <a:pt x="73" y="36"/>
                </a:cubicBezTo>
                <a:cubicBezTo>
                  <a:pt x="72" y="35"/>
                  <a:pt x="73" y="33"/>
                  <a:pt x="71" y="33"/>
                </a:cubicBezTo>
                <a:cubicBezTo>
                  <a:pt x="70" y="34"/>
                  <a:pt x="67" y="36"/>
                  <a:pt x="69" y="36"/>
                </a:cubicBezTo>
                <a:cubicBezTo>
                  <a:pt x="71" y="36"/>
                  <a:pt x="70" y="37"/>
                  <a:pt x="69" y="37"/>
                </a:cubicBezTo>
                <a:cubicBezTo>
                  <a:pt x="68" y="38"/>
                  <a:pt x="71" y="38"/>
                  <a:pt x="71" y="39"/>
                </a:cubicBezTo>
                <a:cubicBezTo>
                  <a:pt x="71" y="40"/>
                  <a:pt x="66" y="39"/>
                  <a:pt x="66" y="38"/>
                </a:cubicBezTo>
                <a:cubicBezTo>
                  <a:pt x="66" y="37"/>
                  <a:pt x="62" y="35"/>
                  <a:pt x="61" y="36"/>
                </a:cubicBezTo>
                <a:cubicBezTo>
                  <a:pt x="59" y="36"/>
                  <a:pt x="60" y="35"/>
                  <a:pt x="58" y="35"/>
                </a:cubicBezTo>
                <a:cubicBezTo>
                  <a:pt x="57" y="34"/>
                  <a:pt x="57" y="36"/>
                  <a:pt x="56" y="36"/>
                </a:cubicBezTo>
                <a:moveTo>
                  <a:pt x="61" y="29"/>
                </a:moveTo>
                <a:cubicBezTo>
                  <a:pt x="62" y="28"/>
                  <a:pt x="58" y="28"/>
                  <a:pt x="58" y="28"/>
                </a:cubicBezTo>
                <a:cubicBezTo>
                  <a:pt x="59" y="29"/>
                  <a:pt x="61" y="30"/>
                  <a:pt x="61" y="29"/>
                </a:cubicBezTo>
                <a:moveTo>
                  <a:pt x="69" y="28"/>
                </a:moveTo>
                <a:cubicBezTo>
                  <a:pt x="70" y="28"/>
                  <a:pt x="70" y="27"/>
                  <a:pt x="68" y="28"/>
                </a:cubicBezTo>
                <a:cubicBezTo>
                  <a:pt x="66" y="28"/>
                  <a:pt x="62" y="28"/>
                  <a:pt x="62" y="29"/>
                </a:cubicBezTo>
                <a:cubicBezTo>
                  <a:pt x="62" y="30"/>
                  <a:pt x="63" y="31"/>
                  <a:pt x="65" y="31"/>
                </a:cubicBezTo>
                <a:cubicBezTo>
                  <a:pt x="67" y="31"/>
                  <a:pt x="69" y="29"/>
                  <a:pt x="68" y="29"/>
                </a:cubicBezTo>
                <a:cubicBezTo>
                  <a:pt x="67" y="29"/>
                  <a:pt x="68" y="29"/>
                  <a:pt x="69" y="28"/>
                </a:cubicBezTo>
                <a:moveTo>
                  <a:pt x="64" y="27"/>
                </a:moveTo>
                <a:cubicBezTo>
                  <a:pt x="65" y="27"/>
                  <a:pt x="66" y="26"/>
                  <a:pt x="67" y="26"/>
                </a:cubicBezTo>
                <a:cubicBezTo>
                  <a:pt x="68" y="27"/>
                  <a:pt x="71" y="27"/>
                  <a:pt x="71" y="26"/>
                </a:cubicBezTo>
                <a:cubicBezTo>
                  <a:pt x="71" y="24"/>
                  <a:pt x="67" y="24"/>
                  <a:pt x="66" y="25"/>
                </a:cubicBezTo>
                <a:cubicBezTo>
                  <a:pt x="65" y="25"/>
                  <a:pt x="60" y="25"/>
                  <a:pt x="62" y="26"/>
                </a:cubicBezTo>
                <a:cubicBezTo>
                  <a:pt x="63" y="27"/>
                  <a:pt x="63" y="26"/>
                  <a:pt x="64" y="27"/>
                </a:cubicBezTo>
                <a:moveTo>
                  <a:pt x="81" y="23"/>
                </a:moveTo>
                <a:cubicBezTo>
                  <a:pt x="82" y="23"/>
                  <a:pt x="84" y="24"/>
                  <a:pt x="84" y="25"/>
                </a:cubicBezTo>
                <a:cubicBezTo>
                  <a:pt x="83" y="26"/>
                  <a:pt x="80" y="25"/>
                  <a:pt x="80" y="25"/>
                </a:cubicBezTo>
                <a:cubicBezTo>
                  <a:pt x="80" y="26"/>
                  <a:pt x="81" y="27"/>
                  <a:pt x="83" y="26"/>
                </a:cubicBezTo>
                <a:cubicBezTo>
                  <a:pt x="85" y="26"/>
                  <a:pt x="87" y="26"/>
                  <a:pt x="89" y="27"/>
                </a:cubicBezTo>
                <a:cubicBezTo>
                  <a:pt x="90" y="29"/>
                  <a:pt x="92" y="29"/>
                  <a:pt x="93" y="28"/>
                </a:cubicBezTo>
                <a:cubicBezTo>
                  <a:pt x="94" y="27"/>
                  <a:pt x="92" y="26"/>
                  <a:pt x="92" y="25"/>
                </a:cubicBezTo>
                <a:cubicBezTo>
                  <a:pt x="93" y="24"/>
                  <a:pt x="91" y="24"/>
                  <a:pt x="89" y="24"/>
                </a:cubicBezTo>
                <a:cubicBezTo>
                  <a:pt x="88" y="24"/>
                  <a:pt x="88" y="22"/>
                  <a:pt x="87" y="22"/>
                </a:cubicBezTo>
                <a:cubicBezTo>
                  <a:pt x="86" y="23"/>
                  <a:pt x="86" y="23"/>
                  <a:pt x="86" y="22"/>
                </a:cubicBezTo>
                <a:cubicBezTo>
                  <a:pt x="86" y="21"/>
                  <a:pt x="81" y="21"/>
                  <a:pt x="79" y="21"/>
                </a:cubicBezTo>
                <a:cubicBezTo>
                  <a:pt x="78" y="22"/>
                  <a:pt x="80" y="24"/>
                  <a:pt x="81" y="23"/>
                </a:cubicBezTo>
                <a:moveTo>
                  <a:pt x="81" y="32"/>
                </a:moveTo>
                <a:cubicBezTo>
                  <a:pt x="82" y="31"/>
                  <a:pt x="78" y="28"/>
                  <a:pt x="78" y="29"/>
                </a:cubicBezTo>
                <a:cubicBezTo>
                  <a:pt x="78" y="31"/>
                  <a:pt x="81" y="33"/>
                  <a:pt x="81" y="32"/>
                </a:cubicBezTo>
                <a:moveTo>
                  <a:pt x="94" y="19"/>
                </a:moveTo>
                <a:cubicBezTo>
                  <a:pt x="95" y="18"/>
                  <a:pt x="90" y="17"/>
                  <a:pt x="91" y="18"/>
                </a:cubicBezTo>
                <a:cubicBezTo>
                  <a:pt x="92" y="18"/>
                  <a:pt x="94" y="20"/>
                  <a:pt x="94" y="19"/>
                </a:cubicBezTo>
                <a:moveTo>
                  <a:pt x="83" y="41"/>
                </a:moveTo>
                <a:cubicBezTo>
                  <a:pt x="84" y="40"/>
                  <a:pt x="82" y="39"/>
                  <a:pt x="81" y="40"/>
                </a:cubicBezTo>
                <a:cubicBezTo>
                  <a:pt x="80" y="41"/>
                  <a:pt x="82" y="42"/>
                  <a:pt x="83" y="41"/>
                </a:cubicBezTo>
                <a:moveTo>
                  <a:pt x="94" y="34"/>
                </a:moveTo>
                <a:cubicBezTo>
                  <a:pt x="94" y="35"/>
                  <a:pt x="92" y="34"/>
                  <a:pt x="90" y="33"/>
                </a:cubicBezTo>
                <a:cubicBezTo>
                  <a:pt x="88" y="33"/>
                  <a:pt x="89" y="35"/>
                  <a:pt x="91" y="36"/>
                </a:cubicBezTo>
                <a:cubicBezTo>
                  <a:pt x="92" y="37"/>
                  <a:pt x="90" y="37"/>
                  <a:pt x="88" y="35"/>
                </a:cubicBezTo>
                <a:cubicBezTo>
                  <a:pt x="86" y="34"/>
                  <a:pt x="87" y="36"/>
                  <a:pt x="87" y="37"/>
                </a:cubicBezTo>
                <a:cubicBezTo>
                  <a:pt x="88" y="38"/>
                  <a:pt x="87" y="38"/>
                  <a:pt x="86" y="37"/>
                </a:cubicBezTo>
                <a:cubicBezTo>
                  <a:pt x="85" y="35"/>
                  <a:pt x="84" y="34"/>
                  <a:pt x="82" y="34"/>
                </a:cubicBezTo>
                <a:cubicBezTo>
                  <a:pt x="81" y="33"/>
                  <a:pt x="81" y="35"/>
                  <a:pt x="82" y="36"/>
                </a:cubicBezTo>
                <a:cubicBezTo>
                  <a:pt x="83" y="38"/>
                  <a:pt x="84" y="38"/>
                  <a:pt x="86" y="39"/>
                </a:cubicBezTo>
                <a:cubicBezTo>
                  <a:pt x="87" y="40"/>
                  <a:pt x="90" y="38"/>
                  <a:pt x="91" y="39"/>
                </a:cubicBezTo>
                <a:cubicBezTo>
                  <a:pt x="92" y="39"/>
                  <a:pt x="90" y="40"/>
                  <a:pt x="90" y="41"/>
                </a:cubicBezTo>
                <a:cubicBezTo>
                  <a:pt x="91" y="42"/>
                  <a:pt x="93" y="42"/>
                  <a:pt x="95" y="42"/>
                </a:cubicBezTo>
                <a:cubicBezTo>
                  <a:pt x="97" y="42"/>
                  <a:pt x="96" y="41"/>
                  <a:pt x="97" y="40"/>
                </a:cubicBezTo>
                <a:cubicBezTo>
                  <a:pt x="98" y="39"/>
                  <a:pt x="96" y="39"/>
                  <a:pt x="97" y="38"/>
                </a:cubicBezTo>
                <a:cubicBezTo>
                  <a:pt x="98" y="36"/>
                  <a:pt x="94" y="33"/>
                  <a:pt x="94" y="34"/>
                </a:cubicBezTo>
                <a:moveTo>
                  <a:pt x="98" y="28"/>
                </a:moveTo>
                <a:cubicBezTo>
                  <a:pt x="100" y="28"/>
                  <a:pt x="101" y="28"/>
                  <a:pt x="102" y="28"/>
                </a:cubicBezTo>
                <a:cubicBezTo>
                  <a:pt x="104" y="27"/>
                  <a:pt x="102" y="27"/>
                  <a:pt x="102" y="26"/>
                </a:cubicBezTo>
                <a:cubicBezTo>
                  <a:pt x="103" y="25"/>
                  <a:pt x="100" y="25"/>
                  <a:pt x="100" y="25"/>
                </a:cubicBezTo>
                <a:cubicBezTo>
                  <a:pt x="100" y="26"/>
                  <a:pt x="96" y="23"/>
                  <a:pt x="95" y="24"/>
                </a:cubicBezTo>
                <a:cubicBezTo>
                  <a:pt x="95" y="25"/>
                  <a:pt x="97" y="28"/>
                  <a:pt x="98" y="28"/>
                </a:cubicBezTo>
                <a:moveTo>
                  <a:pt x="106" y="29"/>
                </a:moveTo>
                <a:cubicBezTo>
                  <a:pt x="106" y="28"/>
                  <a:pt x="99" y="29"/>
                  <a:pt x="100" y="30"/>
                </a:cubicBezTo>
                <a:cubicBezTo>
                  <a:pt x="102" y="32"/>
                  <a:pt x="106" y="30"/>
                  <a:pt x="106" y="29"/>
                </a:cubicBezTo>
                <a:moveTo>
                  <a:pt x="105" y="43"/>
                </a:moveTo>
                <a:cubicBezTo>
                  <a:pt x="107" y="43"/>
                  <a:pt x="106" y="41"/>
                  <a:pt x="104" y="40"/>
                </a:cubicBezTo>
                <a:cubicBezTo>
                  <a:pt x="102" y="38"/>
                  <a:pt x="98" y="41"/>
                  <a:pt x="99" y="42"/>
                </a:cubicBezTo>
                <a:cubicBezTo>
                  <a:pt x="99" y="42"/>
                  <a:pt x="103" y="43"/>
                  <a:pt x="105" y="43"/>
                </a:cubicBezTo>
                <a:moveTo>
                  <a:pt x="93" y="57"/>
                </a:moveTo>
                <a:cubicBezTo>
                  <a:pt x="95" y="58"/>
                  <a:pt x="94" y="56"/>
                  <a:pt x="97" y="56"/>
                </a:cubicBezTo>
                <a:cubicBezTo>
                  <a:pt x="99" y="56"/>
                  <a:pt x="99" y="52"/>
                  <a:pt x="99" y="51"/>
                </a:cubicBezTo>
                <a:cubicBezTo>
                  <a:pt x="100" y="49"/>
                  <a:pt x="98" y="49"/>
                  <a:pt x="98" y="50"/>
                </a:cubicBezTo>
                <a:cubicBezTo>
                  <a:pt x="99" y="51"/>
                  <a:pt x="98" y="52"/>
                  <a:pt x="98" y="51"/>
                </a:cubicBezTo>
                <a:cubicBezTo>
                  <a:pt x="98" y="50"/>
                  <a:pt x="96" y="51"/>
                  <a:pt x="95" y="50"/>
                </a:cubicBezTo>
                <a:cubicBezTo>
                  <a:pt x="94" y="49"/>
                  <a:pt x="97" y="49"/>
                  <a:pt x="98" y="48"/>
                </a:cubicBezTo>
                <a:cubicBezTo>
                  <a:pt x="99" y="46"/>
                  <a:pt x="96" y="47"/>
                  <a:pt x="96" y="46"/>
                </a:cubicBezTo>
                <a:cubicBezTo>
                  <a:pt x="97" y="45"/>
                  <a:pt x="92" y="46"/>
                  <a:pt x="94" y="46"/>
                </a:cubicBezTo>
                <a:cubicBezTo>
                  <a:pt x="95" y="47"/>
                  <a:pt x="94" y="48"/>
                  <a:pt x="92" y="47"/>
                </a:cubicBezTo>
                <a:cubicBezTo>
                  <a:pt x="91" y="46"/>
                  <a:pt x="87" y="47"/>
                  <a:pt x="88" y="48"/>
                </a:cubicBezTo>
                <a:cubicBezTo>
                  <a:pt x="89" y="49"/>
                  <a:pt x="93" y="48"/>
                  <a:pt x="91" y="50"/>
                </a:cubicBezTo>
                <a:cubicBezTo>
                  <a:pt x="89" y="53"/>
                  <a:pt x="88" y="50"/>
                  <a:pt x="86" y="50"/>
                </a:cubicBezTo>
                <a:cubicBezTo>
                  <a:pt x="85" y="50"/>
                  <a:pt x="85" y="53"/>
                  <a:pt x="88" y="53"/>
                </a:cubicBezTo>
                <a:cubicBezTo>
                  <a:pt x="91" y="54"/>
                  <a:pt x="90" y="56"/>
                  <a:pt x="93" y="57"/>
                </a:cubicBezTo>
                <a:moveTo>
                  <a:pt x="109" y="41"/>
                </a:moveTo>
                <a:cubicBezTo>
                  <a:pt x="109" y="43"/>
                  <a:pt x="110" y="42"/>
                  <a:pt x="111" y="43"/>
                </a:cubicBezTo>
                <a:cubicBezTo>
                  <a:pt x="112" y="43"/>
                  <a:pt x="114" y="44"/>
                  <a:pt x="115" y="43"/>
                </a:cubicBezTo>
                <a:cubicBezTo>
                  <a:pt x="116" y="42"/>
                  <a:pt x="116" y="42"/>
                  <a:pt x="116" y="43"/>
                </a:cubicBezTo>
                <a:cubicBezTo>
                  <a:pt x="117" y="44"/>
                  <a:pt x="119" y="44"/>
                  <a:pt x="124" y="44"/>
                </a:cubicBezTo>
                <a:cubicBezTo>
                  <a:pt x="128" y="44"/>
                  <a:pt x="127" y="42"/>
                  <a:pt x="129" y="43"/>
                </a:cubicBezTo>
                <a:cubicBezTo>
                  <a:pt x="130" y="43"/>
                  <a:pt x="133" y="43"/>
                  <a:pt x="134" y="43"/>
                </a:cubicBezTo>
                <a:cubicBezTo>
                  <a:pt x="136" y="43"/>
                  <a:pt x="137" y="41"/>
                  <a:pt x="136" y="40"/>
                </a:cubicBezTo>
                <a:cubicBezTo>
                  <a:pt x="136" y="39"/>
                  <a:pt x="126" y="38"/>
                  <a:pt x="124" y="39"/>
                </a:cubicBezTo>
                <a:cubicBezTo>
                  <a:pt x="122" y="40"/>
                  <a:pt x="119" y="38"/>
                  <a:pt x="118" y="39"/>
                </a:cubicBezTo>
                <a:cubicBezTo>
                  <a:pt x="116" y="40"/>
                  <a:pt x="117" y="38"/>
                  <a:pt x="114" y="38"/>
                </a:cubicBezTo>
                <a:cubicBezTo>
                  <a:pt x="111" y="38"/>
                  <a:pt x="114" y="37"/>
                  <a:pt x="115" y="36"/>
                </a:cubicBezTo>
                <a:cubicBezTo>
                  <a:pt x="115" y="35"/>
                  <a:pt x="111" y="34"/>
                  <a:pt x="109" y="34"/>
                </a:cubicBezTo>
                <a:cubicBezTo>
                  <a:pt x="107" y="35"/>
                  <a:pt x="106" y="34"/>
                  <a:pt x="104" y="33"/>
                </a:cubicBezTo>
                <a:cubicBezTo>
                  <a:pt x="102" y="32"/>
                  <a:pt x="98" y="32"/>
                  <a:pt x="99" y="34"/>
                </a:cubicBezTo>
                <a:cubicBezTo>
                  <a:pt x="99" y="35"/>
                  <a:pt x="105" y="37"/>
                  <a:pt x="106" y="36"/>
                </a:cubicBezTo>
                <a:cubicBezTo>
                  <a:pt x="106" y="35"/>
                  <a:pt x="108" y="37"/>
                  <a:pt x="109" y="38"/>
                </a:cubicBezTo>
                <a:cubicBezTo>
                  <a:pt x="109" y="39"/>
                  <a:pt x="108" y="39"/>
                  <a:pt x="109" y="41"/>
                </a:cubicBezTo>
                <a:moveTo>
                  <a:pt x="114" y="30"/>
                </a:moveTo>
                <a:cubicBezTo>
                  <a:pt x="112" y="29"/>
                  <a:pt x="110" y="31"/>
                  <a:pt x="111" y="31"/>
                </a:cubicBezTo>
                <a:cubicBezTo>
                  <a:pt x="113" y="32"/>
                  <a:pt x="115" y="31"/>
                  <a:pt x="114" y="30"/>
                </a:cubicBezTo>
                <a:moveTo>
                  <a:pt x="99" y="19"/>
                </a:moveTo>
                <a:cubicBezTo>
                  <a:pt x="101" y="20"/>
                  <a:pt x="100" y="20"/>
                  <a:pt x="102" y="21"/>
                </a:cubicBezTo>
                <a:cubicBezTo>
                  <a:pt x="103" y="22"/>
                  <a:pt x="108" y="20"/>
                  <a:pt x="108" y="21"/>
                </a:cubicBezTo>
                <a:cubicBezTo>
                  <a:pt x="109" y="22"/>
                  <a:pt x="104" y="23"/>
                  <a:pt x="104" y="23"/>
                </a:cubicBezTo>
                <a:cubicBezTo>
                  <a:pt x="105" y="24"/>
                  <a:pt x="108" y="25"/>
                  <a:pt x="107" y="26"/>
                </a:cubicBezTo>
                <a:cubicBezTo>
                  <a:pt x="107" y="26"/>
                  <a:pt x="112" y="28"/>
                  <a:pt x="113" y="27"/>
                </a:cubicBezTo>
                <a:cubicBezTo>
                  <a:pt x="113" y="26"/>
                  <a:pt x="114" y="26"/>
                  <a:pt x="116" y="27"/>
                </a:cubicBezTo>
                <a:cubicBezTo>
                  <a:pt x="117" y="27"/>
                  <a:pt x="117" y="24"/>
                  <a:pt x="118" y="24"/>
                </a:cubicBezTo>
                <a:cubicBezTo>
                  <a:pt x="119" y="25"/>
                  <a:pt x="119" y="23"/>
                  <a:pt x="120" y="23"/>
                </a:cubicBezTo>
                <a:cubicBezTo>
                  <a:pt x="122" y="22"/>
                  <a:pt x="124" y="22"/>
                  <a:pt x="124" y="21"/>
                </a:cubicBezTo>
                <a:cubicBezTo>
                  <a:pt x="124" y="21"/>
                  <a:pt x="124" y="20"/>
                  <a:pt x="122" y="20"/>
                </a:cubicBezTo>
                <a:cubicBezTo>
                  <a:pt x="120" y="21"/>
                  <a:pt x="119" y="20"/>
                  <a:pt x="120" y="19"/>
                </a:cubicBezTo>
                <a:cubicBezTo>
                  <a:pt x="120" y="18"/>
                  <a:pt x="118" y="18"/>
                  <a:pt x="119" y="17"/>
                </a:cubicBezTo>
                <a:cubicBezTo>
                  <a:pt x="120" y="16"/>
                  <a:pt x="117" y="15"/>
                  <a:pt x="117" y="16"/>
                </a:cubicBezTo>
                <a:cubicBezTo>
                  <a:pt x="117" y="18"/>
                  <a:pt x="115" y="17"/>
                  <a:pt x="115" y="15"/>
                </a:cubicBezTo>
                <a:cubicBezTo>
                  <a:pt x="115" y="14"/>
                  <a:pt x="111" y="14"/>
                  <a:pt x="108" y="12"/>
                </a:cubicBezTo>
                <a:cubicBezTo>
                  <a:pt x="105" y="9"/>
                  <a:pt x="103" y="11"/>
                  <a:pt x="104" y="11"/>
                </a:cubicBezTo>
                <a:cubicBezTo>
                  <a:pt x="106" y="11"/>
                  <a:pt x="106" y="12"/>
                  <a:pt x="104" y="12"/>
                </a:cubicBezTo>
                <a:cubicBezTo>
                  <a:pt x="103" y="12"/>
                  <a:pt x="101" y="12"/>
                  <a:pt x="103" y="13"/>
                </a:cubicBezTo>
                <a:cubicBezTo>
                  <a:pt x="105" y="14"/>
                  <a:pt x="103" y="14"/>
                  <a:pt x="101" y="14"/>
                </a:cubicBezTo>
                <a:cubicBezTo>
                  <a:pt x="99" y="14"/>
                  <a:pt x="99" y="16"/>
                  <a:pt x="101" y="17"/>
                </a:cubicBezTo>
                <a:cubicBezTo>
                  <a:pt x="104" y="17"/>
                  <a:pt x="102" y="18"/>
                  <a:pt x="100" y="18"/>
                </a:cubicBezTo>
                <a:cubicBezTo>
                  <a:pt x="99" y="17"/>
                  <a:pt x="98" y="18"/>
                  <a:pt x="99" y="19"/>
                </a:cubicBezTo>
                <a:moveTo>
                  <a:pt x="111" y="9"/>
                </a:moveTo>
                <a:cubicBezTo>
                  <a:pt x="113" y="8"/>
                  <a:pt x="114" y="9"/>
                  <a:pt x="113" y="9"/>
                </a:cubicBezTo>
                <a:cubicBezTo>
                  <a:pt x="111" y="10"/>
                  <a:pt x="112" y="10"/>
                  <a:pt x="114" y="10"/>
                </a:cubicBezTo>
                <a:cubicBezTo>
                  <a:pt x="115" y="10"/>
                  <a:pt x="113" y="11"/>
                  <a:pt x="113" y="12"/>
                </a:cubicBezTo>
                <a:cubicBezTo>
                  <a:pt x="113" y="13"/>
                  <a:pt x="115" y="12"/>
                  <a:pt x="115" y="13"/>
                </a:cubicBezTo>
                <a:cubicBezTo>
                  <a:pt x="115" y="14"/>
                  <a:pt x="119" y="14"/>
                  <a:pt x="120" y="13"/>
                </a:cubicBezTo>
                <a:cubicBezTo>
                  <a:pt x="122" y="12"/>
                  <a:pt x="121" y="14"/>
                  <a:pt x="121" y="14"/>
                </a:cubicBezTo>
                <a:cubicBezTo>
                  <a:pt x="121" y="15"/>
                  <a:pt x="127" y="16"/>
                  <a:pt x="127" y="15"/>
                </a:cubicBezTo>
                <a:cubicBezTo>
                  <a:pt x="128" y="14"/>
                  <a:pt x="129" y="14"/>
                  <a:pt x="130" y="15"/>
                </a:cubicBezTo>
                <a:cubicBezTo>
                  <a:pt x="131" y="15"/>
                  <a:pt x="137" y="13"/>
                  <a:pt x="137" y="12"/>
                </a:cubicBezTo>
                <a:cubicBezTo>
                  <a:pt x="137" y="11"/>
                  <a:pt x="139" y="13"/>
                  <a:pt x="137" y="14"/>
                </a:cubicBezTo>
                <a:cubicBezTo>
                  <a:pt x="135" y="15"/>
                  <a:pt x="131" y="15"/>
                  <a:pt x="130" y="16"/>
                </a:cubicBezTo>
                <a:cubicBezTo>
                  <a:pt x="128" y="16"/>
                  <a:pt x="131" y="17"/>
                  <a:pt x="132" y="19"/>
                </a:cubicBezTo>
                <a:cubicBezTo>
                  <a:pt x="134" y="20"/>
                  <a:pt x="130" y="19"/>
                  <a:pt x="129" y="18"/>
                </a:cubicBezTo>
                <a:cubicBezTo>
                  <a:pt x="127" y="16"/>
                  <a:pt x="124" y="16"/>
                  <a:pt x="122" y="16"/>
                </a:cubicBezTo>
                <a:cubicBezTo>
                  <a:pt x="120" y="16"/>
                  <a:pt x="120" y="20"/>
                  <a:pt x="122" y="20"/>
                </a:cubicBezTo>
                <a:cubicBezTo>
                  <a:pt x="123" y="20"/>
                  <a:pt x="124" y="20"/>
                  <a:pt x="126" y="22"/>
                </a:cubicBezTo>
                <a:cubicBezTo>
                  <a:pt x="127" y="24"/>
                  <a:pt x="130" y="24"/>
                  <a:pt x="130" y="25"/>
                </a:cubicBezTo>
                <a:cubicBezTo>
                  <a:pt x="130" y="26"/>
                  <a:pt x="126" y="24"/>
                  <a:pt x="124" y="24"/>
                </a:cubicBezTo>
                <a:cubicBezTo>
                  <a:pt x="122" y="23"/>
                  <a:pt x="119" y="25"/>
                  <a:pt x="119" y="26"/>
                </a:cubicBezTo>
                <a:cubicBezTo>
                  <a:pt x="118" y="28"/>
                  <a:pt x="122" y="28"/>
                  <a:pt x="124" y="26"/>
                </a:cubicBezTo>
                <a:cubicBezTo>
                  <a:pt x="126" y="25"/>
                  <a:pt x="124" y="27"/>
                  <a:pt x="123" y="28"/>
                </a:cubicBezTo>
                <a:cubicBezTo>
                  <a:pt x="122" y="29"/>
                  <a:pt x="126" y="29"/>
                  <a:pt x="126" y="31"/>
                </a:cubicBezTo>
                <a:cubicBezTo>
                  <a:pt x="126" y="32"/>
                  <a:pt x="123" y="31"/>
                  <a:pt x="123" y="30"/>
                </a:cubicBezTo>
                <a:cubicBezTo>
                  <a:pt x="123" y="29"/>
                  <a:pt x="122" y="28"/>
                  <a:pt x="119" y="28"/>
                </a:cubicBezTo>
                <a:cubicBezTo>
                  <a:pt x="117" y="29"/>
                  <a:pt x="117" y="30"/>
                  <a:pt x="119" y="31"/>
                </a:cubicBezTo>
                <a:cubicBezTo>
                  <a:pt x="120" y="31"/>
                  <a:pt x="120" y="32"/>
                  <a:pt x="119" y="32"/>
                </a:cubicBezTo>
                <a:cubicBezTo>
                  <a:pt x="117" y="32"/>
                  <a:pt x="113" y="33"/>
                  <a:pt x="114" y="34"/>
                </a:cubicBezTo>
                <a:cubicBezTo>
                  <a:pt x="116" y="35"/>
                  <a:pt x="121" y="34"/>
                  <a:pt x="121" y="35"/>
                </a:cubicBezTo>
                <a:cubicBezTo>
                  <a:pt x="122" y="36"/>
                  <a:pt x="125" y="36"/>
                  <a:pt x="125" y="35"/>
                </a:cubicBezTo>
                <a:cubicBezTo>
                  <a:pt x="126" y="34"/>
                  <a:pt x="128" y="35"/>
                  <a:pt x="130" y="35"/>
                </a:cubicBezTo>
                <a:cubicBezTo>
                  <a:pt x="132" y="35"/>
                  <a:pt x="132" y="35"/>
                  <a:pt x="133" y="36"/>
                </a:cubicBezTo>
                <a:cubicBezTo>
                  <a:pt x="134" y="37"/>
                  <a:pt x="136" y="36"/>
                  <a:pt x="137" y="35"/>
                </a:cubicBezTo>
                <a:cubicBezTo>
                  <a:pt x="138" y="35"/>
                  <a:pt x="138" y="35"/>
                  <a:pt x="139" y="35"/>
                </a:cubicBezTo>
                <a:cubicBezTo>
                  <a:pt x="141" y="35"/>
                  <a:pt x="141" y="34"/>
                  <a:pt x="140" y="33"/>
                </a:cubicBezTo>
                <a:cubicBezTo>
                  <a:pt x="139" y="32"/>
                  <a:pt x="138" y="33"/>
                  <a:pt x="138" y="33"/>
                </a:cubicBezTo>
                <a:cubicBezTo>
                  <a:pt x="137" y="32"/>
                  <a:pt x="136" y="31"/>
                  <a:pt x="133" y="32"/>
                </a:cubicBezTo>
                <a:cubicBezTo>
                  <a:pt x="130" y="32"/>
                  <a:pt x="131" y="30"/>
                  <a:pt x="133" y="31"/>
                </a:cubicBezTo>
                <a:cubicBezTo>
                  <a:pt x="135" y="31"/>
                  <a:pt x="137" y="31"/>
                  <a:pt x="139" y="30"/>
                </a:cubicBezTo>
                <a:cubicBezTo>
                  <a:pt x="141" y="30"/>
                  <a:pt x="139" y="29"/>
                  <a:pt x="139" y="28"/>
                </a:cubicBezTo>
                <a:cubicBezTo>
                  <a:pt x="139" y="27"/>
                  <a:pt x="142" y="28"/>
                  <a:pt x="143" y="28"/>
                </a:cubicBezTo>
                <a:cubicBezTo>
                  <a:pt x="145" y="28"/>
                  <a:pt x="148" y="25"/>
                  <a:pt x="148" y="23"/>
                </a:cubicBezTo>
                <a:cubicBezTo>
                  <a:pt x="148" y="22"/>
                  <a:pt x="144" y="22"/>
                  <a:pt x="142" y="22"/>
                </a:cubicBezTo>
                <a:cubicBezTo>
                  <a:pt x="140" y="22"/>
                  <a:pt x="143" y="21"/>
                  <a:pt x="147" y="21"/>
                </a:cubicBezTo>
                <a:cubicBezTo>
                  <a:pt x="151" y="21"/>
                  <a:pt x="149" y="19"/>
                  <a:pt x="150" y="19"/>
                </a:cubicBezTo>
                <a:cubicBezTo>
                  <a:pt x="150" y="18"/>
                  <a:pt x="152" y="19"/>
                  <a:pt x="154" y="19"/>
                </a:cubicBezTo>
                <a:cubicBezTo>
                  <a:pt x="156" y="19"/>
                  <a:pt x="154" y="17"/>
                  <a:pt x="156" y="17"/>
                </a:cubicBezTo>
                <a:cubicBezTo>
                  <a:pt x="157" y="17"/>
                  <a:pt x="159" y="16"/>
                  <a:pt x="163" y="13"/>
                </a:cubicBezTo>
                <a:cubicBezTo>
                  <a:pt x="167" y="11"/>
                  <a:pt x="170" y="12"/>
                  <a:pt x="170" y="10"/>
                </a:cubicBezTo>
                <a:cubicBezTo>
                  <a:pt x="170" y="9"/>
                  <a:pt x="165" y="10"/>
                  <a:pt x="164" y="10"/>
                </a:cubicBezTo>
                <a:cubicBezTo>
                  <a:pt x="163" y="10"/>
                  <a:pt x="168" y="8"/>
                  <a:pt x="169" y="9"/>
                </a:cubicBezTo>
                <a:cubicBezTo>
                  <a:pt x="170" y="9"/>
                  <a:pt x="171" y="9"/>
                  <a:pt x="175" y="7"/>
                </a:cubicBezTo>
                <a:cubicBezTo>
                  <a:pt x="180" y="5"/>
                  <a:pt x="178" y="4"/>
                  <a:pt x="176" y="5"/>
                </a:cubicBezTo>
                <a:cubicBezTo>
                  <a:pt x="174" y="5"/>
                  <a:pt x="173" y="4"/>
                  <a:pt x="173" y="3"/>
                </a:cubicBezTo>
                <a:cubicBezTo>
                  <a:pt x="173" y="2"/>
                  <a:pt x="170" y="3"/>
                  <a:pt x="170" y="3"/>
                </a:cubicBezTo>
                <a:cubicBezTo>
                  <a:pt x="170" y="2"/>
                  <a:pt x="168" y="2"/>
                  <a:pt x="165" y="3"/>
                </a:cubicBezTo>
                <a:cubicBezTo>
                  <a:pt x="163" y="4"/>
                  <a:pt x="165" y="2"/>
                  <a:pt x="166" y="2"/>
                </a:cubicBezTo>
                <a:cubicBezTo>
                  <a:pt x="167" y="2"/>
                  <a:pt x="159" y="2"/>
                  <a:pt x="158" y="1"/>
                </a:cubicBezTo>
                <a:cubicBezTo>
                  <a:pt x="157" y="0"/>
                  <a:pt x="155" y="3"/>
                  <a:pt x="154" y="1"/>
                </a:cubicBezTo>
                <a:cubicBezTo>
                  <a:pt x="153" y="0"/>
                  <a:pt x="150" y="1"/>
                  <a:pt x="150" y="2"/>
                </a:cubicBezTo>
                <a:cubicBezTo>
                  <a:pt x="151" y="3"/>
                  <a:pt x="150" y="3"/>
                  <a:pt x="149" y="2"/>
                </a:cubicBezTo>
                <a:cubicBezTo>
                  <a:pt x="148" y="1"/>
                  <a:pt x="145" y="2"/>
                  <a:pt x="143" y="2"/>
                </a:cubicBezTo>
                <a:cubicBezTo>
                  <a:pt x="141" y="1"/>
                  <a:pt x="142" y="3"/>
                  <a:pt x="140" y="2"/>
                </a:cubicBezTo>
                <a:cubicBezTo>
                  <a:pt x="138" y="1"/>
                  <a:pt x="135" y="2"/>
                  <a:pt x="136" y="2"/>
                </a:cubicBezTo>
                <a:cubicBezTo>
                  <a:pt x="137" y="3"/>
                  <a:pt x="136" y="3"/>
                  <a:pt x="135" y="3"/>
                </a:cubicBezTo>
                <a:cubicBezTo>
                  <a:pt x="134" y="3"/>
                  <a:pt x="133" y="3"/>
                  <a:pt x="133" y="4"/>
                </a:cubicBezTo>
                <a:cubicBezTo>
                  <a:pt x="134" y="5"/>
                  <a:pt x="130" y="4"/>
                  <a:pt x="130" y="5"/>
                </a:cubicBezTo>
                <a:cubicBezTo>
                  <a:pt x="130" y="6"/>
                  <a:pt x="128" y="6"/>
                  <a:pt x="127" y="5"/>
                </a:cubicBezTo>
                <a:cubicBezTo>
                  <a:pt x="126" y="4"/>
                  <a:pt x="122" y="4"/>
                  <a:pt x="123" y="5"/>
                </a:cubicBezTo>
                <a:cubicBezTo>
                  <a:pt x="124" y="6"/>
                  <a:pt x="120" y="5"/>
                  <a:pt x="121" y="6"/>
                </a:cubicBezTo>
                <a:cubicBezTo>
                  <a:pt x="122" y="7"/>
                  <a:pt x="120" y="8"/>
                  <a:pt x="120" y="7"/>
                </a:cubicBezTo>
                <a:cubicBezTo>
                  <a:pt x="120" y="7"/>
                  <a:pt x="117" y="6"/>
                  <a:pt x="116" y="7"/>
                </a:cubicBezTo>
                <a:cubicBezTo>
                  <a:pt x="115" y="8"/>
                  <a:pt x="115" y="9"/>
                  <a:pt x="114" y="8"/>
                </a:cubicBezTo>
                <a:cubicBezTo>
                  <a:pt x="114" y="8"/>
                  <a:pt x="112" y="8"/>
                  <a:pt x="110" y="9"/>
                </a:cubicBezTo>
                <a:cubicBezTo>
                  <a:pt x="108" y="9"/>
                  <a:pt x="110" y="10"/>
                  <a:pt x="111" y="9"/>
                </a:cubicBezTo>
                <a:moveTo>
                  <a:pt x="136" y="94"/>
                </a:moveTo>
                <a:cubicBezTo>
                  <a:pt x="137" y="94"/>
                  <a:pt x="138" y="91"/>
                  <a:pt x="136" y="91"/>
                </a:cubicBezTo>
                <a:cubicBezTo>
                  <a:pt x="135" y="91"/>
                  <a:pt x="135" y="94"/>
                  <a:pt x="136" y="94"/>
                </a:cubicBezTo>
                <a:moveTo>
                  <a:pt x="127" y="92"/>
                </a:moveTo>
                <a:cubicBezTo>
                  <a:pt x="129" y="93"/>
                  <a:pt x="131" y="90"/>
                  <a:pt x="131" y="89"/>
                </a:cubicBezTo>
                <a:cubicBezTo>
                  <a:pt x="131" y="88"/>
                  <a:pt x="126" y="90"/>
                  <a:pt x="127" y="92"/>
                </a:cubicBezTo>
                <a:moveTo>
                  <a:pt x="134" y="86"/>
                </a:moveTo>
                <a:cubicBezTo>
                  <a:pt x="135" y="85"/>
                  <a:pt x="131" y="85"/>
                  <a:pt x="131" y="84"/>
                </a:cubicBezTo>
                <a:cubicBezTo>
                  <a:pt x="132" y="83"/>
                  <a:pt x="128" y="82"/>
                  <a:pt x="127" y="81"/>
                </a:cubicBezTo>
                <a:cubicBezTo>
                  <a:pt x="126" y="81"/>
                  <a:pt x="124" y="80"/>
                  <a:pt x="124" y="79"/>
                </a:cubicBezTo>
                <a:cubicBezTo>
                  <a:pt x="124" y="78"/>
                  <a:pt x="122" y="79"/>
                  <a:pt x="122" y="81"/>
                </a:cubicBezTo>
                <a:cubicBezTo>
                  <a:pt x="122" y="82"/>
                  <a:pt x="121" y="82"/>
                  <a:pt x="121" y="84"/>
                </a:cubicBezTo>
                <a:cubicBezTo>
                  <a:pt x="122" y="85"/>
                  <a:pt x="119" y="86"/>
                  <a:pt x="119" y="87"/>
                </a:cubicBezTo>
                <a:cubicBezTo>
                  <a:pt x="120" y="87"/>
                  <a:pt x="121" y="86"/>
                  <a:pt x="122" y="86"/>
                </a:cubicBezTo>
                <a:cubicBezTo>
                  <a:pt x="123" y="86"/>
                  <a:pt x="122" y="88"/>
                  <a:pt x="123" y="88"/>
                </a:cubicBezTo>
                <a:cubicBezTo>
                  <a:pt x="125" y="88"/>
                  <a:pt x="127" y="87"/>
                  <a:pt x="127" y="86"/>
                </a:cubicBezTo>
                <a:cubicBezTo>
                  <a:pt x="128" y="85"/>
                  <a:pt x="129" y="85"/>
                  <a:pt x="130" y="86"/>
                </a:cubicBezTo>
                <a:cubicBezTo>
                  <a:pt x="131" y="87"/>
                  <a:pt x="134" y="87"/>
                  <a:pt x="134" y="86"/>
                </a:cubicBezTo>
                <a:moveTo>
                  <a:pt x="167" y="78"/>
                </a:moveTo>
                <a:cubicBezTo>
                  <a:pt x="168" y="78"/>
                  <a:pt x="168" y="79"/>
                  <a:pt x="170" y="81"/>
                </a:cubicBezTo>
                <a:cubicBezTo>
                  <a:pt x="172" y="82"/>
                  <a:pt x="172" y="81"/>
                  <a:pt x="172" y="80"/>
                </a:cubicBezTo>
                <a:cubicBezTo>
                  <a:pt x="172" y="79"/>
                  <a:pt x="175" y="80"/>
                  <a:pt x="174" y="79"/>
                </a:cubicBezTo>
                <a:cubicBezTo>
                  <a:pt x="174" y="78"/>
                  <a:pt x="176" y="76"/>
                  <a:pt x="177" y="76"/>
                </a:cubicBezTo>
                <a:cubicBezTo>
                  <a:pt x="178" y="75"/>
                  <a:pt x="176" y="74"/>
                  <a:pt x="175" y="74"/>
                </a:cubicBezTo>
                <a:cubicBezTo>
                  <a:pt x="173" y="74"/>
                  <a:pt x="173" y="73"/>
                  <a:pt x="173" y="73"/>
                </a:cubicBezTo>
                <a:cubicBezTo>
                  <a:pt x="173" y="72"/>
                  <a:pt x="170" y="70"/>
                  <a:pt x="169" y="71"/>
                </a:cubicBezTo>
                <a:cubicBezTo>
                  <a:pt x="168" y="71"/>
                  <a:pt x="166" y="69"/>
                  <a:pt x="165" y="69"/>
                </a:cubicBezTo>
                <a:cubicBezTo>
                  <a:pt x="164" y="69"/>
                  <a:pt x="162" y="68"/>
                  <a:pt x="162" y="67"/>
                </a:cubicBezTo>
                <a:cubicBezTo>
                  <a:pt x="162" y="65"/>
                  <a:pt x="165" y="67"/>
                  <a:pt x="165" y="66"/>
                </a:cubicBezTo>
                <a:cubicBezTo>
                  <a:pt x="166" y="65"/>
                  <a:pt x="163" y="66"/>
                  <a:pt x="163" y="65"/>
                </a:cubicBezTo>
                <a:cubicBezTo>
                  <a:pt x="162" y="64"/>
                  <a:pt x="163" y="64"/>
                  <a:pt x="164" y="64"/>
                </a:cubicBezTo>
                <a:cubicBezTo>
                  <a:pt x="164" y="63"/>
                  <a:pt x="163" y="62"/>
                  <a:pt x="163" y="62"/>
                </a:cubicBezTo>
                <a:cubicBezTo>
                  <a:pt x="162" y="62"/>
                  <a:pt x="162" y="63"/>
                  <a:pt x="161" y="63"/>
                </a:cubicBezTo>
                <a:cubicBezTo>
                  <a:pt x="160" y="63"/>
                  <a:pt x="161" y="62"/>
                  <a:pt x="161" y="61"/>
                </a:cubicBezTo>
                <a:cubicBezTo>
                  <a:pt x="162" y="60"/>
                  <a:pt x="159" y="60"/>
                  <a:pt x="158" y="60"/>
                </a:cubicBezTo>
                <a:cubicBezTo>
                  <a:pt x="157" y="60"/>
                  <a:pt x="156" y="60"/>
                  <a:pt x="156" y="59"/>
                </a:cubicBezTo>
                <a:cubicBezTo>
                  <a:pt x="156" y="58"/>
                  <a:pt x="154" y="59"/>
                  <a:pt x="154" y="59"/>
                </a:cubicBezTo>
                <a:cubicBezTo>
                  <a:pt x="153" y="60"/>
                  <a:pt x="152" y="59"/>
                  <a:pt x="153" y="59"/>
                </a:cubicBezTo>
                <a:cubicBezTo>
                  <a:pt x="154" y="59"/>
                  <a:pt x="155" y="58"/>
                  <a:pt x="155" y="57"/>
                </a:cubicBezTo>
                <a:cubicBezTo>
                  <a:pt x="154" y="56"/>
                  <a:pt x="152" y="56"/>
                  <a:pt x="151" y="57"/>
                </a:cubicBezTo>
                <a:cubicBezTo>
                  <a:pt x="151" y="58"/>
                  <a:pt x="149" y="56"/>
                  <a:pt x="149" y="55"/>
                </a:cubicBezTo>
                <a:cubicBezTo>
                  <a:pt x="149" y="54"/>
                  <a:pt x="146" y="55"/>
                  <a:pt x="146" y="53"/>
                </a:cubicBezTo>
                <a:cubicBezTo>
                  <a:pt x="146" y="52"/>
                  <a:pt x="142" y="52"/>
                  <a:pt x="141" y="52"/>
                </a:cubicBezTo>
                <a:cubicBezTo>
                  <a:pt x="140" y="52"/>
                  <a:pt x="139" y="53"/>
                  <a:pt x="139" y="53"/>
                </a:cubicBezTo>
                <a:cubicBezTo>
                  <a:pt x="139" y="54"/>
                  <a:pt x="138" y="54"/>
                  <a:pt x="138" y="53"/>
                </a:cubicBezTo>
                <a:cubicBezTo>
                  <a:pt x="137" y="52"/>
                  <a:pt x="135" y="54"/>
                  <a:pt x="134" y="54"/>
                </a:cubicBezTo>
                <a:cubicBezTo>
                  <a:pt x="133" y="54"/>
                  <a:pt x="134" y="51"/>
                  <a:pt x="134" y="50"/>
                </a:cubicBezTo>
                <a:cubicBezTo>
                  <a:pt x="134" y="50"/>
                  <a:pt x="133" y="49"/>
                  <a:pt x="132" y="48"/>
                </a:cubicBezTo>
                <a:cubicBezTo>
                  <a:pt x="132" y="46"/>
                  <a:pt x="129" y="47"/>
                  <a:pt x="128" y="48"/>
                </a:cubicBezTo>
                <a:cubicBezTo>
                  <a:pt x="127" y="49"/>
                  <a:pt x="125" y="48"/>
                  <a:pt x="123" y="50"/>
                </a:cubicBezTo>
                <a:cubicBezTo>
                  <a:pt x="122" y="51"/>
                  <a:pt x="124" y="52"/>
                  <a:pt x="124" y="53"/>
                </a:cubicBezTo>
                <a:cubicBezTo>
                  <a:pt x="125" y="53"/>
                  <a:pt x="122" y="54"/>
                  <a:pt x="123" y="55"/>
                </a:cubicBezTo>
                <a:cubicBezTo>
                  <a:pt x="124" y="56"/>
                  <a:pt x="125" y="55"/>
                  <a:pt x="125" y="57"/>
                </a:cubicBezTo>
                <a:cubicBezTo>
                  <a:pt x="125" y="58"/>
                  <a:pt x="122" y="56"/>
                  <a:pt x="122" y="55"/>
                </a:cubicBezTo>
                <a:cubicBezTo>
                  <a:pt x="121" y="54"/>
                  <a:pt x="122" y="53"/>
                  <a:pt x="121" y="52"/>
                </a:cubicBezTo>
                <a:cubicBezTo>
                  <a:pt x="120" y="52"/>
                  <a:pt x="121" y="51"/>
                  <a:pt x="122" y="49"/>
                </a:cubicBezTo>
                <a:cubicBezTo>
                  <a:pt x="124" y="48"/>
                  <a:pt x="124" y="48"/>
                  <a:pt x="124" y="47"/>
                </a:cubicBezTo>
                <a:cubicBezTo>
                  <a:pt x="124" y="46"/>
                  <a:pt x="119" y="46"/>
                  <a:pt x="116" y="49"/>
                </a:cubicBezTo>
                <a:cubicBezTo>
                  <a:pt x="113" y="52"/>
                  <a:pt x="114" y="56"/>
                  <a:pt x="114" y="57"/>
                </a:cubicBezTo>
                <a:cubicBezTo>
                  <a:pt x="114" y="58"/>
                  <a:pt x="117" y="57"/>
                  <a:pt x="118" y="58"/>
                </a:cubicBezTo>
                <a:cubicBezTo>
                  <a:pt x="120" y="58"/>
                  <a:pt x="119" y="59"/>
                  <a:pt x="118" y="59"/>
                </a:cubicBezTo>
                <a:cubicBezTo>
                  <a:pt x="117" y="59"/>
                  <a:pt x="114" y="58"/>
                  <a:pt x="115" y="59"/>
                </a:cubicBezTo>
                <a:cubicBezTo>
                  <a:pt x="115" y="60"/>
                  <a:pt x="117" y="62"/>
                  <a:pt x="119" y="61"/>
                </a:cubicBezTo>
                <a:cubicBezTo>
                  <a:pt x="120" y="61"/>
                  <a:pt x="120" y="61"/>
                  <a:pt x="121" y="62"/>
                </a:cubicBezTo>
                <a:cubicBezTo>
                  <a:pt x="122" y="63"/>
                  <a:pt x="124" y="62"/>
                  <a:pt x="126" y="63"/>
                </a:cubicBezTo>
                <a:cubicBezTo>
                  <a:pt x="127" y="63"/>
                  <a:pt x="130" y="63"/>
                  <a:pt x="130" y="63"/>
                </a:cubicBezTo>
                <a:cubicBezTo>
                  <a:pt x="131" y="63"/>
                  <a:pt x="132" y="63"/>
                  <a:pt x="133" y="62"/>
                </a:cubicBezTo>
                <a:cubicBezTo>
                  <a:pt x="133" y="62"/>
                  <a:pt x="137" y="63"/>
                  <a:pt x="138" y="63"/>
                </a:cubicBezTo>
                <a:cubicBezTo>
                  <a:pt x="139" y="63"/>
                  <a:pt x="138" y="62"/>
                  <a:pt x="137" y="62"/>
                </a:cubicBezTo>
                <a:cubicBezTo>
                  <a:pt x="137" y="61"/>
                  <a:pt x="137" y="60"/>
                  <a:pt x="138" y="61"/>
                </a:cubicBezTo>
                <a:cubicBezTo>
                  <a:pt x="139" y="61"/>
                  <a:pt x="140" y="61"/>
                  <a:pt x="141" y="62"/>
                </a:cubicBezTo>
                <a:cubicBezTo>
                  <a:pt x="141" y="63"/>
                  <a:pt x="142" y="63"/>
                  <a:pt x="142" y="63"/>
                </a:cubicBezTo>
                <a:cubicBezTo>
                  <a:pt x="142" y="64"/>
                  <a:pt x="145" y="65"/>
                  <a:pt x="145" y="66"/>
                </a:cubicBezTo>
                <a:cubicBezTo>
                  <a:pt x="145" y="66"/>
                  <a:pt x="142" y="67"/>
                  <a:pt x="143" y="68"/>
                </a:cubicBezTo>
                <a:cubicBezTo>
                  <a:pt x="144" y="68"/>
                  <a:pt x="145" y="67"/>
                  <a:pt x="146" y="67"/>
                </a:cubicBezTo>
                <a:cubicBezTo>
                  <a:pt x="148" y="66"/>
                  <a:pt x="148" y="69"/>
                  <a:pt x="148" y="69"/>
                </a:cubicBezTo>
                <a:cubicBezTo>
                  <a:pt x="150" y="68"/>
                  <a:pt x="151" y="69"/>
                  <a:pt x="152" y="71"/>
                </a:cubicBezTo>
                <a:cubicBezTo>
                  <a:pt x="153" y="73"/>
                  <a:pt x="152" y="74"/>
                  <a:pt x="152" y="75"/>
                </a:cubicBezTo>
                <a:cubicBezTo>
                  <a:pt x="152" y="75"/>
                  <a:pt x="154" y="75"/>
                  <a:pt x="155" y="74"/>
                </a:cubicBezTo>
                <a:cubicBezTo>
                  <a:pt x="157" y="74"/>
                  <a:pt x="158" y="75"/>
                  <a:pt x="159" y="76"/>
                </a:cubicBezTo>
                <a:cubicBezTo>
                  <a:pt x="160" y="77"/>
                  <a:pt x="155" y="78"/>
                  <a:pt x="156" y="78"/>
                </a:cubicBezTo>
                <a:cubicBezTo>
                  <a:pt x="156" y="77"/>
                  <a:pt x="153" y="74"/>
                  <a:pt x="150" y="76"/>
                </a:cubicBezTo>
                <a:cubicBezTo>
                  <a:pt x="147" y="77"/>
                  <a:pt x="149" y="78"/>
                  <a:pt x="149" y="79"/>
                </a:cubicBezTo>
                <a:cubicBezTo>
                  <a:pt x="150" y="80"/>
                  <a:pt x="147" y="81"/>
                  <a:pt x="144" y="80"/>
                </a:cubicBezTo>
                <a:cubicBezTo>
                  <a:pt x="142" y="79"/>
                  <a:pt x="142" y="81"/>
                  <a:pt x="141" y="81"/>
                </a:cubicBezTo>
                <a:cubicBezTo>
                  <a:pt x="140" y="81"/>
                  <a:pt x="139" y="83"/>
                  <a:pt x="140" y="84"/>
                </a:cubicBezTo>
                <a:cubicBezTo>
                  <a:pt x="141" y="85"/>
                  <a:pt x="143" y="84"/>
                  <a:pt x="145" y="84"/>
                </a:cubicBezTo>
                <a:cubicBezTo>
                  <a:pt x="147" y="84"/>
                  <a:pt x="147" y="84"/>
                  <a:pt x="147" y="83"/>
                </a:cubicBezTo>
                <a:cubicBezTo>
                  <a:pt x="147" y="83"/>
                  <a:pt x="149" y="83"/>
                  <a:pt x="150" y="83"/>
                </a:cubicBezTo>
                <a:cubicBezTo>
                  <a:pt x="152" y="84"/>
                  <a:pt x="151" y="85"/>
                  <a:pt x="153" y="86"/>
                </a:cubicBezTo>
                <a:cubicBezTo>
                  <a:pt x="154" y="86"/>
                  <a:pt x="153" y="87"/>
                  <a:pt x="154" y="88"/>
                </a:cubicBezTo>
                <a:cubicBezTo>
                  <a:pt x="155" y="89"/>
                  <a:pt x="158" y="89"/>
                  <a:pt x="159" y="90"/>
                </a:cubicBezTo>
                <a:cubicBezTo>
                  <a:pt x="161" y="91"/>
                  <a:pt x="166" y="94"/>
                  <a:pt x="166" y="93"/>
                </a:cubicBezTo>
                <a:cubicBezTo>
                  <a:pt x="167" y="92"/>
                  <a:pt x="162" y="87"/>
                  <a:pt x="161" y="87"/>
                </a:cubicBezTo>
                <a:cubicBezTo>
                  <a:pt x="159" y="86"/>
                  <a:pt x="162" y="86"/>
                  <a:pt x="164" y="87"/>
                </a:cubicBezTo>
                <a:cubicBezTo>
                  <a:pt x="166" y="89"/>
                  <a:pt x="169" y="90"/>
                  <a:pt x="170" y="88"/>
                </a:cubicBezTo>
                <a:cubicBezTo>
                  <a:pt x="171" y="86"/>
                  <a:pt x="169" y="87"/>
                  <a:pt x="169" y="85"/>
                </a:cubicBezTo>
                <a:cubicBezTo>
                  <a:pt x="169" y="84"/>
                  <a:pt x="168" y="82"/>
                  <a:pt x="166" y="82"/>
                </a:cubicBezTo>
                <a:cubicBezTo>
                  <a:pt x="165" y="82"/>
                  <a:pt x="162" y="79"/>
                  <a:pt x="163" y="79"/>
                </a:cubicBezTo>
                <a:cubicBezTo>
                  <a:pt x="164" y="78"/>
                  <a:pt x="162" y="78"/>
                  <a:pt x="163" y="76"/>
                </a:cubicBezTo>
                <a:cubicBezTo>
                  <a:pt x="164" y="75"/>
                  <a:pt x="165" y="77"/>
                  <a:pt x="167" y="78"/>
                </a:cubicBezTo>
                <a:moveTo>
                  <a:pt x="146" y="73"/>
                </a:moveTo>
                <a:cubicBezTo>
                  <a:pt x="147" y="73"/>
                  <a:pt x="147" y="71"/>
                  <a:pt x="146" y="70"/>
                </a:cubicBezTo>
                <a:cubicBezTo>
                  <a:pt x="146" y="69"/>
                  <a:pt x="144" y="69"/>
                  <a:pt x="143" y="69"/>
                </a:cubicBezTo>
                <a:cubicBezTo>
                  <a:pt x="142" y="69"/>
                  <a:pt x="140" y="71"/>
                  <a:pt x="141" y="73"/>
                </a:cubicBezTo>
                <a:cubicBezTo>
                  <a:pt x="142" y="74"/>
                  <a:pt x="145" y="73"/>
                  <a:pt x="146" y="73"/>
                </a:cubicBezTo>
                <a:moveTo>
                  <a:pt x="134" y="47"/>
                </a:moveTo>
                <a:cubicBezTo>
                  <a:pt x="133" y="49"/>
                  <a:pt x="135" y="49"/>
                  <a:pt x="135" y="50"/>
                </a:cubicBezTo>
                <a:cubicBezTo>
                  <a:pt x="135" y="52"/>
                  <a:pt x="137" y="52"/>
                  <a:pt x="138" y="51"/>
                </a:cubicBezTo>
                <a:cubicBezTo>
                  <a:pt x="140" y="50"/>
                  <a:pt x="144" y="51"/>
                  <a:pt x="144" y="50"/>
                </a:cubicBezTo>
                <a:cubicBezTo>
                  <a:pt x="144" y="49"/>
                  <a:pt x="139" y="47"/>
                  <a:pt x="138" y="48"/>
                </a:cubicBezTo>
                <a:cubicBezTo>
                  <a:pt x="137" y="48"/>
                  <a:pt x="134" y="46"/>
                  <a:pt x="134" y="47"/>
                </a:cubicBezTo>
                <a:moveTo>
                  <a:pt x="170" y="131"/>
                </a:moveTo>
                <a:cubicBezTo>
                  <a:pt x="171" y="132"/>
                  <a:pt x="176" y="134"/>
                  <a:pt x="176" y="133"/>
                </a:cubicBezTo>
                <a:cubicBezTo>
                  <a:pt x="177" y="132"/>
                  <a:pt x="170" y="130"/>
                  <a:pt x="170" y="131"/>
                </a:cubicBezTo>
                <a:moveTo>
                  <a:pt x="195" y="137"/>
                </a:moveTo>
                <a:cubicBezTo>
                  <a:pt x="195" y="137"/>
                  <a:pt x="194" y="136"/>
                  <a:pt x="195" y="135"/>
                </a:cubicBezTo>
                <a:cubicBezTo>
                  <a:pt x="196" y="135"/>
                  <a:pt x="195" y="135"/>
                  <a:pt x="194" y="135"/>
                </a:cubicBezTo>
                <a:cubicBezTo>
                  <a:pt x="193" y="135"/>
                  <a:pt x="194" y="133"/>
                  <a:pt x="194" y="133"/>
                </a:cubicBezTo>
                <a:cubicBezTo>
                  <a:pt x="195" y="132"/>
                  <a:pt x="193" y="132"/>
                  <a:pt x="193" y="132"/>
                </a:cubicBezTo>
                <a:cubicBezTo>
                  <a:pt x="193" y="133"/>
                  <a:pt x="191" y="133"/>
                  <a:pt x="191" y="132"/>
                </a:cubicBezTo>
                <a:cubicBezTo>
                  <a:pt x="190" y="131"/>
                  <a:pt x="189" y="131"/>
                  <a:pt x="190" y="131"/>
                </a:cubicBezTo>
                <a:cubicBezTo>
                  <a:pt x="190" y="130"/>
                  <a:pt x="188" y="130"/>
                  <a:pt x="188" y="131"/>
                </a:cubicBezTo>
                <a:cubicBezTo>
                  <a:pt x="188" y="131"/>
                  <a:pt x="187" y="130"/>
                  <a:pt x="188" y="129"/>
                </a:cubicBezTo>
                <a:cubicBezTo>
                  <a:pt x="189" y="128"/>
                  <a:pt x="189" y="127"/>
                  <a:pt x="190" y="127"/>
                </a:cubicBezTo>
                <a:cubicBezTo>
                  <a:pt x="191" y="126"/>
                  <a:pt x="190" y="125"/>
                  <a:pt x="189" y="126"/>
                </a:cubicBezTo>
                <a:cubicBezTo>
                  <a:pt x="188" y="126"/>
                  <a:pt x="185" y="130"/>
                  <a:pt x="185" y="131"/>
                </a:cubicBezTo>
                <a:cubicBezTo>
                  <a:pt x="185" y="132"/>
                  <a:pt x="185" y="133"/>
                  <a:pt x="184" y="133"/>
                </a:cubicBezTo>
                <a:cubicBezTo>
                  <a:pt x="183" y="133"/>
                  <a:pt x="182" y="134"/>
                  <a:pt x="183" y="134"/>
                </a:cubicBezTo>
                <a:cubicBezTo>
                  <a:pt x="184" y="135"/>
                  <a:pt x="181" y="136"/>
                  <a:pt x="182" y="137"/>
                </a:cubicBezTo>
                <a:cubicBezTo>
                  <a:pt x="183" y="137"/>
                  <a:pt x="184" y="137"/>
                  <a:pt x="186" y="137"/>
                </a:cubicBezTo>
                <a:cubicBezTo>
                  <a:pt x="187" y="137"/>
                  <a:pt x="188" y="137"/>
                  <a:pt x="189" y="136"/>
                </a:cubicBezTo>
                <a:cubicBezTo>
                  <a:pt x="190" y="136"/>
                  <a:pt x="190" y="137"/>
                  <a:pt x="191" y="137"/>
                </a:cubicBezTo>
                <a:cubicBezTo>
                  <a:pt x="192" y="137"/>
                  <a:pt x="190" y="138"/>
                  <a:pt x="190" y="138"/>
                </a:cubicBezTo>
                <a:cubicBezTo>
                  <a:pt x="190" y="139"/>
                  <a:pt x="191" y="138"/>
                  <a:pt x="192" y="138"/>
                </a:cubicBezTo>
                <a:cubicBezTo>
                  <a:pt x="193" y="137"/>
                  <a:pt x="194" y="138"/>
                  <a:pt x="193" y="138"/>
                </a:cubicBezTo>
                <a:cubicBezTo>
                  <a:pt x="193" y="139"/>
                  <a:pt x="196" y="140"/>
                  <a:pt x="196" y="139"/>
                </a:cubicBezTo>
                <a:cubicBezTo>
                  <a:pt x="197" y="138"/>
                  <a:pt x="196" y="136"/>
                  <a:pt x="195" y="137"/>
                </a:cubicBezTo>
                <a:moveTo>
                  <a:pt x="18" y="119"/>
                </a:moveTo>
                <a:cubicBezTo>
                  <a:pt x="16" y="120"/>
                  <a:pt x="21" y="124"/>
                  <a:pt x="21" y="123"/>
                </a:cubicBezTo>
                <a:cubicBezTo>
                  <a:pt x="22" y="123"/>
                  <a:pt x="20" y="121"/>
                  <a:pt x="20" y="120"/>
                </a:cubicBezTo>
                <a:cubicBezTo>
                  <a:pt x="20" y="119"/>
                  <a:pt x="20" y="118"/>
                  <a:pt x="18" y="119"/>
                </a:cubicBezTo>
                <a:moveTo>
                  <a:pt x="180" y="141"/>
                </a:moveTo>
                <a:cubicBezTo>
                  <a:pt x="179" y="141"/>
                  <a:pt x="179" y="140"/>
                  <a:pt x="180" y="139"/>
                </a:cubicBezTo>
                <a:cubicBezTo>
                  <a:pt x="180" y="139"/>
                  <a:pt x="178" y="140"/>
                  <a:pt x="178" y="140"/>
                </a:cubicBezTo>
                <a:cubicBezTo>
                  <a:pt x="178" y="141"/>
                  <a:pt x="177" y="141"/>
                  <a:pt x="177" y="142"/>
                </a:cubicBezTo>
                <a:cubicBezTo>
                  <a:pt x="177" y="143"/>
                  <a:pt x="177" y="142"/>
                  <a:pt x="176" y="143"/>
                </a:cubicBezTo>
                <a:cubicBezTo>
                  <a:pt x="175" y="143"/>
                  <a:pt x="172" y="143"/>
                  <a:pt x="172" y="142"/>
                </a:cubicBezTo>
                <a:cubicBezTo>
                  <a:pt x="172" y="141"/>
                  <a:pt x="170" y="141"/>
                  <a:pt x="170" y="140"/>
                </a:cubicBezTo>
                <a:cubicBezTo>
                  <a:pt x="170" y="139"/>
                  <a:pt x="168" y="139"/>
                  <a:pt x="169" y="138"/>
                </a:cubicBezTo>
                <a:cubicBezTo>
                  <a:pt x="170" y="137"/>
                  <a:pt x="169" y="136"/>
                  <a:pt x="168" y="137"/>
                </a:cubicBezTo>
                <a:cubicBezTo>
                  <a:pt x="168" y="138"/>
                  <a:pt x="167" y="136"/>
                  <a:pt x="168" y="136"/>
                </a:cubicBezTo>
                <a:cubicBezTo>
                  <a:pt x="169" y="136"/>
                  <a:pt x="171" y="135"/>
                  <a:pt x="170" y="133"/>
                </a:cubicBezTo>
                <a:cubicBezTo>
                  <a:pt x="169" y="131"/>
                  <a:pt x="162" y="134"/>
                  <a:pt x="161" y="135"/>
                </a:cubicBezTo>
                <a:cubicBezTo>
                  <a:pt x="159" y="136"/>
                  <a:pt x="157" y="139"/>
                  <a:pt x="156" y="139"/>
                </a:cubicBezTo>
                <a:cubicBezTo>
                  <a:pt x="155" y="139"/>
                  <a:pt x="158" y="137"/>
                  <a:pt x="158" y="137"/>
                </a:cubicBezTo>
                <a:cubicBezTo>
                  <a:pt x="158" y="136"/>
                  <a:pt x="158" y="135"/>
                  <a:pt x="158" y="136"/>
                </a:cubicBezTo>
                <a:cubicBezTo>
                  <a:pt x="159" y="136"/>
                  <a:pt x="160" y="133"/>
                  <a:pt x="162" y="133"/>
                </a:cubicBezTo>
                <a:cubicBezTo>
                  <a:pt x="163" y="132"/>
                  <a:pt x="164" y="133"/>
                  <a:pt x="164" y="132"/>
                </a:cubicBezTo>
                <a:cubicBezTo>
                  <a:pt x="164" y="131"/>
                  <a:pt x="164" y="131"/>
                  <a:pt x="165" y="130"/>
                </a:cubicBezTo>
                <a:cubicBezTo>
                  <a:pt x="166" y="129"/>
                  <a:pt x="178" y="129"/>
                  <a:pt x="179" y="129"/>
                </a:cubicBezTo>
                <a:cubicBezTo>
                  <a:pt x="180" y="129"/>
                  <a:pt x="183" y="128"/>
                  <a:pt x="183" y="127"/>
                </a:cubicBezTo>
                <a:cubicBezTo>
                  <a:pt x="184" y="126"/>
                  <a:pt x="185" y="126"/>
                  <a:pt x="186" y="126"/>
                </a:cubicBezTo>
                <a:cubicBezTo>
                  <a:pt x="188" y="126"/>
                  <a:pt x="189" y="125"/>
                  <a:pt x="189" y="124"/>
                </a:cubicBezTo>
                <a:cubicBezTo>
                  <a:pt x="190" y="124"/>
                  <a:pt x="190" y="123"/>
                  <a:pt x="189" y="123"/>
                </a:cubicBezTo>
                <a:cubicBezTo>
                  <a:pt x="188" y="123"/>
                  <a:pt x="188" y="123"/>
                  <a:pt x="189" y="123"/>
                </a:cubicBezTo>
                <a:cubicBezTo>
                  <a:pt x="189" y="122"/>
                  <a:pt x="190" y="122"/>
                  <a:pt x="190" y="121"/>
                </a:cubicBezTo>
                <a:cubicBezTo>
                  <a:pt x="190" y="120"/>
                  <a:pt x="190" y="121"/>
                  <a:pt x="189" y="119"/>
                </a:cubicBezTo>
                <a:cubicBezTo>
                  <a:pt x="188" y="118"/>
                  <a:pt x="187" y="120"/>
                  <a:pt x="186" y="120"/>
                </a:cubicBezTo>
                <a:cubicBezTo>
                  <a:pt x="185" y="120"/>
                  <a:pt x="187" y="118"/>
                  <a:pt x="186" y="118"/>
                </a:cubicBezTo>
                <a:cubicBezTo>
                  <a:pt x="185" y="118"/>
                  <a:pt x="184" y="118"/>
                  <a:pt x="183" y="119"/>
                </a:cubicBezTo>
                <a:cubicBezTo>
                  <a:pt x="182" y="120"/>
                  <a:pt x="182" y="119"/>
                  <a:pt x="181" y="120"/>
                </a:cubicBezTo>
                <a:cubicBezTo>
                  <a:pt x="180" y="121"/>
                  <a:pt x="180" y="119"/>
                  <a:pt x="180" y="119"/>
                </a:cubicBezTo>
                <a:cubicBezTo>
                  <a:pt x="181" y="118"/>
                  <a:pt x="181" y="119"/>
                  <a:pt x="181" y="118"/>
                </a:cubicBezTo>
                <a:cubicBezTo>
                  <a:pt x="182" y="118"/>
                  <a:pt x="182" y="118"/>
                  <a:pt x="183" y="118"/>
                </a:cubicBezTo>
                <a:cubicBezTo>
                  <a:pt x="185" y="117"/>
                  <a:pt x="185" y="117"/>
                  <a:pt x="186" y="117"/>
                </a:cubicBezTo>
                <a:cubicBezTo>
                  <a:pt x="186" y="116"/>
                  <a:pt x="185" y="115"/>
                  <a:pt x="184" y="116"/>
                </a:cubicBezTo>
                <a:cubicBezTo>
                  <a:pt x="183" y="116"/>
                  <a:pt x="182" y="114"/>
                  <a:pt x="182" y="115"/>
                </a:cubicBezTo>
                <a:cubicBezTo>
                  <a:pt x="181" y="115"/>
                  <a:pt x="181" y="114"/>
                  <a:pt x="180" y="114"/>
                </a:cubicBezTo>
                <a:cubicBezTo>
                  <a:pt x="180" y="115"/>
                  <a:pt x="179" y="114"/>
                  <a:pt x="179" y="113"/>
                </a:cubicBezTo>
                <a:cubicBezTo>
                  <a:pt x="178" y="112"/>
                  <a:pt x="176" y="111"/>
                  <a:pt x="175" y="111"/>
                </a:cubicBezTo>
                <a:cubicBezTo>
                  <a:pt x="174" y="110"/>
                  <a:pt x="175" y="109"/>
                  <a:pt x="175" y="110"/>
                </a:cubicBezTo>
                <a:cubicBezTo>
                  <a:pt x="176" y="110"/>
                  <a:pt x="177" y="109"/>
                  <a:pt x="177" y="109"/>
                </a:cubicBezTo>
                <a:cubicBezTo>
                  <a:pt x="177" y="108"/>
                  <a:pt x="177" y="108"/>
                  <a:pt x="176" y="108"/>
                </a:cubicBezTo>
                <a:cubicBezTo>
                  <a:pt x="176" y="108"/>
                  <a:pt x="176" y="107"/>
                  <a:pt x="176" y="107"/>
                </a:cubicBezTo>
                <a:cubicBezTo>
                  <a:pt x="176" y="106"/>
                  <a:pt x="175" y="106"/>
                  <a:pt x="175" y="105"/>
                </a:cubicBezTo>
                <a:cubicBezTo>
                  <a:pt x="174" y="105"/>
                  <a:pt x="174" y="104"/>
                  <a:pt x="174" y="104"/>
                </a:cubicBezTo>
                <a:cubicBezTo>
                  <a:pt x="174" y="103"/>
                  <a:pt x="173" y="103"/>
                  <a:pt x="173" y="102"/>
                </a:cubicBezTo>
                <a:cubicBezTo>
                  <a:pt x="173" y="102"/>
                  <a:pt x="171" y="100"/>
                  <a:pt x="171" y="100"/>
                </a:cubicBezTo>
                <a:cubicBezTo>
                  <a:pt x="171" y="99"/>
                  <a:pt x="170" y="99"/>
                  <a:pt x="170" y="98"/>
                </a:cubicBezTo>
                <a:cubicBezTo>
                  <a:pt x="170" y="97"/>
                  <a:pt x="170" y="97"/>
                  <a:pt x="169" y="98"/>
                </a:cubicBezTo>
                <a:cubicBezTo>
                  <a:pt x="169" y="100"/>
                  <a:pt x="168" y="100"/>
                  <a:pt x="168" y="100"/>
                </a:cubicBezTo>
                <a:cubicBezTo>
                  <a:pt x="169" y="101"/>
                  <a:pt x="168" y="101"/>
                  <a:pt x="168" y="101"/>
                </a:cubicBezTo>
                <a:cubicBezTo>
                  <a:pt x="167" y="102"/>
                  <a:pt x="168" y="103"/>
                  <a:pt x="167" y="103"/>
                </a:cubicBezTo>
                <a:cubicBezTo>
                  <a:pt x="167" y="103"/>
                  <a:pt x="167" y="104"/>
                  <a:pt x="167" y="103"/>
                </a:cubicBezTo>
                <a:cubicBezTo>
                  <a:pt x="166" y="103"/>
                  <a:pt x="165" y="103"/>
                  <a:pt x="165" y="104"/>
                </a:cubicBezTo>
                <a:cubicBezTo>
                  <a:pt x="165" y="104"/>
                  <a:pt x="164" y="105"/>
                  <a:pt x="163" y="105"/>
                </a:cubicBezTo>
                <a:cubicBezTo>
                  <a:pt x="162" y="105"/>
                  <a:pt x="162" y="103"/>
                  <a:pt x="162" y="104"/>
                </a:cubicBezTo>
                <a:cubicBezTo>
                  <a:pt x="161" y="104"/>
                  <a:pt x="162" y="103"/>
                  <a:pt x="161" y="103"/>
                </a:cubicBezTo>
                <a:cubicBezTo>
                  <a:pt x="160" y="103"/>
                  <a:pt x="159" y="103"/>
                  <a:pt x="159" y="102"/>
                </a:cubicBezTo>
                <a:cubicBezTo>
                  <a:pt x="160" y="101"/>
                  <a:pt x="158" y="101"/>
                  <a:pt x="159" y="101"/>
                </a:cubicBezTo>
                <a:cubicBezTo>
                  <a:pt x="159" y="100"/>
                  <a:pt x="158" y="99"/>
                  <a:pt x="158" y="98"/>
                </a:cubicBezTo>
                <a:cubicBezTo>
                  <a:pt x="158" y="97"/>
                  <a:pt x="159" y="97"/>
                  <a:pt x="159" y="96"/>
                </a:cubicBezTo>
                <a:cubicBezTo>
                  <a:pt x="159" y="96"/>
                  <a:pt x="159" y="96"/>
                  <a:pt x="158" y="96"/>
                </a:cubicBezTo>
                <a:cubicBezTo>
                  <a:pt x="157" y="96"/>
                  <a:pt x="157" y="96"/>
                  <a:pt x="157" y="96"/>
                </a:cubicBezTo>
                <a:cubicBezTo>
                  <a:pt x="156" y="96"/>
                  <a:pt x="154" y="96"/>
                  <a:pt x="154" y="95"/>
                </a:cubicBezTo>
                <a:cubicBezTo>
                  <a:pt x="154" y="94"/>
                  <a:pt x="153" y="94"/>
                  <a:pt x="153" y="93"/>
                </a:cubicBezTo>
                <a:cubicBezTo>
                  <a:pt x="153" y="93"/>
                  <a:pt x="152" y="93"/>
                  <a:pt x="152" y="93"/>
                </a:cubicBezTo>
                <a:cubicBezTo>
                  <a:pt x="152" y="92"/>
                  <a:pt x="152" y="92"/>
                  <a:pt x="151" y="92"/>
                </a:cubicBezTo>
                <a:cubicBezTo>
                  <a:pt x="150" y="92"/>
                  <a:pt x="150" y="91"/>
                  <a:pt x="149" y="91"/>
                </a:cubicBezTo>
                <a:cubicBezTo>
                  <a:pt x="149" y="91"/>
                  <a:pt x="148" y="91"/>
                  <a:pt x="147" y="92"/>
                </a:cubicBezTo>
                <a:cubicBezTo>
                  <a:pt x="147" y="92"/>
                  <a:pt x="146" y="91"/>
                  <a:pt x="145" y="91"/>
                </a:cubicBezTo>
                <a:cubicBezTo>
                  <a:pt x="145" y="92"/>
                  <a:pt x="145" y="91"/>
                  <a:pt x="143" y="91"/>
                </a:cubicBezTo>
                <a:cubicBezTo>
                  <a:pt x="142" y="90"/>
                  <a:pt x="141" y="90"/>
                  <a:pt x="141" y="91"/>
                </a:cubicBezTo>
                <a:cubicBezTo>
                  <a:pt x="140" y="91"/>
                  <a:pt x="139" y="91"/>
                  <a:pt x="140" y="92"/>
                </a:cubicBezTo>
                <a:cubicBezTo>
                  <a:pt x="140" y="93"/>
                  <a:pt x="141" y="93"/>
                  <a:pt x="141" y="94"/>
                </a:cubicBezTo>
                <a:cubicBezTo>
                  <a:pt x="141" y="95"/>
                  <a:pt x="141" y="94"/>
                  <a:pt x="140" y="95"/>
                </a:cubicBezTo>
                <a:cubicBezTo>
                  <a:pt x="140" y="96"/>
                  <a:pt x="140" y="96"/>
                  <a:pt x="140" y="96"/>
                </a:cubicBezTo>
                <a:cubicBezTo>
                  <a:pt x="140" y="96"/>
                  <a:pt x="140" y="96"/>
                  <a:pt x="140" y="97"/>
                </a:cubicBezTo>
                <a:cubicBezTo>
                  <a:pt x="141" y="98"/>
                  <a:pt x="141" y="98"/>
                  <a:pt x="141" y="99"/>
                </a:cubicBezTo>
                <a:cubicBezTo>
                  <a:pt x="142" y="100"/>
                  <a:pt x="141" y="100"/>
                  <a:pt x="140" y="100"/>
                </a:cubicBezTo>
                <a:cubicBezTo>
                  <a:pt x="140" y="100"/>
                  <a:pt x="141" y="101"/>
                  <a:pt x="140" y="102"/>
                </a:cubicBezTo>
                <a:cubicBezTo>
                  <a:pt x="139" y="103"/>
                  <a:pt x="139" y="103"/>
                  <a:pt x="139" y="104"/>
                </a:cubicBezTo>
                <a:cubicBezTo>
                  <a:pt x="140" y="104"/>
                  <a:pt x="142" y="105"/>
                  <a:pt x="142" y="107"/>
                </a:cubicBezTo>
                <a:cubicBezTo>
                  <a:pt x="143" y="108"/>
                  <a:pt x="143" y="110"/>
                  <a:pt x="143" y="111"/>
                </a:cubicBezTo>
                <a:cubicBezTo>
                  <a:pt x="143" y="113"/>
                  <a:pt x="141" y="113"/>
                  <a:pt x="140" y="114"/>
                </a:cubicBezTo>
                <a:cubicBezTo>
                  <a:pt x="139" y="116"/>
                  <a:pt x="137" y="116"/>
                  <a:pt x="137" y="116"/>
                </a:cubicBezTo>
                <a:cubicBezTo>
                  <a:pt x="136" y="116"/>
                  <a:pt x="136" y="117"/>
                  <a:pt x="137" y="118"/>
                </a:cubicBezTo>
                <a:cubicBezTo>
                  <a:pt x="138" y="119"/>
                  <a:pt x="137" y="119"/>
                  <a:pt x="138" y="120"/>
                </a:cubicBezTo>
                <a:cubicBezTo>
                  <a:pt x="138" y="121"/>
                  <a:pt x="138" y="122"/>
                  <a:pt x="139" y="123"/>
                </a:cubicBezTo>
                <a:cubicBezTo>
                  <a:pt x="139" y="123"/>
                  <a:pt x="139" y="124"/>
                  <a:pt x="138" y="124"/>
                </a:cubicBezTo>
                <a:cubicBezTo>
                  <a:pt x="137" y="125"/>
                  <a:pt x="138" y="125"/>
                  <a:pt x="138" y="126"/>
                </a:cubicBezTo>
                <a:cubicBezTo>
                  <a:pt x="138" y="126"/>
                  <a:pt x="138" y="126"/>
                  <a:pt x="137" y="126"/>
                </a:cubicBezTo>
                <a:cubicBezTo>
                  <a:pt x="137" y="125"/>
                  <a:pt x="136" y="126"/>
                  <a:pt x="136" y="127"/>
                </a:cubicBezTo>
                <a:cubicBezTo>
                  <a:pt x="136" y="127"/>
                  <a:pt x="135" y="126"/>
                  <a:pt x="134" y="126"/>
                </a:cubicBezTo>
                <a:cubicBezTo>
                  <a:pt x="134" y="126"/>
                  <a:pt x="134" y="125"/>
                  <a:pt x="134" y="125"/>
                </a:cubicBezTo>
                <a:cubicBezTo>
                  <a:pt x="133" y="124"/>
                  <a:pt x="132" y="124"/>
                  <a:pt x="132" y="123"/>
                </a:cubicBezTo>
                <a:cubicBezTo>
                  <a:pt x="132" y="122"/>
                  <a:pt x="130" y="122"/>
                  <a:pt x="130" y="121"/>
                </a:cubicBezTo>
                <a:cubicBezTo>
                  <a:pt x="130" y="120"/>
                  <a:pt x="131" y="118"/>
                  <a:pt x="130" y="118"/>
                </a:cubicBezTo>
                <a:cubicBezTo>
                  <a:pt x="130" y="117"/>
                  <a:pt x="130" y="117"/>
                  <a:pt x="131" y="116"/>
                </a:cubicBezTo>
                <a:cubicBezTo>
                  <a:pt x="131" y="116"/>
                  <a:pt x="130" y="115"/>
                  <a:pt x="129" y="115"/>
                </a:cubicBezTo>
                <a:cubicBezTo>
                  <a:pt x="128" y="115"/>
                  <a:pt x="127" y="114"/>
                  <a:pt x="126" y="114"/>
                </a:cubicBezTo>
                <a:cubicBezTo>
                  <a:pt x="125" y="115"/>
                  <a:pt x="124" y="114"/>
                  <a:pt x="124" y="114"/>
                </a:cubicBezTo>
                <a:cubicBezTo>
                  <a:pt x="123" y="114"/>
                  <a:pt x="122" y="113"/>
                  <a:pt x="121" y="113"/>
                </a:cubicBezTo>
                <a:cubicBezTo>
                  <a:pt x="119" y="112"/>
                  <a:pt x="118" y="111"/>
                  <a:pt x="118" y="111"/>
                </a:cubicBezTo>
                <a:cubicBezTo>
                  <a:pt x="118" y="111"/>
                  <a:pt x="117" y="110"/>
                  <a:pt x="116" y="110"/>
                </a:cubicBezTo>
                <a:cubicBezTo>
                  <a:pt x="116" y="109"/>
                  <a:pt x="114" y="109"/>
                  <a:pt x="114" y="109"/>
                </a:cubicBezTo>
                <a:cubicBezTo>
                  <a:pt x="113" y="109"/>
                  <a:pt x="112" y="108"/>
                  <a:pt x="111" y="108"/>
                </a:cubicBezTo>
                <a:cubicBezTo>
                  <a:pt x="110" y="108"/>
                  <a:pt x="108" y="109"/>
                  <a:pt x="108" y="109"/>
                </a:cubicBezTo>
                <a:cubicBezTo>
                  <a:pt x="107" y="109"/>
                  <a:pt x="108" y="108"/>
                  <a:pt x="108" y="108"/>
                </a:cubicBezTo>
                <a:cubicBezTo>
                  <a:pt x="108" y="108"/>
                  <a:pt x="107" y="106"/>
                  <a:pt x="107" y="105"/>
                </a:cubicBezTo>
                <a:cubicBezTo>
                  <a:pt x="107" y="104"/>
                  <a:pt x="106" y="103"/>
                  <a:pt x="105" y="103"/>
                </a:cubicBezTo>
                <a:cubicBezTo>
                  <a:pt x="104" y="103"/>
                  <a:pt x="103" y="103"/>
                  <a:pt x="103" y="103"/>
                </a:cubicBezTo>
                <a:cubicBezTo>
                  <a:pt x="103" y="102"/>
                  <a:pt x="103" y="100"/>
                  <a:pt x="103" y="98"/>
                </a:cubicBezTo>
                <a:cubicBezTo>
                  <a:pt x="103" y="97"/>
                  <a:pt x="104" y="95"/>
                  <a:pt x="104" y="95"/>
                </a:cubicBezTo>
                <a:cubicBezTo>
                  <a:pt x="104" y="94"/>
                  <a:pt x="105" y="94"/>
                  <a:pt x="106" y="93"/>
                </a:cubicBezTo>
                <a:cubicBezTo>
                  <a:pt x="107" y="93"/>
                  <a:pt x="106" y="92"/>
                  <a:pt x="107" y="92"/>
                </a:cubicBezTo>
                <a:cubicBezTo>
                  <a:pt x="107" y="92"/>
                  <a:pt x="108" y="91"/>
                  <a:pt x="108" y="91"/>
                </a:cubicBezTo>
                <a:cubicBezTo>
                  <a:pt x="108" y="90"/>
                  <a:pt x="109" y="91"/>
                  <a:pt x="108" y="90"/>
                </a:cubicBezTo>
                <a:cubicBezTo>
                  <a:pt x="108" y="90"/>
                  <a:pt x="108" y="89"/>
                  <a:pt x="109" y="89"/>
                </a:cubicBezTo>
                <a:cubicBezTo>
                  <a:pt x="110" y="89"/>
                  <a:pt x="112" y="89"/>
                  <a:pt x="112" y="88"/>
                </a:cubicBezTo>
                <a:cubicBezTo>
                  <a:pt x="112" y="87"/>
                  <a:pt x="109" y="88"/>
                  <a:pt x="109" y="87"/>
                </a:cubicBezTo>
                <a:cubicBezTo>
                  <a:pt x="109" y="86"/>
                  <a:pt x="105" y="86"/>
                  <a:pt x="105" y="85"/>
                </a:cubicBezTo>
                <a:cubicBezTo>
                  <a:pt x="105" y="85"/>
                  <a:pt x="109" y="86"/>
                  <a:pt x="110" y="86"/>
                </a:cubicBezTo>
                <a:cubicBezTo>
                  <a:pt x="111" y="87"/>
                  <a:pt x="112" y="86"/>
                  <a:pt x="113" y="86"/>
                </a:cubicBezTo>
                <a:cubicBezTo>
                  <a:pt x="114" y="86"/>
                  <a:pt x="113" y="85"/>
                  <a:pt x="113" y="85"/>
                </a:cubicBezTo>
                <a:cubicBezTo>
                  <a:pt x="114" y="84"/>
                  <a:pt x="115" y="85"/>
                  <a:pt x="117" y="85"/>
                </a:cubicBezTo>
                <a:cubicBezTo>
                  <a:pt x="118" y="85"/>
                  <a:pt x="119" y="82"/>
                  <a:pt x="120" y="82"/>
                </a:cubicBezTo>
                <a:cubicBezTo>
                  <a:pt x="121" y="81"/>
                  <a:pt x="120" y="81"/>
                  <a:pt x="118" y="81"/>
                </a:cubicBezTo>
                <a:cubicBezTo>
                  <a:pt x="116" y="81"/>
                  <a:pt x="115" y="80"/>
                  <a:pt x="114" y="79"/>
                </a:cubicBezTo>
                <a:cubicBezTo>
                  <a:pt x="113" y="79"/>
                  <a:pt x="113" y="78"/>
                  <a:pt x="114" y="78"/>
                </a:cubicBezTo>
                <a:cubicBezTo>
                  <a:pt x="115" y="78"/>
                  <a:pt x="118" y="80"/>
                  <a:pt x="119" y="80"/>
                </a:cubicBezTo>
                <a:cubicBezTo>
                  <a:pt x="120" y="80"/>
                  <a:pt x="121" y="79"/>
                  <a:pt x="122" y="78"/>
                </a:cubicBezTo>
                <a:cubicBezTo>
                  <a:pt x="123" y="77"/>
                  <a:pt x="121" y="77"/>
                  <a:pt x="121" y="77"/>
                </a:cubicBezTo>
                <a:cubicBezTo>
                  <a:pt x="120" y="76"/>
                  <a:pt x="122" y="76"/>
                  <a:pt x="123" y="76"/>
                </a:cubicBezTo>
                <a:cubicBezTo>
                  <a:pt x="123" y="76"/>
                  <a:pt x="124" y="77"/>
                  <a:pt x="124" y="77"/>
                </a:cubicBezTo>
                <a:cubicBezTo>
                  <a:pt x="124" y="77"/>
                  <a:pt x="126" y="77"/>
                  <a:pt x="126" y="77"/>
                </a:cubicBezTo>
                <a:cubicBezTo>
                  <a:pt x="127" y="77"/>
                  <a:pt x="126" y="76"/>
                  <a:pt x="125" y="75"/>
                </a:cubicBezTo>
                <a:cubicBezTo>
                  <a:pt x="124" y="75"/>
                  <a:pt x="125" y="74"/>
                  <a:pt x="125" y="75"/>
                </a:cubicBezTo>
                <a:cubicBezTo>
                  <a:pt x="126" y="75"/>
                  <a:pt x="127" y="75"/>
                  <a:pt x="127" y="76"/>
                </a:cubicBezTo>
                <a:cubicBezTo>
                  <a:pt x="128" y="77"/>
                  <a:pt x="128" y="76"/>
                  <a:pt x="129" y="76"/>
                </a:cubicBezTo>
                <a:cubicBezTo>
                  <a:pt x="130" y="76"/>
                  <a:pt x="130" y="75"/>
                  <a:pt x="131" y="74"/>
                </a:cubicBezTo>
                <a:cubicBezTo>
                  <a:pt x="131" y="74"/>
                  <a:pt x="132" y="75"/>
                  <a:pt x="132" y="74"/>
                </a:cubicBezTo>
                <a:cubicBezTo>
                  <a:pt x="133" y="73"/>
                  <a:pt x="132" y="72"/>
                  <a:pt x="131" y="71"/>
                </a:cubicBezTo>
                <a:cubicBezTo>
                  <a:pt x="130" y="71"/>
                  <a:pt x="131" y="70"/>
                  <a:pt x="130" y="70"/>
                </a:cubicBezTo>
                <a:cubicBezTo>
                  <a:pt x="130" y="69"/>
                  <a:pt x="129" y="69"/>
                  <a:pt x="130" y="69"/>
                </a:cubicBezTo>
                <a:cubicBezTo>
                  <a:pt x="131" y="69"/>
                  <a:pt x="132" y="69"/>
                  <a:pt x="133" y="68"/>
                </a:cubicBezTo>
                <a:cubicBezTo>
                  <a:pt x="133" y="67"/>
                  <a:pt x="131" y="67"/>
                  <a:pt x="132" y="67"/>
                </a:cubicBezTo>
                <a:cubicBezTo>
                  <a:pt x="133" y="66"/>
                  <a:pt x="132" y="66"/>
                  <a:pt x="131" y="66"/>
                </a:cubicBezTo>
                <a:cubicBezTo>
                  <a:pt x="130" y="66"/>
                  <a:pt x="130" y="65"/>
                  <a:pt x="130" y="64"/>
                </a:cubicBezTo>
                <a:cubicBezTo>
                  <a:pt x="130" y="64"/>
                  <a:pt x="128" y="64"/>
                  <a:pt x="127" y="64"/>
                </a:cubicBezTo>
                <a:cubicBezTo>
                  <a:pt x="126" y="63"/>
                  <a:pt x="124" y="63"/>
                  <a:pt x="124" y="63"/>
                </a:cubicBezTo>
                <a:cubicBezTo>
                  <a:pt x="123" y="64"/>
                  <a:pt x="123" y="66"/>
                  <a:pt x="124" y="66"/>
                </a:cubicBezTo>
                <a:cubicBezTo>
                  <a:pt x="125" y="66"/>
                  <a:pt x="125" y="66"/>
                  <a:pt x="125" y="67"/>
                </a:cubicBezTo>
                <a:cubicBezTo>
                  <a:pt x="124" y="67"/>
                  <a:pt x="125" y="68"/>
                  <a:pt x="124" y="68"/>
                </a:cubicBezTo>
                <a:cubicBezTo>
                  <a:pt x="124" y="68"/>
                  <a:pt x="123" y="67"/>
                  <a:pt x="123" y="69"/>
                </a:cubicBezTo>
                <a:cubicBezTo>
                  <a:pt x="123" y="70"/>
                  <a:pt x="122" y="70"/>
                  <a:pt x="122" y="71"/>
                </a:cubicBezTo>
                <a:cubicBezTo>
                  <a:pt x="121" y="71"/>
                  <a:pt x="121" y="69"/>
                  <a:pt x="121" y="69"/>
                </a:cubicBezTo>
                <a:cubicBezTo>
                  <a:pt x="120" y="70"/>
                  <a:pt x="120" y="71"/>
                  <a:pt x="120" y="71"/>
                </a:cubicBezTo>
                <a:cubicBezTo>
                  <a:pt x="121" y="71"/>
                  <a:pt x="121" y="72"/>
                  <a:pt x="121" y="73"/>
                </a:cubicBezTo>
                <a:cubicBezTo>
                  <a:pt x="121" y="73"/>
                  <a:pt x="120" y="73"/>
                  <a:pt x="120" y="74"/>
                </a:cubicBezTo>
                <a:cubicBezTo>
                  <a:pt x="119" y="75"/>
                  <a:pt x="119" y="73"/>
                  <a:pt x="118" y="73"/>
                </a:cubicBezTo>
                <a:cubicBezTo>
                  <a:pt x="118" y="72"/>
                  <a:pt x="117" y="71"/>
                  <a:pt x="117" y="70"/>
                </a:cubicBezTo>
                <a:cubicBezTo>
                  <a:pt x="117" y="70"/>
                  <a:pt x="117" y="69"/>
                  <a:pt x="118" y="69"/>
                </a:cubicBezTo>
                <a:cubicBezTo>
                  <a:pt x="118" y="69"/>
                  <a:pt x="118" y="69"/>
                  <a:pt x="118" y="68"/>
                </a:cubicBezTo>
                <a:cubicBezTo>
                  <a:pt x="118" y="67"/>
                  <a:pt x="117" y="67"/>
                  <a:pt x="116" y="66"/>
                </a:cubicBezTo>
                <a:cubicBezTo>
                  <a:pt x="116" y="65"/>
                  <a:pt x="115" y="65"/>
                  <a:pt x="114" y="66"/>
                </a:cubicBezTo>
                <a:cubicBezTo>
                  <a:pt x="114" y="66"/>
                  <a:pt x="114" y="67"/>
                  <a:pt x="113" y="67"/>
                </a:cubicBezTo>
                <a:cubicBezTo>
                  <a:pt x="113" y="68"/>
                  <a:pt x="113" y="69"/>
                  <a:pt x="112" y="69"/>
                </a:cubicBezTo>
                <a:cubicBezTo>
                  <a:pt x="112" y="69"/>
                  <a:pt x="112" y="67"/>
                  <a:pt x="112" y="67"/>
                </a:cubicBezTo>
                <a:cubicBezTo>
                  <a:pt x="111" y="66"/>
                  <a:pt x="111" y="66"/>
                  <a:pt x="112" y="66"/>
                </a:cubicBezTo>
                <a:cubicBezTo>
                  <a:pt x="113" y="66"/>
                  <a:pt x="113" y="65"/>
                  <a:pt x="113" y="65"/>
                </a:cubicBezTo>
                <a:cubicBezTo>
                  <a:pt x="112" y="65"/>
                  <a:pt x="111" y="64"/>
                  <a:pt x="110" y="64"/>
                </a:cubicBezTo>
                <a:cubicBezTo>
                  <a:pt x="110" y="64"/>
                  <a:pt x="109" y="65"/>
                  <a:pt x="109" y="64"/>
                </a:cubicBezTo>
                <a:cubicBezTo>
                  <a:pt x="108" y="64"/>
                  <a:pt x="109" y="63"/>
                  <a:pt x="109" y="62"/>
                </a:cubicBezTo>
                <a:cubicBezTo>
                  <a:pt x="109" y="62"/>
                  <a:pt x="110" y="63"/>
                  <a:pt x="110" y="62"/>
                </a:cubicBezTo>
                <a:cubicBezTo>
                  <a:pt x="111" y="61"/>
                  <a:pt x="109" y="61"/>
                  <a:pt x="109" y="61"/>
                </a:cubicBezTo>
                <a:cubicBezTo>
                  <a:pt x="109" y="60"/>
                  <a:pt x="107" y="60"/>
                  <a:pt x="107" y="59"/>
                </a:cubicBezTo>
                <a:cubicBezTo>
                  <a:pt x="106" y="59"/>
                  <a:pt x="107" y="58"/>
                  <a:pt x="107" y="57"/>
                </a:cubicBezTo>
                <a:cubicBezTo>
                  <a:pt x="107" y="57"/>
                  <a:pt x="105" y="55"/>
                  <a:pt x="104" y="55"/>
                </a:cubicBezTo>
                <a:cubicBezTo>
                  <a:pt x="103" y="56"/>
                  <a:pt x="103" y="54"/>
                  <a:pt x="103" y="54"/>
                </a:cubicBezTo>
                <a:cubicBezTo>
                  <a:pt x="104" y="55"/>
                  <a:pt x="104" y="54"/>
                  <a:pt x="105" y="53"/>
                </a:cubicBezTo>
                <a:cubicBezTo>
                  <a:pt x="106" y="52"/>
                  <a:pt x="106" y="52"/>
                  <a:pt x="105" y="52"/>
                </a:cubicBezTo>
                <a:cubicBezTo>
                  <a:pt x="105" y="52"/>
                  <a:pt x="105" y="51"/>
                  <a:pt x="106" y="51"/>
                </a:cubicBezTo>
                <a:cubicBezTo>
                  <a:pt x="107" y="51"/>
                  <a:pt x="108" y="52"/>
                  <a:pt x="109" y="51"/>
                </a:cubicBezTo>
                <a:cubicBezTo>
                  <a:pt x="110" y="51"/>
                  <a:pt x="111" y="48"/>
                  <a:pt x="112" y="47"/>
                </a:cubicBezTo>
                <a:cubicBezTo>
                  <a:pt x="113" y="46"/>
                  <a:pt x="112" y="46"/>
                  <a:pt x="110" y="46"/>
                </a:cubicBezTo>
                <a:cubicBezTo>
                  <a:pt x="108" y="46"/>
                  <a:pt x="108" y="45"/>
                  <a:pt x="106" y="45"/>
                </a:cubicBezTo>
                <a:cubicBezTo>
                  <a:pt x="105" y="45"/>
                  <a:pt x="102" y="46"/>
                  <a:pt x="102" y="46"/>
                </a:cubicBezTo>
                <a:cubicBezTo>
                  <a:pt x="101" y="46"/>
                  <a:pt x="102" y="47"/>
                  <a:pt x="102" y="47"/>
                </a:cubicBezTo>
                <a:cubicBezTo>
                  <a:pt x="102" y="48"/>
                  <a:pt x="101" y="47"/>
                  <a:pt x="101" y="47"/>
                </a:cubicBezTo>
                <a:cubicBezTo>
                  <a:pt x="100" y="47"/>
                  <a:pt x="101" y="48"/>
                  <a:pt x="101" y="50"/>
                </a:cubicBezTo>
                <a:cubicBezTo>
                  <a:pt x="101" y="51"/>
                  <a:pt x="101" y="52"/>
                  <a:pt x="102" y="52"/>
                </a:cubicBezTo>
                <a:cubicBezTo>
                  <a:pt x="102" y="53"/>
                  <a:pt x="102" y="54"/>
                  <a:pt x="102" y="55"/>
                </a:cubicBezTo>
                <a:cubicBezTo>
                  <a:pt x="102" y="56"/>
                  <a:pt x="101" y="56"/>
                  <a:pt x="101" y="56"/>
                </a:cubicBezTo>
                <a:cubicBezTo>
                  <a:pt x="100" y="56"/>
                  <a:pt x="102" y="57"/>
                  <a:pt x="101" y="57"/>
                </a:cubicBezTo>
                <a:cubicBezTo>
                  <a:pt x="101" y="58"/>
                  <a:pt x="100" y="57"/>
                  <a:pt x="100" y="57"/>
                </a:cubicBezTo>
                <a:cubicBezTo>
                  <a:pt x="99" y="57"/>
                  <a:pt x="98" y="59"/>
                  <a:pt x="99" y="60"/>
                </a:cubicBezTo>
                <a:cubicBezTo>
                  <a:pt x="100" y="60"/>
                  <a:pt x="100" y="60"/>
                  <a:pt x="99" y="61"/>
                </a:cubicBezTo>
                <a:cubicBezTo>
                  <a:pt x="99" y="61"/>
                  <a:pt x="98" y="62"/>
                  <a:pt x="100" y="63"/>
                </a:cubicBezTo>
                <a:cubicBezTo>
                  <a:pt x="101" y="64"/>
                  <a:pt x="103" y="64"/>
                  <a:pt x="104" y="65"/>
                </a:cubicBezTo>
                <a:cubicBezTo>
                  <a:pt x="105" y="65"/>
                  <a:pt x="104" y="65"/>
                  <a:pt x="104" y="66"/>
                </a:cubicBezTo>
                <a:cubicBezTo>
                  <a:pt x="104" y="67"/>
                  <a:pt x="103" y="67"/>
                  <a:pt x="103" y="68"/>
                </a:cubicBezTo>
                <a:cubicBezTo>
                  <a:pt x="103" y="68"/>
                  <a:pt x="104" y="68"/>
                  <a:pt x="104" y="67"/>
                </a:cubicBezTo>
                <a:cubicBezTo>
                  <a:pt x="105" y="66"/>
                  <a:pt x="105" y="67"/>
                  <a:pt x="105" y="68"/>
                </a:cubicBezTo>
                <a:cubicBezTo>
                  <a:pt x="105" y="69"/>
                  <a:pt x="105" y="68"/>
                  <a:pt x="104" y="69"/>
                </a:cubicBezTo>
                <a:cubicBezTo>
                  <a:pt x="103" y="70"/>
                  <a:pt x="103" y="70"/>
                  <a:pt x="102" y="70"/>
                </a:cubicBezTo>
                <a:cubicBezTo>
                  <a:pt x="101" y="70"/>
                  <a:pt x="101" y="72"/>
                  <a:pt x="102" y="72"/>
                </a:cubicBezTo>
                <a:cubicBezTo>
                  <a:pt x="102" y="73"/>
                  <a:pt x="102" y="74"/>
                  <a:pt x="101" y="73"/>
                </a:cubicBezTo>
                <a:cubicBezTo>
                  <a:pt x="99" y="73"/>
                  <a:pt x="99" y="72"/>
                  <a:pt x="99" y="71"/>
                </a:cubicBezTo>
                <a:cubicBezTo>
                  <a:pt x="100" y="71"/>
                  <a:pt x="100" y="70"/>
                  <a:pt x="100" y="70"/>
                </a:cubicBezTo>
                <a:cubicBezTo>
                  <a:pt x="99" y="70"/>
                  <a:pt x="98" y="70"/>
                  <a:pt x="97" y="69"/>
                </a:cubicBezTo>
                <a:cubicBezTo>
                  <a:pt x="97" y="68"/>
                  <a:pt x="97" y="69"/>
                  <a:pt x="99" y="69"/>
                </a:cubicBezTo>
                <a:cubicBezTo>
                  <a:pt x="100" y="69"/>
                  <a:pt x="99" y="68"/>
                  <a:pt x="100" y="68"/>
                </a:cubicBezTo>
                <a:cubicBezTo>
                  <a:pt x="101" y="68"/>
                  <a:pt x="102" y="68"/>
                  <a:pt x="102" y="68"/>
                </a:cubicBezTo>
                <a:cubicBezTo>
                  <a:pt x="103" y="67"/>
                  <a:pt x="102" y="65"/>
                  <a:pt x="101" y="66"/>
                </a:cubicBezTo>
                <a:cubicBezTo>
                  <a:pt x="101" y="66"/>
                  <a:pt x="99" y="66"/>
                  <a:pt x="99" y="66"/>
                </a:cubicBezTo>
                <a:cubicBezTo>
                  <a:pt x="99" y="65"/>
                  <a:pt x="101" y="65"/>
                  <a:pt x="101" y="65"/>
                </a:cubicBezTo>
                <a:cubicBezTo>
                  <a:pt x="102" y="65"/>
                  <a:pt x="101" y="64"/>
                  <a:pt x="100" y="64"/>
                </a:cubicBezTo>
                <a:cubicBezTo>
                  <a:pt x="99" y="65"/>
                  <a:pt x="98" y="65"/>
                  <a:pt x="98" y="64"/>
                </a:cubicBezTo>
                <a:cubicBezTo>
                  <a:pt x="97" y="63"/>
                  <a:pt x="95" y="63"/>
                  <a:pt x="95" y="65"/>
                </a:cubicBezTo>
                <a:cubicBezTo>
                  <a:pt x="95" y="66"/>
                  <a:pt x="93" y="65"/>
                  <a:pt x="93" y="66"/>
                </a:cubicBezTo>
                <a:cubicBezTo>
                  <a:pt x="92" y="67"/>
                  <a:pt x="93" y="67"/>
                  <a:pt x="95" y="67"/>
                </a:cubicBezTo>
                <a:cubicBezTo>
                  <a:pt x="96" y="67"/>
                  <a:pt x="97" y="68"/>
                  <a:pt x="96" y="68"/>
                </a:cubicBezTo>
                <a:cubicBezTo>
                  <a:pt x="96" y="68"/>
                  <a:pt x="96" y="69"/>
                  <a:pt x="95" y="69"/>
                </a:cubicBezTo>
                <a:cubicBezTo>
                  <a:pt x="95" y="69"/>
                  <a:pt x="94" y="69"/>
                  <a:pt x="94" y="70"/>
                </a:cubicBezTo>
                <a:cubicBezTo>
                  <a:pt x="95" y="70"/>
                  <a:pt x="94" y="70"/>
                  <a:pt x="94" y="71"/>
                </a:cubicBezTo>
                <a:cubicBezTo>
                  <a:pt x="94" y="72"/>
                  <a:pt x="93" y="71"/>
                  <a:pt x="92" y="71"/>
                </a:cubicBezTo>
                <a:cubicBezTo>
                  <a:pt x="91" y="71"/>
                  <a:pt x="89" y="71"/>
                  <a:pt x="88" y="72"/>
                </a:cubicBezTo>
                <a:cubicBezTo>
                  <a:pt x="87" y="72"/>
                  <a:pt x="85" y="71"/>
                  <a:pt x="84" y="71"/>
                </a:cubicBezTo>
                <a:cubicBezTo>
                  <a:pt x="84" y="70"/>
                  <a:pt x="83" y="70"/>
                  <a:pt x="82" y="70"/>
                </a:cubicBezTo>
                <a:cubicBezTo>
                  <a:pt x="81" y="70"/>
                  <a:pt x="81" y="69"/>
                  <a:pt x="80" y="69"/>
                </a:cubicBezTo>
                <a:cubicBezTo>
                  <a:pt x="79" y="69"/>
                  <a:pt x="79" y="68"/>
                  <a:pt x="79" y="67"/>
                </a:cubicBezTo>
                <a:cubicBezTo>
                  <a:pt x="79" y="67"/>
                  <a:pt x="76" y="67"/>
                  <a:pt x="75" y="68"/>
                </a:cubicBezTo>
                <a:cubicBezTo>
                  <a:pt x="74" y="68"/>
                  <a:pt x="73" y="68"/>
                  <a:pt x="72" y="69"/>
                </a:cubicBezTo>
                <a:cubicBezTo>
                  <a:pt x="72" y="70"/>
                  <a:pt x="73" y="70"/>
                  <a:pt x="73" y="70"/>
                </a:cubicBezTo>
                <a:cubicBezTo>
                  <a:pt x="74" y="70"/>
                  <a:pt x="74" y="69"/>
                  <a:pt x="75" y="69"/>
                </a:cubicBezTo>
                <a:cubicBezTo>
                  <a:pt x="77" y="69"/>
                  <a:pt x="78" y="68"/>
                  <a:pt x="78" y="68"/>
                </a:cubicBezTo>
                <a:cubicBezTo>
                  <a:pt x="79" y="69"/>
                  <a:pt x="76" y="70"/>
                  <a:pt x="74" y="70"/>
                </a:cubicBezTo>
                <a:cubicBezTo>
                  <a:pt x="73" y="70"/>
                  <a:pt x="74" y="72"/>
                  <a:pt x="75" y="73"/>
                </a:cubicBezTo>
                <a:cubicBezTo>
                  <a:pt x="76" y="75"/>
                  <a:pt x="74" y="74"/>
                  <a:pt x="74" y="75"/>
                </a:cubicBezTo>
                <a:cubicBezTo>
                  <a:pt x="74" y="76"/>
                  <a:pt x="72" y="75"/>
                  <a:pt x="73" y="74"/>
                </a:cubicBezTo>
                <a:cubicBezTo>
                  <a:pt x="74" y="74"/>
                  <a:pt x="73" y="73"/>
                  <a:pt x="73" y="73"/>
                </a:cubicBezTo>
                <a:cubicBezTo>
                  <a:pt x="72" y="72"/>
                  <a:pt x="71" y="73"/>
                  <a:pt x="71" y="72"/>
                </a:cubicBezTo>
                <a:cubicBezTo>
                  <a:pt x="72" y="71"/>
                  <a:pt x="71" y="72"/>
                  <a:pt x="70" y="71"/>
                </a:cubicBezTo>
                <a:cubicBezTo>
                  <a:pt x="69" y="71"/>
                  <a:pt x="69" y="70"/>
                  <a:pt x="68" y="71"/>
                </a:cubicBezTo>
                <a:cubicBezTo>
                  <a:pt x="67" y="71"/>
                  <a:pt x="66" y="71"/>
                  <a:pt x="64" y="72"/>
                </a:cubicBezTo>
                <a:cubicBezTo>
                  <a:pt x="62" y="72"/>
                  <a:pt x="58" y="72"/>
                  <a:pt x="57" y="71"/>
                </a:cubicBezTo>
                <a:cubicBezTo>
                  <a:pt x="57" y="71"/>
                  <a:pt x="59" y="69"/>
                  <a:pt x="60" y="70"/>
                </a:cubicBezTo>
                <a:cubicBezTo>
                  <a:pt x="61" y="70"/>
                  <a:pt x="60" y="69"/>
                  <a:pt x="59" y="68"/>
                </a:cubicBezTo>
                <a:cubicBezTo>
                  <a:pt x="58" y="67"/>
                  <a:pt x="55" y="66"/>
                  <a:pt x="56" y="67"/>
                </a:cubicBezTo>
                <a:cubicBezTo>
                  <a:pt x="56" y="68"/>
                  <a:pt x="54" y="67"/>
                  <a:pt x="52" y="67"/>
                </a:cubicBezTo>
                <a:cubicBezTo>
                  <a:pt x="50" y="66"/>
                  <a:pt x="50" y="66"/>
                  <a:pt x="49" y="66"/>
                </a:cubicBezTo>
                <a:cubicBezTo>
                  <a:pt x="48" y="66"/>
                  <a:pt x="46" y="65"/>
                  <a:pt x="45" y="64"/>
                </a:cubicBezTo>
                <a:cubicBezTo>
                  <a:pt x="43" y="63"/>
                  <a:pt x="40" y="63"/>
                  <a:pt x="40" y="64"/>
                </a:cubicBezTo>
                <a:cubicBezTo>
                  <a:pt x="39" y="65"/>
                  <a:pt x="38" y="65"/>
                  <a:pt x="37" y="65"/>
                </a:cubicBezTo>
                <a:cubicBezTo>
                  <a:pt x="36" y="65"/>
                  <a:pt x="38" y="64"/>
                  <a:pt x="37" y="64"/>
                </a:cubicBezTo>
                <a:cubicBezTo>
                  <a:pt x="37" y="64"/>
                  <a:pt x="37" y="62"/>
                  <a:pt x="37" y="62"/>
                </a:cubicBezTo>
                <a:cubicBezTo>
                  <a:pt x="36" y="62"/>
                  <a:pt x="35" y="65"/>
                  <a:pt x="34" y="65"/>
                </a:cubicBezTo>
                <a:cubicBezTo>
                  <a:pt x="32" y="65"/>
                  <a:pt x="31" y="62"/>
                  <a:pt x="30" y="61"/>
                </a:cubicBezTo>
                <a:cubicBezTo>
                  <a:pt x="29" y="60"/>
                  <a:pt x="28" y="60"/>
                  <a:pt x="29" y="61"/>
                </a:cubicBezTo>
                <a:cubicBezTo>
                  <a:pt x="30" y="63"/>
                  <a:pt x="28" y="62"/>
                  <a:pt x="28" y="63"/>
                </a:cubicBezTo>
                <a:cubicBezTo>
                  <a:pt x="28" y="63"/>
                  <a:pt x="26" y="64"/>
                  <a:pt x="26" y="64"/>
                </a:cubicBezTo>
                <a:cubicBezTo>
                  <a:pt x="27" y="63"/>
                  <a:pt x="26" y="63"/>
                  <a:pt x="24" y="64"/>
                </a:cubicBezTo>
                <a:cubicBezTo>
                  <a:pt x="23" y="66"/>
                  <a:pt x="22" y="65"/>
                  <a:pt x="22" y="65"/>
                </a:cubicBezTo>
                <a:cubicBezTo>
                  <a:pt x="22" y="65"/>
                  <a:pt x="19" y="66"/>
                  <a:pt x="19" y="67"/>
                </a:cubicBezTo>
                <a:cubicBezTo>
                  <a:pt x="19" y="67"/>
                  <a:pt x="18" y="68"/>
                  <a:pt x="17" y="68"/>
                </a:cubicBezTo>
                <a:cubicBezTo>
                  <a:pt x="16" y="68"/>
                  <a:pt x="17" y="67"/>
                  <a:pt x="18" y="67"/>
                </a:cubicBezTo>
                <a:cubicBezTo>
                  <a:pt x="19" y="66"/>
                  <a:pt x="21" y="64"/>
                  <a:pt x="22" y="64"/>
                </a:cubicBezTo>
                <a:cubicBezTo>
                  <a:pt x="23" y="64"/>
                  <a:pt x="26" y="63"/>
                  <a:pt x="26" y="63"/>
                </a:cubicBezTo>
                <a:cubicBezTo>
                  <a:pt x="26" y="62"/>
                  <a:pt x="24" y="62"/>
                  <a:pt x="24" y="62"/>
                </a:cubicBezTo>
                <a:cubicBezTo>
                  <a:pt x="23" y="62"/>
                  <a:pt x="22" y="63"/>
                  <a:pt x="20" y="64"/>
                </a:cubicBezTo>
                <a:cubicBezTo>
                  <a:pt x="19" y="64"/>
                  <a:pt x="17" y="64"/>
                  <a:pt x="18" y="65"/>
                </a:cubicBezTo>
                <a:cubicBezTo>
                  <a:pt x="18" y="66"/>
                  <a:pt x="17" y="65"/>
                  <a:pt x="16" y="65"/>
                </a:cubicBezTo>
                <a:cubicBezTo>
                  <a:pt x="16" y="66"/>
                  <a:pt x="15" y="65"/>
                  <a:pt x="16" y="65"/>
                </a:cubicBezTo>
                <a:cubicBezTo>
                  <a:pt x="16" y="65"/>
                  <a:pt x="15" y="64"/>
                  <a:pt x="15" y="64"/>
                </a:cubicBezTo>
                <a:cubicBezTo>
                  <a:pt x="15" y="65"/>
                  <a:pt x="14" y="65"/>
                  <a:pt x="13" y="65"/>
                </a:cubicBezTo>
                <a:cubicBezTo>
                  <a:pt x="12" y="65"/>
                  <a:pt x="11" y="66"/>
                  <a:pt x="11" y="67"/>
                </a:cubicBezTo>
                <a:cubicBezTo>
                  <a:pt x="12" y="67"/>
                  <a:pt x="13" y="67"/>
                  <a:pt x="12" y="68"/>
                </a:cubicBezTo>
                <a:cubicBezTo>
                  <a:pt x="12" y="68"/>
                  <a:pt x="11" y="67"/>
                  <a:pt x="9" y="67"/>
                </a:cubicBezTo>
                <a:cubicBezTo>
                  <a:pt x="7" y="67"/>
                  <a:pt x="4" y="65"/>
                  <a:pt x="4" y="65"/>
                </a:cubicBezTo>
                <a:cubicBezTo>
                  <a:pt x="4" y="64"/>
                  <a:pt x="1" y="64"/>
                  <a:pt x="0" y="64"/>
                </a:cubicBezTo>
                <a:cubicBezTo>
                  <a:pt x="0" y="98"/>
                  <a:pt x="0" y="98"/>
                  <a:pt x="0" y="98"/>
                </a:cubicBezTo>
                <a:cubicBezTo>
                  <a:pt x="0" y="98"/>
                  <a:pt x="1" y="99"/>
                  <a:pt x="1" y="98"/>
                </a:cubicBezTo>
                <a:cubicBezTo>
                  <a:pt x="1" y="98"/>
                  <a:pt x="2" y="98"/>
                  <a:pt x="3" y="98"/>
                </a:cubicBezTo>
                <a:cubicBezTo>
                  <a:pt x="4" y="97"/>
                  <a:pt x="5" y="99"/>
                  <a:pt x="5" y="99"/>
                </a:cubicBezTo>
                <a:cubicBezTo>
                  <a:pt x="5" y="100"/>
                  <a:pt x="6" y="100"/>
                  <a:pt x="7" y="101"/>
                </a:cubicBezTo>
                <a:cubicBezTo>
                  <a:pt x="7" y="102"/>
                  <a:pt x="8" y="103"/>
                  <a:pt x="8" y="102"/>
                </a:cubicBezTo>
                <a:cubicBezTo>
                  <a:pt x="9" y="102"/>
                  <a:pt x="10" y="102"/>
                  <a:pt x="10" y="101"/>
                </a:cubicBezTo>
                <a:cubicBezTo>
                  <a:pt x="10" y="100"/>
                  <a:pt x="13" y="100"/>
                  <a:pt x="13" y="101"/>
                </a:cubicBezTo>
                <a:cubicBezTo>
                  <a:pt x="13" y="102"/>
                  <a:pt x="17" y="103"/>
                  <a:pt x="18" y="106"/>
                </a:cubicBezTo>
                <a:cubicBezTo>
                  <a:pt x="20" y="109"/>
                  <a:pt x="20" y="110"/>
                  <a:pt x="22" y="111"/>
                </a:cubicBezTo>
                <a:cubicBezTo>
                  <a:pt x="25" y="112"/>
                  <a:pt x="25" y="113"/>
                  <a:pt x="24" y="113"/>
                </a:cubicBezTo>
                <a:cubicBezTo>
                  <a:pt x="24" y="114"/>
                  <a:pt x="26" y="115"/>
                  <a:pt x="25" y="115"/>
                </a:cubicBezTo>
                <a:cubicBezTo>
                  <a:pt x="24" y="116"/>
                  <a:pt x="24" y="116"/>
                  <a:pt x="23" y="116"/>
                </a:cubicBezTo>
                <a:cubicBezTo>
                  <a:pt x="23" y="117"/>
                  <a:pt x="24" y="117"/>
                  <a:pt x="24" y="118"/>
                </a:cubicBezTo>
                <a:cubicBezTo>
                  <a:pt x="25" y="118"/>
                  <a:pt x="23" y="118"/>
                  <a:pt x="24" y="119"/>
                </a:cubicBezTo>
                <a:cubicBezTo>
                  <a:pt x="24" y="119"/>
                  <a:pt x="23" y="120"/>
                  <a:pt x="24" y="120"/>
                </a:cubicBezTo>
                <a:cubicBezTo>
                  <a:pt x="24" y="121"/>
                  <a:pt x="25" y="121"/>
                  <a:pt x="26" y="120"/>
                </a:cubicBezTo>
                <a:cubicBezTo>
                  <a:pt x="26" y="120"/>
                  <a:pt x="27" y="121"/>
                  <a:pt x="26" y="121"/>
                </a:cubicBezTo>
                <a:cubicBezTo>
                  <a:pt x="26" y="122"/>
                  <a:pt x="27" y="123"/>
                  <a:pt x="27" y="122"/>
                </a:cubicBezTo>
                <a:cubicBezTo>
                  <a:pt x="28" y="122"/>
                  <a:pt x="29" y="123"/>
                  <a:pt x="29" y="123"/>
                </a:cubicBezTo>
                <a:cubicBezTo>
                  <a:pt x="30" y="123"/>
                  <a:pt x="30" y="124"/>
                  <a:pt x="29" y="124"/>
                </a:cubicBezTo>
                <a:cubicBezTo>
                  <a:pt x="29" y="124"/>
                  <a:pt x="29" y="126"/>
                  <a:pt x="29" y="126"/>
                </a:cubicBezTo>
                <a:cubicBezTo>
                  <a:pt x="30" y="126"/>
                  <a:pt x="30" y="126"/>
                  <a:pt x="30" y="127"/>
                </a:cubicBezTo>
                <a:cubicBezTo>
                  <a:pt x="30" y="127"/>
                  <a:pt x="31" y="128"/>
                  <a:pt x="32" y="128"/>
                </a:cubicBezTo>
                <a:cubicBezTo>
                  <a:pt x="33" y="127"/>
                  <a:pt x="33" y="128"/>
                  <a:pt x="34" y="129"/>
                </a:cubicBezTo>
                <a:cubicBezTo>
                  <a:pt x="34" y="129"/>
                  <a:pt x="35" y="129"/>
                  <a:pt x="35" y="129"/>
                </a:cubicBezTo>
                <a:cubicBezTo>
                  <a:pt x="36" y="129"/>
                  <a:pt x="36" y="130"/>
                  <a:pt x="36" y="130"/>
                </a:cubicBezTo>
                <a:cubicBezTo>
                  <a:pt x="36" y="131"/>
                  <a:pt x="37" y="131"/>
                  <a:pt x="38" y="131"/>
                </a:cubicBezTo>
                <a:cubicBezTo>
                  <a:pt x="39" y="131"/>
                  <a:pt x="39" y="131"/>
                  <a:pt x="39" y="131"/>
                </a:cubicBezTo>
                <a:cubicBezTo>
                  <a:pt x="40" y="131"/>
                  <a:pt x="40" y="133"/>
                  <a:pt x="41" y="133"/>
                </a:cubicBezTo>
                <a:cubicBezTo>
                  <a:pt x="102" y="133"/>
                  <a:pt x="102" y="133"/>
                  <a:pt x="102" y="133"/>
                </a:cubicBezTo>
                <a:cubicBezTo>
                  <a:pt x="102" y="133"/>
                  <a:pt x="102" y="132"/>
                  <a:pt x="103" y="132"/>
                </a:cubicBezTo>
                <a:cubicBezTo>
                  <a:pt x="103" y="133"/>
                  <a:pt x="103" y="133"/>
                  <a:pt x="104" y="134"/>
                </a:cubicBezTo>
                <a:cubicBezTo>
                  <a:pt x="104" y="134"/>
                  <a:pt x="105" y="135"/>
                  <a:pt x="105" y="134"/>
                </a:cubicBezTo>
                <a:cubicBezTo>
                  <a:pt x="106" y="134"/>
                  <a:pt x="107" y="134"/>
                  <a:pt x="107" y="135"/>
                </a:cubicBezTo>
                <a:cubicBezTo>
                  <a:pt x="108" y="135"/>
                  <a:pt x="109" y="135"/>
                  <a:pt x="109" y="135"/>
                </a:cubicBezTo>
                <a:cubicBezTo>
                  <a:pt x="110" y="136"/>
                  <a:pt x="111" y="136"/>
                  <a:pt x="111" y="136"/>
                </a:cubicBezTo>
                <a:cubicBezTo>
                  <a:pt x="112" y="135"/>
                  <a:pt x="113" y="136"/>
                  <a:pt x="114" y="136"/>
                </a:cubicBezTo>
                <a:cubicBezTo>
                  <a:pt x="115" y="135"/>
                  <a:pt x="116" y="133"/>
                  <a:pt x="117" y="133"/>
                </a:cubicBezTo>
                <a:cubicBezTo>
                  <a:pt x="119" y="133"/>
                  <a:pt x="122" y="134"/>
                  <a:pt x="122" y="135"/>
                </a:cubicBezTo>
                <a:cubicBezTo>
                  <a:pt x="122" y="137"/>
                  <a:pt x="124" y="135"/>
                  <a:pt x="124" y="137"/>
                </a:cubicBezTo>
                <a:cubicBezTo>
                  <a:pt x="124" y="138"/>
                  <a:pt x="126" y="139"/>
                  <a:pt x="126" y="140"/>
                </a:cubicBezTo>
                <a:cubicBezTo>
                  <a:pt x="126" y="140"/>
                  <a:pt x="126" y="141"/>
                  <a:pt x="127" y="141"/>
                </a:cubicBezTo>
                <a:cubicBezTo>
                  <a:pt x="127" y="141"/>
                  <a:pt x="129" y="141"/>
                  <a:pt x="130" y="141"/>
                </a:cubicBezTo>
                <a:cubicBezTo>
                  <a:pt x="132" y="142"/>
                  <a:pt x="134" y="141"/>
                  <a:pt x="134" y="142"/>
                </a:cubicBezTo>
                <a:cubicBezTo>
                  <a:pt x="135" y="144"/>
                  <a:pt x="137" y="145"/>
                  <a:pt x="135" y="145"/>
                </a:cubicBezTo>
                <a:cubicBezTo>
                  <a:pt x="134" y="146"/>
                  <a:pt x="132" y="144"/>
                  <a:pt x="132" y="145"/>
                </a:cubicBezTo>
                <a:cubicBezTo>
                  <a:pt x="132" y="146"/>
                  <a:pt x="132" y="145"/>
                  <a:pt x="132" y="147"/>
                </a:cubicBezTo>
                <a:cubicBezTo>
                  <a:pt x="132" y="148"/>
                  <a:pt x="131" y="150"/>
                  <a:pt x="130" y="150"/>
                </a:cubicBezTo>
                <a:cubicBezTo>
                  <a:pt x="130" y="150"/>
                  <a:pt x="130" y="150"/>
                  <a:pt x="130" y="150"/>
                </a:cubicBezTo>
                <a:cubicBezTo>
                  <a:pt x="130" y="151"/>
                  <a:pt x="130" y="151"/>
                  <a:pt x="130" y="152"/>
                </a:cubicBezTo>
                <a:cubicBezTo>
                  <a:pt x="131" y="151"/>
                  <a:pt x="132" y="150"/>
                  <a:pt x="133" y="150"/>
                </a:cubicBezTo>
                <a:cubicBezTo>
                  <a:pt x="134" y="151"/>
                  <a:pt x="135" y="151"/>
                  <a:pt x="136" y="151"/>
                </a:cubicBezTo>
                <a:cubicBezTo>
                  <a:pt x="137" y="150"/>
                  <a:pt x="137" y="150"/>
                  <a:pt x="137" y="150"/>
                </a:cubicBezTo>
                <a:cubicBezTo>
                  <a:pt x="137" y="150"/>
                  <a:pt x="137" y="150"/>
                  <a:pt x="137" y="150"/>
                </a:cubicBezTo>
                <a:cubicBezTo>
                  <a:pt x="138" y="150"/>
                  <a:pt x="138" y="150"/>
                  <a:pt x="138" y="150"/>
                </a:cubicBezTo>
                <a:cubicBezTo>
                  <a:pt x="138" y="150"/>
                  <a:pt x="138" y="149"/>
                  <a:pt x="138" y="149"/>
                </a:cubicBezTo>
                <a:cubicBezTo>
                  <a:pt x="137" y="149"/>
                  <a:pt x="136" y="149"/>
                  <a:pt x="136" y="149"/>
                </a:cubicBezTo>
                <a:cubicBezTo>
                  <a:pt x="136" y="148"/>
                  <a:pt x="139" y="147"/>
                  <a:pt x="141" y="147"/>
                </a:cubicBezTo>
                <a:cubicBezTo>
                  <a:pt x="142" y="147"/>
                  <a:pt x="143" y="146"/>
                  <a:pt x="144" y="147"/>
                </a:cubicBezTo>
                <a:cubicBezTo>
                  <a:pt x="145" y="146"/>
                  <a:pt x="146" y="144"/>
                  <a:pt x="147" y="144"/>
                </a:cubicBezTo>
                <a:cubicBezTo>
                  <a:pt x="147" y="144"/>
                  <a:pt x="154" y="144"/>
                  <a:pt x="154" y="144"/>
                </a:cubicBezTo>
                <a:cubicBezTo>
                  <a:pt x="154" y="144"/>
                  <a:pt x="157" y="143"/>
                  <a:pt x="157" y="141"/>
                </a:cubicBezTo>
                <a:cubicBezTo>
                  <a:pt x="157" y="140"/>
                  <a:pt x="159" y="137"/>
                  <a:pt x="160" y="138"/>
                </a:cubicBezTo>
                <a:cubicBezTo>
                  <a:pt x="161" y="138"/>
                  <a:pt x="163" y="138"/>
                  <a:pt x="163" y="138"/>
                </a:cubicBezTo>
                <a:cubicBezTo>
                  <a:pt x="163" y="139"/>
                  <a:pt x="162" y="141"/>
                  <a:pt x="165" y="145"/>
                </a:cubicBezTo>
                <a:cubicBezTo>
                  <a:pt x="166" y="144"/>
                  <a:pt x="166" y="144"/>
                  <a:pt x="167" y="144"/>
                </a:cubicBezTo>
                <a:cubicBezTo>
                  <a:pt x="168" y="144"/>
                  <a:pt x="169" y="142"/>
                  <a:pt x="170" y="142"/>
                </a:cubicBezTo>
                <a:cubicBezTo>
                  <a:pt x="170" y="141"/>
                  <a:pt x="170" y="142"/>
                  <a:pt x="170" y="143"/>
                </a:cubicBezTo>
                <a:cubicBezTo>
                  <a:pt x="169" y="143"/>
                  <a:pt x="170" y="143"/>
                  <a:pt x="172" y="143"/>
                </a:cubicBezTo>
                <a:cubicBezTo>
                  <a:pt x="173" y="143"/>
                  <a:pt x="171" y="144"/>
                  <a:pt x="170" y="144"/>
                </a:cubicBezTo>
                <a:cubicBezTo>
                  <a:pt x="169" y="144"/>
                  <a:pt x="169" y="144"/>
                  <a:pt x="167" y="145"/>
                </a:cubicBezTo>
                <a:cubicBezTo>
                  <a:pt x="166" y="147"/>
                  <a:pt x="166" y="147"/>
                  <a:pt x="167" y="148"/>
                </a:cubicBezTo>
                <a:cubicBezTo>
                  <a:pt x="168" y="148"/>
                  <a:pt x="169" y="148"/>
                  <a:pt x="170" y="147"/>
                </a:cubicBezTo>
                <a:cubicBezTo>
                  <a:pt x="171" y="146"/>
                  <a:pt x="171" y="145"/>
                  <a:pt x="172" y="145"/>
                </a:cubicBezTo>
                <a:cubicBezTo>
                  <a:pt x="173" y="145"/>
                  <a:pt x="176" y="144"/>
                  <a:pt x="177" y="144"/>
                </a:cubicBezTo>
                <a:cubicBezTo>
                  <a:pt x="178" y="144"/>
                  <a:pt x="177" y="143"/>
                  <a:pt x="177" y="143"/>
                </a:cubicBezTo>
                <a:cubicBezTo>
                  <a:pt x="177" y="142"/>
                  <a:pt x="180" y="142"/>
                  <a:pt x="180" y="142"/>
                </a:cubicBezTo>
                <a:cubicBezTo>
                  <a:pt x="181" y="141"/>
                  <a:pt x="180" y="141"/>
                  <a:pt x="180" y="141"/>
                </a:cubicBezTo>
                <a:moveTo>
                  <a:pt x="52" y="77"/>
                </a:moveTo>
                <a:cubicBezTo>
                  <a:pt x="51" y="79"/>
                  <a:pt x="50" y="79"/>
                  <a:pt x="49" y="79"/>
                </a:cubicBezTo>
                <a:cubicBezTo>
                  <a:pt x="48" y="79"/>
                  <a:pt x="47" y="79"/>
                  <a:pt x="47" y="80"/>
                </a:cubicBezTo>
                <a:cubicBezTo>
                  <a:pt x="48" y="80"/>
                  <a:pt x="48" y="81"/>
                  <a:pt x="47" y="81"/>
                </a:cubicBezTo>
                <a:cubicBezTo>
                  <a:pt x="45" y="81"/>
                  <a:pt x="45" y="82"/>
                  <a:pt x="44" y="82"/>
                </a:cubicBezTo>
                <a:cubicBezTo>
                  <a:pt x="43" y="82"/>
                  <a:pt x="46" y="80"/>
                  <a:pt x="46" y="80"/>
                </a:cubicBezTo>
                <a:cubicBezTo>
                  <a:pt x="45" y="79"/>
                  <a:pt x="43" y="81"/>
                  <a:pt x="43" y="81"/>
                </a:cubicBezTo>
                <a:cubicBezTo>
                  <a:pt x="43" y="82"/>
                  <a:pt x="42" y="82"/>
                  <a:pt x="41" y="82"/>
                </a:cubicBezTo>
                <a:cubicBezTo>
                  <a:pt x="40" y="82"/>
                  <a:pt x="39" y="81"/>
                  <a:pt x="40" y="81"/>
                </a:cubicBezTo>
                <a:cubicBezTo>
                  <a:pt x="41" y="81"/>
                  <a:pt x="40" y="80"/>
                  <a:pt x="41" y="80"/>
                </a:cubicBezTo>
                <a:cubicBezTo>
                  <a:pt x="42" y="79"/>
                  <a:pt x="41" y="79"/>
                  <a:pt x="41" y="78"/>
                </a:cubicBezTo>
                <a:cubicBezTo>
                  <a:pt x="42" y="78"/>
                  <a:pt x="44" y="79"/>
                  <a:pt x="44" y="78"/>
                </a:cubicBezTo>
                <a:cubicBezTo>
                  <a:pt x="44" y="77"/>
                  <a:pt x="42" y="77"/>
                  <a:pt x="41" y="77"/>
                </a:cubicBezTo>
                <a:cubicBezTo>
                  <a:pt x="40" y="77"/>
                  <a:pt x="39" y="79"/>
                  <a:pt x="37" y="78"/>
                </a:cubicBezTo>
                <a:cubicBezTo>
                  <a:pt x="36" y="77"/>
                  <a:pt x="42" y="77"/>
                  <a:pt x="43" y="76"/>
                </a:cubicBezTo>
                <a:cubicBezTo>
                  <a:pt x="44" y="75"/>
                  <a:pt x="48" y="74"/>
                  <a:pt x="48" y="75"/>
                </a:cubicBezTo>
                <a:cubicBezTo>
                  <a:pt x="48" y="76"/>
                  <a:pt x="46" y="76"/>
                  <a:pt x="47" y="77"/>
                </a:cubicBezTo>
                <a:cubicBezTo>
                  <a:pt x="48" y="78"/>
                  <a:pt x="50" y="77"/>
                  <a:pt x="51" y="76"/>
                </a:cubicBezTo>
                <a:cubicBezTo>
                  <a:pt x="51" y="76"/>
                  <a:pt x="53" y="76"/>
                  <a:pt x="52" y="77"/>
                </a:cubicBezTo>
                <a:moveTo>
                  <a:pt x="64" y="93"/>
                </a:moveTo>
                <a:cubicBezTo>
                  <a:pt x="63" y="94"/>
                  <a:pt x="63" y="94"/>
                  <a:pt x="62" y="94"/>
                </a:cubicBezTo>
                <a:cubicBezTo>
                  <a:pt x="60" y="95"/>
                  <a:pt x="61" y="96"/>
                  <a:pt x="60" y="96"/>
                </a:cubicBezTo>
                <a:cubicBezTo>
                  <a:pt x="58" y="96"/>
                  <a:pt x="54" y="96"/>
                  <a:pt x="54" y="95"/>
                </a:cubicBezTo>
                <a:cubicBezTo>
                  <a:pt x="54" y="95"/>
                  <a:pt x="56" y="95"/>
                  <a:pt x="56" y="95"/>
                </a:cubicBezTo>
                <a:cubicBezTo>
                  <a:pt x="56" y="94"/>
                  <a:pt x="57" y="93"/>
                  <a:pt x="58" y="93"/>
                </a:cubicBezTo>
                <a:cubicBezTo>
                  <a:pt x="59" y="93"/>
                  <a:pt x="59" y="92"/>
                  <a:pt x="57" y="91"/>
                </a:cubicBezTo>
                <a:cubicBezTo>
                  <a:pt x="56" y="90"/>
                  <a:pt x="59" y="90"/>
                  <a:pt x="60" y="91"/>
                </a:cubicBezTo>
                <a:cubicBezTo>
                  <a:pt x="61" y="92"/>
                  <a:pt x="63" y="93"/>
                  <a:pt x="64" y="92"/>
                </a:cubicBezTo>
                <a:cubicBezTo>
                  <a:pt x="65" y="91"/>
                  <a:pt x="70" y="89"/>
                  <a:pt x="70" y="90"/>
                </a:cubicBezTo>
                <a:cubicBezTo>
                  <a:pt x="70" y="91"/>
                  <a:pt x="66" y="92"/>
                  <a:pt x="64" y="93"/>
                </a:cubicBezTo>
                <a:moveTo>
                  <a:pt x="99" y="129"/>
                </a:moveTo>
                <a:cubicBezTo>
                  <a:pt x="97" y="129"/>
                  <a:pt x="99" y="126"/>
                  <a:pt x="97" y="125"/>
                </a:cubicBezTo>
                <a:cubicBezTo>
                  <a:pt x="94" y="124"/>
                  <a:pt x="93" y="121"/>
                  <a:pt x="93" y="120"/>
                </a:cubicBezTo>
                <a:cubicBezTo>
                  <a:pt x="93" y="119"/>
                  <a:pt x="95" y="118"/>
                  <a:pt x="96" y="119"/>
                </a:cubicBezTo>
                <a:cubicBezTo>
                  <a:pt x="97" y="120"/>
                  <a:pt x="98" y="124"/>
                  <a:pt x="99" y="125"/>
                </a:cubicBezTo>
                <a:cubicBezTo>
                  <a:pt x="99" y="127"/>
                  <a:pt x="99" y="129"/>
                  <a:pt x="99" y="1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360"/>
          <p:cNvSpPr>
            <a:spLocks noEditPoints="1"/>
          </p:cNvSpPr>
          <p:nvPr/>
        </p:nvSpPr>
        <p:spPr bwMode="auto">
          <a:xfrm>
            <a:off x="396243" y="2338765"/>
            <a:ext cx="1086754" cy="672071"/>
          </a:xfrm>
          <a:custGeom>
            <a:avLst/>
            <a:gdLst>
              <a:gd name="T0" fmla="*/ 68 w 225"/>
              <a:gd name="T1" fmla="*/ 45 h 139"/>
              <a:gd name="T2" fmla="*/ 60 w 225"/>
              <a:gd name="T3" fmla="*/ 7 h 139"/>
              <a:gd name="T4" fmla="*/ 36 w 225"/>
              <a:gd name="T5" fmla="*/ 4 h 139"/>
              <a:gd name="T6" fmla="*/ 26 w 225"/>
              <a:gd name="T7" fmla="*/ 2 h 139"/>
              <a:gd name="T8" fmla="*/ 18 w 225"/>
              <a:gd name="T9" fmla="*/ 5 h 139"/>
              <a:gd name="T10" fmla="*/ 4 w 225"/>
              <a:gd name="T11" fmla="*/ 12 h 139"/>
              <a:gd name="T12" fmla="*/ 14 w 225"/>
              <a:gd name="T13" fmla="*/ 21 h 139"/>
              <a:gd name="T14" fmla="*/ 3 w 225"/>
              <a:gd name="T15" fmla="*/ 21 h 139"/>
              <a:gd name="T16" fmla="*/ 11 w 225"/>
              <a:gd name="T17" fmla="*/ 27 h 139"/>
              <a:gd name="T18" fmla="*/ 8 w 225"/>
              <a:gd name="T19" fmla="*/ 31 h 139"/>
              <a:gd name="T20" fmla="*/ 9 w 225"/>
              <a:gd name="T21" fmla="*/ 43 h 139"/>
              <a:gd name="T22" fmla="*/ 19 w 225"/>
              <a:gd name="T23" fmla="*/ 47 h 139"/>
              <a:gd name="T24" fmla="*/ 20 w 225"/>
              <a:gd name="T25" fmla="*/ 53 h 139"/>
              <a:gd name="T26" fmla="*/ 16 w 225"/>
              <a:gd name="T27" fmla="*/ 57 h 139"/>
              <a:gd name="T28" fmla="*/ 29 w 225"/>
              <a:gd name="T29" fmla="*/ 49 h 139"/>
              <a:gd name="T30" fmla="*/ 34 w 225"/>
              <a:gd name="T31" fmla="*/ 42 h 139"/>
              <a:gd name="T32" fmla="*/ 37 w 225"/>
              <a:gd name="T33" fmla="*/ 40 h 139"/>
              <a:gd name="T34" fmla="*/ 44 w 225"/>
              <a:gd name="T35" fmla="*/ 43 h 139"/>
              <a:gd name="T36" fmla="*/ 49 w 225"/>
              <a:gd name="T37" fmla="*/ 40 h 139"/>
              <a:gd name="T38" fmla="*/ 54 w 225"/>
              <a:gd name="T39" fmla="*/ 42 h 139"/>
              <a:gd name="T40" fmla="*/ 67 w 225"/>
              <a:gd name="T41" fmla="*/ 46 h 139"/>
              <a:gd name="T42" fmla="*/ 73 w 225"/>
              <a:gd name="T43" fmla="*/ 49 h 139"/>
              <a:gd name="T44" fmla="*/ 74 w 225"/>
              <a:gd name="T45" fmla="*/ 52 h 139"/>
              <a:gd name="T46" fmla="*/ 76 w 225"/>
              <a:gd name="T47" fmla="*/ 52 h 139"/>
              <a:gd name="T48" fmla="*/ 78 w 225"/>
              <a:gd name="T49" fmla="*/ 54 h 139"/>
              <a:gd name="T50" fmla="*/ 77 w 225"/>
              <a:gd name="T51" fmla="*/ 59 h 139"/>
              <a:gd name="T52" fmla="*/ 82 w 225"/>
              <a:gd name="T53" fmla="*/ 59 h 139"/>
              <a:gd name="T54" fmla="*/ 2 w 225"/>
              <a:gd name="T55" fmla="*/ 63 h 139"/>
              <a:gd name="T56" fmla="*/ 9 w 225"/>
              <a:gd name="T57" fmla="*/ 60 h 139"/>
              <a:gd name="T58" fmla="*/ 30 w 225"/>
              <a:gd name="T59" fmla="*/ 53 h 139"/>
              <a:gd name="T60" fmla="*/ 4 w 225"/>
              <a:gd name="T61" fmla="*/ 42 h 139"/>
              <a:gd name="T62" fmla="*/ 220 w 225"/>
              <a:gd name="T63" fmla="*/ 81 h 139"/>
              <a:gd name="T64" fmla="*/ 199 w 225"/>
              <a:gd name="T65" fmla="*/ 92 h 139"/>
              <a:gd name="T66" fmla="*/ 189 w 225"/>
              <a:gd name="T67" fmla="*/ 95 h 139"/>
              <a:gd name="T68" fmla="*/ 184 w 225"/>
              <a:gd name="T69" fmla="*/ 86 h 139"/>
              <a:gd name="T70" fmla="*/ 182 w 225"/>
              <a:gd name="T71" fmla="*/ 85 h 139"/>
              <a:gd name="T72" fmla="*/ 179 w 225"/>
              <a:gd name="T73" fmla="*/ 83 h 139"/>
              <a:gd name="T74" fmla="*/ 174 w 225"/>
              <a:gd name="T75" fmla="*/ 79 h 139"/>
              <a:gd name="T76" fmla="*/ 163 w 225"/>
              <a:gd name="T77" fmla="*/ 75 h 139"/>
              <a:gd name="T78" fmla="*/ 101 w 225"/>
              <a:gd name="T79" fmla="*/ 80 h 139"/>
              <a:gd name="T80" fmla="*/ 99 w 225"/>
              <a:gd name="T81" fmla="*/ 83 h 139"/>
              <a:gd name="T82" fmla="*/ 98 w 225"/>
              <a:gd name="T83" fmla="*/ 101 h 139"/>
              <a:gd name="T84" fmla="*/ 105 w 225"/>
              <a:gd name="T85" fmla="*/ 113 h 139"/>
              <a:gd name="T86" fmla="*/ 118 w 225"/>
              <a:gd name="T87" fmla="*/ 120 h 139"/>
              <a:gd name="T88" fmla="*/ 140 w 225"/>
              <a:gd name="T89" fmla="*/ 124 h 139"/>
              <a:gd name="T90" fmla="*/ 152 w 225"/>
              <a:gd name="T91" fmla="*/ 132 h 139"/>
              <a:gd name="T92" fmla="*/ 157 w 225"/>
              <a:gd name="T93" fmla="*/ 131 h 139"/>
              <a:gd name="T94" fmla="*/ 166 w 225"/>
              <a:gd name="T95" fmla="*/ 126 h 139"/>
              <a:gd name="T96" fmla="*/ 175 w 225"/>
              <a:gd name="T97" fmla="*/ 129 h 139"/>
              <a:gd name="T98" fmla="*/ 181 w 225"/>
              <a:gd name="T99" fmla="*/ 125 h 139"/>
              <a:gd name="T100" fmla="*/ 190 w 225"/>
              <a:gd name="T101" fmla="*/ 133 h 139"/>
              <a:gd name="T102" fmla="*/ 193 w 225"/>
              <a:gd name="T103" fmla="*/ 129 h 139"/>
              <a:gd name="T104" fmla="*/ 202 w 225"/>
              <a:gd name="T105" fmla="*/ 115 h 139"/>
              <a:gd name="T106" fmla="*/ 204 w 225"/>
              <a:gd name="T107" fmla="*/ 109 h 139"/>
              <a:gd name="T108" fmla="*/ 204 w 225"/>
              <a:gd name="T109" fmla="*/ 104 h 139"/>
              <a:gd name="T110" fmla="*/ 209 w 225"/>
              <a:gd name="T111" fmla="*/ 100 h 139"/>
              <a:gd name="T112" fmla="*/ 216 w 225"/>
              <a:gd name="T113" fmla="*/ 96 h 139"/>
              <a:gd name="T114" fmla="*/ 223 w 225"/>
              <a:gd name="T115" fmla="*/ 8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39">
                <a:moveTo>
                  <a:pt x="84" y="56"/>
                </a:moveTo>
                <a:cubicBezTo>
                  <a:pt x="85" y="56"/>
                  <a:pt x="85" y="55"/>
                  <a:pt x="82" y="54"/>
                </a:cubicBezTo>
                <a:cubicBezTo>
                  <a:pt x="80" y="53"/>
                  <a:pt x="80" y="52"/>
                  <a:pt x="78" y="49"/>
                </a:cubicBezTo>
                <a:cubicBezTo>
                  <a:pt x="77" y="46"/>
                  <a:pt x="73" y="45"/>
                  <a:pt x="73" y="44"/>
                </a:cubicBezTo>
                <a:cubicBezTo>
                  <a:pt x="73" y="43"/>
                  <a:pt x="70" y="43"/>
                  <a:pt x="70" y="44"/>
                </a:cubicBezTo>
                <a:cubicBezTo>
                  <a:pt x="70" y="45"/>
                  <a:pt x="69" y="45"/>
                  <a:pt x="68" y="45"/>
                </a:cubicBezTo>
                <a:cubicBezTo>
                  <a:pt x="68" y="46"/>
                  <a:pt x="67" y="45"/>
                  <a:pt x="67" y="44"/>
                </a:cubicBezTo>
                <a:cubicBezTo>
                  <a:pt x="66" y="43"/>
                  <a:pt x="65" y="43"/>
                  <a:pt x="65" y="42"/>
                </a:cubicBezTo>
                <a:cubicBezTo>
                  <a:pt x="65" y="42"/>
                  <a:pt x="64" y="40"/>
                  <a:pt x="63" y="41"/>
                </a:cubicBezTo>
                <a:cubicBezTo>
                  <a:pt x="62" y="41"/>
                  <a:pt x="61" y="41"/>
                  <a:pt x="61" y="41"/>
                </a:cubicBezTo>
                <a:cubicBezTo>
                  <a:pt x="61" y="42"/>
                  <a:pt x="60" y="41"/>
                  <a:pt x="60" y="41"/>
                </a:cubicBezTo>
                <a:cubicBezTo>
                  <a:pt x="60" y="7"/>
                  <a:pt x="60" y="7"/>
                  <a:pt x="60" y="7"/>
                </a:cubicBezTo>
                <a:cubicBezTo>
                  <a:pt x="59" y="7"/>
                  <a:pt x="59" y="7"/>
                  <a:pt x="59" y="7"/>
                </a:cubicBezTo>
                <a:cubicBezTo>
                  <a:pt x="57" y="6"/>
                  <a:pt x="55" y="6"/>
                  <a:pt x="54" y="6"/>
                </a:cubicBezTo>
                <a:cubicBezTo>
                  <a:pt x="53" y="6"/>
                  <a:pt x="51" y="6"/>
                  <a:pt x="50" y="6"/>
                </a:cubicBezTo>
                <a:cubicBezTo>
                  <a:pt x="49" y="6"/>
                  <a:pt x="48" y="5"/>
                  <a:pt x="46" y="5"/>
                </a:cubicBezTo>
                <a:cubicBezTo>
                  <a:pt x="45" y="6"/>
                  <a:pt x="44" y="5"/>
                  <a:pt x="42" y="4"/>
                </a:cubicBezTo>
                <a:cubicBezTo>
                  <a:pt x="40" y="4"/>
                  <a:pt x="37" y="4"/>
                  <a:pt x="36" y="4"/>
                </a:cubicBezTo>
                <a:cubicBezTo>
                  <a:pt x="35" y="5"/>
                  <a:pt x="36" y="4"/>
                  <a:pt x="35" y="4"/>
                </a:cubicBezTo>
                <a:cubicBezTo>
                  <a:pt x="34" y="4"/>
                  <a:pt x="35" y="3"/>
                  <a:pt x="34" y="3"/>
                </a:cubicBezTo>
                <a:cubicBezTo>
                  <a:pt x="34" y="2"/>
                  <a:pt x="31" y="3"/>
                  <a:pt x="30" y="3"/>
                </a:cubicBezTo>
                <a:cubicBezTo>
                  <a:pt x="29" y="3"/>
                  <a:pt x="29" y="2"/>
                  <a:pt x="29" y="2"/>
                </a:cubicBezTo>
                <a:cubicBezTo>
                  <a:pt x="29" y="1"/>
                  <a:pt x="28" y="2"/>
                  <a:pt x="28" y="2"/>
                </a:cubicBezTo>
                <a:cubicBezTo>
                  <a:pt x="28" y="3"/>
                  <a:pt x="27" y="3"/>
                  <a:pt x="26" y="2"/>
                </a:cubicBezTo>
                <a:cubicBezTo>
                  <a:pt x="26" y="2"/>
                  <a:pt x="27" y="2"/>
                  <a:pt x="27" y="1"/>
                </a:cubicBezTo>
                <a:cubicBezTo>
                  <a:pt x="27" y="1"/>
                  <a:pt x="26" y="1"/>
                  <a:pt x="25" y="1"/>
                </a:cubicBezTo>
                <a:cubicBezTo>
                  <a:pt x="25" y="0"/>
                  <a:pt x="24" y="1"/>
                  <a:pt x="23" y="2"/>
                </a:cubicBezTo>
                <a:cubicBezTo>
                  <a:pt x="22" y="3"/>
                  <a:pt x="21" y="3"/>
                  <a:pt x="20" y="3"/>
                </a:cubicBezTo>
                <a:cubicBezTo>
                  <a:pt x="19" y="3"/>
                  <a:pt x="18" y="3"/>
                  <a:pt x="18" y="3"/>
                </a:cubicBezTo>
                <a:cubicBezTo>
                  <a:pt x="18" y="4"/>
                  <a:pt x="19" y="4"/>
                  <a:pt x="18" y="5"/>
                </a:cubicBezTo>
                <a:cubicBezTo>
                  <a:pt x="17" y="5"/>
                  <a:pt x="17" y="4"/>
                  <a:pt x="16" y="4"/>
                </a:cubicBezTo>
                <a:cubicBezTo>
                  <a:pt x="16" y="5"/>
                  <a:pt x="14" y="5"/>
                  <a:pt x="13" y="5"/>
                </a:cubicBezTo>
                <a:cubicBezTo>
                  <a:pt x="13" y="5"/>
                  <a:pt x="11" y="7"/>
                  <a:pt x="11" y="7"/>
                </a:cubicBezTo>
                <a:cubicBezTo>
                  <a:pt x="10" y="8"/>
                  <a:pt x="11" y="8"/>
                  <a:pt x="10" y="9"/>
                </a:cubicBezTo>
                <a:cubicBezTo>
                  <a:pt x="8" y="11"/>
                  <a:pt x="5" y="11"/>
                  <a:pt x="4" y="11"/>
                </a:cubicBezTo>
                <a:cubicBezTo>
                  <a:pt x="3" y="11"/>
                  <a:pt x="4" y="11"/>
                  <a:pt x="4" y="12"/>
                </a:cubicBezTo>
                <a:cubicBezTo>
                  <a:pt x="3" y="13"/>
                  <a:pt x="4" y="13"/>
                  <a:pt x="6" y="14"/>
                </a:cubicBezTo>
                <a:cubicBezTo>
                  <a:pt x="8" y="14"/>
                  <a:pt x="9" y="17"/>
                  <a:pt x="10" y="17"/>
                </a:cubicBezTo>
                <a:cubicBezTo>
                  <a:pt x="10" y="18"/>
                  <a:pt x="12" y="17"/>
                  <a:pt x="13" y="17"/>
                </a:cubicBezTo>
                <a:cubicBezTo>
                  <a:pt x="14" y="18"/>
                  <a:pt x="13" y="19"/>
                  <a:pt x="14" y="19"/>
                </a:cubicBezTo>
                <a:cubicBezTo>
                  <a:pt x="15" y="20"/>
                  <a:pt x="16" y="19"/>
                  <a:pt x="16" y="20"/>
                </a:cubicBezTo>
                <a:cubicBezTo>
                  <a:pt x="17" y="21"/>
                  <a:pt x="15" y="20"/>
                  <a:pt x="14" y="21"/>
                </a:cubicBezTo>
                <a:cubicBezTo>
                  <a:pt x="13" y="21"/>
                  <a:pt x="12" y="22"/>
                  <a:pt x="12" y="21"/>
                </a:cubicBezTo>
                <a:cubicBezTo>
                  <a:pt x="11" y="21"/>
                  <a:pt x="10" y="21"/>
                  <a:pt x="9" y="21"/>
                </a:cubicBezTo>
                <a:cubicBezTo>
                  <a:pt x="8" y="21"/>
                  <a:pt x="9" y="20"/>
                  <a:pt x="9" y="20"/>
                </a:cubicBezTo>
                <a:cubicBezTo>
                  <a:pt x="9" y="19"/>
                  <a:pt x="8" y="19"/>
                  <a:pt x="6" y="20"/>
                </a:cubicBezTo>
                <a:cubicBezTo>
                  <a:pt x="5" y="21"/>
                  <a:pt x="5" y="20"/>
                  <a:pt x="5" y="21"/>
                </a:cubicBezTo>
                <a:cubicBezTo>
                  <a:pt x="5" y="22"/>
                  <a:pt x="4" y="21"/>
                  <a:pt x="3" y="21"/>
                </a:cubicBezTo>
                <a:cubicBezTo>
                  <a:pt x="2" y="22"/>
                  <a:pt x="0" y="22"/>
                  <a:pt x="0" y="23"/>
                </a:cubicBezTo>
                <a:cubicBezTo>
                  <a:pt x="0" y="23"/>
                  <a:pt x="2" y="24"/>
                  <a:pt x="3" y="24"/>
                </a:cubicBezTo>
                <a:cubicBezTo>
                  <a:pt x="4" y="24"/>
                  <a:pt x="2" y="25"/>
                  <a:pt x="3" y="25"/>
                </a:cubicBezTo>
                <a:cubicBezTo>
                  <a:pt x="4" y="25"/>
                  <a:pt x="3" y="26"/>
                  <a:pt x="5" y="27"/>
                </a:cubicBezTo>
                <a:cubicBezTo>
                  <a:pt x="6" y="27"/>
                  <a:pt x="9" y="27"/>
                  <a:pt x="9" y="27"/>
                </a:cubicBezTo>
                <a:cubicBezTo>
                  <a:pt x="10" y="27"/>
                  <a:pt x="11" y="28"/>
                  <a:pt x="11" y="27"/>
                </a:cubicBezTo>
                <a:cubicBezTo>
                  <a:pt x="12" y="26"/>
                  <a:pt x="14" y="25"/>
                  <a:pt x="15" y="26"/>
                </a:cubicBezTo>
                <a:cubicBezTo>
                  <a:pt x="16" y="27"/>
                  <a:pt x="14" y="27"/>
                  <a:pt x="15" y="27"/>
                </a:cubicBezTo>
                <a:cubicBezTo>
                  <a:pt x="15" y="28"/>
                  <a:pt x="16" y="29"/>
                  <a:pt x="15" y="30"/>
                </a:cubicBezTo>
                <a:cubicBezTo>
                  <a:pt x="14" y="31"/>
                  <a:pt x="13" y="30"/>
                  <a:pt x="12" y="30"/>
                </a:cubicBezTo>
                <a:cubicBezTo>
                  <a:pt x="12" y="30"/>
                  <a:pt x="12" y="31"/>
                  <a:pt x="11" y="32"/>
                </a:cubicBezTo>
                <a:cubicBezTo>
                  <a:pt x="10" y="33"/>
                  <a:pt x="9" y="31"/>
                  <a:pt x="8" y="31"/>
                </a:cubicBezTo>
                <a:cubicBezTo>
                  <a:pt x="7" y="31"/>
                  <a:pt x="7" y="33"/>
                  <a:pt x="7" y="34"/>
                </a:cubicBezTo>
                <a:cubicBezTo>
                  <a:pt x="7" y="34"/>
                  <a:pt x="6" y="34"/>
                  <a:pt x="5" y="35"/>
                </a:cubicBezTo>
                <a:cubicBezTo>
                  <a:pt x="5" y="37"/>
                  <a:pt x="3" y="36"/>
                  <a:pt x="4" y="37"/>
                </a:cubicBezTo>
                <a:cubicBezTo>
                  <a:pt x="5" y="39"/>
                  <a:pt x="5" y="38"/>
                  <a:pt x="6" y="39"/>
                </a:cubicBezTo>
                <a:cubicBezTo>
                  <a:pt x="7" y="39"/>
                  <a:pt x="5" y="40"/>
                  <a:pt x="6" y="41"/>
                </a:cubicBezTo>
                <a:cubicBezTo>
                  <a:pt x="7" y="41"/>
                  <a:pt x="8" y="43"/>
                  <a:pt x="9" y="43"/>
                </a:cubicBezTo>
                <a:cubicBezTo>
                  <a:pt x="9" y="44"/>
                  <a:pt x="10" y="43"/>
                  <a:pt x="11" y="43"/>
                </a:cubicBezTo>
                <a:cubicBezTo>
                  <a:pt x="12" y="43"/>
                  <a:pt x="12" y="41"/>
                  <a:pt x="12" y="42"/>
                </a:cubicBezTo>
                <a:cubicBezTo>
                  <a:pt x="13" y="42"/>
                  <a:pt x="14" y="44"/>
                  <a:pt x="13" y="44"/>
                </a:cubicBezTo>
                <a:cubicBezTo>
                  <a:pt x="13" y="45"/>
                  <a:pt x="13" y="46"/>
                  <a:pt x="13" y="47"/>
                </a:cubicBezTo>
                <a:cubicBezTo>
                  <a:pt x="13" y="47"/>
                  <a:pt x="15" y="47"/>
                  <a:pt x="16" y="46"/>
                </a:cubicBezTo>
                <a:cubicBezTo>
                  <a:pt x="16" y="46"/>
                  <a:pt x="18" y="45"/>
                  <a:pt x="19" y="47"/>
                </a:cubicBezTo>
                <a:cubicBezTo>
                  <a:pt x="20" y="48"/>
                  <a:pt x="20" y="48"/>
                  <a:pt x="20" y="47"/>
                </a:cubicBezTo>
                <a:cubicBezTo>
                  <a:pt x="20" y="46"/>
                  <a:pt x="21" y="45"/>
                  <a:pt x="21" y="46"/>
                </a:cubicBezTo>
                <a:cubicBezTo>
                  <a:pt x="21" y="47"/>
                  <a:pt x="22" y="47"/>
                  <a:pt x="23" y="46"/>
                </a:cubicBezTo>
                <a:cubicBezTo>
                  <a:pt x="25" y="45"/>
                  <a:pt x="24" y="46"/>
                  <a:pt x="23" y="47"/>
                </a:cubicBezTo>
                <a:cubicBezTo>
                  <a:pt x="22" y="49"/>
                  <a:pt x="23" y="51"/>
                  <a:pt x="23" y="51"/>
                </a:cubicBezTo>
                <a:cubicBezTo>
                  <a:pt x="22" y="51"/>
                  <a:pt x="21" y="53"/>
                  <a:pt x="20" y="53"/>
                </a:cubicBezTo>
                <a:cubicBezTo>
                  <a:pt x="19" y="53"/>
                  <a:pt x="16" y="56"/>
                  <a:pt x="16" y="56"/>
                </a:cubicBezTo>
                <a:cubicBezTo>
                  <a:pt x="16" y="56"/>
                  <a:pt x="13" y="55"/>
                  <a:pt x="13" y="56"/>
                </a:cubicBezTo>
                <a:cubicBezTo>
                  <a:pt x="12" y="57"/>
                  <a:pt x="11" y="58"/>
                  <a:pt x="11" y="59"/>
                </a:cubicBezTo>
                <a:cubicBezTo>
                  <a:pt x="11" y="59"/>
                  <a:pt x="14" y="58"/>
                  <a:pt x="14" y="57"/>
                </a:cubicBezTo>
                <a:cubicBezTo>
                  <a:pt x="14" y="57"/>
                  <a:pt x="14" y="57"/>
                  <a:pt x="14" y="57"/>
                </a:cubicBezTo>
                <a:cubicBezTo>
                  <a:pt x="15" y="58"/>
                  <a:pt x="16" y="57"/>
                  <a:pt x="16" y="57"/>
                </a:cubicBezTo>
                <a:cubicBezTo>
                  <a:pt x="17" y="56"/>
                  <a:pt x="17" y="56"/>
                  <a:pt x="18" y="56"/>
                </a:cubicBezTo>
                <a:cubicBezTo>
                  <a:pt x="18" y="57"/>
                  <a:pt x="19" y="56"/>
                  <a:pt x="20" y="56"/>
                </a:cubicBezTo>
                <a:cubicBezTo>
                  <a:pt x="21" y="55"/>
                  <a:pt x="21" y="55"/>
                  <a:pt x="21" y="54"/>
                </a:cubicBezTo>
                <a:cubicBezTo>
                  <a:pt x="21" y="54"/>
                  <a:pt x="25" y="52"/>
                  <a:pt x="25" y="52"/>
                </a:cubicBezTo>
                <a:cubicBezTo>
                  <a:pt x="26" y="52"/>
                  <a:pt x="25" y="51"/>
                  <a:pt x="26" y="51"/>
                </a:cubicBezTo>
                <a:cubicBezTo>
                  <a:pt x="27" y="51"/>
                  <a:pt x="28" y="50"/>
                  <a:pt x="29" y="49"/>
                </a:cubicBezTo>
                <a:cubicBezTo>
                  <a:pt x="29" y="49"/>
                  <a:pt x="30" y="49"/>
                  <a:pt x="30" y="49"/>
                </a:cubicBezTo>
                <a:cubicBezTo>
                  <a:pt x="31" y="49"/>
                  <a:pt x="30" y="47"/>
                  <a:pt x="31" y="47"/>
                </a:cubicBezTo>
                <a:cubicBezTo>
                  <a:pt x="32" y="47"/>
                  <a:pt x="32" y="47"/>
                  <a:pt x="32" y="46"/>
                </a:cubicBezTo>
                <a:cubicBezTo>
                  <a:pt x="32" y="45"/>
                  <a:pt x="31" y="45"/>
                  <a:pt x="30" y="45"/>
                </a:cubicBezTo>
                <a:cubicBezTo>
                  <a:pt x="30" y="45"/>
                  <a:pt x="32" y="44"/>
                  <a:pt x="32" y="44"/>
                </a:cubicBezTo>
                <a:cubicBezTo>
                  <a:pt x="33" y="44"/>
                  <a:pt x="34" y="43"/>
                  <a:pt x="34" y="42"/>
                </a:cubicBezTo>
                <a:cubicBezTo>
                  <a:pt x="34" y="41"/>
                  <a:pt x="34" y="41"/>
                  <a:pt x="35" y="41"/>
                </a:cubicBezTo>
                <a:cubicBezTo>
                  <a:pt x="36" y="40"/>
                  <a:pt x="36" y="39"/>
                  <a:pt x="36" y="39"/>
                </a:cubicBezTo>
                <a:cubicBezTo>
                  <a:pt x="37" y="39"/>
                  <a:pt x="37" y="38"/>
                  <a:pt x="38" y="38"/>
                </a:cubicBezTo>
                <a:cubicBezTo>
                  <a:pt x="39" y="38"/>
                  <a:pt x="38" y="38"/>
                  <a:pt x="39" y="39"/>
                </a:cubicBezTo>
                <a:cubicBezTo>
                  <a:pt x="41" y="39"/>
                  <a:pt x="41" y="40"/>
                  <a:pt x="40" y="39"/>
                </a:cubicBezTo>
                <a:cubicBezTo>
                  <a:pt x="39" y="39"/>
                  <a:pt x="38" y="39"/>
                  <a:pt x="37" y="40"/>
                </a:cubicBezTo>
                <a:cubicBezTo>
                  <a:pt x="36" y="41"/>
                  <a:pt x="37" y="41"/>
                  <a:pt x="36" y="42"/>
                </a:cubicBezTo>
                <a:cubicBezTo>
                  <a:pt x="36" y="43"/>
                  <a:pt x="36" y="43"/>
                  <a:pt x="36" y="43"/>
                </a:cubicBezTo>
                <a:cubicBezTo>
                  <a:pt x="37" y="44"/>
                  <a:pt x="37" y="44"/>
                  <a:pt x="36" y="44"/>
                </a:cubicBezTo>
                <a:cubicBezTo>
                  <a:pt x="35" y="45"/>
                  <a:pt x="35" y="45"/>
                  <a:pt x="37" y="45"/>
                </a:cubicBezTo>
                <a:cubicBezTo>
                  <a:pt x="38" y="45"/>
                  <a:pt x="39" y="44"/>
                  <a:pt x="41" y="43"/>
                </a:cubicBezTo>
                <a:cubicBezTo>
                  <a:pt x="43" y="42"/>
                  <a:pt x="44" y="43"/>
                  <a:pt x="44" y="43"/>
                </a:cubicBezTo>
                <a:cubicBezTo>
                  <a:pt x="45" y="42"/>
                  <a:pt x="44" y="42"/>
                  <a:pt x="44" y="41"/>
                </a:cubicBezTo>
                <a:cubicBezTo>
                  <a:pt x="45" y="41"/>
                  <a:pt x="44" y="41"/>
                  <a:pt x="43" y="40"/>
                </a:cubicBezTo>
                <a:cubicBezTo>
                  <a:pt x="43" y="39"/>
                  <a:pt x="44" y="40"/>
                  <a:pt x="44" y="39"/>
                </a:cubicBezTo>
                <a:cubicBezTo>
                  <a:pt x="44" y="38"/>
                  <a:pt x="45" y="39"/>
                  <a:pt x="45" y="39"/>
                </a:cubicBezTo>
                <a:cubicBezTo>
                  <a:pt x="46" y="39"/>
                  <a:pt x="46" y="39"/>
                  <a:pt x="47" y="40"/>
                </a:cubicBezTo>
                <a:cubicBezTo>
                  <a:pt x="47" y="40"/>
                  <a:pt x="48" y="39"/>
                  <a:pt x="49" y="40"/>
                </a:cubicBezTo>
                <a:cubicBezTo>
                  <a:pt x="49" y="41"/>
                  <a:pt x="48" y="40"/>
                  <a:pt x="48" y="41"/>
                </a:cubicBezTo>
                <a:cubicBezTo>
                  <a:pt x="47" y="41"/>
                  <a:pt x="47" y="42"/>
                  <a:pt x="48" y="41"/>
                </a:cubicBezTo>
                <a:cubicBezTo>
                  <a:pt x="48" y="41"/>
                  <a:pt x="49" y="41"/>
                  <a:pt x="50" y="41"/>
                </a:cubicBezTo>
                <a:cubicBezTo>
                  <a:pt x="50" y="42"/>
                  <a:pt x="50" y="41"/>
                  <a:pt x="51" y="41"/>
                </a:cubicBezTo>
                <a:cubicBezTo>
                  <a:pt x="51" y="40"/>
                  <a:pt x="51" y="41"/>
                  <a:pt x="51" y="41"/>
                </a:cubicBezTo>
                <a:cubicBezTo>
                  <a:pt x="51" y="42"/>
                  <a:pt x="52" y="42"/>
                  <a:pt x="54" y="42"/>
                </a:cubicBezTo>
                <a:cubicBezTo>
                  <a:pt x="55" y="42"/>
                  <a:pt x="58" y="42"/>
                  <a:pt x="59" y="42"/>
                </a:cubicBezTo>
                <a:cubicBezTo>
                  <a:pt x="59" y="42"/>
                  <a:pt x="59" y="43"/>
                  <a:pt x="61" y="43"/>
                </a:cubicBezTo>
                <a:cubicBezTo>
                  <a:pt x="62" y="44"/>
                  <a:pt x="63" y="42"/>
                  <a:pt x="63" y="42"/>
                </a:cubicBezTo>
                <a:cubicBezTo>
                  <a:pt x="64" y="43"/>
                  <a:pt x="63" y="43"/>
                  <a:pt x="63" y="44"/>
                </a:cubicBezTo>
                <a:cubicBezTo>
                  <a:pt x="62" y="44"/>
                  <a:pt x="63" y="44"/>
                  <a:pt x="64" y="45"/>
                </a:cubicBezTo>
                <a:cubicBezTo>
                  <a:pt x="65" y="45"/>
                  <a:pt x="66" y="45"/>
                  <a:pt x="67" y="46"/>
                </a:cubicBezTo>
                <a:cubicBezTo>
                  <a:pt x="67" y="46"/>
                  <a:pt x="68" y="47"/>
                  <a:pt x="69" y="48"/>
                </a:cubicBezTo>
                <a:cubicBezTo>
                  <a:pt x="71" y="49"/>
                  <a:pt x="69" y="46"/>
                  <a:pt x="70" y="47"/>
                </a:cubicBezTo>
                <a:cubicBezTo>
                  <a:pt x="72" y="48"/>
                  <a:pt x="71" y="47"/>
                  <a:pt x="72" y="48"/>
                </a:cubicBezTo>
                <a:cubicBezTo>
                  <a:pt x="73" y="49"/>
                  <a:pt x="73" y="47"/>
                  <a:pt x="72" y="46"/>
                </a:cubicBezTo>
                <a:cubicBezTo>
                  <a:pt x="72" y="44"/>
                  <a:pt x="73" y="45"/>
                  <a:pt x="73" y="46"/>
                </a:cubicBezTo>
                <a:cubicBezTo>
                  <a:pt x="74" y="47"/>
                  <a:pt x="74" y="48"/>
                  <a:pt x="73" y="49"/>
                </a:cubicBezTo>
                <a:cubicBezTo>
                  <a:pt x="73" y="50"/>
                  <a:pt x="72" y="49"/>
                  <a:pt x="72" y="49"/>
                </a:cubicBezTo>
                <a:cubicBezTo>
                  <a:pt x="72" y="48"/>
                  <a:pt x="70" y="48"/>
                  <a:pt x="70" y="49"/>
                </a:cubicBezTo>
                <a:cubicBezTo>
                  <a:pt x="70" y="50"/>
                  <a:pt x="71" y="51"/>
                  <a:pt x="72" y="51"/>
                </a:cubicBezTo>
                <a:cubicBezTo>
                  <a:pt x="73" y="51"/>
                  <a:pt x="72" y="53"/>
                  <a:pt x="73" y="53"/>
                </a:cubicBezTo>
                <a:cubicBezTo>
                  <a:pt x="73" y="53"/>
                  <a:pt x="73" y="54"/>
                  <a:pt x="74" y="54"/>
                </a:cubicBezTo>
                <a:cubicBezTo>
                  <a:pt x="74" y="54"/>
                  <a:pt x="74" y="52"/>
                  <a:pt x="74" y="52"/>
                </a:cubicBezTo>
                <a:cubicBezTo>
                  <a:pt x="73" y="51"/>
                  <a:pt x="73" y="50"/>
                  <a:pt x="74" y="50"/>
                </a:cubicBezTo>
                <a:cubicBezTo>
                  <a:pt x="75" y="50"/>
                  <a:pt x="74" y="51"/>
                  <a:pt x="74" y="52"/>
                </a:cubicBezTo>
                <a:cubicBezTo>
                  <a:pt x="75" y="52"/>
                  <a:pt x="75" y="51"/>
                  <a:pt x="76" y="51"/>
                </a:cubicBezTo>
                <a:cubicBezTo>
                  <a:pt x="76" y="51"/>
                  <a:pt x="75" y="49"/>
                  <a:pt x="76" y="49"/>
                </a:cubicBezTo>
                <a:cubicBezTo>
                  <a:pt x="76" y="48"/>
                  <a:pt x="77" y="49"/>
                  <a:pt x="77" y="50"/>
                </a:cubicBezTo>
                <a:cubicBezTo>
                  <a:pt x="77" y="51"/>
                  <a:pt x="76" y="51"/>
                  <a:pt x="76" y="52"/>
                </a:cubicBezTo>
                <a:cubicBezTo>
                  <a:pt x="76" y="52"/>
                  <a:pt x="75" y="52"/>
                  <a:pt x="75" y="53"/>
                </a:cubicBezTo>
                <a:cubicBezTo>
                  <a:pt x="75" y="53"/>
                  <a:pt x="75" y="55"/>
                  <a:pt x="75" y="55"/>
                </a:cubicBezTo>
                <a:cubicBezTo>
                  <a:pt x="76" y="55"/>
                  <a:pt x="76" y="53"/>
                  <a:pt x="76" y="54"/>
                </a:cubicBezTo>
                <a:cubicBezTo>
                  <a:pt x="76" y="55"/>
                  <a:pt x="77" y="53"/>
                  <a:pt x="77" y="54"/>
                </a:cubicBezTo>
                <a:cubicBezTo>
                  <a:pt x="78" y="55"/>
                  <a:pt x="79" y="55"/>
                  <a:pt x="79" y="55"/>
                </a:cubicBezTo>
                <a:cubicBezTo>
                  <a:pt x="80" y="55"/>
                  <a:pt x="79" y="54"/>
                  <a:pt x="78" y="54"/>
                </a:cubicBezTo>
                <a:cubicBezTo>
                  <a:pt x="78" y="54"/>
                  <a:pt x="78" y="53"/>
                  <a:pt x="78" y="53"/>
                </a:cubicBezTo>
                <a:cubicBezTo>
                  <a:pt x="79" y="53"/>
                  <a:pt x="80" y="55"/>
                  <a:pt x="80" y="55"/>
                </a:cubicBezTo>
                <a:cubicBezTo>
                  <a:pt x="80" y="56"/>
                  <a:pt x="80" y="56"/>
                  <a:pt x="79" y="56"/>
                </a:cubicBezTo>
                <a:cubicBezTo>
                  <a:pt x="79" y="57"/>
                  <a:pt x="78" y="55"/>
                  <a:pt x="77" y="55"/>
                </a:cubicBezTo>
                <a:cubicBezTo>
                  <a:pt x="76" y="55"/>
                  <a:pt x="77" y="56"/>
                  <a:pt x="77" y="57"/>
                </a:cubicBezTo>
                <a:cubicBezTo>
                  <a:pt x="78" y="58"/>
                  <a:pt x="77" y="59"/>
                  <a:pt x="77" y="59"/>
                </a:cubicBezTo>
                <a:cubicBezTo>
                  <a:pt x="78" y="60"/>
                  <a:pt x="78" y="59"/>
                  <a:pt x="78" y="58"/>
                </a:cubicBezTo>
                <a:cubicBezTo>
                  <a:pt x="78" y="58"/>
                  <a:pt x="79" y="59"/>
                  <a:pt x="79" y="59"/>
                </a:cubicBezTo>
                <a:cubicBezTo>
                  <a:pt x="80" y="59"/>
                  <a:pt x="80" y="58"/>
                  <a:pt x="80" y="58"/>
                </a:cubicBezTo>
                <a:cubicBezTo>
                  <a:pt x="80" y="57"/>
                  <a:pt x="81" y="57"/>
                  <a:pt x="81" y="58"/>
                </a:cubicBezTo>
                <a:cubicBezTo>
                  <a:pt x="81" y="59"/>
                  <a:pt x="81" y="57"/>
                  <a:pt x="82" y="58"/>
                </a:cubicBezTo>
                <a:cubicBezTo>
                  <a:pt x="83" y="58"/>
                  <a:pt x="82" y="59"/>
                  <a:pt x="82" y="59"/>
                </a:cubicBezTo>
                <a:cubicBezTo>
                  <a:pt x="82" y="60"/>
                  <a:pt x="83" y="59"/>
                  <a:pt x="83" y="59"/>
                </a:cubicBezTo>
                <a:cubicBezTo>
                  <a:pt x="83" y="59"/>
                  <a:pt x="83" y="59"/>
                  <a:pt x="83" y="59"/>
                </a:cubicBezTo>
                <a:cubicBezTo>
                  <a:pt x="84" y="59"/>
                  <a:pt x="84" y="59"/>
                  <a:pt x="85" y="58"/>
                </a:cubicBezTo>
                <a:cubicBezTo>
                  <a:pt x="86" y="58"/>
                  <a:pt x="84" y="57"/>
                  <a:pt x="84" y="56"/>
                </a:cubicBezTo>
                <a:moveTo>
                  <a:pt x="2" y="63"/>
                </a:moveTo>
                <a:cubicBezTo>
                  <a:pt x="2" y="63"/>
                  <a:pt x="2" y="63"/>
                  <a:pt x="2" y="63"/>
                </a:cubicBezTo>
                <a:cubicBezTo>
                  <a:pt x="3" y="63"/>
                  <a:pt x="3" y="63"/>
                  <a:pt x="3" y="62"/>
                </a:cubicBezTo>
                <a:cubicBezTo>
                  <a:pt x="3" y="62"/>
                  <a:pt x="1" y="62"/>
                  <a:pt x="1" y="63"/>
                </a:cubicBezTo>
                <a:cubicBezTo>
                  <a:pt x="1" y="63"/>
                  <a:pt x="1" y="64"/>
                  <a:pt x="2" y="63"/>
                </a:cubicBezTo>
                <a:moveTo>
                  <a:pt x="10" y="59"/>
                </a:moveTo>
                <a:cubicBezTo>
                  <a:pt x="9" y="59"/>
                  <a:pt x="6" y="60"/>
                  <a:pt x="7" y="60"/>
                </a:cubicBezTo>
                <a:cubicBezTo>
                  <a:pt x="8" y="61"/>
                  <a:pt x="8" y="60"/>
                  <a:pt x="9" y="60"/>
                </a:cubicBezTo>
                <a:cubicBezTo>
                  <a:pt x="9" y="60"/>
                  <a:pt x="11" y="59"/>
                  <a:pt x="10" y="59"/>
                </a:cubicBezTo>
                <a:moveTo>
                  <a:pt x="35" y="47"/>
                </a:moveTo>
                <a:cubicBezTo>
                  <a:pt x="35" y="47"/>
                  <a:pt x="34" y="47"/>
                  <a:pt x="33" y="48"/>
                </a:cubicBezTo>
                <a:cubicBezTo>
                  <a:pt x="32" y="49"/>
                  <a:pt x="31" y="50"/>
                  <a:pt x="31" y="50"/>
                </a:cubicBezTo>
                <a:cubicBezTo>
                  <a:pt x="31" y="51"/>
                  <a:pt x="30" y="50"/>
                  <a:pt x="29" y="51"/>
                </a:cubicBezTo>
                <a:cubicBezTo>
                  <a:pt x="29" y="52"/>
                  <a:pt x="30" y="53"/>
                  <a:pt x="30" y="53"/>
                </a:cubicBezTo>
                <a:cubicBezTo>
                  <a:pt x="31" y="52"/>
                  <a:pt x="31" y="53"/>
                  <a:pt x="32" y="53"/>
                </a:cubicBezTo>
                <a:cubicBezTo>
                  <a:pt x="32" y="53"/>
                  <a:pt x="34" y="51"/>
                  <a:pt x="34" y="51"/>
                </a:cubicBezTo>
                <a:cubicBezTo>
                  <a:pt x="35" y="50"/>
                  <a:pt x="34" y="50"/>
                  <a:pt x="34" y="49"/>
                </a:cubicBezTo>
                <a:cubicBezTo>
                  <a:pt x="34" y="49"/>
                  <a:pt x="35" y="49"/>
                  <a:pt x="35" y="49"/>
                </a:cubicBezTo>
                <a:cubicBezTo>
                  <a:pt x="36" y="48"/>
                  <a:pt x="35" y="48"/>
                  <a:pt x="35" y="47"/>
                </a:cubicBezTo>
                <a:moveTo>
                  <a:pt x="4" y="42"/>
                </a:moveTo>
                <a:cubicBezTo>
                  <a:pt x="3" y="41"/>
                  <a:pt x="1" y="42"/>
                  <a:pt x="2" y="42"/>
                </a:cubicBezTo>
                <a:cubicBezTo>
                  <a:pt x="2" y="43"/>
                  <a:pt x="4" y="44"/>
                  <a:pt x="5" y="43"/>
                </a:cubicBezTo>
                <a:cubicBezTo>
                  <a:pt x="5" y="43"/>
                  <a:pt x="6" y="42"/>
                  <a:pt x="5" y="42"/>
                </a:cubicBezTo>
                <a:cubicBezTo>
                  <a:pt x="5" y="41"/>
                  <a:pt x="4" y="42"/>
                  <a:pt x="4" y="42"/>
                </a:cubicBezTo>
                <a:moveTo>
                  <a:pt x="223" y="81"/>
                </a:moveTo>
                <a:cubicBezTo>
                  <a:pt x="223" y="81"/>
                  <a:pt x="221" y="81"/>
                  <a:pt x="220" y="81"/>
                </a:cubicBezTo>
                <a:cubicBezTo>
                  <a:pt x="219" y="80"/>
                  <a:pt x="217" y="83"/>
                  <a:pt x="217" y="84"/>
                </a:cubicBezTo>
                <a:cubicBezTo>
                  <a:pt x="217" y="86"/>
                  <a:pt x="214" y="87"/>
                  <a:pt x="214" y="87"/>
                </a:cubicBezTo>
                <a:cubicBezTo>
                  <a:pt x="214" y="87"/>
                  <a:pt x="207" y="87"/>
                  <a:pt x="207" y="87"/>
                </a:cubicBezTo>
                <a:cubicBezTo>
                  <a:pt x="206" y="87"/>
                  <a:pt x="205" y="89"/>
                  <a:pt x="204" y="90"/>
                </a:cubicBezTo>
                <a:cubicBezTo>
                  <a:pt x="204" y="90"/>
                  <a:pt x="204" y="90"/>
                  <a:pt x="204" y="90"/>
                </a:cubicBezTo>
                <a:cubicBezTo>
                  <a:pt x="205" y="91"/>
                  <a:pt x="202" y="92"/>
                  <a:pt x="199" y="92"/>
                </a:cubicBezTo>
                <a:cubicBezTo>
                  <a:pt x="199" y="92"/>
                  <a:pt x="198" y="92"/>
                  <a:pt x="198" y="92"/>
                </a:cubicBezTo>
                <a:cubicBezTo>
                  <a:pt x="198" y="92"/>
                  <a:pt x="198" y="93"/>
                  <a:pt x="198" y="93"/>
                </a:cubicBezTo>
                <a:cubicBezTo>
                  <a:pt x="198" y="93"/>
                  <a:pt x="198" y="93"/>
                  <a:pt x="197" y="93"/>
                </a:cubicBezTo>
                <a:cubicBezTo>
                  <a:pt x="197" y="94"/>
                  <a:pt x="194" y="96"/>
                  <a:pt x="192" y="97"/>
                </a:cubicBezTo>
                <a:cubicBezTo>
                  <a:pt x="190" y="98"/>
                  <a:pt x="188" y="97"/>
                  <a:pt x="188" y="96"/>
                </a:cubicBezTo>
                <a:cubicBezTo>
                  <a:pt x="188" y="94"/>
                  <a:pt x="189" y="94"/>
                  <a:pt x="189" y="95"/>
                </a:cubicBezTo>
                <a:cubicBezTo>
                  <a:pt x="190" y="95"/>
                  <a:pt x="190" y="95"/>
                  <a:pt x="190" y="95"/>
                </a:cubicBezTo>
                <a:cubicBezTo>
                  <a:pt x="190" y="94"/>
                  <a:pt x="190" y="94"/>
                  <a:pt x="190" y="93"/>
                </a:cubicBezTo>
                <a:cubicBezTo>
                  <a:pt x="189" y="93"/>
                  <a:pt x="190" y="91"/>
                  <a:pt x="189" y="90"/>
                </a:cubicBezTo>
                <a:cubicBezTo>
                  <a:pt x="188" y="90"/>
                  <a:pt x="187" y="92"/>
                  <a:pt x="187" y="91"/>
                </a:cubicBezTo>
                <a:cubicBezTo>
                  <a:pt x="187" y="89"/>
                  <a:pt x="189" y="88"/>
                  <a:pt x="188" y="87"/>
                </a:cubicBezTo>
                <a:cubicBezTo>
                  <a:pt x="187" y="85"/>
                  <a:pt x="185" y="85"/>
                  <a:pt x="184" y="86"/>
                </a:cubicBezTo>
                <a:cubicBezTo>
                  <a:pt x="184" y="88"/>
                  <a:pt x="182" y="87"/>
                  <a:pt x="182" y="88"/>
                </a:cubicBezTo>
                <a:cubicBezTo>
                  <a:pt x="181" y="89"/>
                  <a:pt x="181" y="91"/>
                  <a:pt x="181" y="93"/>
                </a:cubicBezTo>
                <a:cubicBezTo>
                  <a:pt x="182" y="94"/>
                  <a:pt x="181" y="95"/>
                  <a:pt x="180" y="96"/>
                </a:cubicBezTo>
                <a:cubicBezTo>
                  <a:pt x="178" y="97"/>
                  <a:pt x="178" y="95"/>
                  <a:pt x="178" y="92"/>
                </a:cubicBezTo>
                <a:cubicBezTo>
                  <a:pt x="179" y="90"/>
                  <a:pt x="180" y="88"/>
                  <a:pt x="179" y="88"/>
                </a:cubicBezTo>
                <a:cubicBezTo>
                  <a:pt x="178" y="88"/>
                  <a:pt x="180" y="86"/>
                  <a:pt x="182" y="85"/>
                </a:cubicBezTo>
                <a:cubicBezTo>
                  <a:pt x="184" y="85"/>
                  <a:pt x="187" y="85"/>
                  <a:pt x="187" y="84"/>
                </a:cubicBezTo>
                <a:cubicBezTo>
                  <a:pt x="187" y="84"/>
                  <a:pt x="187" y="84"/>
                  <a:pt x="187" y="84"/>
                </a:cubicBezTo>
                <a:cubicBezTo>
                  <a:pt x="186" y="84"/>
                  <a:pt x="186" y="83"/>
                  <a:pt x="186" y="83"/>
                </a:cubicBezTo>
                <a:cubicBezTo>
                  <a:pt x="186" y="83"/>
                  <a:pt x="185" y="83"/>
                  <a:pt x="185" y="83"/>
                </a:cubicBezTo>
                <a:cubicBezTo>
                  <a:pt x="184" y="84"/>
                  <a:pt x="185" y="82"/>
                  <a:pt x="183" y="82"/>
                </a:cubicBezTo>
                <a:cubicBezTo>
                  <a:pt x="182" y="82"/>
                  <a:pt x="180" y="84"/>
                  <a:pt x="179" y="83"/>
                </a:cubicBezTo>
                <a:cubicBezTo>
                  <a:pt x="178" y="83"/>
                  <a:pt x="179" y="82"/>
                  <a:pt x="177" y="82"/>
                </a:cubicBezTo>
                <a:cubicBezTo>
                  <a:pt x="176" y="82"/>
                  <a:pt x="178" y="80"/>
                  <a:pt x="177" y="81"/>
                </a:cubicBezTo>
                <a:cubicBezTo>
                  <a:pt x="175" y="82"/>
                  <a:pt x="173" y="84"/>
                  <a:pt x="172" y="83"/>
                </a:cubicBezTo>
                <a:cubicBezTo>
                  <a:pt x="171" y="82"/>
                  <a:pt x="170" y="83"/>
                  <a:pt x="169" y="82"/>
                </a:cubicBezTo>
                <a:cubicBezTo>
                  <a:pt x="168" y="81"/>
                  <a:pt x="172" y="79"/>
                  <a:pt x="173" y="79"/>
                </a:cubicBezTo>
                <a:cubicBezTo>
                  <a:pt x="174" y="79"/>
                  <a:pt x="174" y="79"/>
                  <a:pt x="174" y="79"/>
                </a:cubicBezTo>
                <a:cubicBezTo>
                  <a:pt x="173" y="79"/>
                  <a:pt x="172" y="78"/>
                  <a:pt x="171" y="79"/>
                </a:cubicBezTo>
                <a:cubicBezTo>
                  <a:pt x="171" y="79"/>
                  <a:pt x="170" y="79"/>
                  <a:pt x="169" y="78"/>
                </a:cubicBezTo>
                <a:cubicBezTo>
                  <a:pt x="169" y="78"/>
                  <a:pt x="168" y="78"/>
                  <a:pt x="167" y="78"/>
                </a:cubicBezTo>
                <a:cubicBezTo>
                  <a:pt x="167" y="77"/>
                  <a:pt x="166" y="77"/>
                  <a:pt x="165" y="77"/>
                </a:cubicBezTo>
                <a:cubicBezTo>
                  <a:pt x="165" y="78"/>
                  <a:pt x="164" y="77"/>
                  <a:pt x="164" y="77"/>
                </a:cubicBezTo>
                <a:cubicBezTo>
                  <a:pt x="163" y="76"/>
                  <a:pt x="163" y="76"/>
                  <a:pt x="163" y="75"/>
                </a:cubicBezTo>
                <a:cubicBezTo>
                  <a:pt x="162" y="75"/>
                  <a:pt x="162" y="76"/>
                  <a:pt x="162" y="76"/>
                </a:cubicBezTo>
                <a:cubicBezTo>
                  <a:pt x="101" y="76"/>
                  <a:pt x="101" y="76"/>
                  <a:pt x="101" y="76"/>
                </a:cubicBezTo>
                <a:cubicBezTo>
                  <a:pt x="101" y="77"/>
                  <a:pt x="101" y="77"/>
                  <a:pt x="101" y="77"/>
                </a:cubicBezTo>
                <a:cubicBezTo>
                  <a:pt x="102" y="77"/>
                  <a:pt x="101" y="78"/>
                  <a:pt x="102" y="79"/>
                </a:cubicBezTo>
                <a:cubicBezTo>
                  <a:pt x="102" y="80"/>
                  <a:pt x="102" y="81"/>
                  <a:pt x="101" y="81"/>
                </a:cubicBezTo>
                <a:cubicBezTo>
                  <a:pt x="100" y="81"/>
                  <a:pt x="100" y="80"/>
                  <a:pt x="101" y="80"/>
                </a:cubicBezTo>
                <a:cubicBezTo>
                  <a:pt x="101" y="80"/>
                  <a:pt x="101" y="79"/>
                  <a:pt x="100" y="79"/>
                </a:cubicBezTo>
                <a:cubicBezTo>
                  <a:pt x="100" y="79"/>
                  <a:pt x="100" y="78"/>
                  <a:pt x="100" y="78"/>
                </a:cubicBezTo>
                <a:cubicBezTo>
                  <a:pt x="99" y="78"/>
                  <a:pt x="98" y="78"/>
                  <a:pt x="96" y="78"/>
                </a:cubicBezTo>
                <a:cubicBezTo>
                  <a:pt x="96" y="78"/>
                  <a:pt x="96" y="78"/>
                  <a:pt x="96" y="78"/>
                </a:cubicBezTo>
                <a:cubicBezTo>
                  <a:pt x="96" y="79"/>
                  <a:pt x="97" y="80"/>
                  <a:pt x="98" y="81"/>
                </a:cubicBezTo>
                <a:cubicBezTo>
                  <a:pt x="98" y="82"/>
                  <a:pt x="98" y="83"/>
                  <a:pt x="99" y="83"/>
                </a:cubicBezTo>
                <a:cubicBezTo>
                  <a:pt x="99" y="84"/>
                  <a:pt x="99" y="84"/>
                  <a:pt x="99" y="84"/>
                </a:cubicBezTo>
                <a:cubicBezTo>
                  <a:pt x="98" y="84"/>
                  <a:pt x="98" y="84"/>
                  <a:pt x="98" y="86"/>
                </a:cubicBezTo>
                <a:cubicBezTo>
                  <a:pt x="98" y="87"/>
                  <a:pt x="98" y="90"/>
                  <a:pt x="98" y="91"/>
                </a:cubicBezTo>
                <a:cubicBezTo>
                  <a:pt x="98" y="92"/>
                  <a:pt x="96" y="94"/>
                  <a:pt x="97" y="95"/>
                </a:cubicBezTo>
                <a:cubicBezTo>
                  <a:pt x="98" y="96"/>
                  <a:pt x="98" y="97"/>
                  <a:pt x="98" y="98"/>
                </a:cubicBezTo>
                <a:cubicBezTo>
                  <a:pt x="98" y="100"/>
                  <a:pt x="98" y="100"/>
                  <a:pt x="98" y="101"/>
                </a:cubicBezTo>
                <a:cubicBezTo>
                  <a:pt x="99" y="102"/>
                  <a:pt x="98" y="104"/>
                  <a:pt x="99" y="104"/>
                </a:cubicBezTo>
                <a:cubicBezTo>
                  <a:pt x="99" y="104"/>
                  <a:pt x="100" y="105"/>
                  <a:pt x="100" y="106"/>
                </a:cubicBezTo>
                <a:cubicBezTo>
                  <a:pt x="101" y="107"/>
                  <a:pt x="102" y="106"/>
                  <a:pt x="102" y="107"/>
                </a:cubicBezTo>
                <a:cubicBezTo>
                  <a:pt x="102" y="108"/>
                  <a:pt x="102" y="108"/>
                  <a:pt x="102" y="109"/>
                </a:cubicBezTo>
                <a:cubicBezTo>
                  <a:pt x="103" y="109"/>
                  <a:pt x="103" y="110"/>
                  <a:pt x="103" y="110"/>
                </a:cubicBezTo>
                <a:cubicBezTo>
                  <a:pt x="103" y="111"/>
                  <a:pt x="104" y="112"/>
                  <a:pt x="105" y="113"/>
                </a:cubicBezTo>
                <a:cubicBezTo>
                  <a:pt x="106" y="114"/>
                  <a:pt x="105" y="115"/>
                  <a:pt x="106" y="115"/>
                </a:cubicBezTo>
                <a:cubicBezTo>
                  <a:pt x="107" y="115"/>
                  <a:pt x="108" y="115"/>
                  <a:pt x="109" y="116"/>
                </a:cubicBezTo>
                <a:cubicBezTo>
                  <a:pt x="110" y="117"/>
                  <a:pt x="110" y="116"/>
                  <a:pt x="111" y="116"/>
                </a:cubicBezTo>
                <a:cubicBezTo>
                  <a:pt x="111" y="117"/>
                  <a:pt x="113" y="118"/>
                  <a:pt x="113" y="119"/>
                </a:cubicBezTo>
                <a:cubicBezTo>
                  <a:pt x="113" y="119"/>
                  <a:pt x="113" y="120"/>
                  <a:pt x="113" y="120"/>
                </a:cubicBezTo>
                <a:cubicBezTo>
                  <a:pt x="118" y="120"/>
                  <a:pt x="118" y="120"/>
                  <a:pt x="118" y="120"/>
                </a:cubicBezTo>
                <a:cubicBezTo>
                  <a:pt x="118" y="120"/>
                  <a:pt x="120" y="121"/>
                  <a:pt x="121" y="121"/>
                </a:cubicBezTo>
                <a:cubicBezTo>
                  <a:pt x="122" y="121"/>
                  <a:pt x="127" y="123"/>
                  <a:pt x="127" y="123"/>
                </a:cubicBezTo>
                <a:cubicBezTo>
                  <a:pt x="133" y="123"/>
                  <a:pt x="133" y="123"/>
                  <a:pt x="133" y="123"/>
                </a:cubicBezTo>
                <a:cubicBezTo>
                  <a:pt x="134" y="122"/>
                  <a:pt x="134" y="122"/>
                  <a:pt x="134" y="122"/>
                </a:cubicBezTo>
                <a:cubicBezTo>
                  <a:pt x="137" y="122"/>
                  <a:pt x="137" y="122"/>
                  <a:pt x="137" y="122"/>
                </a:cubicBezTo>
                <a:cubicBezTo>
                  <a:pt x="137" y="122"/>
                  <a:pt x="139" y="124"/>
                  <a:pt x="140" y="124"/>
                </a:cubicBezTo>
                <a:cubicBezTo>
                  <a:pt x="140" y="124"/>
                  <a:pt x="141" y="125"/>
                  <a:pt x="141" y="126"/>
                </a:cubicBezTo>
                <a:cubicBezTo>
                  <a:pt x="141" y="126"/>
                  <a:pt x="141" y="127"/>
                  <a:pt x="142" y="127"/>
                </a:cubicBezTo>
                <a:cubicBezTo>
                  <a:pt x="142" y="128"/>
                  <a:pt x="144" y="129"/>
                  <a:pt x="144" y="129"/>
                </a:cubicBezTo>
                <a:cubicBezTo>
                  <a:pt x="145" y="128"/>
                  <a:pt x="145" y="126"/>
                  <a:pt x="146" y="127"/>
                </a:cubicBezTo>
                <a:cubicBezTo>
                  <a:pt x="147" y="127"/>
                  <a:pt x="150" y="127"/>
                  <a:pt x="150" y="129"/>
                </a:cubicBezTo>
                <a:cubicBezTo>
                  <a:pt x="150" y="130"/>
                  <a:pt x="152" y="131"/>
                  <a:pt x="152" y="132"/>
                </a:cubicBezTo>
                <a:cubicBezTo>
                  <a:pt x="153" y="132"/>
                  <a:pt x="152" y="133"/>
                  <a:pt x="153" y="133"/>
                </a:cubicBezTo>
                <a:cubicBezTo>
                  <a:pt x="153" y="134"/>
                  <a:pt x="153" y="135"/>
                  <a:pt x="153" y="135"/>
                </a:cubicBezTo>
                <a:cubicBezTo>
                  <a:pt x="154" y="135"/>
                  <a:pt x="156" y="136"/>
                  <a:pt x="156" y="136"/>
                </a:cubicBezTo>
                <a:cubicBezTo>
                  <a:pt x="157" y="136"/>
                  <a:pt x="157" y="136"/>
                  <a:pt x="157" y="136"/>
                </a:cubicBezTo>
                <a:cubicBezTo>
                  <a:pt x="157" y="135"/>
                  <a:pt x="156" y="134"/>
                  <a:pt x="157" y="133"/>
                </a:cubicBezTo>
                <a:cubicBezTo>
                  <a:pt x="158" y="132"/>
                  <a:pt x="157" y="132"/>
                  <a:pt x="157" y="131"/>
                </a:cubicBezTo>
                <a:cubicBezTo>
                  <a:pt x="158" y="131"/>
                  <a:pt x="159" y="131"/>
                  <a:pt x="159" y="130"/>
                </a:cubicBezTo>
                <a:cubicBezTo>
                  <a:pt x="159" y="129"/>
                  <a:pt x="159" y="129"/>
                  <a:pt x="160" y="129"/>
                </a:cubicBezTo>
                <a:cubicBezTo>
                  <a:pt x="161" y="130"/>
                  <a:pt x="162" y="128"/>
                  <a:pt x="162" y="128"/>
                </a:cubicBezTo>
                <a:cubicBezTo>
                  <a:pt x="162" y="127"/>
                  <a:pt x="162" y="127"/>
                  <a:pt x="163" y="127"/>
                </a:cubicBezTo>
                <a:cubicBezTo>
                  <a:pt x="164" y="127"/>
                  <a:pt x="164" y="126"/>
                  <a:pt x="165" y="126"/>
                </a:cubicBezTo>
                <a:cubicBezTo>
                  <a:pt x="165" y="127"/>
                  <a:pt x="166" y="127"/>
                  <a:pt x="166" y="126"/>
                </a:cubicBezTo>
                <a:cubicBezTo>
                  <a:pt x="166" y="126"/>
                  <a:pt x="167" y="126"/>
                  <a:pt x="167" y="127"/>
                </a:cubicBezTo>
                <a:cubicBezTo>
                  <a:pt x="167" y="127"/>
                  <a:pt x="169" y="127"/>
                  <a:pt x="169" y="127"/>
                </a:cubicBezTo>
                <a:cubicBezTo>
                  <a:pt x="169" y="126"/>
                  <a:pt x="170" y="127"/>
                  <a:pt x="170" y="127"/>
                </a:cubicBezTo>
                <a:cubicBezTo>
                  <a:pt x="171" y="128"/>
                  <a:pt x="171" y="128"/>
                  <a:pt x="172" y="128"/>
                </a:cubicBezTo>
                <a:cubicBezTo>
                  <a:pt x="173" y="128"/>
                  <a:pt x="173" y="128"/>
                  <a:pt x="173" y="127"/>
                </a:cubicBezTo>
                <a:cubicBezTo>
                  <a:pt x="173" y="127"/>
                  <a:pt x="174" y="128"/>
                  <a:pt x="175" y="129"/>
                </a:cubicBezTo>
                <a:cubicBezTo>
                  <a:pt x="176" y="129"/>
                  <a:pt x="175" y="128"/>
                  <a:pt x="175" y="127"/>
                </a:cubicBezTo>
                <a:cubicBezTo>
                  <a:pt x="174" y="127"/>
                  <a:pt x="175" y="127"/>
                  <a:pt x="174" y="126"/>
                </a:cubicBezTo>
                <a:cubicBezTo>
                  <a:pt x="174" y="126"/>
                  <a:pt x="175" y="125"/>
                  <a:pt x="176" y="125"/>
                </a:cubicBezTo>
                <a:cubicBezTo>
                  <a:pt x="177" y="125"/>
                  <a:pt x="177" y="126"/>
                  <a:pt x="178" y="125"/>
                </a:cubicBezTo>
                <a:cubicBezTo>
                  <a:pt x="178" y="124"/>
                  <a:pt x="178" y="125"/>
                  <a:pt x="178" y="125"/>
                </a:cubicBezTo>
                <a:cubicBezTo>
                  <a:pt x="178" y="126"/>
                  <a:pt x="180" y="125"/>
                  <a:pt x="181" y="125"/>
                </a:cubicBezTo>
                <a:cubicBezTo>
                  <a:pt x="182" y="125"/>
                  <a:pt x="183" y="126"/>
                  <a:pt x="183" y="127"/>
                </a:cubicBezTo>
                <a:cubicBezTo>
                  <a:pt x="184" y="127"/>
                  <a:pt x="184" y="127"/>
                  <a:pt x="185" y="127"/>
                </a:cubicBezTo>
                <a:cubicBezTo>
                  <a:pt x="186" y="126"/>
                  <a:pt x="186" y="125"/>
                  <a:pt x="187" y="126"/>
                </a:cubicBezTo>
                <a:cubicBezTo>
                  <a:pt x="188" y="127"/>
                  <a:pt x="188" y="128"/>
                  <a:pt x="189" y="129"/>
                </a:cubicBezTo>
                <a:cubicBezTo>
                  <a:pt x="190" y="129"/>
                  <a:pt x="189" y="130"/>
                  <a:pt x="189" y="131"/>
                </a:cubicBezTo>
                <a:cubicBezTo>
                  <a:pt x="190" y="132"/>
                  <a:pt x="189" y="133"/>
                  <a:pt x="190" y="133"/>
                </a:cubicBezTo>
                <a:cubicBezTo>
                  <a:pt x="191" y="134"/>
                  <a:pt x="190" y="135"/>
                  <a:pt x="191" y="136"/>
                </a:cubicBezTo>
                <a:cubicBezTo>
                  <a:pt x="192" y="136"/>
                  <a:pt x="193" y="137"/>
                  <a:pt x="193" y="137"/>
                </a:cubicBezTo>
                <a:cubicBezTo>
                  <a:pt x="193" y="138"/>
                  <a:pt x="194" y="139"/>
                  <a:pt x="194" y="138"/>
                </a:cubicBezTo>
                <a:cubicBezTo>
                  <a:pt x="194" y="137"/>
                  <a:pt x="195" y="136"/>
                  <a:pt x="195" y="135"/>
                </a:cubicBezTo>
                <a:cubicBezTo>
                  <a:pt x="195" y="134"/>
                  <a:pt x="195" y="132"/>
                  <a:pt x="194" y="131"/>
                </a:cubicBezTo>
                <a:cubicBezTo>
                  <a:pt x="193" y="130"/>
                  <a:pt x="194" y="130"/>
                  <a:pt x="193" y="129"/>
                </a:cubicBezTo>
                <a:cubicBezTo>
                  <a:pt x="193" y="128"/>
                  <a:pt x="192" y="126"/>
                  <a:pt x="192" y="124"/>
                </a:cubicBezTo>
                <a:cubicBezTo>
                  <a:pt x="192" y="123"/>
                  <a:pt x="194" y="120"/>
                  <a:pt x="195" y="120"/>
                </a:cubicBezTo>
                <a:cubicBezTo>
                  <a:pt x="196" y="119"/>
                  <a:pt x="197" y="119"/>
                  <a:pt x="197" y="119"/>
                </a:cubicBezTo>
                <a:cubicBezTo>
                  <a:pt x="197" y="118"/>
                  <a:pt x="198" y="117"/>
                  <a:pt x="199" y="117"/>
                </a:cubicBezTo>
                <a:cubicBezTo>
                  <a:pt x="199" y="117"/>
                  <a:pt x="200" y="117"/>
                  <a:pt x="200" y="116"/>
                </a:cubicBezTo>
                <a:cubicBezTo>
                  <a:pt x="200" y="116"/>
                  <a:pt x="201" y="115"/>
                  <a:pt x="202" y="115"/>
                </a:cubicBezTo>
                <a:cubicBezTo>
                  <a:pt x="204" y="114"/>
                  <a:pt x="203" y="114"/>
                  <a:pt x="202" y="113"/>
                </a:cubicBezTo>
                <a:cubicBezTo>
                  <a:pt x="202" y="113"/>
                  <a:pt x="203" y="112"/>
                  <a:pt x="203" y="112"/>
                </a:cubicBezTo>
                <a:cubicBezTo>
                  <a:pt x="203" y="113"/>
                  <a:pt x="204" y="113"/>
                  <a:pt x="205" y="113"/>
                </a:cubicBezTo>
                <a:cubicBezTo>
                  <a:pt x="205" y="112"/>
                  <a:pt x="206" y="111"/>
                  <a:pt x="205" y="111"/>
                </a:cubicBezTo>
                <a:cubicBezTo>
                  <a:pt x="204" y="111"/>
                  <a:pt x="204" y="111"/>
                  <a:pt x="204" y="110"/>
                </a:cubicBezTo>
                <a:cubicBezTo>
                  <a:pt x="205" y="110"/>
                  <a:pt x="204" y="109"/>
                  <a:pt x="204" y="109"/>
                </a:cubicBezTo>
                <a:cubicBezTo>
                  <a:pt x="203" y="109"/>
                  <a:pt x="203" y="108"/>
                  <a:pt x="204" y="108"/>
                </a:cubicBezTo>
                <a:cubicBezTo>
                  <a:pt x="204" y="107"/>
                  <a:pt x="203" y="106"/>
                  <a:pt x="202" y="106"/>
                </a:cubicBezTo>
                <a:cubicBezTo>
                  <a:pt x="201" y="106"/>
                  <a:pt x="202" y="105"/>
                  <a:pt x="203" y="105"/>
                </a:cubicBezTo>
                <a:cubicBezTo>
                  <a:pt x="203" y="105"/>
                  <a:pt x="203" y="103"/>
                  <a:pt x="203" y="102"/>
                </a:cubicBezTo>
                <a:cubicBezTo>
                  <a:pt x="204" y="102"/>
                  <a:pt x="204" y="102"/>
                  <a:pt x="204" y="102"/>
                </a:cubicBezTo>
                <a:cubicBezTo>
                  <a:pt x="204" y="103"/>
                  <a:pt x="203" y="104"/>
                  <a:pt x="204" y="104"/>
                </a:cubicBezTo>
                <a:cubicBezTo>
                  <a:pt x="205" y="105"/>
                  <a:pt x="205" y="106"/>
                  <a:pt x="204" y="107"/>
                </a:cubicBezTo>
                <a:cubicBezTo>
                  <a:pt x="204" y="108"/>
                  <a:pt x="205" y="108"/>
                  <a:pt x="205" y="106"/>
                </a:cubicBezTo>
                <a:cubicBezTo>
                  <a:pt x="206" y="105"/>
                  <a:pt x="206" y="104"/>
                  <a:pt x="206" y="104"/>
                </a:cubicBezTo>
                <a:cubicBezTo>
                  <a:pt x="205" y="103"/>
                  <a:pt x="205" y="102"/>
                  <a:pt x="206" y="103"/>
                </a:cubicBezTo>
                <a:cubicBezTo>
                  <a:pt x="206" y="103"/>
                  <a:pt x="207" y="103"/>
                  <a:pt x="207" y="103"/>
                </a:cubicBezTo>
                <a:cubicBezTo>
                  <a:pt x="208" y="102"/>
                  <a:pt x="209" y="100"/>
                  <a:pt x="209" y="100"/>
                </a:cubicBezTo>
                <a:cubicBezTo>
                  <a:pt x="208" y="99"/>
                  <a:pt x="209" y="99"/>
                  <a:pt x="210" y="99"/>
                </a:cubicBezTo>
                <a:cubicBezTo>
                  <a:pt x="211" y="99"/>
                  <a:pt x="213" y="99"/>
                  <a:pt x="213" y="98"/>
                </a:cubicBezTo>
                <a:cubicBezTo>
                  <a:pt x="214" y="97"/>
                  <a:pt x="210" y="99"/>
                  <a:pt x="210" y="98"/>
                </a:cubicBezTo>
                <a:cubicBezTo>
                  <a:pt x="210" y="98"/>
                  <a:pt x="212" y="97"/>
                  <a:pt x="213" y="97"/>
                </a:cubicBezTo>
                <a:cubicBezTo>
                  <a:pt x="214" y="97"/>
                  <a:pt x="214" y="96"/>
                  <a:pt x="214" y="96"/>
                </a:cubicBezTo>
                <a:cubicBezTo>
                  <a:pt x="215" y="97"/>
                  <a:pt x="216" y="97"/>
                  <a:pt x="216" y="96"/>
                </a:cubicBezTo>
                <a:cubicBezTo>
                  <a:pt x="217" y="96"/>
                  <a:pt x="216" y="95"/>
                  <a:pt x="216" y="95"/>
                </a:cubicBezTo>
                <a:cubicBezTo>
                  <a:pt x="215" y="94"/>
                  <a:pt x="216" y="94"/>
                  <a:pt x="216" y="93"/>
                </a:cubicBezTo>
                <a:cubicBezTo>
                  <a:pt x="216" y="93"/>
                  <a:pt x="216" y="91"/>
                  <a:pt x="217" y="91"/>
                </a:cubicBezTo>
                <a:cubicBezTo>
                  <a:pt x="218" y="91"/>
                  <a:pt x="218" y="90"/>
                  <a:pt x="219" y="90"/>
                </a:cubicBezTo>
                <a:cubicBezTo>
                  <a:pt x="219" y="90"/>
                  <a:pt x="220" y="89"/>
                  <a:pt x="220" y="89"/>
                </a:cubicBezTo>
                <a:cubicBezTo>
                  <a:pt x="221" y="88"/>
                  <a:pt x="222" y="90"/>
                  <a:pt x="223" y="89"/>
                </a:cubicBezTo>
                <a:cubicBezTo>
                  <a:pt x="223" y="88"/>
                  <a:pt x="224" y="88"/>
                  <a:pt x="225" y="88"/>
                </a:cubicBezTo>
                <a:cubicBezTo>
                  <a:pt x="222" y="84"/>
                  <a:pt x="223" y="82"/>
                  <a:pt x="223" y="8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361"/>
          <p:cNvSpPr>
            <a:spLocks noEditPoints="1"/>
          </p:cNvSpPr>
          <p:nvPr/>
        </p:nvSpPr>
        <p:spPr bwMode="auto">
          <a:xfrm>
            <a:off x="2097871" y="2778471"/>
            <a:ext cx="142994" cy="96521"/>
          </a:xfrm>
          <a:custGeom>
            <a:avLst/>
            <a:gdLst>
              <a:gd name="T0" fmla="*/ 28 w 29"/>
              <a:gd name="T1" fmla="*/ 3 h 20"/>
              <a:gd name="T2" fmla="*/ 26 w 29"/>
              <a:gd name="T3" fmla="*/ 3 h 20"/>
              <a:gd name="T4" fmla="*/ 23 w 29"/>
              <a:gd name="T5" fmla="*/ 3 h 20"/>
              <a:gd name="T6" fmla="*/ 22 w 29"/>
              <a:gd name="T7" fmla="*/ 2 h 20"/>
              <a:gd name="T8" fmla="*/ 21 w 29"/>
              <a:gd name="T9" fmla="*/ 3 h 20"/>
              <a:gd name="T10" fmla="*/ 18 w 29"/>
              <a:gd name="T11" fmla="*/ 2 h 20"/>
              <a:gd name="T12" fmla="*/ 17 w 29"/>
              <a:gd name="T13" fmla="*/ 1 h 20"/>
              <a:gd name="T14" fmla="*/ 13 w 29"/>
              <a:gd name="T15" fmla="*/ 0 h 20"/>
              <a:gd name="T16" fmla="*/ 6 w 29"/>
              <a:gd name="T17" fmla="*/ 0 h 20"/>
              <a:gd name="T18" fmla="*/ 3 w 29"/>
              <a:gd name="T19" fmla="*/ 0 h 20"/>
              <a:gd name="T20" fmla="*/ 2 w 29"/>
              <a:gd name="T21" fmla="*/ 1 h 20"/>
              <a:gd name="T22" fmla="*/ 1 w 29"/>
              <a:gd name="T23" fmla="*/ 2 h 20"/>
              <a:gd name="T24" fmla="*/ 1 w 29"/>
              <a:gd name="T25" fmla="*/ 5 h 20"/>
              <a:gd name="T26" fmla="*/ 2 w 29"/>
              <a:gd name="T27" fmla="*/ 4 h 20"/>
              <a:gd name="T28" fmla="*/ 3 w 29"/>
              <a:gd name="T29" fmla="*/ 4 h 20"/>
              <a:gd name="T30" fmla="*/ 4 w 29"/>
              <a:gd name="T31" fmla="*/ 5 h 20"/>
              <a:gd name="T32" fmla="*/ 5 w 29"/>
              <a:gd name="T33" fmla="*/ 5 h 20"/>
              <a:gd name="T34" fmla="*/ 6 w 29"/>
              <a:gd name="T35" fmla="*/ 5 h 20"/>
              <a:gd name="T36" fmla="*/ 7 w 29"/>
              <a:gd name="T37" fmla="*/ 6 h 20"/>
              <a:gd name="T38" fmla="*/ 6 w 29"/>
              <a:gd name="T39" fmla="*/ 7 h 20"/>
              <a:gd name="T40" fmla="*/ 6 w 29"/>
              <a:gd name="T41" fmla="*/ 9 h 20"/>
              <a:gd name="T42" fmla="*/ 5 w 29"/>
              <a:gd name="T43" fmla="*/ 11 h 20"/>
              <a:gd name="T44" fmla="*/ 5 w 29"/>
              <a:gd name="T45" fmla="*/ 12 h 20"/>
              <a:gd name="T46" fmla="*/ 5 w 29"/>
              <a:gd name="T47" fmla="*/ 13 h 20"/>
              <a:gd name="T48" fmla="*/ 5 w 29"/>
              <a:gd name="T49" fmla="*/ 14 h 20"/>
              <a:gd name="T50" fmla="*/ 5 w 29"/>
              <a:gd name="T51" fmla="*/ 15 h 20"/>
              <a:gd name="T52" fmla="*/ 4 w 29"/>
              <a:gd name="T53" fmla="*/ 16 h 20"/>
              <a:gd name="T54" fmla="*/ 5 w 29"/>
              <a:gd name="T55" fmla="*/ 17 h 20"/>
              <a:gd name="T56" fmla="*/ 6 w 29"/>
              <a:gd name="T57" fmla="*/ 17 h 20"/>
              <a:gd name="T58" fmla="*/ 9 w 29"/>
              <a:gd name="T59" fmla="*/ 20 h 20"/>
              <a:gd name="T60" fmla="*/ 9 w 29"/>
              <a:gd name="T61" fmla="*/ 19 h 20"/>
              <a:gd name="T62" fmla="*/ 10 w 29"/>
              <a:gd name="T63" fmla="*/ 19 h 20"/>
              <a:gd name="T64" fmla="*/ 12 w 29"/>
              <a:gd name="T65" fmla="*/ 18 h 20"/>
              <a:gd name="T66" fmla="*/ 15 w 29"/>
              <a:gd name="T67" fmla="*/ 18 h 20"/>
              <a:gd name="T68" fmla="*/ 17 w 29"/>
              <a:gd name="T69" fmla="*/ 17 h 20"/>
              <a:gd name="T70" fmla="*/ 19 w 29"/>
              <a:gd name="T71" fmla="*/ 16 h 20"/>
              <a:gd name="T72" fmla="*/ 19 w 29"/>
              <a:gd name="T73" fmla="*/ 15 h 20"/>
              <a:gd name="T74" fmla="*/ 21 w 29"/>
              <a:gd name="T75" fmla="*/ 13 h 20"/>
              <a:gd name="T76" fmla="*/ 21 w 29"/>
              <a:gd name="T77" fmla="*/ 10 h 20"/>
              <a:gd name="T78" fmla="*/ 23 w 29"/>
              <a:gd name="T79" fmla="*/ 8 h 20"/>
              <a:gd name="T80" fmla="*/ 25 w 29"/>
              <a:gd name="T81" fmla="*/ 6 h 20"/>
              <a:gd name="T82" fmla="*/ 27 w 29"/>
              <a:gd name="T83" fmla="*/ 5 h 20"/>
              <a:gd name="T84" fmla="*/ 28 w 29"/>
              <a:gd name="T85" fmla="*/ 3 h 20"/>
              <a:gd name="T86" fmla="*/ 28 w 29"/>
              <a:gd name="T87" fmla="*/ 10 h 20"/>
              <a:gd name="T88" fmla="*/ 27 w 29"/>
              <a:gd name="T89" fmla="*/ 11 h 20"/>
              <a:gd name="T90" fmla="*/ 28 w 29"/>
              <a:gd name="T9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20">
                <a:moveTo>
                  <a:pt x="28" y="3"/>
                </a:moveTo>
                <a:cubicBezTo>
                  <a:pt x="27" y="3"/>
                  <a:pt x="27" y="3"/>
                  <a:pt x="26" y="3"/>
                </a:cubicBezTo>
                <a:cubicBezTo>
                  <a:pt x="25" y="3"/>
                  <a:pt x="24" y="3"/>
                  <a:pt x="23" y="3"/>
                </a:cubicBezTo>
                <a:cubicBezTo>
                  <a:pt x="23" y="2"/>
                  <a:pt x="22" y="2"/>
                  <a:pt x="22" y="2"/>
                </a:cubicBezTo>
                <a:cubicBezTo>
                  <a:pt x="22" y="3"/>
                  <a:pt x="21" y="3"/>
                  <a:pt x="21" y="3"/>
                </a:cubicBezTo>
                <a:cubicBezTo>
                  <a:pt x="20" y="2"/>
                  <a:pt x="19" y="2"/>
                  <a:pt x="18" y="2"/>
                </a:cubicBezTo>
                <a:cubicBezTo>
                  <a:pt x="18" y="1"/>
                  <a:pt x="18" y="1"/>
                  <a:pt x="17" y="1"/>
                </a:cubicBezTo>
                <a:cubicBezTo>
                  <a:pt x="17" y="1"/>
                  <a:pt x="15" y="0"/>
                  <a:pt x="13" y="0"/>
                </a:cubicBezTo>
                <a:cubicBezTo>
                  <a:pt x="12" y="1"/>
                  <a:pt x="8" y="0"/>
                  <a:pt x="6" y="0"/>
                </a:cubicBezTo>
                <a:cubicBezTo>
                  <a:pt x="4" y="1"/>
                  <a:pt x="4" y="0"/>
                  <a:pt x="3" y="0"/>
                </a:cubicBezTo>
                <a:cubicBezTo>
                  <a:pt x="2" y="0"/>
                  <a:pt x="3" y="1"/>
                  <a:pt x="2" y="1"/>
                </a:cubicBezTo>
                <a:cubicBezTo>
                  <a:pt x="0" y="1"/>
                  <a:pt x="0" y="2"/>
                  <a:pt x="1" y="2"/>
                </a:cubicBezTo>
                <a:cubicBezTo>
                  <a:pt x="2" y="3"/>
                  <a:pt x="2" y="4"/>
                  <a:pt x="1" y="5"/>
                </a:cubicBezTo>
                <a:cubicBezTo>
                  <a:pt x="2" y="5"/>
                  <a:pt x="2" y="5"/>
                  <a:pt x="2" y="4"/>
                </a:cubicBezTo>
                <a:cubicBezTo>
                  <a:pt x="2" y="4"/>
                  <a:pt x="3" y="4"/>
                  <a:pt x="3" y="4"/>
                </a:cubicBezTo>
                <a:cubicBezTo>
                  <a:pt x="3" y="5"/>
                  <a:pt x="4" y="5"/>
                  <a:pt x="4" y="5"/>
                </a:cubicBezTo>
                <a:cubicBezTo>
                  <a:pt x="5" y="5"/>
                  <a:pt x="5" y="5"/>
                  <a:pt x="5" y="5"/>
                </a:cubicBezTo>
                <a:cubicBezTo>
                  <a:pt x="6" y="4"/>
                  <a:pt x="6" y="5"/>
                  <a:pt x="6" y="5"/>
                </a:cubicBezTo>
                <a:cubicBezTo>
                  <a:pt x="6" y="6"/>
                  <a:pt x="8" y="5"/>
                  <a:pt x="7" y="6"/>
                </a:cubicBezTo>
                <a:cubicBezTo>
                  <a:pt x="6" y="7"/>
                  <a:pt x="6" y="7"/>
                  <a:pt x="6" y="7"/>
                </a:cubicBezTo>
                <a:cubicBezTo>
                  <a:pt x="6" y="8"/>
                  <a:pt x="6" y="9"/>
                  <a:pt x="6" y="9"/>
                </a:cubicBezTo>
                <a:cubicBezTo>
                  <a:pt x="5" y="10"/>
                  <a:pt x="6" y="11"/>
                  <a:pt x="5" y="11"/>
                </a:cubicBezTo>
                <a:cubicBezTo>
                  <a:pt x="5" y="11"/>
                  <a:pt x="4" y="11"/>
                  <a:pt x="5" y="12"/>
                </a:cubicBezTo>
                <a:cubicBezTo>
                  <a:pt x="5" y="12"/>
                  <a:pt x="6" y="13"/>
                  <a:pt x="5" y="13"/>
                </a:cubicBezTo>
                <a:cubicBezTo>
                  <a:pt x="5" y="13"/>
                  <a:pt x="5" y="14"/>
                  <a:pt x="5" y="14"/>
                </a:cubicBezTo>
                <a:cubicBezTo>
                  <a:pt x="5" y="14"/>
                  <a:pt x="6" y="15"/>
                  <a:pt x="5" y="15"/>
                </a:cubicBezTo>
                <a:cubicBezTo>
                  <a:pt x="4" y="15"/>
                  <a:pt x="4" y="16"/>
                  <a:pt x="4" y="16"/>
                </a:cubicBezTo>
                <a:cubicBezTo>
                  <a:pt x="4" y="17"/>
                  <a:pt x="5" y="17"/>
                  <a:pt x="5" y="17"/>
                </a:cubicBezTo>
                <a:cubicBezTo>
                  <a:pt x="5" y="17"/>
                  <a:pt x="6" y="17"/>
                  <a:pt x="6" y="17"/>
                </a:cubicBezTo>
                <a:cubicBezTo>
                  <a:pt x="7" y="18"/>
                  <a:pt x="7" y="20"/>
                  <a:pt x="9" y="20"/>
                </a:cubicBezTo>
                <a:cubicBezTo>
                  <a:pt x="9" y="20"/>
                  <a:pt x="9" y="19"/>
                  <a:pt x="9" y="19"/>
                </a:cubicBezTo>
                <a:cubicBezTo>
                  <a:pt x="9" y="19"/>
                  <a:pt x="10" y="19"/>
                  <a:pt x="10" y="19"/>
                </a:cubicBezTo>
                <a:cubicBezTo>
                  <a:pt x="11" y="19"/>
                  <a:pt x="11" y="18"/>
                  <a:pt x="12" y="18"/>
                </a:cubicBezTo>
                <a:cubicBezTo>
                  <a:pt x="14" y="18"/>
                  <a:pt x="14" y="18"/>
                  <a:pt x="15" y="18"/>
                </a:cubicBezTo>
                <a:cubicBezTo>
                  <a:pt x="16" y="18"/>
                  <a:pt x="17" y="18"/>
                  <a:pt x="17" y="17"/>
                </a:cubicBezTo>
                <a:cubicBezTo>
                  <a:pt x="17" y="17"/>
                  <a:pt x="18" y="16"/>
                  <a:pt x="19" y="16"/>
                </a:cubicBezTo>
                <a:cubicBezTo>
                  <a:pt x="19" y="16"/>
                  <a:pt x="19" y="15"/>
                  <a:pt x="19" y="15"/>
                </a:cubicBezTo>
                <a:cubicBezTo>
                  <a:pt x="19" y="14"/>
                  <a:pt x="21" y="13"/>
                  <a:pt x="21" y="13"/>
                </a:cubicBezTo>
                <a:cubicBezTo>
                  <a:pt x="21" y="13"/>
                  <a:pt x="20" y="11"/>
                  <a:pt x="21" y="10"/>
                </a:cubicBezTo>
                <a:cubicBezTo>
                  <a:pt x="22" y="8"/>
                  <a:pt x="23" y="8"/>
                  <a:pt x="23" y="8"/>
                </a:cubicBezTo>
                <a:cubicBezTo>
                  <a:pt x="23" y="7"/>
                  <a:pt x="24" y="7"/>
                  <a:pt x="25" y="6"/>
                </a:cubicBezTo>
                <a:cubicBezTo>
                  <a:pt x="26" y="6"/>
                  <a:pt x="26" y="6"/>
                  <a:pt x="27" y="5"/>
                </a:cubicBezTo>
                <a:cubicBezTo>
                  <a:pt x="28" y="5"/>
                  <a:pt x="28" y="4"/>
                  <a:pt x="28" y="3"/>
                </a:cubicBezTo>
                <a:moveTo>
                  <a:pt x="28" y="10"/>
                </a:moveTo>
                <a:cubicBezTo>
                  <a:pt x="28" y="9"/>
                  <a:pt x="26" y="11"/>
                  <a:pt x="27" y="11"/>
                </a:cubicBezTo>
                <a:cubicBezTo>
                  <a:pt x="27" y="12"/>
                  <a:pt x="29" y="12"/>
                  <a:pt x="2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362"/>
          <p:cNvSpPr>
            <a:spLocks/>
          </p:cNvSpPr>
          <p:nvPr/>
        </p:nvSpPr>
        <p:spPr bwMode="auto">
          <a:xfrm>
            <a:off x="2340960" y="2735573"/>
            <a:ext cx="32174" cy="17874"/>
          </a:xfrm>
          <a:custGeom>
            <a:avLst/>
            <a:gdLst>
              <a:gd name="T0" fmla="*/ 0 w 7"/>
              <a:gd name="T1" fmla="*/ 4 h 4"/>
              <a:gd name="T2" fmla="*/ 1 w 7"/>
              <a:gd name="T3" fmla="*/ 3 h 4"/>
              <a:gd name="T4" fmla="*/ 1 w 7"/>
              <a:gd name="T5" fmla="*/ 4 h 4"/>
              <a:gd name="T6" fmla="*/ 3 w 7"/>
              <a:gd name="T7" fmla="*/ 4 h 4"/>
              <a:gd name="T8" fmla="*/ 4 w 7"/>
              <a:gd name="T9" fmla="*/ 4 h 4"/>
              <a:gd name="T10" fmla="*/ 5 w 7"/>
              <a:gd name="T11" fmla="*/ 3 h 4"/>
              <a:gd name="T12" fmla="*/ 6 w 7"/>
              <a:gd name="T13" fmla="*/ 2 h 4"/>
              <a:gd name="T14" fmla="*/ 7 w 7"/>
              <a:gd name="T15" fmla="*/ 1 h 4"/>
              <a:gd name="T16" fmla="*/ 6 w 7"/>
              <a:gd name="T17" fmla="*/ 0 h 4"/>
              <a:gd name="T18" fmla="*/ 5 w 7"/>
              <a:gd name="T19" fmla="*/ 1 h 4"/>
              <a:gd name="T20" fmla="*/ 3 w 7"/>
              <a:gd name="T21" fmla="*/ 1 h 4"/>
              <a:gd name="T22" fmla="*/ 1 w 7"/>
              <a:gd name="T23" fmla="*/ 1 h 4"/>
              <a:gd name="T24" fmla="*/ 0 w 7"/>
              <a:gd name="T25" fmla="*/ 1 h 4"/>
              <a:gd name="T26" fmla="*/ 0 w 7"/>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0" y="4"/>
                </a:moveTo>
                <a:cubicBezTo>
                  <a:pt x="0" y="3"/>
                  <a:pt x="1" y="3"/>
                  <a:pt x="1" y="3"/>
                </a:cubicBezTo>
                <a:cubicBezTo>
                  <a:pt x="1" y="4"/>
                  <a:pt x="1" y="4"/>
                  <a:pt x="1" y="4"/>
                </a:cubicBezTo>
                <a:cubicBezTo>
                  <a:pt x="2" y="4"/>
                  <a:pt x="3" y="4"/>
                  <a:pt x="3" y="4"/>
                </a:cubicBezTo>
                <a:cubicBezTo>
                  <a:pt x="3" y="4"/>
                  <a:pt x="4" y="4"/>
                  <a:pt x="4" y="4"/>
                </a:cubicBezTo>
                <a:cubicBezTo>
                  <a:pt x="4" y="4"/>
                  <a:pt x="5" y="3"/>
                  <a:pt x="5" y="3"/>
                </a:cubicBezTo>
                <a:cubicBezTo>
                  <a:pt x="5" y="3"/>
                  <a:pt x="5" y="2"/>
                  <a:pt x="6" y="2"/>
                </a:cubicBezTo>
                <a:cubicBezTo>
                  <a:pt x="6" y="2"/>
                  <a:pt x="7" y="1"/>
                  <a:pt x="7" y="1"/>
                </a:cubicBezTo>
                <a:cubicBezTo>
                  <a:pt x="7" y="1"/>
                  <a:pt x="7" y="0"/>
                  <a:pt x="6" y="0"/>
                </a:cubicBezTo>
                <a:cubicBezTo>
                  <a:pt x="6" y="0"/>
                  <a:pt x="6" y="1"/>
                  <a:pt x="5" y="1"/>
                </a:cubicBezTo>
                <a:cubicBezTo>
                  <a:pt x="4" y="1"/>
                  <a:pt x="3" y="1"/>
                  <a:pt x="3" y="1"/>
                </a:cubicBezTo>
                <a:cubicBezTo>
                  <a:pt x="3" y="1"/>
                  <a:pt x="1" y="1"/>
                  <a:pt x="1" y="1"/>
                </a:cubicBezTo>
                <a:cubicBezTo>
                  <a:pt x="0" y="1"/>
                  <a:pt x="0" y="1"/>
                  <a:pt x="0" y="1"/>
                </a:cubicBezTo>
                <a:cubicBezTo>
                  <a:pt x="0" y="1"/>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363"/>
          <p:cNvSpPr>
            <a:spLocks noEditPoints="1"/>
          </p:cNvSpPr>
          <p:nvPr/>
        </p:nvSpPr>
        <p:spPr bwMode="auto">
          <a:xfrm>
            <a:off x="2412457" y="2803495"/>
            <a:ext cx="67922" cy="85796"/>
          </a:xfrm>
          <a:custGeom>
            <a:avLst/>
            <a:gdLst>
              <a:gd name="T0" fmla="*/ 14 w 14"/>
              <a:gd name="T1" fmla="*/ 0 h 18"/>
              <a:gd name="T2" fmla="*/ 13 w 14"/>
              <a:gd name="T3" fmla="*/ 1 h 18"/>
              <a:gd name="T4" fmla="*/ 12 w 14"/>
              <a:gd name="T5" fmla="*/ 1 h 18"/>
              <a:gd name="T6" fmla="*/ 9 w 14"/>
              <a:gd name="T7" fmla="*/ 1 h 18"/>
              <a:gd name="T8" fmla="*/ 6 w 14"/>
              <a:gd name="T9" fmla="*/ 1 h 18"/>
              <a:gd name="T10" fmla="*/ 6 w 14"/>
              <a:gd name="T11" fmla="*/ 1 h 18"/>
              <a:gd name="T12" fmla="*/ 4 w 14"/>
              <a:gd name="T13" fmla="*/ 2 h 18"/>
              <a:gd name="T14" fmla="*/ 3 w 14"/>
              <a:gd name="T15" fmla="*/ 2 h 18"/>
              <a:gd name="T16" fmla="*/ 2 w 14"/>
              <a:gd name="T17" fmla="*/ 3 h 18"/>
              <a:gd name="T18" fmla="*/ 1 w 14"/>
              <a:gd name="T19" fmla="*/ 4 h 18"/>
              <a:gd name="T20" fmla="*/ 0 w 14"/>
              <a:gd name="T21" fmla="*/ 5 h 18"/>
              <a:gd name="T22" fmla="*/ 0 w 14"/>
              <a:gd name="T23" fmla="*/ 6 h 18"/>
              <a:gd name="T24" fmla="*/ 0 w 14"/>
              <a:gd name="T25" fmla="*/ 6 h 18"/>
              <a:gd name="T26" fmla="*/ 1 w 14"/>
              <a:gd name="T27" fmla="*/ 8 h 18"/>
              <a:gd name="T28" fmla="*/ 3 w 14"/>
              <a:gd name="T29" fmla="*/ 8 h 18"/>
              <a:gd name="T30" fmla="*/ 5 w 14"/>
              <a:gd name="T31" fmla="*/ 9 h 18"/>
              <a:gd name="T32" fmla="*/ 2 w 14"/>
              <a:gd name="T33" fmla="*/ 9 h 18"/>
              <a:gd name="T34" fmla="*/ 3 w 14"/>
              <a:gd name="T35" fmla="*/ 11 h 18"/>
              <a:gd name="T36" fmla="*/ 4 w 14"/>
              <a:gd name="T37" fmla="*/ 13 h 18"/>
              <a:gd name="T38" fmla="*/ 6 w 14"/>
              <a:gd name="T39" fmla="*/ 14 h 18"/>
              <a:gd name="T40" fmla="*/ 6 w 14"/>
              <a:gd name="T41" fmla="*/ 11 h 18"/>
              <a:gd name="T42" fmla="*/ 7 w 14"/>
              <a:gd name="T43" fmla="*/ 11 h 18"/>
              <a:gd name="T44" fmla="*/ 6 w 14"/>
              <a:gd name="T45" fmla="*/ 10 h 18"/>
              <a:gd name="T46" fmla="*/ 7 w 14"/>
              <a:gd name="T47" fmla="*/ 10 h 18"/>
              <a:gd name="T48" fmla="*/ 9 w 14"/>
              <a:gd name="T49" fmla="*/ 10 h 18"/>
              <a:gd name="T50" fmla="*/ 8 w 14"/>
              <a:gd name="T51" fmla="*/ 8 h 18"/>
              <a:gd name="T52" fmla="*/ 6 w 14"/>
              <a:gd name="T53" fmla="*/ 8 h 18"/>
              <a:gd name="T54" fmla="*/ 7 w 14"/>
              <a:gd name="T55" fmla="*/ 7 h 18"/>
              <a:gd name="T56" fmla="*/ 5 w 14"/>
              <a:gd name="T57" fmla="*/ 4 h 18"/>
              <a:gd name="T58" fmla="*/ 6 w 14"/>
              <a:gd name="T59" fmla="*/ 4 h 18"/>
              <a:gd name="T60" fmla="*/ 8 w 14"/>
              <a:gd name="T61" fmla="*/ 4 h 18"/>
              <a:gd name="T62" fmla="*/ 8 w 14"/>
              <a:gd name="T63" fmla="*/ 2 h 18"/>
              <a:gd name="T64" fmla="*/ 10 w 14"/>
              <a:gd name="T65" fmla="*/ 3 h 18"/>
              <a:gd name="T66" fmla="*/ 11 w 14"/>
              <a:gd name="T67" fmla="*/ 2 h 18"/>
              <a:gd name="T68" fmla="*/ 13 w 14"/>
              <a:gd name="T69" fmla="*/ 3 h 18"/>
              <a:gd name="T70" fmla="*/ 13 w 14"/>
              <a:gd name="T71" fmla="*/ 2 h 18"/>
              <a:gd name="T72" fmla="*/ 14 w 14"/>
              <a:gd name="T73" fmla="*/ 1 h 18"/>
              <a:gd name="T74" fmla="*/ 14 w 14"/>
              <a:gd name="T75" fmla="*/ 0 h 18"/>
              <a:gd name="T76" fmla="*/ 12 w 14"/>
              <a:gd name="T77" fmla="*/ 17 h 18"/>
              <a:gd name="T78" fmla="*/ 8 w 14"/>
              <a:gd name="T79" fmla="*/ 16 h 18"/>
              <a:gd name="T80" fmla="*/ 7 w 14"/>
              <a:gd name="T81" fmla="*/ 17 h 18"/>
              <a:gd name="T82" fmla="*/ 10 w 14"/>
              <a:gd name="T83" fmla="*/ 18 h 18"/>
              <a:gd name="T84" fmla="*/ 13 w 14"/>
              <a:gd name="T85" fmla="*/ 17 h 18"/>
              <a:gd name="T86" fmla="*/ 12 w 14"/>
              <a:gd name="T8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 h="18">
                <a:moveTo>
                  <a:pt x="14" y="0"/>
                </a:moveTo>
                <a:cubicBezTo>
                  <a:pt x="13" y="0"/>
                  <a:pt x="13" y="0"/>
                  <a:pt x="13" y="1"/>
                </a:cubicBezTo>
                <a:cubicBezTo>
                  <a:pt x="13" y="1"/>
                  <a:pt x="12" y="1"/>
                  <a:pt x="12" y="1"/>
                </a:cubicBezTo>
                <a:cubicBezTo>
                  <a:pt x="12" y="1"/>
                  <a:pt x="10" y="1"/>
                  <a:pt x="9" y="1"/>
                </a:cubicBezTo>
                <a:cubicBezTo>
                  <a:pt x="9" y="0"/>
                  <a:pt x="7" y="1"/>
                  <a:pt x="6" y="1"/>
                </a:cubicBezTo>
                <a:cubicBezTo>
                  <a:pt x="6" y="1"/>
                  <a:pt x="6" y="1"/>
                  <a:pt x="6" y="1"/>
                </a:cubicBezTo>
                <a:cubicBezTo>
                  <a:pt x="6" y="1"/>
                  <a:pt x="5" y="2"/>
                  <a:pt x="4" y="2"/>
                </a:cubicBezTo>
                <a:cubicBezTo>
                  <a:pt x="4" y="2"/>
                  <a:pt x="4" y="2"/>
                  <a:pt x="3" y="2"/>
                </a:cubicBezTo>
                <a:cubicBezTo>
                  <a:pt x="3" y="2"/>
                  <a:pt x="2" y="2"/>
                  <a:pt x="2" y="3"/>
                </a:cubicBezTo>
                <a:cubicBezTo>
                  <a:pt x="2" y="3"/>
                  <a:pt x="1" y="3"/>
                  <a:pt x="1" y="4"/>
                </a:cubicBezTo>
                <a:cubicBezTo>
                  <a:pt x="1" y="4"/>
                  <a:pt x="1" y="5"/>
                  <a:pt x="0" y="5"/>
                </a:cubicBezTo>
                <a:cubicBezTo>
                  <a:pt x="0" y="5"/>
                  <a:pt x="0" y="5"/>
                  <a:pt x="0" y="6"/>
                </a:cubicBezTo>
                <a:cubicBezTo>
                  <a:pt x="0" y="6"/>
                  <a:pt x="0" y="6"/>
                  <a:pt x="0" y="6"/>
                </a:cubicBezTo>
                <a:cubicBezTo>
                  <a:pt x="1" y="6"/>
                  <a:pt x="1" y="7"/>
                  <a:pt x="1" y="8"/>
                </a:cubicBezTo>
                <a:cubicBezTo>
                  <a:pt x="1" y="9"/>
                  <a:pt x="2" y="9"/>
                  <a:pt x="3" y="8"/>
                </a:cubicBezTo>
                <a:cubicBezTo>
                  <a:pt x="3" y="8"/>
                  <a:pt x="5" y="9"/>
                  <a:pt x="5" y="9"/>
                </a:cubicBezTo>
                <a:cubicBezTo>
                  <a:pt x="5" y="9"/>
                  <a:pt x="3" y="9"/>
                  <a:pt x="2" y="9"/>
                </a:cubicBezTo>
                <a:cubicBezTo>
                  <a:pt x="1" y="10"/>
                  <a:pt x="3" y="10"/>
                  <a:pt x="3" y="11"/>
                </a:cubicBezTo>
                <a:cubicBezTo>
                  <a:pt x="3" y="12"/>
                  <a:pt x="3" y="13"/>
                  <a:pt x="4" y="13"/>
                </a:cubicBezTo>
                <a:cubicBezTo>
                  <a:pt x="5" y="13"/>
                  <a:pt x="6" y="14"/>
                  <a:pt x="6" y="14"/>
                </a:cubicBezTo>
                <a:cubicBezTo>
                  <a:pt x="6" y="13"/>
                  <a:pt x="5" y="12"/>
                  <a:pt x="6" y="11"/>
                </a:cubicBezTo>
                <a:cubicBezTo>
                  <a:pt x="6" y="11"/>
                  <a:pt x="7" y="12"/>
                  <a:pt x="7" y="11"/>
                </a:cubicBezTo>
                <a:cubicBezTo>
                  <a:pt x="8" y="11"/>
                  <a:pt x="7" y="10"/>
                  <a:pt x="6" y="10"/>
                </a:cubicBezTo>
                <a:cubicBezTo>
                  <a:pt x="5" y="10"/>
                  <a:pt x="6" y="9"/>
                  <a:pt x="7" y="10"/>
                </a:cubicBezTo>
                <a:cubicBezTo>
                  <a:pt x="8" y="10"/>
                  <a:pt x="8" y="10"/>
                  <a:pt x="9" y="10"/>
                </a:cubicBezTo>
                <a:cubicBezTo>
                  <a:pt x="9" y="10"/>
                  <a:pt x="9" y="8"/>
                  <a:pt x="8" y="8"/>
                </a:cubicBezTo>
                <a:cubicBezTo>
                  <a:pt x="7" y="8"/>
                  <a:pt x="7" y="9"/>
                  <a:pt x="6" y="8"/>
                </a:cubicBezTo>
                <a:cubicBezTo>
                  <a:pt x="5" y="7"/>
                  <a:pt x="7" y="8"/>
                  <a:pt x="7" y="7"/>
                </a:cubicBezTo>
                <a:cubicBezTo>
                  <a:pt x="7" y="6"/>
                  <a:pt x="5" y="5"/>
                  <a:pt x="5" y="4"/>
                </a:cubicBezTo>
                <a:cubicBezTo>
                  <a:pt x="4" y="4"/>
                  <a:pt x="6" y="3"/>
                  <a:pt x="6" y="4"/>
                </a:cubicBezTo>
                <a:cubicBezTo>
                  <a:pt x="6" y="4"/>
                  <a:pt x="7" y="4"/>
                  <a:pt x="8" y="4"/>
                </a:cubicBezTo>
                <a:cubicBezTo>
                  <a:pt x="8" y="4"/>
                  <a:pt x="7" y="3"/>
                  <a:pt x="8" y="2"/>
                </a:cubicBezTo>
                <a:cubicBezTo>
                  <a:pt x="9" y="2"/>
                  <a:pt x="9" y="3"/>
                  <a:pt x="10" y="3"/>
                </a:cubicBezTo>
                <a:cubicBezTo>
                  <a:pt x="10" y="3"/>
                  <a:pt x="10" y="2"/>
                  <a:pt x="11" y="2"/>
                </a:cubicBezTo>
                <a:cubicBezTo>
                  <a:pt x="12" y="2"/>
                  <a:pt x="12" y="2"/>
                  <a:pt x="13" y="3"/>
                </a:cubicBezTo>
                <a:cubicBezTo>
                  <a:pt x="13" y="2"/>
                  <a:pt x="13" y="2"/>
                  <a:pt x="13" y="2"/>
                </a:cubicBezTo>
                <a:cubicBezTo>
                  <a:pt x="13" y="2"/>
                  <a:pt x="14" y="1"/>
                  <a:pt x="14" y="1"/>
                </a:cubicBezTo>
                <a:cubicBezTo>
                  <a:pt x="14" y="1"/>
                  <a:pt x="14" y="0"/>
                  <a:pt x="14" y="0"/>
                </a:cubicBezTo>
                <a:moveTo>
                  <a:pt x="12" y="17"/>
                </a:moveTo>
                <a:cubicBezTo>
                  <a:pt x="11" y="16"/>
                  <a:pt x="9" y="17"/>
                  <a:pt x="8" y="16"/>
                </a:cubicBezTo>
                <a:cubicBezTo>
                  <a:pt x="8" y="16"/>
                  <a:pt x="6" y="17"/>
                  <a:pt x="7" y="17"/>
                </a:cubicBezTo>
                <a:cubicBezTo>
                  <a:pt x="8" y="17"/>
                  <a:pt x="9" y="17"/>
                  <a:pt x="10" y="18"/>
                </a:cubicBezTo>
                <a:cubicBezTo>
                  <a:pt x="12" y="18"/>
                  <a:pt x="13" y="17"/>
                  <a:pt x="13" y="17"/>
                </a:cubicBezTo>
                <a:cubicBezTo>
                  <a:pt x="13" y="16"/>
                  <a:pt x="12" y="17"/>
                  <a:pt x="12"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364"/>
          <p:cNvSpPr>
            <a:spLocks/>
          </p:cNvSpPr>
          <p:nvPr/>
        </p:nvSpPr>
        <p:spPr bwMode="auto">
          <a:xfrm>
            <a:off x="2537577" y="2874992"/>
            <a:ext cx="28599" cy="17874"/>
          </a:xfrm>
          <a:custGeom>
            <a:avLst/>
            <a:gdLst>
              <a:gd name="T0" fmla="*/ 4 w 6"/>
              <a:gd name="T1" fmla="*/ 2 h 4"/>
              <a:gd name="T2" fmla="*/ 5 w 6"/>
              <a:gd name="T3" fmla="*/ 1 h 4"/>
              <a:gd name="T4" fmla="*/ 5 w 6"/>
              <a:gd name="T5" fmla="*/ 1 h 4"/>
              <a:gd name="T6" fmla="*/ 2 w 6"/>
              <a:gd name="T7" fmla="*/ 2 h 4"/>
              <a:gd name="T8" fmla="*/ 1 w 6"/>
              <a:gd name="T9" fmla="*/ 3 h 4"/>
              <a:gd name="T10" fmla="*/ 4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4" y="2"/>
                </a:moveTo>
                <a:cubicBezTo>
                  <a:pt x="4" y="2"/>
                  <a:pt x="4" y="1"/>
                  <a:pt x="5" y="1"/>
                </a:cubicBezTo>
                <a:cubicBezTo>
                  <a:pt x="6" y="1"/>
                  <a:pt x="5" y="0"/>
                  <a:pt x="5" y="1"/>
                </a:cubicBezTo>
                <a:cubicBezTo>
                  <a:pt x="4" y="1"/>
                  <a:pt x="3" y="1"/>
                  <a:pt x="2" y="2"/>
                </a:cubicBezTo>
                <a:cubicBezTo>
                  <a:pt x="0" y="2"/>
                  <a:pt x="0" y="3"/>
                  <a:pt x="1" y="3"/>
                </a:cubicBezTo>
                <a:cubicBezTo>
                  <a:pt x="2" y="4"/>
                  <a:pt x="4" y="3"/>
                  <a:pt x="4"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365"/>
          <p:cNvSpPr>
            <a:spLocks/>
          </p:cNvSpPr>
          <p:nvPr/>
        </p:nvSpPr>
        <p:spPr bwMode="auto">
          <a:xfrm>
            <a:off x="1940577" y="2431711"/>
            <a:ext cx="114395" cy="57198"/>
          </a:xfrm>
          <a:custGeom>
            <a:avLst/>
            <a:gdLst>
              <a:gd name="T0" fmla="*/ 20 w 24"/>
              <a:gd name="T1" fmla="*/ 8 h 12"/>
              <a:gd name="T2" fmla="*/ 22 w 24"/>
              <a:gd name="T3" fmla="*/ 7 h 12"/>
              <a:gd name="T4" fmla="*/ 24 w 24"/>
              <a:gd name="T5" fmla="*/ 5 h 12"/>
              <a:gd name="T6" fmla="*/ 23 w 24"/>
              <a:gd name="T7" fmla="*/ 4 h 12"/>
              <a:gd name="T8" fmla="*/ 21 w 24"/>
              <a:gd name="T9" fmla="*/ 2 h 12"/>
              <a:gd name="T10" fmla="*/ 21 w 24"/>
              <a:gd name="T11" fmla="*/ 1 h 12"/>
              <a:gd name="T12" fmla="*/ 19 w 24"/>
              <a:gd name="T13" fmla="*/ 1 h 12"/>
              <a:gd name="T14" fmla="*/ 17 w 24"/>
              <a:gd name="T15" fmla="*/ 0 h 12"/>
              <a:gd name="T16" fmla="*/ 17 w 24"/>
              <a:gd name="T17" fmla="*/ 1 h 12"/>
              <a:gd name="T18" fmla="*/ 16 w 24"/>
              <a:gd name="T19" fmla="*/ 2 h 12"/>
              <a:gd name="T20" fmla="*/ 15 w 24"/>
              <a:gd name="T21" fmla="*/ 2 h 12"/>
              <a:gd name="T22" fmla="*/ 14 w 24"/>
              <a:gd name="T23" fmla="*/ 2 h 12"/>
              <a:gd name="T24" fmla="*/ 12 w 24"/>
              <a:gd name="T25" fmla="*/ 1 h 12"/>
              <a:gd name="T26" fmla="*/ 11 w 24"/>
              <a:gd name="T27" fmla="*/ 2 h 12"/>
              <a:gd name="T28" fmla="*/ 10 w 24"/>
              <a:gd name="T29" fmla="*/ 2 h 12"/>
              <a:gd name="T30" fmla="*/ 9 w 24"/>
              <a:gd name="T31" fmla="*/ 3 h 12"/>
              <a:gd name="T32" fmla="*/ 9 w 24"/>
              <a:gd name="T33" fmla="*/ 4 h 12"/>
              <a:gd name="T34" fmla="*/ 7 w 24"/>
              <a:gd name="T35" fmla="*/ 4 h 12"/>
              <a:gd name="T36" fmla="*/ 7 w 24"/>
              <a:gd name="T37" fmla="*/ 3 h 12"/>
              <a:gd name="T38" fmla="*/ 3 w 24"/>
              <a:gd name="T39" fmla="*/ 0 h 12"/>
              <a:gd name="T40" fmla="*/ 4 w 24"/>
              <a:gd name="T41" fmla="*/ 2 h 12"/>
              <a:gd name="T42" fmla="*/ 3 w 24"/>
              <a:gd name="T43" fmla="*/ 2 h 12"/>
              <a:gd name="T44" fmla="*/ 1 w 24"/>
              <a:gd name="T45" fmla="*/ 2 h 12"/>
              <a:gd name="T46" fmla="*/ 0 w 24"/>
              <a:gd name="T47" fmla="*/ 4 h 12"/>
              <a:gd name="T48" fmla="*/ 2 w 24"/>
              <a:gd name="T49" fmla="*/ 4 h 12"/>
              <a:gd name="T50" fmla="*/ 5 w 24"/>
              <a:gd name="T51" fmla="*/ 4 h 12"/>
              <a:gd name="T52" fmla="*/ 5 w 24"/>
              <a:gd name="T53" fmla="*/ 5 h 12"/>
              <a:gd name="T54" fmla="*/ 4 w 24"/>
              <a:gd name="T55" fmla="*/ 6 h 12"/>
              <a:gd name="T56" fmla="*/ 1 w 24"/>
              <a:gd name="T57" fmla="*/ 6 h 12"/>
              <a:gd name="T58" fmla="*/ 4 w 24"/>
              <a:gd name="T59" fmla="*/ 7 h 12"/>
              <a:gd name="T60" fmla="*/ 5 w 24"/>
              <a:gd name="T61" fmla="*/ 7 h 12"/>
              <a:gd name="T62" fmla="*/ 6 w 24"/>
              <a:gd name="T63" fmla="*/ 8 h 12"/>
              <a:gd name="T64" fmla="*/ 5 w 24"/>
              <a:gd name="T65" fmla="*/ 9 h 12"/>
              <a:gd name="T66" fmla="*/ 4 w 24"/>
              <a:gd name="T67" fmla="*/ 10 h 12"/>
              <a:gd name="T68" fmla="*/ 7 w 24"/>
              <a:gd name="T69" fmla="*/ 10 h 12"/>
              <a:gd name="T70" fmla="*/ 11 w 24"/>
              <a:gd name="T71" fmla="*/ 11 h 12"/>
              <a:gd name="T72" fmla="*/ 15 w 24"/>
              <a:gd name="T73" fmla="*/ 10 h 12"/>
              <a:gd name="T74" fmla="*/ 17 w 24"/>
              <a:gd name="T75" fmla="*/ 10 h 12"/>
              <a:gd name="T76" fmla="*/ 20 w 24"/>
              <a:gd name="T7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12">
                <a:moveTo>
                  <a:pt x="20" y="8"/>
                </a:moveTo>
                <a:cubicBezTo>
                  <a:pt x="22" y="8"/>
                  <a:pt x="21" y="7"/>
                  <a:pt x="22" y="7"/>
                </a:cubicBezTo>
                <a:cubicBezTo>
                  <a:pt x="23" y="7"/>
                  <a:pt x="23" y="6"/>
                  <a:pt x="24" y="5"/>
                </a:cubicBezTo>
                <a:cubicBezTo>
                  <a:pt x="24" y="5"/>
                  <a:pt x="23" y="4"/>
                  <a:pt x="23" y="4"/>
                </a:cubicBezTo>
                <a:cubicBezTo>
                  <a:pt x="22" y="4"/>
                  <a:pt x="21" y="3"/>
                  <a:pt x="21" y="2"/>
                </a:cubicBezTo>
                <a:cubicBezTo>
                  <a:pt x="22" y="2"/>
                  <a:pt x="21" y="1"/>
                  <a:pt x="21" y="1"/>
                </a:cubicBezTo>
                <a:cubicBezTo>
                  <a:pt x="21" y="1"/>
                  <a:pt x="20" y="1"/>
                  <a:pt x="19" y="1"/>
                </a:cubicBezTo>
                <a:cubicBezTo>
                  <a:pt x="19" y="1"/>
                  <a:pt x="18" y="0"/>
                  <a:pt x="17" y="0"/>
                </a:cubicBezTo>
                <a:cubicBezTo>
                  <a:pt x="17" y="0"/>
                  <a:pt x="17" y="1"/>
                  <a:pt x="17" y="1"/>
                </a:cubicBezTo>
                <a:cubicBezTo>
                  <a:pt x="17" y="2"/>
                  <a:pt x="16" y="1"/>
                  <a:pt x="16" y="2"/>
                </a:cubicBezTo>
                <a:cubicBezTo>
                  <a:pt x="16" y="2"/>
                  <a:pt x="15" y="2"/>
                  <a:pt x="15" y="2"/>
                </a:cubicBezTo>
                <a:cubicBezTo>
                  <a:pt x="14" y="1"/>
                  <a:pt x="14" y="1"/>
                  <a:pt x="14" y="2"/>
                </a:cubicBezTo>
                <a:cubicBezTo>
                  <a:pt x="14" y="2"/>
                  <a:pt x="13" y="2"/>
                  <a:pt x="12" y="1"/>
                </a:cubicBezTo>
                <a:cubicBezTo>
                  <a:pt x="12" y="1"/>
                  <a:pt x="11" y="2"/>
                  <a:pt x="11" y="2"/>
                </a:cubicBezTo>
                <a:cubicBezTo>
                  <a:pt x="11" y="3"/>
                  <a:pt x="11" y="3"/>
                  <a:pt x="10" y="2"/>
                </a:cubicBezTo>
                <a:cubicBezTo>
                  <a:pt x="9" y="1"/>
                  <a:pt x="9" y="2"/>
                  <a:pt x="9" y="3"/>
                </a:cubicBezTo>
                <a:cubicBezTo>
                  <a:pt x="9" y="3"/>
                  <a:pt x="9" y="4"/>
                  <a:pt x="9" y="4"/>
                </a:cubicBezTo>
                <a:cubicBezTo>
                  <a:pt x="8" y="3"/>
                  <a:pt x="8" y="4"/>
                  <a:pt x="7" y="4"/>
                </a:cubicBezTo>
                <a:cubicBezTo>
                  <a:pt x="7" y="5"/>
                  <a:pt x="6" y="3"/>
                  <a:pt x="7" y="3"/>
                </a:cubicBezTo>
                <a:cubicBezTo>
                  <a:pt x="8" y="2"/>
                  <a:pt x="4" y="0"/>
                  <a:pt x="3" y="0"/>
                </a:cubicBezTo>
                <a:cubicBezTo>
                  <a:pt x="2" y="0"/>
                  <a:pt x="3" y="1"/>
                  <a:pt x="4" y="2"/>
                </a:cubicBezTo>
                <a:cubicBezTo>
                  <a:pt x="4" y="2"/>
                  <a:pt x="3" y="2"/>
                  <a:pt x="3" y="2"/>
                </a:cubicBezTo>
                <a:cubicBezTo>
                  <a:pt x="3" y="1"/>
                  <a:pt x="2" y="1"/>
                  <a:pt x="1" y="2"/>
                </a:cubicBezTo>
                <a:cubicBezTo>
                  <a:pt x="1" y="3"/>
                  <a:pt x="0" y="3"/>
                  <a:pt x="0" y="4"/>
                </a:cubicBezTo>
                <a:cubicBezTo>
                  <a:pt x="0" y="4"/>
                  <a:pt x="1" y="4"/>
                  <a:pt x="2" y="4"/>
                </a:cubicBezTo>
                <a:cubicBezTo>
                  <a:pt x="3" y="4"/>
                  <a:pt x="5" y="4"/>
                  <a:pt x="5" y="4"/>
                </a:cubicBezTo>
                <a:cubicBezTo>
                  <a:pt x="6" y="5"/>
                  <a:pt x="4" y="5"/>
                  <a:pt x="5" y="5"/>
                </a:cubicBezTo>
                <a:cubicBezTo>
                  <a:pt x="5" y="6"/>
                  <a:pt x="5" y="6"/>
                  <a:pt x="4" y="6"/>
                </a:cubicBezTo>
                <a:cubicBezTo>
                  <a:pt x="2" y="6"/>
                  <a:pt x="1" y="6"/>
                  <a:pt x="1" y="6"/>
                </a:cubicBezTo>
                <a:cubicBezTo>
                  <a:pt x="1" y="7"/>
                  <a:pt x="4" y="6"/>
                  <a:pt x="4" y="7"/>
                </a:cubicBezTo>
                <a:cubicBezTo>
                  <a:pt x="4" y="7"/>
                  <a:pt x="4" y="8"/>
                  <a:pt x="5" y="7"/>
                </a:cubicBezTo>
                <a:cubicBezTo>
                  <a:pt x="6" y="7"/>
                  <a:pt x="5" y="8"/>
                  <a:pt x="6" y="8"/>
                </a:cubicBezTo>
                <a:cubicBezTo>
                  <a:pt x="6" y="8"/>
                  <a:pt x="6" y="9"/>
                  <a:pt x="5" y="9"/>
                </a:cubicBezTo>
                <a:cubicBezTo>
                  <a:pt x="4" y="9"/>
                  <a:pt x="3" y="9"/>
                  <a:pt x="4" y="10"/>
                </a:cubicBezTo>
                <a:cubicBezTo>
                  <a:pt x="4" y="10"/>
                  <a:pt x="6" y="10"/>
                  <a:pt x="7" y="10"/>
                </a:cubicBezTo>
                <a:cubicBezTo>
                  <a:pt x="8" y="9"/>
                  <a:pt x="9" y="11"/>
                  <a:pt x="11" y="11"/>
                </a:cubicBezTo>
                <a:cubicBezTo>
                  <a:pt x="12" y="12"/>
                  <a:pt x="14" y="11"/>
                  <a:pt x="15" y="10"/>
                </a:cubicBezTo>
                <a:cubicBezTo>
                  <a:pt x="15" y="10"/>
                  <a:pt x="17" y="10"/>
                  <a:pt x="17" y="10"/>
                </a:cubicBezTo>
                <a:cubicBezTo>
                  <a:pt x="18" y="9"/>
                  <a:pt x="19" y="8"/>
                  <a:pt x="20"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366"/>
          <p:cNvSpPr>
            <a:spLocks/>
          </p:cNvSpPr>
          <p:nvPr/>
        </p:nvSpPr>
        <p:spPr bwMode="auto">
          <a:xfrm>
            <a:off x="2090721" y="2617603"/>
            <a:ext cx="46473" cy="53623"/>
          </a:xfrm>
          <a:custGeom>
            <a:avLst/>
            <a:gdLst>
              <a:gd name="T0" fmla="*/ 9 w 10"/>
              <a:gd name="T1" fmla="*/ 3 h 11"/>
              <a:gd name="T2" fmla="*/ 8 w 10"/>
              <a:gd name="T3" fmla="*/ 2 h 11"/>
              <a:gd name="T4" fmla="*/ 7 w 10"/>
              <a:gd name="T5" fmla="*/ 3 h 11"/>
              <a:gd name="T6" fmla="*/ 5 w 10"/>
              <a:gd name="T7" fmla="*/ 3 h 11"/>
              <a:gd name="T8" fmla="*/ 6 w 10"/>
              <a:gd name="T9" fmla="*/ 1 h 11"/>
              <a:gd name="T10" fmla="*/ 6 w 10"/>
              <a:gd name="T11" fmla="*/ 0 h 11"/>
              <a:gd name="T12" fmla="*/ 6 w 10"/>
              <a:gd name="T13" fmla="*/ 0 h 11"/>
              <a:gd name="T14" fmla="*/ 4 w 10"/>
              <a:gd name="T15" fmla="*/ 0 h 11"/>
              <a:gd name="T16" fmla="*/ 5 w 10"/>
              <a:gd name="T17" fmla="*/ 1 h 11"/>
              <a:gd name="T18" fmla="*/ 3 w 10"/>
              <a:gd name="T19" fmla="*/ 2 h 11"/>
              <a:gd name="T20" fmla="*/ 1 w 10"/>
              <a:gd name="T21" fmla="*/ 2 h 11"/>
              <a:gd name="T22" fmla="*/ 1 w 10"/>
              <a:gd name="T23" fmla="*/ 4 h 11"/>
              <a:gd name="T24" fmla="*/ 2 w 10"/>
              <a:gd name="T25" fmla="*/ 6 h 11"/>
              <a:gd name="T26" fmla="*/ 1 w 10"/>
              <a:gd name="T27" fmla="*/ 7 h 11"/>
              <a:gd name="T28" fmla="*/ 0 w 10"/>
              <a:gd name="T29" fmla="*/ 9 h 11"/>
              <a:gd name="T30" fmla="*/ 2 w 10"/>
              <a:gd name="T31" fmla="*/ 11 h 11"/>
              <a:gd name="T32" fmla="*/ 6 w 10"/>
              <a:gd name="T33" fmla="*/ 9 h 11"/>
              <a:gd name="T34" fmla="*/ 9 w 10"/>
              <a:gd name="T35" fmla="*/ 9 h 11"/>
              <a:gd name="T36" fmla="*/ 9 w 10"/>
              <a:gd name="T37" fmla="*/ 3 h 11"/>
              <a:gd name="T38" fmla="*/ 9 w 10"/>
              <a:gd name="T3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9" y="3"/>
                </a:moveTo>
                <a:cubicBezTo>
                  <a:pt x="8" y="3"/>
                  <a:pt x="8" y="3"/>
                  <a:pt x="8" y="2"/>
                </a:cubicBezTo>
                <a:cubicBezTo>
                  <a:pt x="7" y="1"/>
                  <a:pt x="7" y="2"/>
                  <a:pt x="7" y="3"/>
                </a:cubicBezTo>
                <a:cubicBezTo>
                  <a:pt x="7" y="3"/>
                  <a:pt x="6" y="3"/>
                  <a:pt x="5" y="3"/>
                </a:cubicBezTo>
                <a:cubicBezTo>
                  <a:pt x="5" y="2"/>
                  <a:pt x="5" y="1"/>
                  <a:pt x="6" y="1"/>
                </a:cubicBezTo>
                <a:cubicBezTo>
                  <a:pt x="6" y="1"/>
                  <a:pt x="6" y="1"/>
                  <a:pt x="6" y="0"/>
                </a:cubicBezTo>
                <a:cubicBezTo>
                  <a:pt x="6" y="0"/>
                  <a:pt x="6" y="0"/>
                  <a:pt x="6" y="0"/>
                </a:cubicBezTo>
                <a:cubicBezTo>
                  <a:pt x="5" y="0"/>
                  <a:pt x="4" y="0"/>
                  <a:pt x="4" y="0"/>
                </a:cubicBezTo>
                <a:cubicBezTo>
                  <a:pt x="4" y="1"/>
                  <a:pt x="5" y="1"/>
                  <a:pt x="5" y="1"/>
                </a:cubicBezTo>
                <a:cubicBezTo>
                  <a:pt x="5" y="2"/>
                  <a:pt x="4" y="2"/>
                  <a:pt x="3" y="2"/>
                </a:cubicBezTo>
                <a:cubicBezTo>
                  <a:pt x="2" y="3"/>
                  <a:pt x="2" y="2"/>
                  <a:pt x="1" y="2"/>
                </a:cubicBezTo>
                <a:cubicBezTo>
                  <a:pt x="0" y="3"/>
                  <a:pt x="2" y="3"/>
                  <a:pt x="1" y="4"/>
                </a:cubicBezTo>
                <a:cubicBezTo>
                  <a:pt x="0" y="5"/>
                  <a:pt x="1" y="5"/>
                  <a:pt x="2" y="6"/>
                </a:cubicBezTo>
                <a:cubicBezTo>
                  <a:pt x="3" y="6"/>
                  <a:pt x="1" y="7"/>
                  <a:pt x="1" y="7"/>
                </a:cubicBezTo>
                <a:cubicBezTo>
                  <a:pt x="1" y="8"/>
                  <a:pt x="0" y="8"/>
                  <a:pt x="0" y="9"/>
                </a:cubicBezTo>
                <a:cubicBezTo>
                  <a:pt x="0" y="10"/>
                  <a:pt x="1" y="11"/>
                  <a:pt x="2" y="11"/>
                </a:cubicBezTo>
                <a:cubicBezTo>
                  <a:pt x="3" y="11"/>
                  <a:pt x="5" y="10"/>
                  <a:pt x="6" y="9"/>
                </a:cubicBezTo>
                <a:cubicBezTo>
                  <a:pt x="7" y="8"/>
                  <a:pt x="8" y="9"/>
                  <a:pt x="9" y="9"/>
                </a:cubicBezTo>
                <a:cubicBezTo>
                  <a:pt x="10" y="8"/>
                  <a:pt x="9" y="4"/>
                  <a:pt x="9" y="3"/>
                </a:cubicBezTo>
                <a:cubicBezTo>
                  <a:pt x="9" y="3"/>
                  <a:pt x="9" y="3"/>
                  <a:pt x="9"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367"/>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368"/>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369"/>
          <p:cNvSpPr>
            <a:spLocks noEditPoints="1"/>
          </p:cNvSpPr>
          <p:nvPr/>
        </p:nvSpPr>
        <p:spPr bwMode="auto">
          <a:xfrm>
            <a:off x="2287337" y="2574704"/>
            <a:ext cx="50048" cy="50048"/>
          </a:xfrm>
          <a:custGeom>
            <a:avLst/>
            <a:gdLst>
              <a:gd name="T0" fmla="*/ 5 w 10"/>
              <a:gd name="T1" fmla="*/ 4 h 10"/>
              <a:gd name="T2" fmla="*/ 5 w 10"/>
              <a:gd name="T3" fmla="*/ 3 h 10"/>
              <a:gd name="T4" fmla="*/ 5 w 10"/>
              <a:gd name="T5" fmla="*/ 1 h 10"/>
              <a:gd name="T6" fmla="*/ 4 w 10"/>
              <a:gd name="T7" fmla="*/ 2 h 10"/>
              <a:gd name="T8" fmla="*/ 2 w 10"/>
              <a:gd name="T9" fmla="*/ 2 h 10"/>
              <a:gd name="T10" fmla="*/ 3 w 10"/>
              <a:gd name="T11" fmla="*/ 3 h 10"/>
              <a:gd name="T12" fmla="*/ 1 w 10"/>
              <a:gd name="T13" fmla="*/ 3 h 10"/>
              <a:gd name="T14" fmla="*/ 0 w 10"/>
              <a:gd name="T15" fmla="*/ 4 h 10"/>
              <a:gd name="T16" fmla="*/ 0 w 10"/>
              <a:gd name="T17" fmla="*/ 7 h 10"/>
              <a:gd name="T18" fmla="*/ 1 w 10"/>
              <a:gd name="T19" fmla="*/ 9 h 10"/>
              <a:gd name="T20" fmla="*/ 1 w 10"/>
              <a:gd name="T21" fmla="*/ 10 h 10"/>
              <a:gd name="T22" fmla="*/ 3 w 10"/>
              <a:gd name="T23" fmla="*/ 10 h 10"/>
              <a:gd name="T24" fmla="*/ 4 w 10"/>
              <a:gd name="T25" fmla="*/ 10 h 10"/>
              <a:gd name="T26" fmla="*/ 3 w 10"/>
              <a:gd name="T27" fmla="*/ 9 h 10"/>
              <a:gd name="T28" fmla="*/ 4 w 10"/>
              <a:gd name="T29" fmla="*/ 9 h 10"/>
              <a:gd name="T30" fmla="*/ 6 w 10"/>
              <a:gd name="T31" fmla="*/ 9 h 10"/>
              <a:gd name="T32" fmla="*/ 5 w 10"/>
              <a:gd name="T33" fmla="*/ 7 h 10"/>
              <a:gd name="T34" fmla="*/ 4 w 10"/>
              <a:gd name="T35" fmla="*/ 7 h 10"/>
              <a:gd name="T36" fmla="*/ 5 w 10"/>
              <a:gd name="T37" fmla="*/ 6 h 10"/>
              <a:gd name="T38" fmla="*/ 6 w 10"/>
              <a:gd name="T39" fmla="*/ 5 h 10"/>
              <a:gd name="T40" fmla="*/ 5 w 10"/>
              <a:gd name="T41" fmla="*/ 4 h 10"/>
              <a:gd name="T42" fmla="*/ 10 w 10"/>
              <a:gd name="T43" fmla="*/ 6 h 10"/>
              <a:gd name="T44" fmla="*/ 9 w 10"/>
              <a:gd name="T45" fmla="*/ 7 h 10"/>
              <a:gd name="T46" fmla="*/ 9 w 10"/>
              <a:gd name="T47" fmla="*/ 6 h 10"/>
              <a:gd name="T48" fmla="*/ 7 w 10"/>
              <a:gd name="T49" fmla="*/ 7 h 10"/>
              <a:gd name="T50" fmla="*/ 8 w 10"/>
              <a:gd name="T51" fmla="*/ 9 h 10"/>
              <a:gd name="T52" fmla="*/ 7 w 10"/>
              <a:gd name="T53" fmla="*/ 9 h 10"/>
              <a:gd name="T54" fmla="*/ 8 w 10"/>
              <a:gd name="T55" fmla="*/ 10 h 10"/>
              <a:gd name="T56" fmla="*/ 10 w 10"/>
              <a:gd name="T57" fmla="*/ 8 h 10"/>
              <a:gd name="T58" fmla="*/ 10 w 10"/>
              <a:gd name="T5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0">
                <a:moveTo>
                  <a:pt x="5" y="4"/>
                </a:moveTo>
                <a:cubicBezTo>
                  <a:pt x="5" y="4"/>
                  <a:pt x="5" y="3"/>
                  <a:pt x="5" y="3"/>
                </a:cubicBezTo>
                <a:cubicBezTo>
                  <a:pt x="5" y="2"/>
                  <a:pt x="6" y="1"/>
                  <a:pt x="5" y="1"/>
                </a:cubicBezTo>
                <a:cubicBezTo>
                  <a:pt x="5" y="0"/>
                  <a:pt x="4" y="1"/>
                  <a:pt x="4" y="2"/>
                </a:cubicBezTo>
                <a:cubicBezTo>
                  <a:pt x="4" y="2"/>
                  <a:pt x="3" y="2"/>
                  <a:pt x="2" y="2"/>
                </a:cubicBezTo>
                <a:cubicBezTo>
                  <a:pt x="2" y="2"/>
                  <a:pt x="3" y="3"/>
                  <a:pt x="3" y="3"/>
                </a:cubicBezTo>
                <a:cubicBezTo>
                  <a:pt x="2" y="4"/>
                  <a:pt x="2" y="3"/>
                  <a:pt x="1" y="3"/>
                </a:cubicBezTo>
                <a:cubicBezTo>
                  <a:pt x="1" y="2"/>
                  <a:pt x="0" y="4"/>
                  <a:pt x="0" y="4"/>
                </a:cubicBezTo>
                <a:cubicBezTo>
                  <a:pt x="0" y="5"/>
                  <a:pt x="0" y="6"/>
                  <a:pt x="0" y="7"/>
                </a:cubicBezTo>
                <a:cubicBezTo>
                  <a:pt x="0" y="7"/>
                  <a:pt x="1" y="8"/>
                  <a:pt x="1" y="9"/>
                </a:cubicBezTo>
                <a:cubicBezTo>
                  <a:pt x="1" y="9"/>
                  <a:pt x="1" y="9"/>
                  <a:pt x="1" y="10"/>
                </a:cubicBezTo>
                <a:cubicBezTo>
                  <a:pt x="2" y="10"/>
                  <a:pt x="3" y="10"/>
                  <a:pt x="3" y="10"/>
                </a:cubicBezTo>
                <a:cubicBezTo>
                  <a:pt x="3" y="10"/>
                  <a:pt x="4" y="10"/>
                  <a:pt x="4" y="10"/>
                </a:cubicBezTo>
                <a:cubicBezTo>
                  <a:pt x="4" y="9"/>
                  <a:pt x="3" y="9"/>
                  <a:pt x="3" y="9"/>
                </a:cubicBezTo>
                <a:cubicBezTo>
                  <a:pt x="3" y="8"/>
                  <a:pt x="4" y="8"/>
                  <a:pt x="4" y="9"/>
                </a:cubicBezTo>
                <a:cubicBezTo>
                  <a:pt x="5" y="9"/>
                  <a:pt x="6" y="9"/>
                  <a:pt x="6" y="9"/>
                </a:cubicBezTo>
                <a:cubicBezTo>
                  <a:pt x="6" y="8"/>
                  <a:pt x="6" y="7"/>
                  <a:pt x="5" y="7"/>
                </a:cubicBezTo>
                <a:cubicBezTo>
                  <a:pt x="5" y="8"/>
                  <a:pt x="4" y="8"/>
                  <a:pt x="4" y="7"/>
                </a:cubicBezTo>
                <a:cubicBezTo>
                  <a:pt x="4" y="7"/>
                  <a:pt x="5" y="6"/>
                  <a:pt x="5" y="6"/>
                </a:cubicBezTo>
                <a:cubicBezTo>
                  <a:pt x="5" y="5"/>
                  <a:pt x="6" y="6"/>
                  <a:pt x="6" y="5"/>
                </a:cubicBezTo>
                <a:cubicBezTo>
                  <a:pt x="6" y="5"/>
                  <a:pt x="5" y="4"/>
                  <a:pt x="5" y="4"/>
                </a:cubicBezTo>
                <a:moveTo>
                  <a:pt x="10" y="6"/>
                </a:moveTo>
                <a:cubicBezTo>
                  <a:pt x="10" y="6"/>
                  <a:pt x="10" y="7"/>
                  <a:pt x="9" y="7"/>
                </a:cubicBezTo>
                <a:cubicBezTo>
                  <a:pt x="9" y="7"/>
                  <a:pt x="9" y="5"/>
                  <a:pt x="9" y="6"/>
                </a:cubicBezTo>
                <a:cubicBezTo>
                  <a:pt x="8" y="7"/>
                  <a:pt x="8" y="6"/>
                  <a:pt x="7" y="7"/>
                </a:cubicBezTo>
                <a:cubicBezTo>
                  <a:pt x="7" y="8"/>
                  <a:pt x="8" y="8"/>
                  <a:pt x="8" y="9"/>
                </a:cubicBezTo>
                <a:cubicBezTo>
                  <a:pt x="8" y="9"/>
                  <a:pt x="8" y="9"/>
                  <a:pt x="7" y="9"/>
                </a:cubicBezTo>
                <a:cubicBezTo>
                  <a:pt x="7" y="9"/>
                  <a:pt x="7" y="10"/>
                  <a:pt x="8" y="10"/>
                </a:cubicBezTo>
                <a:cubicBezTo>
                  <a:pt x="9" y="10"/>
                  <a:pt x="10" y="9"/>
                  <a:pt x="10" y="8"/>
                </a:cubicBezTo>
                <a:cubicBezTo>
                  <a:pt x="9" y="8"/>
                  <a:pt x="10" y="6"/>
                  <a:pt x="10"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370"/>
          <p:cNvSpPr>
            <a:spLocks noEditPoints="1"/>
          </p:cNvSpPr>
          <p:nvPr/>
        </p:nvSpPr>
        <p:spPr bwMode="auto">
          <a:xfrm>
            <a:off x="2323086" y="2381663"/>
            <a:ext cx="132269" cy="232365"/>
          </a:xfrm>
          <a:custGeom>
            <a:avLst/>
            <a:gdLst>
              <a:gd name="T0" fmla="*/ 27 w 28"/>
              <a:gd name="T1" fmla="*/ 10 h 48"/>
              <a:gd name="T2" fmla="*/ 26 w 28"/>
              <a:gd name="T3" fmla="*/ 6 h 48"/>
              <a:gd name="T4" fmla="*/ 23 w 28"/>
              <a:gd name="T5" fmla="*/ 2 h 48"/>
              <a:gd name="T6" fmla="*/ 19 w 28"/>
              <a:gd name="T7" fmla="*/ 2 h 48"/>
              <a:gd name="T8" fmla="*/ 16 w 28"/>
              <a:gd name="T9" fmla="*/ 2 h 48"/>
              <a:gd name="T10" fmla="*/ 13 w 28"/>
              <a:gd name="T11" fmla="*/ 4 h 48"/>
              <a:gd name="T12" fmla="*/ 11 w 28"/>
              <a:gd name="T13" fmla="*/ 7 h 48"/>
              <a:gd name="T14" fmla="*/ 9 w 28"/>
              <a:gd name="T15" fmla="*/ 10 h 48"/>
              <a:gd name="T16" fmla="*/ 7 w 28"/>
              <a:gd name="T17" fmla="*/ 12 h 48"/>
              <a:gd name="T18" fmla="*/ 6 w 28"/>
              <a:gd name="T19" fmla="*/ 16 h 48"/>
              <a:gd name="T20" fmla="*/ 6 w 28"/>
              <a:gd name="T21" fmla="*/ 19 h 48"/>
              <a:gd name="T22" fmla="*/ 3 w 28"/>
              <a:gd name="T23" fmla="*/ 20 h 48"/>
              <a:gd name="T24" fmla="*/ 2 w 28"/>
              <a:gd name="T25" fmla="*/ 25 h 48"/>
              <a:gd name="T26" fmla="*/ 4 w 28"/>
              <a:gd name="T27" fmla="*/ 29 h 48"/>
              <a:gd name="T28" fmla="*/ 3 w 28"/>
              <a:gd name="T29" fmla="*/ 31 h 48"/>
              <a:gd name="T30" fmla="*/ 2 w 28"/>
              <a:gd name="T31" fmla="*/ 33 h 48"/>
              <a:gd name="T32" fmla="*/ 1 w 28"/>
              <a:gd name="T33" fmla="*/ 37 h 48"/>
              <a:gd name="T34" fmla="*/ 0 w 28"/>
              <a:gd name="T35" fmla="*/ 37 h 48"/>
              <a:gd name="T36" fmla="*/ 2 w 28"/>
              <a:gd name="T37" fmla="*/ 41 h 48"/>
              <a:gd name="T38" fmla="*/ 3 w 28"/>
              <a:gd name="T39" fmla="*/ 45 h 48"/>
              <a:gd name="T40" fmla="*/ 4 w 28"/>
              <a:gd name="T41" fmla="*/ 48 h 48"/>
              <a:gd name="T42" fmla="*/ 7 w 28"/>
              <a:gd name="T43" fmla="*/ 46 h 48"/>
              <a:gd name="T44" fmla="*/ 9 w 28"/>
              <a:gd name="T45" fmla="*/ 46 h 48"/>
              <a:gd name="T46" fmla="*/ 11 w 28"/>
              <a:gd name="T47" fmla="*/ 45 h 48"/>
              <a:gd name="T48" fmla="*/ 12 w 28"/>
              <a:gd name="T49" fmla="*/ 43 h 48"/>
              <a:gd name="T50" fmla="*/ 12 w 28"/>
              <a:gd name="T51" fmla="*/ 38 h 48"/>
              <a:gd name="T52" fmla="*/ 15 w 28"/>
              <a:gd name="T53" fmla="*/ 35 h 48"/>
              <a:gd name="T54" fmla="*/ 14 w 28"/>
              <a:gd name="T55" fmla="*/ 31 h 48"/>
              <a:gd name="T56" fmla="*/ 13 w 28"/>
              <a:gd name="T57" fmla="*/ 28 h 48"/>
              <a:gd name="T58" fmla="*/ 14 w 28"/>
              <a:gd name="T59" fmla="*/ 24 h 48"/>
              <a:gd name="T60" fmla="*/ 17 w 28"/>
              <a:gd name="T61" fmla="*/ 21 h 48"/>
              <a:gd name="T62" fmla="*/ 22 w 28"/>
              <a:gd name="T63" fmla="*/ 18 h 48"/>
              <a:gd name="T64" fmla="*/ 23 w 28"/>
              <a:gd name="T65" fmla="*/ 14 h 48"/>
              <a:gd name="T66" fmla="*/ 26 w 28"/>
              <a:gd name="T67" fmla="*/ 12 h 48"/>
              <a:gd name="T68" fmla="*/ 27 w 28"/>
              <a:gd name="T69" fmla="*/ 11 h 48"/>
              <a:gd name="T70" fmla="*/ 15 w 28"/>
              <a:gd name="T71"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48">
                <a:moveTo>
                  <a:pt x="27" y="11"/>
                </a:moveTo>
                <a:cubicBezTo>
                  <a:pt x="27" y="11"/>
                  <a:pt x="26" y="10"/>
                  <a:pt x="27" y="10"/>
                </a:cubicBezTo>
                <a:cubicBezTo>
                  <a:pt x="27" y="10"/>
                  <a:pt x="28" y="9"/>
                  <a:pt x="27" y="8"/>
                </a:cubicBezTo>
                <a:cubicBezTo>
                  <a:pt x="26" y="8"/>
                  <a:pt x="27" y="7"/>
                  <a:pt x="26" y="6"/>
                </a:cubicBezTo>
                <a:cubicBezTo>
                  <a:pt x="26" y="6"/>
                  <a:pt x="26" y="5"/>
                  <a:pt x="26" y="4"/>
                </a:cubicBezTo>
                <a:cubicBezTo>
                  <a:pt x="26" y="3"/>
                  <a:pt x="24" y="3"/>
                  <a:pt x="23" y="2"/>
                </a:cubicBezTo>
                <a:cubicBezTo>
                  <a:pt x="22" y="2"/>
                  <a:pt x="22" y="1"/>
                  <a:pt x="21" y="0"/>
                </a:cubicBezTo>
                <a:cubicBezTo>
                  <a:pt x="20" y="0"/>
                  <a:pt x="19" y="1"/>
                  <a:pt x="19" y="2"/>
                </a:cubicBezTo>
                <a:cubicBezTo>
                  <a:pt x="19" y="3"/>
                  <a:pt x="18" y="3"/>
                  <a:pt x="18" y="2"/>
                </a:cubicBezTo>
                <a:cubicBezTo>
                  <a:pt x="17" y="2"/>
                  <a:pt x="16" y="2"/>
                  <a:pt x="16" y="2"/>
                </a:cubicBezTo>
                <a:cubicBezTo>
                  <a:pt x="15" y="2"/>
                  <a:pt x="15" y="3"/>
                  <a:pt x="15" y="4"/>
                </a:cubicBezTo>
                <a:cubicBezTo>
                  <a:pt x="15" y="4"/>
                  <a:pt x="14" y="4"/>
                  <a:pt x="13" y="4"/>
                </a:cubicBezTo>
                <a:cubicBezTo>
                  <a:pt x="13" y="4"/>
                  <a:pt x="12" y="5"/>
                  <a:pt x="12" y="6"/>
                </a:cubicBezTo>
                <a:cubicBezTo>
                  <a:pt x="12" y="6"/>
                  <a:pt x="11" y="7"/>
                  <a:pt x="11" y="7"/>
                </a:cubicBezTo>
                <a:cubicBezTo>
                  <a:pt x="11" y="8"/>
                  <a:pt x="11" y="8"/>
                  <a:pt x="10" y="8"/>
                </a:cubicBezTo>
                <a:cubicBezTo>
                  <a:pt x="10" y="9"/>
                  <a:pt x="10" y="10"/>
                  <a:pt x="9" y="10"/>
                </a:cubicBezTo>
                <a:cubicBezTo>
                  <a:pt x="9" y="10"/>
                  <a:pt x="10" y="11"/>
                  <a:pt x="9" y="11"/>
                </a:cubicBezTo>
                <a:cubicBezTo>
                  <a:pt x="8" y="12"/>
                  <a:pt x="8" y="11"/>
                  <a:pt x="7" y="12"/>
                </a:cubicBezTo>
                <a:cubicBezTo>
                  <a:pt x="7" y="12"/>
                  <a:pt x="7" y="13"/>
                  <a:pt x="7" y="14"/>
                </a:cubicBezTo>
                <a:cubicBezTo>
                  <a:pt x="7" y="15"/>
                  <a:pt x="6" y="16"/>
                  <a:pt x="6" y="16"/>
                </a:cubicBezTo>
                <a:cubicBezTo>
                  <a:pt x="5" y="17"/>
                  <a:pt x="6" y="17"/>
                  <a:pt x="6" y="18"/>
                </a:cubicBezTo>
                <a:cubicBezTo>
                  <a:pt x="6" y="18"/>
                  <a:pt x="6" y="18"/>
                  <a:pt x="6" y="19"/>
                </a:cubicBezTo>
                <a:cubicBezTo>
                  <a:pt x="6" y="19"/>
                  <a:pt x="5" y="19"/>
                  <a:pt x="5" y="19"/>
                </a:cubicBezTo>
                <a:cubicBezTo>
                  <a:pt x="4" y="19"/>
                  <a:pt x="3" y="19"/>
                  <a:pt x="3" y="20"/>
                </a:cubicBezTo>
                <a:cubicBezTo>
                  <a:pt x="2" y="21"/>
                  <a:pt x="2" y="22"/>
                  <a:pt x="2" y="23"/>
                </a:cubicBezTo>
                <a:cubicBezTo>
                  <a:pt x="3" y="23"/>
                  <a:pt x="2" y="24"/>
                  <a:pt x="2" y="25"/>
                </a:cubicBezTo>
                <a:cubicBezTo>
                  <a:pt x="3" y="26"/>
                  <a:pt x="2" y="26"/>
                  <a:pt x="2" y="27"/>
                </a:cubicBezTo>
                <a:cubicBezTo>
                  <a:pt x="2" y="28"/>
                  <a:pt x="4" y="28"/>
                  <a:pt x="4" y="29"/>
                </a:cubicBezTo>
                <a:cubicBezTo>
                  <a:pt x="4" y="29"/>
                  <a:pt x="3" y="30"/>
                  <a:pt x="3" y="30"/>
                </a:cubicBezTo>
                <a:cubicBezTo>
                  <a:pt x="2" y="30"/>
                  <a:pt x="3" y="31"/>
                  <a:pt x="3" y="31"/>
                </a:cubicBezTo>
                <a:cubicBezTo>
                  <a:pt x="3" y="31"/>
                  <a:pt x="3" y="32"/>
                  <a:pt x="3" y="33"/>
                </a:cubicBezTo>
                <a:cubicBezTo>
                  <a:pt x="3" y="33"/>
                  <a:pt x="1" y="33"/>
                  <a:pt x="2" y="33"/>
                </a:cubicBezTo>
                <a:cubicBezTo>
                  <a:pt x="2" y="34"/>
                  <a:pt x="1" y="35"/>
                  <a:pt x="1" y="35"/>
                </a:cubicBezTo>
                <a:cubicBezTo>
                  <a:pt x="1" y="36"/>
                  <a:pt x="1" y="37"/>
                  <a:pt x="1" y="37"/>
                </a:cubicBezTo>
                <a:cubicBezTo>
                  <a:pt x="1" y="36"/>
                  <a:pt x="0" y="36"/>
                  <a:pt x="0" y="37"/>
                </a:cubicBezTo>
                <a:cubicBezTo>
                  <a:pt x="0" y="37"/>
                  <a:pt x="0" y="37"/>
                  <a:pt x="0" y="37"/>
                </a:cubicBezTo>
                <a:cubicBezTo>
                  <a:pt x="0" y="38"/>
                  <a:pt x="0" y="38"/>
                  <a:pt x="1" y="39"/>
                </a:cubicBezTo>
                <a:cubicBezTo>
                  <a:pt x="2" y="40"/>
                  <a:pt x="1" y="40"/>
                  <a:pt x="2" y="41"/>
                </a:cubicBezTo>
                <a:cubicBezTo>
                  <a:pt x="2" y="42"/>
                  <a:pt x="2" y="43"/>
                  <a:pt x="3" y="43"/>
                </a:cubicBezTo>
                <a:cubicBezTo>
                  <a:pt x="4" y="44"/>
                  <a:pt x="4" y="44"/>
                  <a:pt x="3" y="45"/>
                </a:cubicBezTo>
                <a:cubicBezTo>
                  <a:pt x="3" y="46"/>
                  <a:pt x="4" y="45"/>
                  <a:pt x="4" y="46"/>
                </a:cubicBezTo>
                <a:cubicBezTo>
                  <a:pt x="4" y="46"/>
                  <a:pt x="4" y="47"/>
                  <a:pt x="4" y="48"/>
                </a:cubicBezTo>
                <a:cubicBezTo>
                  <a:pt x="4" y="48"/>
                  <a:pt x="5" y="48"/>
                  <a:pt x="6" y="48"/>
                </a:cubicBezTo>
                <a:cubicBezTo>
                  <a:pt x="7" y="48"/>
                  <a:pt x="7" y="47"/>
                  <a:pt x="7" y="46"/>
                </a:cubicBezTo>
                <a:cubicBezTo>
                  <a:pt x="7" y="46"/>
                  <a:pt x="7" y="46"/>
                  <a:pt x="7" y="46"/>
                </a:cubicBezTo>
                <a:cubicBezTo>
                  <a:pt x="7" y="45"/>
                  <a:pt x="8" y="45"/>
                  <a:pt x="9" y="46"/>
                </a:cubicBezTo>
                <a:cubicBezTo>
                  <a:pt x="10" y="46"/>
                  <a:pt x="10" y="45"/>
                  <a:pt x="10" y="45"/>
                </a:cubicBezTo>
                <a:cubicBezTo>
                  <a:pt x="10" y="44"/>
                  <a:pt x="11" y="45"/>
                  <a:pt x="11" y="45"/>
                </a:cubicBezTo>
                <a:cubicBezTo>
                  <a:pt x="11" y="45"/>
                  <a:pt x="12" y="44"/>
                  <a:pt x="12" y="43"/>
                </a:cubicBezTo>
                <a:cubicBezTo>
                  <a:pt x="13" y="42"/>
                  <a:pt x="12" y="42"/>
                  <a:pt x="12" y="43"/>
                </a:cubicBezTo>
                <a:cubicBezTo>
                  <a:pt x="11" y="44"/>
                  <a:pt x="11" y="42"/>
                  <a:pt x="12" y="41"/>
                </a:cubicBezTo>
                <a:cubicBezTo>
                  <a:pt x="12" y="41"/>
                  <a:pt x="12" y="39"/>
                  <a:pt x="12" y="38"/>
                </a:cubicBezTo>
                <a:cubicBezTo>
                  <a:pt x="12" y="38"/>
                  <a:pt x="12" y="37"/>
                  <a:pt x="13" y="37"/>
                </a:cubicBezTo>
                <a:cubicBezTo>
                  <a:pt x="14" y="37"/>
                  <a:pt x="15" y="35"/>
                  <a:pt x="15" y="35"/>
                </a:cubicBezTo>
                <a:cubicBezTo>
                  <a:pt x="15" y="35"/>
                  <a:pt x="16" y="34"/>
                  <a:pt x="16" y="33"/>
                </a:cubicBezTo>
                <a:cubicBezTo>
                  <a:pt x="16" y="33"/>
                  <a:pt x="15" y="31"/>
                  <a:pt x="14" y="31"/>
                </a:cubicBezTo>
                <a:cubicBezTo>
                  <a:pt x="14" y="31"/>
                  <a:pt x="13" y="31"/>
                  <a:pt x="13" y="30"/>
                </a:cubicBezTo>
                <a:cubicBezTo>
                  <a:pt x="13" y="30"/>
                  <a:pt x="13" y="29"/>
                  <a:pt x="13" y="28"/>
                </a:cubicBezTo>
                <a:cubicBezTo>
                  <a:pt x="12" y="27"/>
                  <a:pt x="13" y="27"/>
                  <a:pt x="13" y="26"/>
                </a:cubicBezTo>
                <a:cubicBezTo>
                  <a:pt x="13" y="25"/>
                  <a:pt x="13" y="24"/>
                  <a:pt x="14" y="24"/>
                </a:cubicBezTo>
                <a:cubicBezTo>
                  <a:pt x="15" y="24"/>
                  <a:pt x="14" y="23"/>
                  <a:pt x="15" y="23"/>
                </a:cubicBezTo>
                <a:cubicBezTo>
                  <a:pt x="16" y="23"/>
                  <a:pt x="16" y="22"/>
                  <a:pt x="17" y="21"/>
                </a:cubicBezTo>
                <a:cubicBezTo>
                  <a:pt x="17" y="21"/>
                  <a:pt x="17" y="21"/>
                  <a:pt x="19" y="20"/>
                </a:cubicBezTo>
                <a:cubicBezTo>
                  <a:pt x="20" y="20"/>
                  <a:pt x="22" y="18"/>
                  <a:pt x="22" y="18"/>
                </a:cubicBezTo>
                <a:cubicBezTo>
                  <a:pt x="22" y="17"/>
                  <a:pt x="21" y="16"/>
                  <a:pt x="22" y="15"/>
                </a:cubicBezTo>
                <a:cubicBezTo>
                  <a:pt x="23" y="15"/>
                  <a:pt x="22" y="14"/>
                  <a:pt x="23" y="14"/>
                </a:cubicBezTo>
                <a:cubicBezTo>
                  <a:pt x="23" y="13"/>
                  <a:pt x="24" y="13"/>
                  <a:pt x="24" y="13"/>
                </a:cubicBezTo>
                <a:cubicBezTo>
                  <a:pt x="25" y="12"/>
                  <a:pt x="25" y="13"/>
                  <a:pt x="26" y="12"/>
                </a:cubicBezTo>
                <a:cubicBezTo>
                  <a:pt x="27" y="12"/>
                  <a:pt x="27" y="12"/>
                  <a:pt x="28" y="12"/>
                </a:cubicBezTo>
                <a:cubicBezTo>
                  <a:pt x="28" y="12"/>
                  <a:pt x="27" y="11"/>
                  <a:pt x="27" y="11"/>
                </a:cubicBezTo>
                <a:moveTo>
                  <a:pt x="16" y="40"/>
                </a:moveTo>
                <a:cubicBezTo>
                  <a:pt x="15" y="40"/>
                  <a:pt x="14" y="43"/>
                  <a:pt x="15" y="43"/>
                </a:cubicBezTo>
                <a:cubicBezTo>
                  <a:pt x="15" y="43"/>
                  <a:pt x="17" y="40"/>
                  <a:pt x="16"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371"/>
          <p:cNvSpPr>
            <a:spLocks noEditPoints="1"/>
          </p:cNvSpPr>
          <p:nvPr/>
        </p:nvSpPr>
        <p:spPr bwMode="auto">
          <a:xfrm>
            <a:off x="2433906" y="2546106"/>
            <a:ext cx="64347" cy="35748"/>
          </a:xfrm>
          <a:custGeom>
            <a:avLst/>
            <a:gdLst>
              <a:gd name="T0" fmla="*/ 13 w 14"/>
              <a:gd name="T1" fmla="*/ 2 h 7"/>
              <a:gd name="T2" fmla="*/ 13 w 14"/>
              <a:gd name="T3" fmla="*/ 0 h 7"/>
              <a:gd name="T4" fmla="*/ 13 w 14"/>
              <a:gd name="T5" fmla="*/ 1 h 7"/>
              <a:gd name="T6" fmla="*/ 8 w 14"/>
              <a:gd name="T7" fmla="*/ 0 h 7"/>
              <a:gd name="T8" fmla="*/ 4 w 14"/>
              <a:gd name="T9" fmla="*/ 1 h 7"/>
              <a:gd name="T10" fmla="*/ 3 w 14"/>
              <a:gd name="T11" fmla="*/ 2 h 7"/>
              <a:gd name="T12" fmla="*/ 3 w 14"/>
              <a:gd name="T13" fmla="*/ 4 h 7"/>
              <a:gd name="T14" fmla="*/ 5 w 14"/>
              <a:gd name="T15" fmla="*/ 4 h 7"/>
              <a:gd name="T16" fmla="*/ 5 w 14"/>
              <a:gd name="T17" fmla="*/ 5 h 7"/>
              <a:gd name="T18" fmla="*/ 5 w 14"/>
              <a:gd name="T19" fmla="*/ 5 h 7"/>
              <a:gd name="T20" fmla="*/ 8 w 14"/>
              <a:gd name="T21" fmla="*/ 5 h 7"/>
              <a:gd name="T22" fmla="*/ 10 w 14"/>
              <a:gd name="T23" fmla="*/ 7 h 7"/>
              <a:gd name="T24" fmla="*/ 12 w 14"/>
              <a:gd name="T25" fmla="*/ 7 h 7"/>
              <a:gd name="T26" fmla="*/ 12 w 14"/>
              <a:gd name="T27" fmla="*/ 6 h 7"/>
              <a:gd name="T28" fmla="*/ 13 w 14"/>
              <a:gd name="T29" fmla="*/ 5 h 7"/>
              <a:gd name="T30" fmla="*/ 12 w 14"/>
              <a:gd name="T31" fmla="*/ 4 h 7"/>
              <a:gd name="T32" fmla="*/ 12 w 14"/>
              <a:gd name="T33" fmla="*/ 3 h 7"/>
              <a:gd name="T34" fmla="*/ 13 w 14"/>
              <a:gd name="T35" fmla="*/ 2 h 7"/>
              <a:gd name="T36" fmla="*/ 1 w 14"/>
              <a:gd name="T37" fmla="*/ 3 h 7"/>
              <a:gd name="T38" fmla="*/ 0 w 14"/>
              <a:gd name="T39" fmla="*/ 5 h 7"/>
              <a:gd name="T40" fmla="*/ 2 w 14"/>
              <a:gd name="T41" fmla="*/ 4 h 7"/>
              <a:gd name="T42" fmla="*/ 1 w 14"/>
              <a:gd name="T43" fmla="*/ 3 h 7"/>
              <a:gd name="T44" fmla="*/ 2 w 14"/>
              <a:gd name="T45" fmla="*/ 3 h 7"/>
              <a:gd name="T46" fmla="*/ 1 w 14"/>
              <a:gd name="T47" fmla="*/ 3 h 7"/>
              <a:gd name="T48" fmla="*/ 2 w 14"/>
              <a:gd name="T4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7">
                <a:moveTo>
                  <a:pt x="13" y="2"/>
                </a:moveTo>
                <a:cubicBezTo>
                  <a:pt x="13" y="1"/>
                  <a:pt x="14" y="1"/>
                  <a:pt x="13" y="0"/>
                </a:cubicBezTo>
                <a:cubicBezTo>
                  <a:pt x="13" y="1"/>
                  <a:pt x="13" y="1"/>
                  <a:pt x="13" y="1"/>
                </a:cubicBezTo>
                <a:cubicBezTo>
                  <a:pt x="12" y="1"/>
                  <a:pt x="10" y="0"/>
                  <a:pt x="8" y="0"/>
                </a:cubicBezTo>
                <a:cubicBezTo>
                  <a:pt x="7" y="0"/>
                  <a:pt x="5" y="0"/>
                  <a:pt x="4" y="1"/>
                </a:cubicBezTo>
                <a:cubicBezTo>
                  <a:pt x="4" y="2"/>
                  <a:pt x="2" y="2"/>
                  <a:pt x="3" y="2"/>
                </a:cubicBezTo>
                <a:cubicBezTo>
                  <a:pt x="4" y="3"/>
                  <a:pt x="3" y="3"/>
                  <a:pt x="3" y="4"/>
                </a:cubicBezTo>
                <a:cubicBezTo>
                  <a:pt x="4" y="4"/>
                  <a:pt x="4" y="5"/>
                  <a:pt x="5" y="4"/>
                </a:cubicBezTo>
                <a:cubicBezTo>
                  <a:pt x="5" y="4"/>
                  <a:pt x="6" y="5"/>
                  <a:pt x="5" y="5"/>
                </a:cubicBezTo>
                <a:cubicBezTo>
                  <a:pt x="5" y="5"/>
                  <a:pt x="5" y="5"/>
                  <a:pt x="5" y="5"/>
                </a:cubicBezTo>
                <a:cubicBezTo>
                  <a:pt x="6" y="5"/>
                  <a:pt x="7" y="5"/>
                  <a:pt x="8" y="5"/>
                </a:cubicBezTo>
                <a:cubicBezTo>
                  <a:pt x="8" y="6"/>
                  <a:pt x="9" y="7"/>
                  <a:pt x="10" y="7"/>
                </a:cubicBezTo>
                <a:cubicBezTo>
                  <a:pt x="10" y="7"/>
                  <a:pt x="11" y="7"/>
                  <a:pt x="12" y="7"/>
                </a:cubicBezTo>
                <a:cubicBezTo>
                  <a:pt x="12" y="7"/>
                  <a:pt x="12" y="6"/>
                  <a:pt x="12" y="6"/>
                </a:cubicBezTo>
                <a:cubicBezTo>
                  <a:pt x="12" y="6"/>
                  <a:pt x="13" y="6"/>
                  <a:pt x="13" y="5"/>
                </a:cubicBezTo>
                <a:cubicBezTo>
                  <a:pt x="12" y="5"/>
                  <a:pt x="12" y="5"/>
                  <a:pt x="12" y="4"/>
                </a:cubicBezTo>
                <a:cubicBezTo>
                  <a:pt x="12" y="4"/>
                  <a:pt x="12" y="3"/>
                  <a:pt x="12" y="3"/>
                </a:cubicBezTo>
                <a:cubicBezTo>
                  <a:pt x="12" y="3"/>
                  <a:pt x="12" y="3"/>
                  <a:pt x="13" y="2"/>
                </a:cubicBezTo>
                <a:moveTo>
                  <a:pt x="1" y="3"/>
                </a:moveTo>
                <a:cubicBezTo>
                  <a:pt x="0" y="4"/>
                  <a:pt x="0" y="5"/>
                  <a:pt x="0" y="5"/>
                </a:cubicBezTo>
                <a:cubicBezTo>
                  <a:pt x="1" y="5"/>
                  <a:pt x="2" y="4"/>
                  <a:pt x="2" y="4"/>
                </a:cubicBezTo>
                <a:cubicBezTo>
                  <a:pt x="3" y="4"/>
                  <a:pt x="2" y="3"/>
                  <a:pt x="1" y="3"/>
                </a:cubicBezTo>
                <a:moveTo>
                  <a:pt x="2" y="3"/>
                </a:moveTo>
                <a:cubicBezTo>
                  <a:pt x="2" y="2"/>
                  <a:pt x="0" y="2"/>
                  <a:pt x="1" y="3"/>
                </a:cubicBezTo>
                <a:cubicBezTo>
                  <a:pt x="1" y="3"/>
                  <a:pt x="2"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372"/>
          <p:cNvSpPr>
            <a:spLocks/>
          </p:cNvSpPr>
          <p:nvPr/>
        </p:nvSpPr>
        <p:spPr bwMode="auto">
          <a:xfrm>
            <a:off x="2551876" y="3228902"/>
            <a:ext cx="89371" cy="103671"/>
          </a:xfrm>
          <a:custGeom>
            <a:avLst/>
            <a:gdLst>
              <a:gd name="T0" fmla="*/ 16 w 18"/>
              <a:gd name="T1" fmla="*/ 5 h 22"/>
              <a:gd name="T2" fmla="*/ 17 w 18"/>
              <a:gd name="T3" fmla="*/ 3 h 22"/>
              <a:gd name="T4" fmla="*/ 18 w 18"/>
              <a:gd name="T5" fmla="*/ 2 h 22"/>
              <a:gd name="T6" fmla="*/ 17 w 18"/>
              <a:gd name="T7" fmla="*/ 2 h 22"/>
              <a:gd name="T8" fmla="*/ 16 w 18"/>
              <a:gd name="T9" fmla="*/ 2 h 22"/>
              <a:gd name="T10" fmla="*/ 14 w 18"/>
              <a:gd name="T11" fmla="*/ 2 h 22"/>
              <a:gd name="T12" fmla="*/ 13 w 18"/>
              <a:gd name="T13" fmla="*/ 3 h 22"/>
              <a:gd name="T14" fmla="*/ 10 w 18"/>
              <a:gd name="T15" fmla="*/ 3 h 22"/>
              <a:gd name="T16" fmla="*/ 7 w 18"/>
              <a:gd name="T17" fmla="*/ 1 h 22"/>
              <a:gd name="T18" fmla="*/ 5 w 18"/>
              <a:gd name="T19" fmla="*/ 1 h 22"/>
              <a:gd name="T20" fmla="*/ 4 w 18"/>
              <a:gd name="T21" fmla="*/ 0 h 22"/>
              <a:gd name="T22" fmla="*/ 3 w 18"/>
              <a:gd name="T23" fmla="*/ 0 h 22"/>
              <a:gd name="T24" fmla="*/ 1 w 18"/>
              <a:gd name="T25" fmla="*/ 1 h 22"/>
              <a:gd name="T26" fmla="*/ 1 w 18"/>
              <a:gd name="T27" fmla="*/ 2 h 22"/>
              <a:gd name="T28" fmla="*/ 2 w 18"/>
              <a:gd name="T29" fmla="*/ 2 h 22"/>
              <a:gd name="T30" fmla="*/ 2 w 18"/>
              <a:gd name="T31" fmla="*/ 4 h 22"/>
              <a:gd name="T32" fmla="*/ 3 w 18"/>
              <a:gd name="T33" fmla="*/ 5 h 22"/>
              <a:gd name="T34" fmla="*/ 3 w 18"/>
              <a:gd name="T35" fmla="*/ 7 h 22"/>
              <a:gd name="T36" fmla="*/ 1 w 18"/>
              <a:gd name="T37" fmla="*/ 9 h 22"/>
              <a:gd name="T38" fmla="*/ 0 w 18"/>
              <a:gd name="T39" fmla="*/ 11 h 22"/>
              <a:gd name="T40" fmla="*/ 2 w 18"/>
              <a:gd name="T41" fmla="*/ 11 h 22"/>
              <a:gd name="T42" fmla="*/ 0 w 18"/>
              <a:gd name="T43" fmla="*/ 13 h 22"/>
              <a:gd name="T44" fmla="*/ 0 w 18"/>
              <a:gd name="T45" fmla="*/ 13 h 22"/>
              <a:gd name="T46" fmla="*/ 9 w 18"/>
              <a:gd name="T47" fmla="*/ 18 h 22"/>
              <a:gd name="T48" fmla="*/ 9 w 18"/>
              <a:gd name="T49" fmla="*/ 19 h 22"/>
              <a:gd name="T50" fmla="*/ 12 w 18"/>
              <a:gd name="T51" fmla="*/ 22 h 22"/>
              <a:gd name="T52" fmla="*/ 14 w 18"/>
              <a:gd name="T53" fmla="*/ 17 h 22"/>
              <a:gd name="T54" fmla="*/ 16 w 18"/>
              <a:gd name="T55" fmla="*/ 16 h 22"/>
              <a:gd name="T56" fmla="*/ 17 w 18"/>
              <a:gd name="T57" fmla="*/ 15 h 22"/>
              <a:gd name="T58" fmla="*/ 17 w 18"/>
              <a:gd name="T59" fmla="*/ 14 h 22"/>
              <a:gd name="T60" fmla="*/ 16 w 18"/>
              <a:gd name="T61" fmla="*/ 13 h 22"/>
              <a:gd name="T62" fmla="*/ 16 w 18"/>
              <a:gd name="T63"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2">
                <a:moveTo>
                  <a:pt x="16" y="5"/>
                </a:moveTo>
                <a:cubicBezTo>
                  <a:pt x="17" y="3"/>
                  <a:pt x="17" y="3"/>
                  <a:pt x="17" y="3"/>
                </a:cubicBezTo>
                <a:cubicBezTo>
                  <a:pt x="18" y="2"/>
                  <a:pt x="18" y="2"/>
                  <a:pt x="18" y="2"/>
                </a:cubicBezTo>
                <a:cubicBezTo>
                  <a:pt x="18" y="2"/>
                  <a:pt x="17" y="2"/>
                  <a:pt x="17" y="2"/>
                </a:cubicBezTo>
                <a:cubicBezTo>
                  <a:pt x="17" y="2"/>
                  <a:pt x="16" y="2"/>
                  <a:pt x="16" y="2"/>
                </a:cubicBezTo>
                <a:cubicBezTo>
                  <a:pt x="16" y="1"/>
                  <a:pt x="15" y="2"/>
                  <a:pt x="14" y="2"/>
                </a:cubicBezTo>
                <a:cubicBezTo>
                  <a:pt x="13" y="2"/>
                  <a:pt x="13" y="3"/>
                  <a:pt x="13" y="3"/>
                </a:cubicBezTo>
                <a:cubicBezTo>
                  <a:pt x="12" y="3"/>
                  <a:pt x="10" y="3"/>
                  <a:pt x="10" y="3"/>
                </a:cubicBezTo>
                <a:cubicBezTo>
                  <a:pt x="9" y="3"/>
                  <a:pt x="8" y="2"/>
                  <a:pt x="7" y="1"/>
                </a:cubicBezTo>
                <a:cubicBezTo>
                  <a:pt x="7" y="1"/>
                  <a:pt x="6" y="1"/>
                  <a:pt x="5" y="1"/>
                </a:cubicBezTo>
                <a:cubicBezTo>
                  <a:pt x="5" y="1"/>
                  <a:pt x="4" y="0"/>
                  <a:pt x="4" y="0"/>
                </a:cubicBezTo>
                <a:cubicBezTo>
                  <a:pt x="4" y="0"/>
                  <a:pt x="3" y="0"/>
                  <a:pt x="3" y="0"/>
                </a:cubicBezTo>
                <a:cubicBezTo>
                  <a:pt x="2" y="0"/>
                  <a:pt x="1" y="1"/>
                  <a:pt x="1" y="1"/>
                </a:cubicBezTo>
                <a:cubicBezTo>
                  <a:pt x="1" y="1"/>
                  <a:pt x="1" y="1"/>
                  <a:pt x="1" y="2"/>
                </a:cubicBezTo>
                <a:cubicBezTo>
                  <a:pt x="2" y="2"/>
                  <a:pt x="2" y="2"/>
                  <a:pt x="2" y="2"/>
                </a:cubicBezTo>
                <a:cubicBezTo>
                  <a:pt x="2" y="4"/>
                  <a:pt x="2" y="4"/>
                  <a:pt x="2" y="4"/>
                </a:cubicBezTo>
                <a:cubicBezTo>
                  <a:pt x="3" y="5"/>
                  <a:pt x="3" y="5"/>
                  <a:pt x="3" y="5"/>
                </a:cubicBezTo>
                <a:cubicBezTo>
                  <a:pt x="3" y="5"/>
                  <a:pt x="3" y="6"/>
                  <a:pt x="3" y="7"/>
                </a:cubicBezTo>
                <a:cubicBezTo>
                  <a:pt x="2" y="8"/>
                  <a:pt x="2" y="9"/>
                  <a:pt x="1" y="9"/>
                </a:cubicBezTo>
                <a:cubicBezTo>
                  <a:pt x="1" y="9"/>
                  <a:pt x="1" y="10"/>
                  <a:pt x="0" y="11"/>
                </a:cubicBezTo>
                <a:cubicBezTo>
                  <a:pt x="1" y="11"/>
                  <a:pt x="2" y="11"/>
                  <a:pt x="2" y="11"/>
                </a:cubicBezTo>
                <a:cubicBezTo>
                  <a:pt x="2" y="12"/>
                  <a:pt x="0" y="12"/>
                  <a:pt x="0" y="13"/>
                </a:cubicBezTo>
                <a:cubicBezTo>
                  <a:pt x="0" y="13"/>
                  <a:pt x="0" y="13"/>
                  <a:pt x="0" y="13"/>
                </a:cubicBezTo>
                <a:cubicBezTo>
                  <a:pt x="9" y="18"/>
                  <a:pt x="9" y="18"/>
                  <a:pt x="9" y="18"/>
                </a:cubicBezTo>
                <a:cubicBezTo>
                  <a:pt x="9" y="19"/>
                  <a:pt x="9" y="19"/>
                  <a:pt x="9" y="19"/>
                </a:cubicBezTo>
                <a:cubicBezTo>
                  <a:pt x="9" y="19"/>
                  <a:pt x="10" y="20"/>
                  <a:pt x="12" y="22"/>
                </a:cubicBezTo>
                <a:cubicBezTo>
                  <a:pt x="13" y="19"/>
                  <a:pt x="14" y="17"/>
                  <a:pt x="14" y="17"/>
                </a:cubicBezTo>
                <a:cubicBezTo>
                  <a:pt x="15" y="16"/>
                  <a:pt x="15" y="16"/>
                  <a:pt x="16" y="16"/>
                </a:cubicBezTo>
                <a:cubicBezTo>
                  <a:pt x="16" y="15"/>
                  <a:pt x="16" y="16"/>
                  <a:pt x="17" y="15"/>
                </a:cubicBezTo>
                <a:cubicBezTo>
                  <a:pt x="17" y="15"/>
                  <a:pt x="17" y="15"/>
                  <a:pt x="17" y="14"/>
                </a:cubicBezTo>
                <a:cubicBezTo>
                  <a:pt x="16" y="13"/>
                  <a:pt x="16" y="13"/>
                  <a:pt x="16" y="13"/>
                </a:cubicBezTo>
                <a:lnTo>
                  <a:pt x="16"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373"/>
          <p:cNvSpPr>
            <a:spLocks/>
          </p:cNvSpPr>
          <p:nvPr/>
        </p:nvSpPr>
        <p:spPr bwMode="auto">
          <a:xfrm>
            <a:off x="2508978" y="3236051"/>
            <a:ext cx="57198" cy="57198"/>
          </a:xfrm>
          <a:custGeom>
            <a:avLst/>
            <a:gdLst>
              <a:gd name="T0" fmla="*/ 11 w 12"/>
              <a:gd name="T1" fmla="*/ 2 h 12"/>
              <a:gd name="T2" fmla="*/ 11 w 12"/>
              <a:gd name="T3" fmla="*/ 0 h 12"/>
              <a:gd name="T4" fmla="*/ 10 w 12"/>
              <a:gd name="T5" fmla="*/ 0 h 12"/>
              <a:gd name="T6" fmla="*/ 9 w 12"/>
              <a:gd name="T7" fmla="*/ 0 h 12"/>
              <a:gd name="T8" fmla="*/ 7 w 12"/>
              <a:gd name="T9" fmla="*/ 0 h 12"/>
              <a:gd name="T10" fmla="*/ 6 w 12"/>
              <a:gd name="T11" fmla="*/ 1 h 12"/>
              <a:gd name="T12" fmla="*/ 4 w 12"/>
              <a:gd name="T13" fmla="*/ 0 h 12"/>
              <a:gd name="T14" fmla="*/ 3 w 12"/>
              <a:gd name="T15" fmla="*/ 1 h 12"/>
              <a:gd name="T16" fmla="*/ 3 w 12"/>
              <a:gd name="T17" fmla="*/ 3 h 12"/>
              <a:gd name="T18" fmla="*/ 3 w 12"/>
              <a:gd name="T19" fmla="*/ 4 h 12"/>
              <a:gd name="T20" fmla="*/ 3 w 12"/>
              <a:gd name="T21" fmla="*/ 5 h 12"/>
              <a:gd name="T22" fmla="*/ 2 w 12"/>
              <a:gd name="T23" fmla="*/ 6 h 12"/>
              <a:gd name="T24" fmla="*/ 1 w 12"/>
              <a:gd name="T25" fmla="*/ 7 h 12"/>
              <a:gd name="T26" fmla="*/ 0 w 12"/>
              <a:gd name="T27" fmla="*/ 8 h 12"/>
              <a:gd name="T28" fmla="*/ 0 w 12"/>
              <a:gd name="T29" fmla="*/ 10 h 12"/>
              <a:gd name="T30" fmla="*/ 0 w 12"/>
              <a:gd name="T31" fmla="*/ 12 h 12"/>
              <a:gd name="T32" fmla="*/ 1 w 12"/>
              <a:gd name="T33" fmla="*/ 12 h 12"/>
              <a:gd name="T34" fmla="*/ 3 w 12"/>
              <a:gd name="T35" fmla="*/ 11 h 12"/>
              <a:gd name="T36" fmla="*/ 5 w 12"/>
              <a:gd name="T37" fmla="*/ 11 h 12"/>
              <a:gd name="T38" fmla="*/ 6 w 12"/>
              <a:gd name="T39" fmla="*/ 9 h 12"/>
              <a:gd name="T40" fmla="*/ 9 w 12"/>
              <a:gd name="T41" fmla="*/ 9 h 12"/>
              <a:gd name="T42" fmla="*/ 10 w 12"/>
              <a:gd name="T43" fmla="*/ 7 h 12"/>
              <a:gd name="T44" fmla="*/ 12 w 12"/>
              <a:gd name="T45" fmla="*/ 5 h 12"/>
              <a:gd name="T46" fmla="*/ 12 w 12"/>
              <a:gd name="T47" fmla="*/ 3 h 12"/>
              <a:gd name="T48" fmla="*/ 11 w 12"/>
              <a:gd name="T4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2">
                <a:moveTo>
                  <a:pt x="11" y="2"/>
                </a:moveTo>
                <a:cubicBezTo>
                  <a:pt x="11" y="0"/>
                  <a:pt x="11" y="0"/>
                  <a:pt x="11" y="0"/>
                </a:cubicBezTo>
                <a:cubicBezTo>
                  <a:pt x="10" y="0"/>
                  <a:pt x="10" y="0"/>
                  <a:pt x="10" y="0"/>
                </a:cubicBezTo>
                <a:cubicBezTo>
                  <a:pt x="9" y="0"/>
                  <a:pt x="9" y="0"/>
                  <a:pt x="9" y="0"/>
                </a:cubicBezTo>
                <a:cubicBezTo>
                  <a:pt x="9" y="1"/>
                  <a:pt x="8" y="1"/>
                  <a:pt x="7" y="0"/>
                </a:cubicBezTo>
                <a:cubicBezTo>
                  <a:pt x="7" y="0"/>
                  <a:pt x="6" y="1"/>
                  <a:pt x="6" y="1"/>
                </a:cubicBezTo>
                <a:cubicBezTo>
                  <a:pt x="6" y="1"/>
                  <a:pt x="5" y="0"/>
                  <a:pt x="4" y="0"/>
                </a:cubicBezTo>
                <a:cubicBezTo>
                  <a:pt x="4" y="0"/>
                  <a:pt x="3" y="1"/>
                  <a:pt x="3" y="1"/>
                </a:cubicBezTo>
                <a:cubicBezTo>
                  <a:pt x="3" y="1"/>
                  <a:pt x="3" y="2"/>
                  <a:pt x="3" y="3"/>
                </a:cubicBezTo>
                <a:cubicBezTo>
                  <a:pt x="3" y="3"/>
                  <a:pt x="3" y="3"/>
                  <a:pt x="3" y="4"/>
                </a:cubicBezTo>
                <a:cubicBezTo>
                  <a:pt x="3" y="4"/>
                  <a:pt x="3" y="5"/>
                  <a:pt x="3" y="5"/>
                </a:cubicBezTo>
                <a:cubicBezTo>
                  <a:pt x="3" y="5"/>
                  <a:pt x="2" y="6"/>
                  <a:pt x="2" y="6"/>
                </a:cubicBezTo>
                <a:cubicBezTo>
                  <a:pt x="1" y="6"/>
                  <a:pt x="1" y="7"/>
                  <a:pt x="1" y="7"/>
                </a:cubicBezTo>
                <a:cubicBezTo>
                  <a:pt x="0" y="7"/>
                  <a:pt x="1" y="8"/>
                  <a:pt x="0" y="8"/>
                </a:cubicBezTo>
                <a:cubicBezTo>
                  <a:pt x="0" y="9"/>
                  <a:pt x="0" y="10"/>
                  <a:pt x="0" y="10"/>
                </a:cubicBezTo>
                <a:cubicBezTo>
                  <a:pt x="0" y="11"/>
                  <a:pt x="0" y="12"/>
                  <a:pt x="0" y="12"/>
                </a:cubicBezTo>
                <a:cubicBezTo>
                  <a:pt x="0" y="12"/>
                  <a:pt x="0" y="12"/>
                  <a:pt x="1" y="12"/>
                </a:cubicBezTo>
                <a:cubicBezTo>
                  <a:pt x="1" y="12"/>
                  <a:pt x="3" y="11"/>
                  <a:pt x="3" y="11"/>
                </a:cubicBezTo>
                <a:cubicBezTo>
                  <a:pt x="5" y="11"/>
                  <a:pt x="5" y="11"/>
                  <a:pt x="5" y="11"/>
                </a:cubicBezTo>
                <a:cubicBezTo>
                  <a:pt x="5" y="10"/>
                  <a:pt x="6" y="9"/>
                  <a:pt x="6" y="9"/>
                </a:cubicBezTo>
                <a:cubicBezTo>
                  <a:pt x="7" y="8"/>
                  <a:pt x="9" y="8"/>
                  <a:pt x="9" y="9"/>
                </a:cubicBezTo>
                <a:cubicBezTo>
                  <a:pt x="10" y="8"/>
                  <a:pt x="10" y="7"/>
                  <a:pt x="10" y="7"/>
                </a:cubicBezTo>
                <a:cubicBezTo>
                  <a:pt x="11" y="7"/>
                  <a:pt x="11" y="6"/>
                  <a:pt x="12" y="5"/>
                </a:cubicBezTo>
                <a:cubicBezTo>
                  <a:pt x="12" y="4"/>
                  <a:pt x="12" y="3"/>
                  <a:pt x="12" y="3"/>
                </a:cubicBezTo>
                <a:lnTo>
                  <a:pt x="11"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374"/>
          <p:cNvSpPr>
            <a:spLocks/>
          </p:cNvSpPr>
          <p:nvPr/>
        </p:nvSpPr>
        <p:spPr bwMode="auto">
          <a:xfrm>
            <a:off x="2794966" y="2753447"/>
            <a:ext cx="185892" cy="110820"/>
          </a:xfrm>
          <a:custGeom>
            <a:avLst/>
            <a:gdLst>
              <a:gd name="T0" fmla="*/ 38 w 39"/>
              <a:gd name="T1" fmla="*/ 13 h 23"/>
              <a:gd name="T2" fmla="*/ 35 w 39"/>
              <a:gd name="T3" fmla="*/ 11 h 23"/>
              <a:gd name="T4" fmla="*/ 33 w 39"/>
              <a:gd name="T5" fmla="*/ 11 h 23"/>
              <a:gd name="T6" fmla="*/ 31 w 39"/>
              <a:gd name="T7" fmla="*/ 11 h 23"/>
              <a:gd name="T8" fmla="*/ 29 w 39"/>
              <a:gd name="T9" fmla="*/ 13 h 23"/>
              <a:gd name="T10" fmla="*/ 28 w 39"/>
              <a:gd name="T11" fmla="*/ 13 h 23"/>
              <a:gd name="T12" fmla="*/ 26 w 39"/>
              <a:gd name="T13" fmla="*/ 12 h 23"/>
              <a:gd name="T14" fmla="*/ 24 w 39"/>
              <a:gd name="T15" fmla="*/ 11 h 23"/>
              <a:gd name="T16" fmla="*/ 23 w 39"/>
              <a:gd name="T17" fmla="*/ 9 h 23"/>
              <a:gd name="T18" fmla="*/ 22 w 39"/>
              <a:gd name="T19" fmla="*/ 7 h 23"/>
              <a:gd name="T20" fmla="*/ 21 w 39"/>
              <a:gd name="T21" fmla="*/ 6 h 23"/>
              <a:gd name="T22" fmla="*/ 16 w 39"/>
              <a:gd name="T23" fmla="*/ 5 h 23"/>
              <a:gd name="T24" fmla="*/ 13 w 39"/>
              <a:gd name="T25" fmla="*/ 6 h 23"/>
              <a:gd name="T26" fmla="*/ 11 w 39"/>
              <a:gd name="T27" fmla="*/ 3 h 23"/>
              <a:gd name="T28" fmla="*/ 10 w 39"/>
              <a:gd name="T29" fmla="*/ 4 h 23"/>
              <a:gd name="T30" fmla="*/ 7 w 39"/>
              <a:gd name="T31" fmla="*/ 3 h 23"/>
              <a:gd name="T32" fmla="*/ 7 w 39"/>
              <a:gd name="T33" fmla="*/ 0 h 23"/>
              <a:gd name="T34" fmla="*/ 6 w 39"/>
              <a:gd name="T35" fmla="*/ 3 h 23"/>
              <a:gd name="T36" fmla="*/ 6 w 39"/>
              <a:gd name="T37" fmla="*/ 0 h 23"/>
              <a:gd name="T38" fmla="*/ 0 w 39"/>
              <a:gd name="T39" fmla="*/ 1 h 23"/>
              <a:gd name="T40" fmla="*/ 0 w 39"/>
              <a:gd name="T41" fmla="*/ 11 h 23"/>
              <a:gd name="T42" fmla="*/ 0 w 39"/>
              <a:gd name="T43" fmla="*/ 11 h 23"/>
              <a:gd name="T44" fmla="*/ 2 w 39"/>
              <a:gd name="T45" fmla="*/ 12 h 23"/>
              <a:gd name="T46" fmla="*/ 2 w 39"/>
              <a:gd name="T47" fmla="*/ 10 h 23"/>
              <a:gd name="T48" fmla="*/ 4 w 39"/>
              <a:gd name="T49" fmla="*/ 9 h 23"/>
              <a:gd name="T50" fmla="*/ 5 w 39"/>
              <a:gd name="T51" fmla="*/ 8 h 23"/>
              <a:gd name="T52" fmla="*/ 6 w 39"/>
              <a:gd name="T53" fmla="*/ 8 h 23"/>
              <a:gd name="T54" fmla="*/ 7 w 39"/>
              <a:gd name="T55" fmla="*/ 8 h 23"/>
              <a:gd name="T56" fmla="*/ 9 w 39"/>
              <a:gd name="T57" fmla="*/ 9 h 23"/>
              <a:gd name="T58" fmla="*/ 10 w 39"/>
              <a:gd name="T59" fmla="*/ 11 h 23"/>
              <a:gd name="T60" fmla="*/ 13 w 39"/>
              <a:gd name="T61" fmla="*/ 12 h 23"/>
              <a:gd name="T62" fmla="*/ 14 w 39"/>
              <a:gd name="T63" fmla="*/ 13 h 23"/>
              <a:gd name="T64" fmla="*/ 15 w 39"/>
              <a:gd name="T65" fmla="*/ 15 h 23"/>
              <a:gd name="T66" fmla="*/ 17 w 39"/>
              <a:gd name="T67" fmla="*/ 17 h 23"/>
              <a:gd name="T68" fmla="*/ 20 w 39"/>
              <a:gd name="T69" fmla="*/ 18 h 23"/>
              <a:gd name="T70" fmla="*/ 22 w 39"/>
              <a:gd name="T71" fmla="*/ 20 h 23"/>
              <a:gd name="T72" fmla="*/ 24 w 39"/>
              <a:gd name="T73" fmla="*/ 20 h 23"/>
              <a:gd name="T74" fmla="*/ 24 w 39"/>
              <a:gd name="T75" fmla="*/ 22 h 23"/>
              <a:gd name="T76" fmla="*/ 24 w 39"/>
              <a:gd name="T77" fmla="*/ 22 h 23"/>
              <a:gd name="T78" fmla="*/ 26 w 39"/>
              <a:gd name="T79" fmla="*/ 22 h 23"/>
              <a:gd name="T80" fmla="*/ 27 w 39"/>
              <a:gd name="T81" fmla="*/ 23 h 23"/>
              <a:gd name="T82" fmla="*/ 28 w 39"/>
              <a:gd name="T83" fmla="*/ 20 h 23"/>
              <a:gd name="T84" fmla="*/ 28 w 39"/>
              <a:gd name="T85" fmla="*/ 18 h 23"/>
              <a:gd name="T86" fmla="*/ 26 w 39"/>
              <a:gd name="T87" fmla="*/ 17 h 23"/>
              <a:gd name="T88" fmla="*/ 28 w 39"/>
              <a:gd name="T89" fmla="*/ 16 h 23"/>
              <a:gd name="T90" fmla="*/ 29 w 39"/>
              <a:gd name="T91" fmla="*/ 15 h 23"/>
              <a:gd name="T92" fmla="*/ 30 w 39"/>
              <a:gd name="T93" fmla="*/ 14 h 23"/>
              <a:gd name="T94" fmla="*/ 32 w 39"/>
              <a:gd name="T95" fmla="*/ 13 h 23"/>
              <a:gd name="T96" fmla="*/ 33 w 39"/>
              <a:gd name="T97" fmla="*/ 13 h 23"/>
              <a:gd name="T98" fmla="*/ 33 w 39"/>
              <a:gd name="T99" fmla="*/ 15 h 23"/>
              <a:gd name="T100" fmla="*/ 35 w 39"/>
              <a:gd name="T101" fmla="*/ 14 h 23"/>
              <a:gd name="T102" fmla="*/ 37 w 39"/>
              <a:gd name="T103" fmla="*/ 14 h 23"/>
              <a:gd name="T104" fmla="*/ 38 w 39"/>
              <a:gd name="T105"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 h="23">
                <a:moveTo>
                  <a:pt x="38" y="13"/>
                </a:moveTo>
                <a:cubicBezTo>
                  <a:pt x="37" y="12"/>
                  <a:pt x="35" y="11"/>
                  <a:pt x="35" y="11"/>
                </a:cubicBezTo>
                <a:cubicBezTo>
                  <a:pt x="35" y="12"/>
                  <a:pt x="34" y="12"/>
                  <a:pt x="33" y="11"/>
                </a:cubicBezTo>
                <a:cubicBezTo>
                  <a:pt x="33" y="11"/>
                  <a:pt x="33" y="10"/>
                  <a:pt x="31" y="11"/>
                </a:cubicBezTo>
                <a:cubicBezTo>
                  <a:pt x="30" y="11"/>
                  <a:pt x="29" y="12"/>
                  <a:pt x="29" y="13"/>
                </a:cubicBezTo>
                <a:cubicBezTo>
                  <a:pt x="29" y="13"/>
                  <a:pt x="28" y="14"/>
                  <a:pt x="28" y="13"/>
                </a:cubicBezTo>
                <a:cubicBezTo>
                  <a:pt x="28" y="12"/>
                  <a:pt x="27" y="12"/>
                  <a:pt x="26" y="12"/>
                </a:cubicBezTo>
                <a:cubicBezTo>
                  <a:pt x="25" y="12"/>
                  <a:pt x="24" y="12"/>
                  <a:pt x="24" y="11"/>
                </a:cubicBezTo>
                <a:cubicBezTo>
                  <a:pt x="24" y="11"/>
                  <a:pt x="23" y="10"/>
                  <a:pt x="23" y="9"/>
                </a:cubicBezTo>
                <a:cubicBezTo>
                  <a:pt x="23" y="8"/>
                  <a:pt x="23" y="7"/>
                  <a:pt x="22" y="7"/>
                </a:cubicBezTo>
                <a:cubicBezTo>
                  <a:pt x="22" y="7"/>
                  <a:pt x="21" y="6"/>
                  <a:pt x="21" y="6"/>
                </a:cubicBezTo>
                <a:cubicBezTo>
                  <a:pt x="20" y="6"/>
                  <a:pt x="17" y="6"/>
                  <a:pt x="16" y="5"/>
                </a:cubicBezTo>
                <a:cubicBezTo>
                  <a:pt x="16" y="5"/>
                  <a:pt x="14" y="6"/>
                  <a:pt x="13" y="6"/>
                </a:cubicBezTo>
                <a:cubicBezTo>
                  <a:pt x="13" y="5"/>
                  <a:pt x="12" y="3"/>
                  <a:pt x="11" y="3"/>
                </a:cubicBezTo>
                <a:cubicBezTo>
                  <a:pt x="11" y="3"/>
                  <a:pt x="11" y="3"/>
                  <a:pt x="10" y="4"/>
                </a:cubicBezTo>
                <a:cubicBezTo>
                  <a:pt x="9" y="5"/>
                  <a:pt x="7" y="5"/>
                  <a:pt x="7" y="3"/>
                </a:cubicBezTo>
                <a:cubicBezTo>
                  <a:pt x="8" y="2"/>
                  <a:pt x="8" y="0"/>
                  <a:pt x="7" y="0"/>
                </a:cubicBezTo>
                <a:cubicBezTo>
                  <a:pt x="6" y="0"/>
                  <a:pt x="7" y="3"/>
                  <a:pt x="6" y="3"/>
                </a:cubicBezTo>
                <a:cubicBezTo>
                  <a:pt x="6" y="3"/>
                  <a:pt x="6" y="1"/>
                  <a:pt x="6" y="0"/>
                </a:cubicBezTo>
                <a:cubicBezTo>
                  <a:pt x="0" y="1"/>
                  <a:pt x="0" y="1"/>
                  <a:pt x="0" y="1"/>
                </a:cubicBezTo>
                <a:cubicBezTo>
                  <a:pt x="0" y="11"/>
                  <a:pt x="0" y="11"/>
                  <a:pt x="0" y="11"/>
                </a:cubicBezTo>
                <a:cubicBezTo>
                  <a:pt x="0" y="11"/>
                  <a:pt x="0" y="11"/>
                  <a:pt x="0" y="11"/>
                </a:cubicBezTo>
                <a:cubicBezTo>
                  <a:pt x="1" y="11"/>
                  <a:pt x="1" y="11"/>
                  <a:pt x="2" y="12"/>
                </a:cubicBezTo>
                <a:cubicBezTo>
                  <a:pt x="3" y="12"/>
                  <a:pt x="2" y="11"/>
                  <a:pt x="2" y="10"/>
                </a:cubicBezTo>
                <a:cubicBezTo>
                  <a:pt x="2" y="10"/>
                  <a:pt x="3" y="9"/>
                  <a:pt x="4" y="9"/>
                </a:cubicBezTo>
                <a:cubicBezTo>
                  <a:pt x="5" y="9"/>
                  <a:pt x="5" y="8"/>
                  <a:pt x="5" y="8"/>
                </a:cubicBezTo>
                <a:cubicBezTo>
                  <a:pt x="5" y="8"/>
                  <a:pt x="6" y="8"/>
                  <a:pt x="6" y="8"/>
                </a:cubicBezTo>
                <a:cubicBezTo>
                  <a:pt x="6" y="8"/>
                  <a:pt x="7" y="8"/>
                  <a:pt x="7" y="8"/>
                </a:cubicBezTo>
                <a:cubicBezTo>
                  <a:pt x="8" y="9"/>
                  <a:pt x="8" y="9"/>
                  <a:pt x="9" y="9"/>
                </a:cubicBezTo>
                <a:cubicBezTo>
                  <a:pt x="10" y="9"/>
                  <a:pt x="10" y="11"/>
                  <a:pt x="10" y="11"/>
                </a:cubicBezTo>
                <a:cubicBezTo>
                  <a:pt x="10" y="12"/>
                  <a:pt x="13" y="12"/>
                  <a:pt x="13" y="12"/>
                </a:cubicBezTo>
                <a:cubicBezTo>
                  <a:pt x="14" y="12"/>
                  <a:pt x="14" y="13"/>
                  <a:pt x="14" y="13"/>
                </a:cubicBezTo>
                <a:cubicBezTo>
                  <a:pt x="14" y="14"/>
                  <a:pt x="15" y="15"/>
                  <a:pt x="15" y="15"/>
                </a:cubicBezTo>
                <a:cubicBezTo>
                  <a:pt x="15" y="15"/>
                  <a:pt x="17" y="16"/>
                  <a:pt x="17" y="17"/>
                </a:cubicBezTo>
                <a:cubicBezTo>
                  <a:pt x="18" y="17"/>
                  <a:pt x="19" y="18"/>
                  <a:pt x="20" y="18"/>
                </a:cubicBezTo>
                <a:cubicBezTo>
                  <a:pt x="21" y="18"/>
                  <a:pt x="21" y="20"/>
                  <a:pt x="22" y="20"/>
                </a:cubicBezTo>
                <a:cubicBezTo>
                  <a:pt x="23" y="20"/>
                  <a:pt x="24" y="20"/>
                  <a:pt x="24" y="20"/>
                </a:cubicBezTo>
                <a:cubicBezTo>
                  <a:pt x="24" y="22"/>
                  <a:pt x="24" y="22"/>
                  <a:pt x="24" y="22"/>
                </a:cubicBezTo>
                <a:cubicBezTo>
                  <a:pt x="24" y="22"/>
                  <a:pt x="24" y="22"/>
                  <a:pt x="24" y="22"/>
                </a:cubicBezTo>
                <a:cubicBezTo>
                  <a:pt x="25" y="21"/>
                  <a:pt x="26" y="22"/>
                  <a:pt x="26" y="22"/>
                </a:cubicBezTo>
                <a:cubicBezTo>
                  <a:pt x="26" y="22"/>
                  <a:pt x="27" y="23"/>
                  <a:pt x="27" y="23"/>
                </a:cubicBezTo>
                <a:cubicBezTo>
                  <a:pt x="27" y="21"/>
                  <a:pt x="27" y="21"/>
                  <a:pt x="28" y="20"/>
                </a:cubicBezTo>
                <a:cubicBezTo>
                  <a:pt x="29" y="20"/>
                  <a:pt x="28" y="19"/>
                  <a:pt x="28" y="18"/>
                </a:cubicBezTo>
                <a:cubicBezTo>
                  <a:pt x="28" y="18"/>
                  <a:pt x="26" y="17"/>
                  <a:pt x="26" y="17"/>
                </a:cubicBezTo>
                <a:cubicBezTo>
                  <a:pt x="26" y="16"/>
                  <a:pt x="28" y="16"/>
                  <a:pt x="28" y="16"/>
                </a:cubicBezTo>
                <a:cubicBezTo>
                  <a:pt x="29" y="16"/>
                  <a:pt x="29" y="15"/>
                  <a:pt x="29" y="15"/>
                </a:cubicBezTo>
                <a:cubicBezTo>
                  <a:pt x="30" y="15"/>
                  <a:pt x="30" y="14"/>
                  <a:pt x="30" y="14"/>
                </a:cubicBezTo>
                <a:cubicBezTo>
                  <a:pt x="30" y="13"/>
                  <a:pt x="31" y="14"/>
                  <a:pt x="32" y="13"/>
                </a:cubicBezTo>
                <a:cubicBezTo>
                  <a:pt x="32" y="13"/>
                  <a:pt x="33" y="12"/>
                  <a:pt x="33" y="13"/>
                </a:cubicBezTo>
                <a:cubicBezTo>
                  <a:pt x="34" y="13"/>
                  <a:pt x="33" y="14"/>
                  <a:pt x="33" y="15"/>
                </a:cubicBezTo>
                <a:cubicBezTo>
                  <a:pt x="34" y="15"/>
                  <a:pt x="35" y="14"/>
                  <a:pt x="35" y="14"/>
                </a:cubicBezTo>
                <a:cubicBezTo>
                  <a:pt x="35" y="14"/>
                  <a:pt x="37" y="15"/>
                  <a:pt x="37" y="14"/>
                </a:cubicBezTo>
                <a:cubicBezTo>
                  <a:pt x="38" y="13"/>
                  <a:pt x="39" y="14"/>
                  <a:pt x="38"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75"/>
          <p:cNvSpPr>
            <a:spLocks noEditPoints="1"/>
          </p:cNvSpPr>
          <p:nvPr/>
        </p:nvSpPr>
        <p:spPr bwMode="auto">
          <a:xfrm>
            <a:off x="2255164" y="2138573"/>
            <a:ext cx="275263" cy="432557"/>
          </a:xfrm>
          <a:custGeom>
            <a:avLst/>
            <a:gdLst>
              <a:gd name="T0" fmla="*/ 54 w 57"/>
              <a:gd name="T1" fmla="*/ 47 h 90"/>
              <a:gd name="T2" fmla="*/ 54 w 57"/>
              <a:gd name="T3" fmla="*/ 45 h 90"/>
              <a:gd name="T4" fmla="*/ 51 w 57"/>
              <a:gd name="T5" fmla="*/ 44 h 90"/>
              <a:gd name="T6" fmla="*/ 47 w 57"/>
              <a:gd name="T7" fmla="*/ 44 h 90"/>
              <a:gd name="T8" fmla="*/ 46 w 57"/>
              <a:gd name="T9" fmla="*/ 44 h 90"/>
              <a:gd name="T10" fmla="*/ 42 w 57"/>
              <a:gd name="T11" fmla="*/ 44 h 90"/>
              <a:gd name="T12" fmla="*/ 40 w 57"/>
              <a:gd name="T13" fmla="*/ 47 h 90"/>
              <a:gd name="T14" fmla="*/ 40 w 57"/>
              <a:gd name="T15" fmla="*/ 44 h 90"/>
              <a:gd name="T16" fmla="*/ 36 w 57"/>
              <a:gd name="T17" fmla="*/ 47 h 90"/>
              <a:gd name="T18" fmla="*/ 34 w 57"/>
              <a:gd name="T19" fmla="*/ 47 h 90"/>
              <a:gd name="T20" fmla="*/ 32 w 57"/>
              <a:gd name="T21" fmla="*/ 47 h 90"/>
              <a:gd name="T22" fmla="*/ 29 w 57"/>
              <a:gd name="T23" fmla="*/ 49 h 90"/>
              <a:gd name="T24" fmla="*/ 27 w 57"/>
              <a:gd name="T25" fmla="*/ 51 h 90"/>
              <a:gd name="T26" fmla="*/ 25 w 57"/>
              <a:gd name="T27" fmla="*/ 52 h 90"/>
              <a:gd name="T28" fmla="*/ 22 w 57"/>
              <a:gd name="T29" fmla="*/ 53 h 90"/>
              <a:gd name="T30" fmla="*/ 21 w 57"/>
              <a:gd name="T31" fmla="*/ 55 h 90"/>
              <a:gd name="T32" fmla="*/ 25 w 57"/>
              <a:gd name="T33" fmla="*/ 55 h 90"/>
              <a:gd name="T34" fmla="*/ 22 w 57"/>
              <a:gd name="T35" fmla="*/ 57 h 90"/>
              <a:gd name="T36" fmla="*/ 17 w 57"/>
              <a:gd name="T37" fmla="*/ 62 h 90"/>
              <a:gd name="T38" fmla="*/ 14 w 57"/>
              <a:gd name="T39" fmla="*/ 67 h 90"/>
              <a:gd name="T40" fmla="*/ 11 w 57"/>
              <a:gd name="T41" fmla="*/ 71 h 90"/>
              <a:gd name="T42" fmla="*/ 7 w 57"/>
              <a:gd name="T43" fmla="*/ 73 h 90"/>
              <a:gd name="T44" fmla="*/ 3 w 57"/>
              <a:gd name="T45" fmla="*/ 76 h 90"/>
              <a:gd name="T46" fmla="*/ 1 w 57"/>
              <a:gd name="T47" fmla="*/ 79 h 90"/>
              <a:gd name="T48" fmla="*/ 0 w 57"/>
              <a:gd name="T49" fmla="*/ 83 h 90"/>
              <a:gd name="T50" fmla="*/ 2 w 57"/>
              <a:gd name="T51" fmla="*/ 84 h 90"/>
              <a:gd name="T52" fmla="*/ 2 w 57"/>
              <a:gd name="T53" fmla="*/ 86 h 90"/>
              <a:gd name="T54" fmla="*/ 4 w 57"/>
              <a:gd name="T55" fmla="*/ 90 h 90"/>
              <a:gd name="T56" fmla="*/ 13 w 57"/>
              <a:gd name="T57" fmla="*/ 85 h 90"/>
              <a:gd name="T58" fmla="*/ 15 w 57"/>
              <a:gd name="T59" fmla="*/ 86 h 90"/>
              <a:gd name="T60" fmla="*/ 17 w 57"/>
              <a:gd name="T61" fmla="*/ 81 h 90"/>
              <a:gd name="T62" fmla="*/ 16 w 57"/>
              <a:gd name="T63" fmla="*/ 74 h 90"/>
              <a:gd name="T64" fmla="*/ 20 w 57"/>
              <a:gd name="T65" fmla="*/ 69 h 90"/>
              <a:gd name="T66" fmla="*/ 23 w 57"/>
              <a:gd name="T67" fmla="*/ 62 h 90"/>
              <a:gd name="T68" fmla="*/ 26 w 57"/>
              <a:gd name="T69" fmla="*/ 57 h 90"/>
              <a:gd name="T70" fmla="*/ 32 w 57"/>
              <a:gd name="T71" fmla="*/ 53 h 90"/>
              <a:gd name="T72" fmla="*/ 36 w 57"/>
              <a:gd name="T73" fmla="*/ 50 h 90"/>
              <a:gd name="T74" fmla="*/ 44 w 57"/>
              <a:gd name="T75" fmla="*/ 53 h 90"/>
              <a:gd name="T76" fmla="*/ 49 w 57"/>
              <a:gd name="T77" fmla="*/ 48 h 90"/>
              <a:gd name="T78" fmla="*/ 54 w 57"/>
              <a:gd name="T79" fmla="*/ 50 h 90"/>
              <a:gd name="T80" fmla="*/ 16 w 57"/>
              <a:gd name="T81" fmla="*/ 6 h 90"/>
              <a:gd name="T82" fmla="*/ 21 w 57"/>
              <a:gd name="T83" fmla="*/ 10 h 90"/>
              <a:gd name="T84" fmla="*/ 25 w 57"/>
              <a:gd name="T85" fmla="*/ 10 h 90"/>
              <a:gd name="T86" fmla="*/ 26 w 57"/>
              <a:gd name="T87" fmla="*/ 13 h 90"/>
              <a:gd name="T88" fmla="*/ 22 w 57"/>
              <a:gd name="T89" fmla="*/ 17 h 90"/>
              <a:gd name="T90" fmla="*/ 26 w 57"/>
              <a:gd name="T91" fmla="*/ 19 h 90"/>
              <a:gd name="T92" fmla="*/ 31 w 57"/>
              <a:gd name="T93" fmla="*/ 10 h 90"/>
              <a:gd name="T94" fmla="*/ 35 w 57"/>
              <a:gd name="T95" fmla="*/ 12 h 90"/>
              <a:gd name="T96" fmla="*/ 41 w 57"/>
              <a:gd name="T97" fmla="*/ 15 h 90"/>
              <a:gd name="T98" fmla="*/ 39 w 57"/>
              <a:gd name="T99" fmla="*/ 12 h 90"/>
              <a:gd name="T100" fmla="*/ 34 w 57"/>
              <a:gd name="T101" fmla="*/ 8 h 90"/>
              <a:gd name="T102" fmla="*/ 29 w 57"/>
              <a:gd name="T103" fmla="*/ 5 h 90"/>
              <a:gd name="T104" fmla="*/ 25 w 57"/>
              <a:gd name="T105" fmla="*/ 2 h 90"/>
              <a:gd name="T106" fmla="*/ 23 w 57"/>
              <a:gd name="T107" fmla="*/ 5 h 90"/>
              <a:gd name="T108" fmla="*/ 18 w 57"/>
              <a:gd name="T109" fmla="*/ 5 h 90"/>
              <a:gd name="T110" fmla="*/ 15 w 57"/>
              <a:gd name="T111" fmla="*/ 4 h 90"/>
              <a:gd name="T112" fmla="*/ 14 w 57"/>
              <a:gd name="T113" fmla="*/ 10 h 90"/>
              <a:gd name="T114" fmla="*/ 14 w 57"/>
              <a:gd name="T115" fmla="*/ 10 h 90"/>
              <a:gd name="T116" fmla="*/ 33 w 57"/>
              <a:gd name="T117" fmla="*/ 5 h 90"/>
              <a:gd name="T118" fmla="*/ 46 w 57"/>
              <a:gd name="T119" fmla="*/ 5 h 90"/>
              <a:gd name="T120" fmla="*/ 40 w 57"/>
              <a:gd name="T121" fmla="*/ 2 h 90"/>
              <a:gd name="T122" fmla="*/ 35 w 57"/>
              <a:gd name="T123" fmla="*/ 1 h 90"/>
              <a:gd name="T124" fmla="*/ 31 w 57"/>
              <a:gd name="T12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 h="90">
                <a:moveTo>
                  <a:pt x="55" y="48"/>
                </a:moveTo>
                <a:cubicBezTo>
                  <a:pt x="55" y="49"/>
                  <a:pt x="54" y="49"/>
                  <a:pt x="54" y="48"/>
                </a:cubicBezTo>
                <a:cubicBezTo>
                  <a:pt x="54" y="48"/>
                  <a:pt x="53" y="47"/>
                  <a:pt x="53" y="47"/>
                </a:cubicBezTo>
                <a:cubicBezTo>
                  <a:pt x="53" y="47"/>
                  <a:pt x="54" y="47"/>
                  <a:pt x="54" y="47"/>
                </a:cubicBezTo>
                <a:cubicBezTo>
                  <a:pt x="55" y="48"/>
                  <a:pt x="55" y="47"/>
                  <a:pt x="56" y="47"/>
                </a:cubicBezTo>
                <a:cubicBezTo>
                  <a:pt x="56" y="46"/>
                  <a:pt x="57" y="47"/>
                  <a:pt x="57" y="46"/>
                </a:cubicBezTo>
                <a:cubicBezTo>
                  <a:pt x="57" y="46"/>
                  <a:pt x="56" y="45"/>
                  <a:pt x="56" y="45"/>
                </a:cubicBezTo>
                <a:cubicBezTo>
                  <a:pt x="56" y="45"/>
                  <a:pt x="55" y="44"/>
                  <a:pt x="54" y="45"/>
                </a:cubicBezTo>
                <a:cubicBezTo>
                  <a:pt x="54" y="45"/>
                  <a:pt x="53" y="44"/>
                  <a:pt x="53" y="44"/>
                </a:cubicBezTo>
                <a:cubicBezTo>
                  <a:pt x="53" y="44"/>
                  <a:pt x="51" y="44"/>
                  <a:pt x="51" y="45"/>
                </a:cubicBezTo>
                <a:cubicBezTo>
                  <a:pt x="51" y="46"/>
                  <a:pt x="51" y="46"/>
                  <a:pt x="51" y="45"/>
                </a:cubicBezTo>
                <a:cubicBezTo>
                  <a:pt x="51" y="45"/>
                  <a:pt x="50" y="44"/>
                  <a:pt x="51" y="44"/>
                </a:cubicBezTo>
                <a:cubicBezTo>
                  <a:pt x="52" y="44"/>
                  <a:pt x="51" y="43"/>
                  <a:pt x="50" y="43"/>
                </a:cubicBezTo>
                <a:cubicBezTo>
                  <a:pt x="49" y="43"/>
                  <a:pt x="48" y="44"/>
                  <a:pt x="49" y="44"/>
                </a:cubicBezTo>
                <a:cubicBezTo>
                  <a:pt x="49" y="44"/>
                  <a:pt x="48" y="46"/>
                  <a:pt x="47" y="46"/>
                </a:cubicBezTo>
                <a:cubicBezTo>
                  <a:pt x="47" y="46"/>
                  <a:pt x="48" y="45"/>
                  <a:pt x="47" y="44"/>
                </a:cubicBezTo>
                <a:cubicBezTo>
                  <a:pt x="47" y="43"/>
                  <a:pt x="47" y="44"/>
                  <a:pt x="46" y="45"/>
                </a:cubicBezTo>
                <a:cubicBezTo>
                  <a:pt x="45" y="46"/>
                  <a:pt x="44" y="47"/>
                  <a:pt x="44" y="47"/>
                </a:cubicBezTo>
                <a:cubicBezTo>
                  <a:pt x="43" y="47"/>
                  <a:pt x="44" y="46"/>
                  <a:pt x="44" y="45"/>
                </a:cubicBezTo>
                <a:cubicBezTo>
                  <a:pt x="45" y="45"/>
                  <a:pt x="45" y="44"/>
                  <a:pt x="46" y="44"/>
                </a:cubicBezTo>
                <a:cubicBezTo>
                  <a:pt x="46" y="44"/>
                  <a:pt x="46" y="43"/>
                  <a:pt x="46" y="43"/>
                </a:cubicBezTo>
                <a:cubicBezTo>
                  <a:pt x="45" y="43"/>
                  <a:pt x="45" y="44"/>
                  <a:pt x="44" y="44"/>
                </a:cubicBezTo>
                <a:cubicBezTo>
                  <a:pt x="44" y="44"/>
                  <a:pt x="43" y="43"/>
                  <a:pt x="43" y="44"/>
                </a:cubicBezTo>
                <a:cubicBezTo>
                  <a:pt x="43" y="44"/>
                  <a:pt x="42" y="44"/>
                  <a:pt x="42" y="44"/>
                </a:cubicBezTo>
                <a:cubicBezTo>
                  <a:pt x="43" y="45"/>
                  <a:pt x="42" y="45"/>
                  <a:pt x="42" y="45"/>
                </a:cubicBezTo>
                <a:cubicBezTo>
                  <a:pt x="42" y="44"/>
                  <a:pt x="41" y="45"/>
                  <a:pt x="40" y="45"/>
                </a:cubicBezTo>
                <a:cubicBezTo>
                  <a:pt x="40" y="46"/>
                  <a:pt x="39" y="46"/>
                  <a:pt x="40" y="46"/>
                </a:cubicBezTo>
                <a:cubicBezTo>
                  <a:pt x="40" y="46"/>
                  <a:pt x="40" y="47"/>
                  <a:pt x="40" y="47"/>
                </a:cubicBezTo>
                <a:cubicBezTo>
                  <a:pt x="39" y="48"/>
                  <a:pt x="39" y="46"/>
                  <a:pt x="39" y="46"/>
                </a:cubicBezTo>
                <a:cubicBezTo>
                  <a:pt x="38" y="46"/>
                  <a:pt x="39" y="45"/>
                  <a:pt x="39" y="45"/>
                </a:cubicBezTo>
                <a:cubicBezTo>
                  <a:pt x="40" y="45"/>
                  <a:pt x="40" y="44"/>
                  <a:pt x="40" y="44"/>
                </a:cubicBezTo>
                <a:cubicBezTo>
                  <a:pt x="40" y="44"/>
                  <a:pt x="40" y="44"/>
                  <a:pt x="40" y="44"/>
                </a:cubicBezTo>
                <a:cubicBezTo>
                  <a:pt x="40" y="45"/>
                  <a:pt x="39" y="45"/>
                  <a:pt x="38" y="45"/>
                </a:cubicBezTo>
                <a:cubicBezTo>
                  <a:pt x="37" y="45"/>
                  <a:pt x="37" y="46"/>
                  <a:pt x="38" y="46"/>
                </a:cubicBezTo>
                <a:cubicBezTo>
                  <a:pt x="39" y="47"/>
                  <a:pt x="38" y="47"/>
                  <a:pt x="37" y="46"/>
                </a:cubicBezTo>
                <a:cubicBezTo>
                  <a:pt x="37" y="46"/>
                  <a:pt x="36" y="46"/>
                  <a:pt x="36" y="47"/>
                </a:cubicBezTo>
                <a:cubicBezTo>
                  <a:pt x="35" y="47"/>
                  <a:pt x="37" y="47"/>
                  <a:pt x="37" y="48"/>
                </a:cubicBezTo>
                <a:cubicBezTo>
                  <a:pt x="37" y="48"/>
                  <a:pt x="36" y="47"/>
                  <a:pt x="36" y="48"/>
                </a:cubicBezTo>
                <a:cubicBezTo>
                  <a:pt x="36" y="48"/>
                  <a:pt x="35" y="47"/>
                  <a:pt x="35" y="47"/>
                </a:cubicBezTo>
                <a:cubicBezTo>
                  <a:pt x="35" y="46"/>
                  <a:pt x="33" y="47"/>
                  <a:pt x="34" y="47"/>
                </a:cubicBezTo>
                <a:cubicBezTo>
                  <a:pt x="35" y="47"/>
                  <a:pt x="34" y="48"/>
                  <a:pt x="34" y="49"/>
                </a:cubicBezTo>
                <a:cubicBezTo>
                  <a:pt x="34" y="49"/>
                  <a:pt x="34" y="49"/>
                  <a:pt x="34" y="48"/>
                </a:cubicBezTo>
                <a:cubicBezTo>
                  <a:pt x="34" y="48"/>
                  <a:pt x="33" y="48"/>
                  <a:pt x="32" y="48"/>
                </a:cubicBezTo>
                <a:cubicBezTo>
                  <a:pt x="32" y="48"/>
                  <a:pt x="33" y="47"/>
                  <a:pt x="32" y="47"/>
                </a:cubicBezTo>
                <a:cubicBezTo>
                  <a:pt x="32" y="46"/>
                  <a:pt x="31" y="47"/>
                  <a:pt x="31" y="47"/>
                </a:cubicBezTo>
                <a:cubicBezTo>
                  <a:pt x="30" y="47"/>
                  <a:pt x="30" y="47"/>
                  <a:pt x="30" y="48"/>
                </a:cubicBezTo>
                <a:cubicBezTo>
                  <a:pt x="31" y="48"/>
                  <a:pt x="31" y="49"/>
                  <a:pt x="30" y="49"/>
                </a:cubicBezTo>
                <a:cubicBezTo>
                  <a:pt x="29" y="48"/>
                  <a:pt x="29" y="49"/>
                  <a:pt x="29" y="49"/>
                </a:cubicBezTo>
                <a:cubicBezTo>
                  <a:pt x="29" y="50"/>
                  <a:pt x="29" y="50"/>
                  <a:pt x="28" y="49"/>
                </a:cubicBezTo>
                <a:cubicBezTo>
                  <a:pt x="28" y="49"/>
                  <a:pt x="27" y="49"/>
                  <a:pt x="27" y="49"/>
                </a:cubicBezTo>
                <a:cubicBezTo>
                  <a:pt x="27" y="50"/>
                  <a:pt x="26" y="50"/>
                  <a:pt x="26" y="51"/>
                </a:cubicBezTo>
                <a:cubicBezTo>
                  <a:pt x="26" y="51"/>
                  <a:pt x="27" y="51"/>
                  <a:pt x="27" y="51"/>
                </a:cubicBezTo>
                <a:cubicBezTo>
                  <a:pt x="28" y="51"/>
                  <a:pt x="27" y="51"/>
                  <a:pt x="28" y="52"/>
                </a:cubicBezTo>
                <a:cubicBezTo>
                  <a:pt x="28" y="52"/>
                  <a:pt x="28" y="53"/>
                  <a:pt x="27" y="52"/>
                </a:cubicBezTo>
                <a:cubicBezTo>
                  <a:pt x="27" y="52"/>
                  <a:pt x="26" y="52"/>
                  <a:pt x="26" y="52"/>
                </a:cubicBezTo>
                <a:cubicBezTo>
                  <a:pt x="26" y="53"/>
                  <a:pt x="26" y="52"/>
                  <a:pt x="25" y="52"/>
                </a:cubicBezTo>
                <a:cubicBezTo>
                  <a:pt x="25" y="51"/>
                  <a:pt x="24" y="53"/>
                  <a:pt x="24" y="52"/>
                </a:cubicBezTo>
                <a:cubicBezTo>
                  <a:pt x="24" y="52"/>
                  <a:pt x="25" y="51"/>
                  <a:pt x="25" y="50"/>
                </a:cubicBezTo>
                <a:cubicBezTo>
                  <a:pt x="24" y="50"/>
                  <a:pt x="24" y="51"/>
                  <a:pt x="23" y="52"/>
                </a:cubicBezTo>
                <a:cubicBezTo>
                  <a:pt x="22" y="52"/>
                  <a:pt x="21" y="52"/>
                  <a:pt x="22" y="53"/>
                </a:cubicBezTo>
                <a:cubicBezTo>
                  <a:pt x="22" y="53"/>
                  <a:pt x="21" y="53"/>
                  <a:pt x="21" y="54"/>
                </a:cubicBezTo>
                <a:cubicBezTo>
                  <a:pt x="21" y="54"/>
                  <a:pt x="19" y="55"/>
                  <a:pt x="18" y="55"/>
                </a:cubicBezTo>
                <a:cubicBezTo>
                  <a:pt x="17" y="56"/>
                  <a:pt x="18" y="56"/>
                  <a:pt x="19" y="55"/>
                </a:cubicBezTo>
                <a:cubicBezTo>
                  <a:pt x="19" y="55"/>
                  <a:pt x="20" y="55"/>
                  <a:pt x="21" y="55"/>
                </a:cubicBezTo>
                <a:cubicBezTo>
                  <a:pt x="21" y="54"/>
                  <a:pt x="22" y="54"/>
                  <a:pt x="23" y="54"/>
                </a:cubicBezTo>
                <a:cubicBezTo>
                  <a:pt x="23" y="54"/>
                  <a:pt x="24" y="54"/>
                  <a:pt x="24" y="54"/>
                </a:cubicBezTo>
                <a:cubicBezTo>
                  <a:pt x="24" y="53"/>
                  <a:pt x="25" y="53"/>
                  <a:pt x="25" y="53"/>
                </a:cubicBezTo>
                <a:cubicBezTo>
                  <a:pt x="26" y="54"/>
                  <a:pt x="25" y="54"/>
                  <a:pt x="25" y="55"/>
                </a:cubicBezTo>
                <a:cubicBezTo>
                  <a:pt x="26" y="55"/>
                  <a:pt x="25" y="55"/>
                  <a:pt x="25" y="55"/>
                </a:cubicBezTo>
                <a:cubicBezTo>
                  <a:pt x="25" y="55"/>
                  <a:pt x="24" y="54"/>
                  <a:pt x="24" y="55"/>
                </a:cubicBezTo>
                <a:cubicBezTo>
                  <a:pt x="23" y="55"/>
                  <a:pt x="23" y="55"/>
                  <a:pt x="23" y="55"/>
                </a:cubicBezTo>
                <a:cubicBezTo>
                  <a:pt x="22" y="56"/>
                  <a:pt x="22" y="56"/>
                  <a:pt x="22" y="57"/>
                </a:cubicBezTo>
                <a:cubicBezTo>
                  <a:pt x="22" y="58"/>
                  <a:pt x="21" y="57"/>
                  <a:pt x="21" y="58"/>
                </a:cubicBezTo>
                <a:cubicBezTo>
                  <a:pt x="21" y="58"/>
                  <a:pt x="20" y="60"/>
                  <a:pt x="19" y="61"/>
                </a:cubicBezTo>
                <a:cubicBezTo>
                  <a:pt x="18" y="61"/>
                  <a:pt x="19" y="62"/>
                  <a:pt x="19" y="62"/>
                </a:cubicBezTo>
                <a:cubicBezTo>
                  <a:pt x="18" y="63"/>
                  <a:pt x="17" y="62"/>
                  <a:pt x="17" y="62"/>
                </a:cubicBezTo>
                <a:cubicBezTo>
                  <a:pt x="16" y="63"/>
                  <a:pt x="17" y="64"/>
                  <a:pt x="17" y="65"/>
                </a:cubicBezTo>
                <a:cubicBezTo>
                  <a:pt x="16" y="65"/>
                  <a:pt x="17" y="66"/>
                  <a:pt x="17" y="66"/>
                </a:cubicBezTo>
                <a:cubicBezTo>
                  <a:pt x="17" y="67"/>
                  <a:pt x="15" y="66"/>
                  <a:pt x="15" y="66"/>
                </a:cubicBezTo>
                <a:cubicBezTo>
                  <a:pt x="15" y="67"/>
                  <a:pt x="14" y="67"/>
                  <a:pt x="14" y="67"/>
                </a:cubicBezTo>
                <a:cubicBezTo>
                  <a:pt x="13" y="67"/>
                  <a:pt x="14" y="68"/>
                  <a:pt x="15" y="68"/>
                </a:cubicBezTo>
                <a:cubicBezTo>
                  <a:pt x="15" y="69"/>
                  <a:pt x="14" y="69"/>
                  <a:pt x="14" y="68"/>
                </a:cubicBezTo>
                <a:cubicBezTo>
                  <a:pt x="14" y="68"/>
                  <a:pt x="13" y="69"/>
                  <a:pt x="12" y="69"/>
                </a:cubicBezTo>
                <a:cubicBezTo>
                  <a:pt x="11" y="70"/>
                  <a:pt x="12" y="71"/>
                  <a:pt x="11" y="71"/>
                </a:cubicBezTo>
                <a:cubicBezTo>
                  <a:pt x="10" y="71"/>
                  <a:pt x="10" y="72"/>
                  <a:pt x="10" y="72"/>
                </a:cubicBezTo>
                <a:cubicBezTo>
                  <a:pt x="9" y="73"/>
                  <a:pt x="9" y="71"/>
                  <a:pt x="9" y="71"/>
                </a:cubicBezTo>
                <a:cubicBezTo>
                  <a:pt x="8" y="71"/>
                  <a:pt x="8" y="72"/>
                  <a:pt x="8" y="73"/>
                </a:cubicBezTo>
                <a:cubicBezTo>
                  <a:pt x="9" y="73"/>
                  <a:pt x="8" y="73"/>
                  <a:pt x="7" y="73"/>
                </a:cubicBezTo>
                <a:cubicBezTo>
                  <a:pt x="7" y="74"/>
                  <a:pt x="5" y="74"/>
                  <a:pt x="5" y="74"/>
                </a:cubicBezTo>
                <a:cubicBezTo>
                  <a:pt x="5" y="75"/>
                  <a:pt x="6" y="75"/>
                  <a:pt x="6" y="75"/>
                </a:cubicBezTo>
                <a:cubicBezTo>
                  <a:pt x="6" y="75"/>
                  <a:pt x="5" y="75"/>
                  <a:pt x="4" y="75"/>
                </a:cubicBezTo>
                <a:cubicBezTo>
                  <a:pt x="4" y="75"/>
                  <a:pt x="4" y="76"/>
                  <a:pt x="3" y="76"/>
                </a:cubicBezTo>
                <a:cubicBezTo>
                  <a:pt x="2" y="76"/>
                  <a:pt x="2" y="76"/>
                  <a:pt x="2" y="77"/>
                </a:cubicBezTo>
                <a:cubicBezTo>
                  <a:pt x="2" y="77"/>
                  <a:pt x="2" y="77"/>
                  <a:pt x="1" y="77"/>
                </a:cubicBezTo>
                <a:cubicBezTo>
                  <a:pt x="1" y="77"/>
                  <a:pt x="0" y="77"/>
                  <a:pt x="0" y="78"/>
                </a:cubicBezTo>
                <a:cubicBezTo>
                  <a:pt x="0" y="79"/>
                  <a:pt x="1" y="79"/>
                  <a:pt x="1" y="79"/>
                </a:cubicBezTo>
                <a:cubicBezTo>
                  <a:pt x="1" y="79"/>
                  <a:pt x="0" y="80"/>
                  <a:pt x="1" y="80"/>
                </a:cubicBezTo>
                <a:cubicBezTo>
                  <a:pt x="1" y="80"/>
                  <a:pt x="1" y="81"/>
                  <a:pt x="1" y="81"/>
                </a:cubicBezTo>
                <a:cubicBezTo>
                  <a:pt x="0" y="81"/>
                  <a:pt x="0" y="81"/>
                  <a:pt x="1" y="82"/>
                </a:cubicBezTo>
                <a:cubicBezTo>
                  <a:pt x="1" y="82"/>
                  <a:pt x="0" y="82"/>
                  <a:pt x="0" y="83"/>
                </a:cubicBezTo>
                <a:cubicBezTo>
                  <a:pt x="1" y="84"/>
                  <a:pt x="1" y="83"/>
                  <a:pt x="2" y="83"/>
                </a:cubicBezTo>
                <a:cubicBezTo>
                  <a:pt x="2" y="84"/>
                  <a:pt x="2" y="84"/>
                  <a:pt x="3" y="83"/>
                </a:cubicBezTo>
                <a:cubicBezTo>
                  <a:pt x="4" y="82"/>
                  <a:pt x="4" y="84"/>
                  <a:pt x="4" y="84"/>
                </a:cubicBezTo>
                <a:cubicBezTo>
                  <a:pt x="3" y="84"/>
                  <a:pt x="2" y="84"/>
                  <a:pt x="2" y="84"/>
                </a:cubicBezTo>
                <a:cubicBezTo>
                  <a:pt x="2" y="85"/>
                  <a:pt x="1" y="85"/>
                  <a:pt x="1" y="84"/>
                </a:cubicBezTo>
                <a:cubicBezTo>
                  <a:pt x="2" y="84"/>
                  <a:pt x="0" y="84"/>
                  <a:pt x="1" y="85"/>
                </a:cubicBezTo>
                <a:cubicBezTo>
                  <a:pt x="1" y="85"/>
                  <a:pt x="1" y="86"/>
                  <a:pt x="1" y="86"/>
                </a:cubicBezTo>
                <a:cubicBezTo>
                  <a:pt x="1" y="87"/>
                  <a:pt x="1" y="87"/>
                  <a:pt x="2" y="86"/>
                </a:cubicBezTo>
                <a:cubicBezTo>
                  <a:pt x="2" y="85"/>
                  <a:pt x="3" y="86"/>
                  <a:pt x="3" y="86"/>
                </a:cubicBezTo>
                <a:cubicBezTo>
                  <a:pt x="3" y="87"/>
                  <a:pt x="2" y="86"/>
                  <a:pt x="2" y="87"/>
                </a:cubicBezTo>
                <a:cubicBezTo>
                  <a:pt x="2" y="88"/>
                  <a:pt x="2" y="87"/>
                  <a:pt x="2" y="88"/>
                </a:cubicBezTo>
                <a:cubicBezTo>
                  <a:pt x="1" y="88"/>
                  <a:pt x="3" y="89"/>
                  <a:pt x="4" y="90"/>
                </a:cubicBezTo>
                <a:cubicBezTo>
                  <a:pt x="4" y="90"/>
                  <a:pt x="5" y="90"/>
                  <a:pt x="6" y="90"/>
                </a:cubicBezTo>
                <a:cubicBezTo>
                  <a:pt x="8" y="90"/>
                  <a:pt x="10" y="88"/>
                  <a:pt x="11" y="87"/>
                </a:cubicBezTo>
                <a:cubicBezTo>
                  <a:pt x="11" y="87"/>
                  <a:pt x="12" y="87"/>
                  <a:pt x="12" y="87"/>
                </a:cubicBezTo>
                <a:cubicBezTo>
                  <a:pt x="13" y="87"/>
                  <a:pt x="12" y="85"/>
                  <a:pt x="13" y="85"/>
                </a:cubicBezTo>
                <a:cubicBezTo>
                  <a:pt x="13" y="85"/>
                  <a:pt x="13" y="86"/>
                  <a:pt x="14" y="87"/>
                </a:cubicBezTo>
                <a:cubicBezTo>
                  <a:pt x="14" y="87"/>
                  <a:pt x="14" y="87"/>
                  <a:pt x="14" y="88"/>
                </a:cubicBezTo>
                <a:cubicBezTo>
                  <a:pt x="14" y="87"/>
                  <a:pt x="15" y="87"/>
                  <a:pt x="15" y="88"/>
                </a:cubicBezTo>
                <a:cubicBezTo>
                  <a:pt x="15" y="88"/>
                  <a:pt x="15" y="87"/>
                  <a:pt x="15" y="86"/>
                </a:cubicBezTo>
                <a:cubicBezTo>
                  <a:pt x="15" y="86"/>
                  <a:pt x="16" y="85"/>
                  <a:pt x="16" y="84"/>
                </a:cubicBezTo>
                <a:cubicBezTo>
                  <a:pt x="15" y="84"/>
                  <a:pt x="17" y="84"/>
                  <a:pt x="17" y="84"/>
                </a:cubicBezTo>
                <a:cubicBezTo>
                  <a:pt x="17" y="83"/>
                  <a:pt x="17" y="82"/>
                  <a:pt x="17" y="82"/>
                </a:cubicBezTo>
                <a:cubicBezTo>
                  <a:pt x="17" y="82"/>
                  <a:pt x="16" y="81"/>
                  <a:pt x="17" y="81"/>
                </a:cubicBezTo>
                <a:cubicBezTo>
                  <a:pt x="17" y="81"/>
                  <a:pt x="18" y="80"/>
                  <a:pt x="18" y="80"/>
                </a:cubicBezTo>
                <a:cubicBezTo>
                  <a:pt x="18" y="79"/>
                  <a:pt x="16" y="79"/>
                  <a:pt x="16" y="78"/>
                </a:cubicBezTo>
                <a:cubicBezTo>
                  <a:pt x="16" y="77"/>
                  <a:pt x="17" y="77"/>
                  <a:pt x="16" y="76"/>
                </a:cubicBezTo>
                <a:cubicBezTo>
                  <a:pt x="16" y="75"/>
                  <a:pt x="17" y="74"/>
                  <a:pt x="16" y="74"/>
                </a:cubicBezTo>
                <a:cubicBezTo>
                  <a:pt x="16" y="73"/>
                  <a:pt x="16" y="72"/>
                  <a:pt x="17" y="71"/>
                </a:cubicBezTo>
                <a:cubicBezTo>
                  <a:pt x="17" y="70"/>
                  <a:pt x="18" y="70"/>
                  <a:pt x="19" y="70"/>
                </a:cubicBezTo>
                <a:cubicBezTo>
                  <a:pt x="19" y="70"/>
                  <a:pt x="20" y="70"/>
                  <a:pt x="20" y="70"/>
                </a:cubicBezTo>
                <a:cubicBezTo>
                  <a:pt x="20" y="69"/>
                  <a:pt x="20" y="69"/>
                  <a:pt x="20" y="69"/>
                </a:cubicBezTo>
                <a:cubicBezTo>
                  <a:pt x="20" y="68"/>
                  <a:pt x="19" y="68"/>
                  <a:pt x="20" y="67"/>
                </a:cubicBezTo>
                <a:cubicBezTo>
                  <a:pt x="20" y="67"/>
                  <a:pt x="21" y="66"/>
                  <a:pt x="21" y="65"/>
                </a:cubicBezTo>
                <a:cubicBezTo>
                  <a:pt x="21" y="64"/>
                  <a:pt x="21" y="63"/>
                  <a:pt x="21" y="63"/>
                </a:cubicBezTo>
                <a:cubicBezTo>
                  <a:pt x="22" y="62"/>
                  <a:pt x="22" y="63"/>
                  <a:pt x="23" y="62"/>
                </a:cubicBezTo>
                <a:cubicBezTo>
                  <a:pt x="24" y="62"/>
                  <a:pt x="23" y="61"/>
                  <a:pt x="23" y="61"/>
                </a:cubicBezTo>
                <a:cubicBezTo>
                  <a:pt x="24" y="61"/>
                  <a:pt x="24" y="60"/>
                  <a:pt x="24" y="59"/>
                </a:cubicBezTo>
                <a:cubicBezTo>
                  <a:pt x="25" y="59"/>
                  <a:pt x="25" y="59"/>
                  <a:pt x="25" y="58"/>
                </a:cubicBezTo>
                <a:cubicBezTo>
                  <a:pt x="25" y="58"/>
                  <a:pt x="26" y="57"/>
                  <a:pt x="26" y="57"/>
                </a:cubicBezTo>
                <a:cubicBezTo>
                  <a:pt x="26" y="56"/>
                  <a:pt x="27" y="55"/>
                  <a:pt x="27" y="55"/>
                </a:cubicBezTo>
                <a:cubicBezTo>
                  <a:pt x="28" y="55"/>
                  <a:pt x="29" y="55"/>
                  <a:pt x="29" y="55"/>
                </a:cubicBezTo>
                <a:cubicBezTo>
                  <a:pt x="29" y="54"/>
                  <a:pt x="29" y="53"/>
                  <a:pt x="30" y="53"/>
                </a:cubicBezTo>
                <a:cubicBezTo>
                  <a:pt x="30" y="53"/>
                  <a:pt x="31" y="53"/>
                  <a:pt x="32" y="53"/>
                </a:cubicBezTo>
                <a:cubicBezTo>
                  <a:pt x="32" y="54"/>
                  <a:pt x="33" y="54"/>
                  <a:pt x="33" y="53"/>
                </a:cubicBezTo>
                <a:cubicBezTo>
                  <a:pt x="33" y="52"/>
                  <a:pt x="34" y="51"/>
                  <a:pt x="35" y="51"/>
                </a:cubicBezTo>
                <a:cubicBezTo>
                  <a:pt x="35" y="51"/>
                  <a:pt x="35" y="51"/>
                  <a:pt x="35" y="52"/>
                </a:cubicBezTo>
                <a:cubicBezTo>
                  <a:pt x="35" y="51"/>
                  <a:pt x="36" y="50"/>
                  <a:pt x="36" y="50"/>
                </a:cubicBezTo>
                <a:cubicBezTo>
                  <a:pt x="37" y="51"/>
                  <a:pt x="38" y="52"/>
                  <a:pt x="39" y="52"/>
                </a:cubicBezTo>
                <a:cubicBezTo>
                  <a:pt x="40" y="52"/>
                  <a:pt x="41" y="53"/>
                  <a:pt x="41" y="52"/>
                </a:cubicBezTo>
                <a:cubicBezTo>
                  <a:pt x="41" y="52"/>
                  <a:pt x="42" y="53"/>
                  <a:pt x="43" y="52"/>
                </a:cubicBezTo>
                <a:cubicBezTo>
                  <a:pt x="43" y="52"/>
                  <a:pt x="43" y="54"/>
                  <a:pt x="44" y="53"/>
                </a:cubicBezTo>
                <a:cubicBezTo>
                  <a:pt x="45" y="52"/>
                  <a:pt x="44" y="51"/>
                  <a:pt x="45" y="51"/>
                </a:cubicBezTo>
                <a:cubicBezTo>
                  <a:pt x="46" y="52"/>
                  <a:pt x="45" y="50"/>
                  <a:pt x="45" y="50"/>
                </a:cubicBezTo>
                <a:cubicBezTo>
                  <a:pt x="45" y="49"/>
                  <a:pt x="47" y="49"/>
                  <a:pt x="47" y="48"/>
                </a:cubicBezTo>
                <a:cubicBezTo>
                  <a:pt x="47" y="47"/>
                  <a:pt x="49" y="48"/>
                  <a:pt x="49" y="48"/>
                </a:cubicBezTo>
                <a:cubicBezTo>
                  <a:pt x="49" y="47"/>
                  <a:pt x="50" y="47"/>
                  <a:pt x="51" y="48"/>
                </a:cubicBezTo>
                <a:cubicBezTo>
                  <a:pt x="51" y="48"/>
                  <a:pt x="53" y="49"/>
                  <a:pt x="53" y="49"/>
                </a:cubicBezTo>
                <a:cubicBezTo>
                  <a:pt x="53" y="49"/>
                  <a:pt x="53" y="50"/>
                  <a:pt x="53" y="50"/>
                </a:cubicBezTo>
                <a:cubicBezTo>
                  <a:pt x="53" y="50"/>
                  <a:pt x="54" y="50"/>
                  <a:pt x="54" y="50"/>
                </a:cubicBezTo>
                <a:cubicBezTo>
                  <a:pt x="55" y="50"/>
                  <a:pt x="55" y="49"/>
                  <a:pt x="56" y="49"/>
                </a:cubicBezTo>
                <a:cubicBezTo>
                  <a:pt x="56" y="49"/>
                  <a:pt x="57" y="49"/>
                  <a:pt x="57" y="48"/>
                </a:cubicBezTo>
                <a:cubicBezTo>
                  <a:pt x="56" y="48"/>
                  <a:pt x="55" y="48"/>
                  <a:pt x="55" y="48"/>
                </a:cubicBezTo>
                <a:moveTo>
                  <a:pt x="16" y="6"/>
                </a:moveTo>
                <a:cubicBezTo>
                  <a:pt x="17" y="7"/>
                  <a:pt x="15" y="8"/>
                  <a:pt x="15" y="9"/>
                </a:cubicBezTo>
                <a:cubicBezTo>
                  <a:pt x="14" y="10"/>
                  <a:pt x="16" y="10"/>
                  <a:pt x="17" y="11"/>
                </a:cubicBezTo>
                <a:cubicBezTo>
                  <a:pt x="18" y="12"/>
                  <a:pt x="19" y="12"/>
                  <a:pt x="20" y="11"/>
                </a:cubicBezTo>
                <a:cubicBezTo>
                  <a:pt x="21" y="11"/>
                  <a:pt x="20" y="9"/>
                  <a:pt x="21" y="10"/>
                </a:cubicBezTo>
                <a:cubicBezTo>
                  <a:pt x="22" y="10"/>
                  <a:pt x="22" y="9"/>
                  <a:pt x="22" y="9"/>
                </a:cubicBezTo>
                <a:cubicBezTo>
                  <a:pt x="23" y="8"/>
                  <a:pt x="23" y="9"/>
                  <a:pt x="22" y="10"/>
                </a:cubicBezTo>
                <a:cubicBezTo>
                  <a:pt x="22" y="11"/>
                  <a:pt x="23" y="10"/>
                  <a:pt x="24" y="10"/>
                </a:cubicBezTo>
                <a:cubicBezTo>
                  <a:pt x="25" y="9"/>
                  <a:pt x="25" y="10"/>
                  <a:pt x="25" y="10"/>
                </a:cubicBezTo>
                <a:cubicBezTo>
                  <a:pt x="25" y="11"/>
                  <a:pt x="23" y="11"/>
                  <a:pt x="23" y="12"/>
                </a:cubicBezTo>
                <a:cubicBezTo>
                  <a:pt x="22" y="13"/>
                  <a:pt x="20" y="12"/>
                  <a:pt x="19" y="13"/>
                </a:cubicBezTo>
                <a:cubicBezTo>
                  <a:pt x="18" y="14"/>
                  <a:pt x="20" y="14"/>
                  <a:pt x="21" y="14"/>
                </a:cubicBezTo>
                <a:cubicBezTo>
                  <a:pt x="22" y="13"/>
                  <a:pt x="25" y="13"/>
                  <a:pt x="26" y="13"/>
                </a:cubicBezTo>
                <a:cubicBezTo>
                  <a:pt x="26" y="14"/>
                  <a:pt x="25" y="14"/>
                  <a:pt x="24" y="14"/>
                </a:cubicBezTo>
                <a:cubicBezTo>
                  <a:pt x="22" y="14"/>
                  <a:pt x="22" y="14"/>
                  <a:pt x="22" y="15"/>
                </a:cubicBezTo>
                <a:cubicBezTo>
                  <a:pt x="22" y="15"/>
                  <a:pt x="20" y="14"/>
                  <a:pt x="19" y="15"/>
                </a:cubicBezTo>
                <a:cubicBezTo>
                  <a:pt x="19" y="16"/>
                  <a:pt x="21" y="16"/>
                  <a:pt x="22" y="17"/>
                </a:cubicBezTo>
                <a:cubicBezTo>
                  <a:pt x="22" y="17"/>
                  <a:pt x="23" y="17"/>
                  <a:pt x="24" y="17"/>
                </a:cubicBezTo>
                <a:cubicBezTo>
                  <a:pt x="24" y="17"/>
                  <a:pt x="23" y="18"/>
                  <a:pt x="23" y="18"/>
                </a:cubicBezTo>
                <a:cubicBezTo>
                  <a:pt x="23" y="18"/>
                  <a:pt x="24" y="19"/>
                  <a:pt x="25" y="19"/>
                </a:cubicBezTo>
                <a:cubicBezTo>
                  <a:pt x="25" y="20"/>
                  <a:pt x="26" y="19"/>
                  <a:pt x="26" y="19"/>
                </a:cubicBezTo>
                <a:cubicBezTo>
                  <a:pt x="26" y="18"/>
                  <a:pt x="27" y="15"/>
                  <a:pt x="29" y="15"/>
                </a:cubicBezTo>
                <a:cubicBezTo>
                  <a:pt x="30" y="14"/>
                  <a:pt x="29" y="14"/>
                  <a:pt x="29" y="13"/>
                </a:cubicBezTo>
                <a:cubicBezTo>
                  <a:pt x="30" y="12"/>
                  <a:pt x="31" y="13"/>
                  <a:pt x="30" y="12"/>
                </a:cubicBezTo>
                <a:cubicBezTo>
                  <a:pt x="30" y="11"/>
                  <a:pt x="30" y="11"/>
                  <a:pt x="31" y="10"/>
                </a:cubicBezTo>
                <a:cubicBezTo>
                  <a:pt x="32" y="9"/>
                  <a:pt x="33" y="10"/>
                  <a:pt x="34" y="9"/>
                </a:cubicBezTo>
                <a:cubicBezTo>
                  <a:pt x="35" y="9"/>
                  <a:pt x="36" y="10"/>
                  <a:pt x="34" y="10"/>
                </a:cubicBezTo>
                <a:cubicBezTo>
                  <a:pt x="33" y="10"/>
                  <a:pt x="34" y="11"/>
                  <a:pt x="35" y="11"/>
                </a:cubicBezTo>
                <a:cubicBezTo>
                  <a:pt x="36" y="12"/>
                  <a:pt x="35" y="12"/>
                  <a:pt x="35" y="12"/>
                </a:cubicBezTo>
                <a:cubicBezTo>
                  <a:pt x="36" y="12"/>
                  <a:pt x="36" y="13"/>
                  <a:pt x="35" y="14"/>
                </a:cubicBezTo>
                <a:cubicBezTo>
                  <a:pt x="34" y="15"/>
                  <a:pt x="35" y="15"/>
                  <a:pt x="37" y="15"/>
                </a:cubicBezTo>
                <a:cubicBezTo>
                  <a:pt x="39" y="14"/>
                  <a:pt x="38" y="15"/>
                  <a:pt x="38" y="16"/>
                </a:cubicBezTo>
                <a:cubicBezTo>
                  <a:pt x="39" y="16"/>
                  <a:pt x="40" y="16"/>
                  <a:pt x="41" y="15"/>
                </a:cubicBezTo>
                <a:cubicBezTo>
                  <a:pt x="42" y="14"/>
                  <a:pt x="43" y="14"/>
                  <a:pt x="43" y="13"/>
                </a:cubicBezTo>
                <a:cubicBezTo>
                  <a:pt x="43" y="13"/>
                  <a:pt x="42" y="13"/>
                  <a:pt x="42" y="13"/>
                </a:cubicBezTo>
                <a:cubicBezTo>
                  <a:pt x="41" y="13"/>
                  <a:pt x="39" y="13"/>
                  <a:pt x="40" y="13"/>
                </a:cubicBezTo>
                <a:cubicBezTo>
                  <a:pt x="40" y="12"/>
                  <a:pt x="40" y="12"/>
                  <a:pt x="39" y="12"/>
                </a:cubicBezTo>
                <a:cubicBezTo>
                  <a:pt x="38" y="12"/>
                  <a:pt x="37" y="11"/>
                  <a:pt x="38" y="11"/>
                </a:cubicBezTo>
                <a:cubicBezTo>
                  <a:pt x="38" y="11"/>
                  <a:pt x="37" y="10"/>
                  <a:pt x="36" y="10"/>
                </a:cubicBezTo>
                <a:cubicBezTo>
                  <a:pt x="36" y="10"/>
                  <a:pt x="36" y="9"/>
                  <a:pt x="36" y="8"/>
                </a:cubicBezTo>
                <a:cubicBezTo>
                  <a:pt x="36" y="8"/>
                  <a:pt x="34" y="8"/>
                  <a:pt x="34" y="8"/>
                </a:cubicBezTo>
                <a:cubicBezTo>
                  <a:pt x="35" y="7"/>
                  <a:pt x="34" y="7"/>
                  <a:pt x="33" y="7"/>
                </a:cubicBezTo>
                <a:cubicBezTo>
                  <a:pt x="33" y="8"/>
                  <a:pt x="32" y="8"/>
                  <a:pt x="32" y="7"/>
                </a:cubicBezTo>
                <a:cubicBezTo>
                  <a:pt x="32" y="6"/>
                  <a:pt x="31" y="7"/>
                  <a:pt x="30" y="7"/>
                </a:cubicBezTo>
                <a:cubicBezTo>
                  <a:pt x="30" y="7"/>
                  <a:pt x="30" y="5"/>
                  <a:pt x="29" y="5"/>
                </a:cubicBezTo>
                <a:cubicBezTo>
                  <a:pt x="29" y="4"/>
                  <a:pt x="28" y="6"/>
                  <a:pt x="28" y="6"/>
                </a:cubicBezTo>
                <a:cubicBezTo>
                  <a:pt x="27" y="6"/>
                  <a:pt x="28" y="5"/>
                  <a:pt x="28" y="4"/>
                </a:cubicBezTo>
                <a:cubicBezTo>
                  <a:pt x="28" y="3"/>
                  <a:pt x="26" y="3"/>
                  <a:pt x="26" y="3"/>
                </a:cubicBezTo>
                <a:cubicBezTo>
                  <a:pt x="26" y="4"/>
                  <a:pt x="25" y="2"/>
                  <a:pt x="25" y="2"/>
                </a:cubicBezTo>
                <a:cubicBezTo>
                  <a:pt x="24" y="2"/>
                  <a:pt x="25" y="3"/>
                  <a:pt x="24" y="3"/>
                </a:cubicBezTo>
                <a:cubicBezTo>
                  <a:pt x="24" y="3"/>
                  <a:pt x="23" y="4"/>
                  <a:pt x="24" y="4"/>
                </a:cubicBezTo>
                <a:cubicBezTo>
                  <a:pt x="25" y="5"/>
                  <a:pt x="25" y="7"/>
                  <a:pt x="25" y="8"/>
                </a:cubicBezTo>
                <a:cubicBezTo>
                  <a:pt x="25" y="8"/>
                  <a:pt x="23" y="6"/>
                  <a:pt x="23" y="5"/>
                </a:cubicBezTo>
                <a:cubicBezTo>
                  <a:pt x="23" y="4"/>
                  <a:pt x="22" y="3"/>
                  <a:pt x="21" y="4"/>
                </a:cubicBezTo>
                <a:cubicBezTo>
                  <a:pt x="21" y="5"/>
                  <a:pt x="20" y="5"/>
                  <a:pt x="20" y="6"/>
                </a:cubicBezTo>
                <a:cubicBezTo>
                  <a:pt x="21" y="6"/>
                  <a:pt x="20" y="7"/>
                  <a:pt x="20" y="6"/>
                </a:cubicBezTo>
                <a:cubicBezTo>
                  <a:pt x="20" y="5"/>
                  <a:pt x="19" y="5"/>
                  <a:pt x="18" y="5"/>
                </a:cubicBezTo>
                <a:cubicBezTo>
                  <a:pt x="18" y="5"/>
                  <a:pt x="19" y="4"/>
                  <a:pt x="20" y="4"/>
                </a:cubicBezTo>
                <a:cubicBezTo>
                  <a:pt x="21" y="4"/>
                  <a:pt x="19" y="3"/>
                  <a:pt x="19" y="3"/>
                </a:cubicBezTo>
                <a:cubicBezTo>
                  <a:pt x="18" y="4"/>
                  <a:pt x="17" y="3"/>
                  <a:pt x="17" y="4"/>
                </a:cubicBezTo>
                <a:cubicBezTo>
                  <a:pt x="16" y="4"/>
                  <a:pt x="16" y="4"/>
                  <a:pt x="15" y="4"/>
                </a:cubicBezTo>
                <a:cubicBezTo>
                  <a:pt x="15" y="3"/>
                  <a:pt x="14" y="5"/>
                  <a:pt x="14" y="4"/>
                </a:cubicBezTo>
                <a:cubicBezTo>
                  <a:pt x="13" y="4"/>
                  <a:pt x="13" y="5"/>
                  <a:pt x="14" y="7"/>
                </a:cubicBezTo>
                <a:cubicBezTo>
                  <a:pt x="14" y="8"/>
                  <a:pt x="15" y="6"/>
                  <a:pt x="16" y="6"/>
                </a:cubicBezTo>
                <a:moveTo>
                  <a:pt x="14" y="10"/>
                </a:moveTo>
                <a:cubicBezTo>
                  <a:pt x="14" y="11"/>
                  <a:pt x="15" y="12"/>
                  <a:pt x="15" y="11"/>
                </a:cubicBezTo>
                <a:cubicBezTo>
                  <a:pt x="16" y="11"/>
                  <a:pt x="15" y="10"/>
                  <a:pt x="14" y="10"/>
                </a:cubicBezTo>
                <a:cubicBezTo>
                  <a:pt x="13" y="9"/>
                  <a:pt x="13" y="8"/>
                  <a:pt x="12" y="8"/>
                </a:cubicBezTo>
                <a:cubicBezTo>
                  <a:pt x="12" y="9"/>
                  <a:pt x="13" y="10"/>
                  <a:pt x="14" y="10"/>
                </a:cubicBezTo>
                <a:moveTo>
                  <a:pt x="29" y="2"/>
                </a:moveTo>
                <a:cubicBezTo>
                  <a:pt x="30" y="3"/>
                  <a:pt x="29" y="3"/>
                  <a:pt x="29" y="3"/>
                </a:cubicBezTo>
                <a:cubicBezTo>
                  <a:pt x="31" y="5"/>
                  <a:pt x="36" y="3"/>
                  <a:pt x="37" y="4"/>
                </a:cubicBezTo>
                <a:cubicBezTo>
                  <a:pt x="38" y="4"/>
                  <a:pt x="32" y="5"/>
                  <a:pt x="33" y="5"/>
                </a:cubicBezTo>
                <a:cubicBezTo>
                  <a:pt x="33" y="6"/>
                  <a:pt x="37" y="6"/>
                  <a:pt x="38" y="6"/>
                </a:cubicBezTo>
                <a:cubicBezTo>
                  <a:pt x="38" y="5"/>
                  <a:pt x="39" y="7"/>
                  <a:pt x="40" y="7"/>
                </a:cubicBezTo>
                <a:cubicBezTo>
                  <a:pt x="42" y="7"/>
                  <a:pt x="42" y="6"/>
                  <a:pt x="43" y="6"/>
                </a:cubicBezTo>
                <a:cubicBezTo>
                  <a:pt x="44" y="6"/>
                  <a:pt x="46" y="5"/>
                  <a:pt x="46" y="5"/>
                </a:cubicBezTo>
                <a:cubicBezTo>
                  <a:pt x="46" y="4"/>
                  <a:pt x="49" y="3"/>
                  <a:pt x="49" y="2"/>
                </a:cubicBezTo>
                <a:cubicBezTo>
                  <a:pt x="49" y="1"/>
                  <a:pt x="45" y="2"/>
                  <a:pt x="44" y="2"/>
                </a:cubicBezTo>
                <a:cubicBezTo>
                  <a:pt x="44" y="1"/>
                  <a:pt x="42" y="0"/>
                  <a:pt x="41" y="1"/>
                </a:cubicBezTo>
                <a:cubicBezTo>
                  <a:pt x="41" y="2"/>
                  <a:pt x="40" y="2"/>
                  <a:pt x="40" y="2"/>
                </a:cubicBezTo>
                <a:cubicBezTo>
                  <a:pt x="40" y="1"/>
                  <a:pt x="40" y="0"/>
                  <a:pt x="39" y="0"/>
                </a:cubicBezTo>
                <a:cubicBezTo>
                  <a:pt x="37" y="1"/>
                  <a:pt x="39" y="2"/>
                  <a:pt x="38" y="3"/>
                </a:cubicBezTo>
                <a:cubicBezTo>
                  <a:pt x="38" y="3"/>
                  <a:pt x="37" y="2"/>
                  <a:pt x="37" y="2"/>
                </a:cubicBezTo>
                <a:cubicBezTo>
                  <a:pt x="36" y="1"/>
                  <a:pt x="35" y="2"/>
                  <a:pt x="35" y="1"/>
                </a:cubicBezTo>
                <a:cubicBezTo>
                  <a:pt x="35" y="1"/>
                  <a:pt x="33" y="0"/>
                  <a:pt x="32" y="0"/>
                </a:cubicBezTo>
                <a:cubicBezTo>
                  <a:pt x="32" y="0"/>
                  <a:pt x="33" y="1"/>
                  <a:pt x="32" y="1"/>
                </a:cubicBezTo>
                <a:cubicBezTo>
                  <a:pt x="32" y="1"/>
                  <a:pt x="31" y="1"/>
                  <a:pt x="31" y="1"/>
                </a:cubicBezTo>
                <a:cubicBezTo>
                  <a:pt x="30" y="1"/>
                  <a:pt x="31" y="1"/>
                  <a:pt x="31" y="2"/>
                </a:cubicBezTo>
                <a:cubicBezTo>
                  <a:pt x="31" y="2"/>
                  <a:pt x="30" y="1"/>
                  <a:pt x="29" y="1"/>
                </a:cubicBezTo>
                <a:cubicBezTo>
                  <a:pt x="29" y="1"/>
                  <a:pt x="29" y="1"/>
                  <a:pt x="28" y="1"/>
                </a:cubicBezTo>
                <a:cubicBezTo>
                  <a:pt x="28" y="2"/>
                  <a:pt x="29" y="2"/>
                  <a:pt x="2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376"/>
          <p:cNvSpPr>
            <a:spLocks/>
          </p:cNvSpPr>
          <p:nvPr/>
        </p:nvSpPr>
        <p:spPr bwMode="auto">
          <a:xfrm>
            <a:off x="4203456" y="2485333"/>
            <a:ext cx="32174" cy="14299"/>
          </a:xfrm>
          <a:custGeom>
            <a:avLst/>
            <a:gdLst>
              <a:gd name="T0" fmla="*/ 3 w 7"/>
              <a:gd name="T1" fmla="*/ 1 h 3"/>
              <a:gd name="T2" fmla="*/ 1 w 7"/>
              <a:gd name="T3" fmla="*/ 1 h 3"/>
              <a:gd name="T4" fmla="*/ 5 w 7"/>
              <a:gd name="T5" fmla="*/ 2 h 3"/>
              <a:gd name="T6" fmla="*/ 7 w 7"/>
              <a:gd name="T7" fmla="*/ 2 h 3"/>
              <a:gd name="T8" fmla="*/ 3 w 7"/>
              <a:gd name="T9" fmla="*/ 1 h 3"/>
            </a:gdLst>
            <a:ahLst/>
            <a:cxnLst>
              <a:cxn ang="0">
                <a:pos x="T0" y="T1"/>
              </a:cxn>
              <a:cxn ang="0">
                <a:pos x="T2" y="T3"/>
              </a:cxn>
              <a:cxn ang="0">
                <a:pos x="T4" y="T5"/>
              </a:cxn>
              <a:cxn ang="0">
                <a:pos x="T6" y="T7"/>
              </a:cxn>
              <a:cxn ang="0">
                <a:pos x="T8" y="T9"/>
              </a:cxn>
            </a:cxnLst>
            <a:rect l="0" t="0" r="r" b="b"/>
            <a:pathLst>
              <a:path w="7" h="3">
                <a:moveTo>
                  <a:pt x="3" y="1"/>
                </a:moveTo>
                <a:cubicBezTo>
                  <a:pt x="3" y="1"/>
                  <a:pt x="0" y="1"/>
                  <a:pt x="1" y="1"/>
                </a:cubicBezTo>
                <a:cubicBezTo>
                  <a:pt x="1" y="2"/>
                  <a:pt x="4" y="2"/>
                  <a:pt x="5" y="2"/>
                </a:cubicBezTo>
                <a:cubicBezTo>
                  <a:pt x="6" y="3"/>
                  <a:pt x="7" y="2"/>
                  <a:pt x="7" y="2"/>
                </a:cubicBezTo>
                <a:cubicBezTo>
                  <a:pt x="7" y="1"/>
                  <a:pt x="4"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377"/>
          <p:cNvSpPr>
            <a:spLocks noEditPoints="1"/>
          </p:cNvSpPr>
          <p:nvPr/>
        </p:nvSpPr>
        <p:spPr bwMode="auto">
          <a:xfrm>
            <a:off x="3570708" y="2753447"/>
            <a:ext cx="182317" cy="185892"/>
          </a:xfrm>
          <a:custGeom>
            <a:avLst/>
            <a:gdLst>
              <a:gd name="T0" fmla="*/ 34 w 38"/>
              <a:gd name="T1" fmla="*/ 5 h 38"/>
              <a:gd name="T2" fmla="*/ 27 w 38"/>
              <a:gd name="T3" fmla="*/ 2 h 38"/>
              <a:gd name="T4" fmla="*/ 27 w 38"/>
              <a:gd name="T5" fmla="*/ 6 h 38"/>
              <a:gd name="T6" fmla="*/ 24 w 38"/>
              <a:gd name="T7" fmla="*/ 8 h 38"/>
              <a:gd name="T8" fmla="*/ 24 w 38"/>
              <a:gd name="T9" fmla="*/ 11 h 38"/>
              <a:gd name="T10" fmla="*/ 26 w 38"/>
              <a:gd name="T11" fmla="*/ 10 h 38"/>
              <a:gd name="T12" fmla="*/ 26 w 38"/>
              <a:gd name="T13" fmla="*/ 9 h 38"/>
              <a:gd name="T14" fmla="*/ 31 w 38"/>
              <a:gd name="T15" fmla="*/ 9 h 38"/>
              <a:gd name="T16" fmla="*/ 35 w 38"/>
              <a:gd name="T17" fmla="*/ 6 h 38"/>
              <a:gd name="T18" fmla="*/ 36 w 38"/>
              <a:gd name="T19" fmla="*/ 4 h 38"/>
              <a:gd name="T20" fmla="*/ 23 w 38"/>
              <a:gd name="T21" fmla="*/ 16 h 38"/>
              <a:gd name="T22" fmla="*/ 21 w 38"/>
              <a:gd name="T23" fmla="*/ 21 h 38"/>
              <a:gd name="T24" fmla="*/ 17 w 38"/>
              <a:gd name="T25" fmla="*/ 22 h 38"/>
              <a:gd name="T26" fmla="*/ 14 w 38"/>
              <a:gd name="T27" fmla="*/ 26 h 38"/>
              <a:gd name="T28" fmla="*/ 10 w 38"/>
              <a:gd name="T29" fmla="*/ 27 h 38"/>
              <a:gd name="T30" fmla="*/ 4 w 38"/>
              <a:gd name="T31" fmla="*/ 30 h 38"/>
              <a:gd name="T32" fmla="*/ 6 w 38"/>
              <a:gd name="T33" fmla="*/ 30 h 38"/>
              <a:gd name="T34" fmla="*/ 13 w 38"/>
              <a:gd name="T35" fmla="*/ 31 h 38"/>
              <a:gd name="T36" fmla="*/ 16 w 38"/>
              <a:gd name="T37" fmla="*/ 29 h 38"/>
              <a:gd name="T38" fmla="*/ 20 w 38"/>
              <a:gd name="T39" fmla="*/ 29 h 38"/>
              <a:gd name="T40" fmla="*/ 22 w 38"/>
              <a:gd name="T41" fmla="*/ 28 h 38"/>
              <a:gd name="T42" fmla="*/ 25 w 38"/>
              <a:gd name="T43" fmla="*/ 24 h 38"/>
              <a:gd name="T44" fmla="*/ 28 w 38"/>
              <a:gd name="T45" fmla="*/ 18 h 38"/>
              <a:gd name="T46" fmla="*/ 24 w 38"/>
              <a:gd name="T47" fmla="*/ 13 h 38"/>
              <a:gd name="T48" fmla="*/ 7 w 38"/>
              <a:gd name="T49" fmla="*/ 31 h 38"/>
              <a:gd name="T50" fmla="*/ 8 w 38"/>
              <a:gd name="T51" fmla="*/ 33 h 38"/>
              <a:gd name="T52" fmla="*/ 12 w 38"/>
              <a:gd name="T53" fmla="*/ 30 h 38"/>
              <a:gd name="T54" fmla="*/ 5 w 38"/>
              <a:gd name="T55" fmla="*/ 33 h 38"/>
              <a:gd name="T56" fmla="*/ 1 w 38"/>
              <a:gd name="T57" fmla="*/ 32 h 38"/>
              <a:gd name="T58" fmla="*/ 2 w 38"/>
              <a:gd name="T59" fmla="*/ 33 h 38"/>
              <a:gd name="T60" fmla="*/ 3 w 38"/>
              <a:gd name="T61" fmla="*/ 38 h 38"/>
              <a:gd name="T62" fmla="*/ 5 w 38"/>
              <a:gd name="T63"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38">
                <a:moveTo>
                  <a:pt x="36" y="4"/>
                </a:moveTo>
                <a:cubicBezTo>
                  <a:pt x="35" y="4"/>
                  <a:pt x="35" y="5"/>
                  <a:pt x="34" y="5"/>
                </a:cubicBezTo>
                <a:cubicBezTo>
                  <a:pt x="33" y="5"/>
                  <a:pt x="30" y="2"/>
                  <a:pt x="29" y="1"/>
                </a:cubicBezTo>
                <a:cubicBezTo>
                  <a:pt x="28" y="0"/>
                  <a:pt x="27" y="1"/>
                  <a:pt x="27" y="2"/>
                </a:cubicBezTo>
                <a:cubicBezTo>
                  <a:pt x="28" y="3"/>
                  <a:pt x="27" y="3"/>
                  <a:pt x="27" y="4"/>
                </a:cubicBezTo>
                <a:cubicBezTo>
                  <a:pt x="27" y="5"/>
                  <a:pt x="26" y="5"/>
                  <a:pt x="27" y="6"/>
                </a:cubicBezTo>
                <a:cubicBezTo>
                  <a:pt x="27" y="7"/>
                  <a:pt x="26" y="7"/>
                  <a:pt x="25" y="7"/>
                </a:cubicBezTo>
                <a:cubicBezTo>
                  <a:pt x="24" y="7"/>
                  <a:pt x="25" y="8"/>
                  <a:pt x="24" y="8"/>
                </a:cubicBezTo>
                <a:cubicBezTo>
                  <a:pt x="23" y="9"/>
                  <a:pt x="23" y="9"/>
                  <a:pt x="24" y="9"/>
                </a:cubicBezTo>
                <a:cubicBezTo>
                  <a:pt x="24" y="10"/>
                  <a:pt x="24" y="11"/>
                  <a:pt x="24" y="11"/>
                </a:cubicBezTo>
                <a:cubicBezTo>
                  <a:pt x="23" y="12"/>
                  <a:pt x="24" y="11"/>
                  <a:pt x="25" y="11"/>
                </a:cubicBezTo>
                <a:cubicBezTo>
                  <a:pt x="25" y="10"/>
                  <a:pt x="26" y="11"/>
                  <a:pt x="26" y="10"/>
                </a:cubicBezTo>
                <a:cubicBezTo>
                  <a:pt x="26" y="10"/>
                  <a:pt x="24" y="9"/>
                  <a:pt x="24" y="9"/>
                </a:cubicBezTo>
                <a:cubicBezTo>
                  <a:pt x="25" y="8"/>
                  <a:pt x="26" y="9"/>
                  <a:pt x="26" y="9"/>
                </a:cubicBezTo>
                <a:cubicBezTo>
                  <a:pt x="27" y="8"/>
                  <a:pt x="29" y="9"/>
                  <a:pt x="30" y="9"/>
                </a:cubicBezTo>
                <a:cubicBezTo>
                  <a:pt x="31" y="10"/>
                  <a:pt x="31" y="10"/>
                  <a:pt x="31" y="9"/>
                </a:cubicBezTo>
                <a:cubicBezTo>
                  <a:pt x="31" y="8"/>
                  <a:pt x="33" y="7"/>
                  <a:pt x="34" y="7"/>
                </a:cubicBezTo>
                <a:cubicBezTo>
                  <a:pt x="36" y="7"/>
                  <a:pt x="36" y="7"/>
                  <a:pt x="35" y="6"/>
                </a:cubicBezTo>
                <a:cubicBezTo>
                  <a:pt x="35" y="6"/>
                  <a:pt x="38" y="4"/>
                  <a:pt x="38" y="4"/>
                </a:cubicBezTo>
                <a:cubicBezTo>
                  <a:pt x="38" y="3"/>
                  <a:pt x="36" y="5"/>
                  <a:pt x="36" y="4"/>
                </a:cubicBezTo>
                <a:moveTo>
                  <a:pt x="24" y="13"/>
                </a:moveTo>
                <a:cubicBezTo>
                  <a:pt x="23" y="13"/>
                  <a:pt x="23" y="15"/>
                  <a:pt x="23" y="16"/>
                </a:cubicBezTo>
                <a:cubicBezTo>
                  <a:pt x="24" y="17"/>
                  <a:pt x="22" y="18"/>
                  <a:pt x="22" y="19"/>
                </a:cubicBezTo>
                <a:cubicBezTo>
                  <a:pt x="22" y="20"/>
                  <a:pt x="21" y="20"/>
                  <a:pt x="21" y="21"/>
                </a:cubicBezTo>
                <a:cubicBezTo>
                  <a:pt x="21" y="22"/>
                  <a:pt x="20" y="22"/>
                  <a:pt x="19" y="23"/>
                </a:cubicBezTo>
                <a:cubicBezTo>
                  <a:pt x="18" y="24"/>
                  <a:pt x="17" y="23"/>
                  <a:pt x="17" y="22"/>
                </a:cubicBezTo>
                <a:cubicBezTo>
                  <a:pt x="18" y="21"/>
                  <a:pt x="16" y="22"/>
                  <a:pt x="16" y="24"/>
                </a:cubicBezTo>
                <a:cubicBezTo>
                  <a:pt x="16" y="25"/>
                  <a:pt x="14" y="25"/>
                  <a:pt x="14" y="26"/>
                </a:cubicBezTo>
                <a:cubicBezTo>
                  <a:pt x="15" y="27"/>
                  <a:pt x="13" y="27"/>
                  <a:pt x="13" y="26"/>
                </a:cubicBezTo>
                <a:cubicBezTo>
                  <a:pt x="13" y="26"/>
                  <a:pt x="12" y="26"/>
                  <a:pt x="10" y="27"/>
                </a:cubicBezTo>
                <a:cubicBezTo>
                  <a:pt x="9" y="27"/>
                  <a:pt x="8" y="26"/>
                  <a:pt x="7" y="27"/>
                </a:cubicBezTo>
                <a:cubicBezTo>
                  <a:pt x="6" y="28"/>
                  <a:pt x="5" y="29"/>
                  <a:pt x="4" y="30"/>
                </a:cubicBezTo>
                <a:cubicBezTo>
                  <a:pt x="3" y="30"/>
                  <a:pt x="3" y="31"/>
                  <a:pt x="4" y="31"/>
                </a:cubicBezTo>
                <a:cubicBezTo>
                  <a:pt x="5" y="30"/>
                  <a:pt x="6" y="31"/>
                  <a:pt x="6" y="30"/>
                </a:cubicBezTo>
                <a:cubicBezTo>
                  <a:pt x="7" y="30"/>
                  <a:pt x="10" y="29"/>
                  <a:pt x="12" y="29"/>
                </a:cubicBezTo>
                <a:cubicBezTo>
                  <a:pt x="14" y="29"/>
                  <a:pt x="13" y="30"/>
                  <a:pt x="13" y="31"/>
                </a:cubicBezTo>
                <a:cubicBezTo>
                  <a:pt x="13" y="32"/>
                  <a:pt x="14" y="32"/>
                  <a:pt x="15" y="31"/>
                </a:cubicBezTo>
                <a:cubicBezTo>
                  <a:pt x="16" y="30"/>
                  <a:pt x="17" y="30"/>
                  <a:pt x="16" y="29"/>
                </a:cubicBezTo>
                <a:cubicBezTo>
                  <a:pt x="15" y="29"/>
                  <a:pt x="16" y="28"/>
                  <a:pt x="17" y="29"/>
                </a:cubicBezTo>
                <a:cubicBezTo>
                  <a:pt x="17" y="30"/>
                  <a:pt x="19" y="30"/>
                  <a:pt x="20" y="29"/>
                </a:cubicBezTo>
                <a:cubicBezTo>
                  <a:pt x="20" y="28"/>
                  <a:pt x="20" y="29"/>
                  <a:pt x="21" y="29"/>
                </a:cubicBezTo>
                <a:cubicBezTo>
                  <a:pt x="22" y="29"/>
                  <a:pt x="22" y="27"/>
                  <a:pt x="22" y="28"/>
                </a:cubicBezTo>
                <a:cubicBezTo>
                  <a:pt x="23" y="28"/>
                  <a:pt x="24" y="28"/>
                  <a:pt x="25" y="27"/>
                </a:cubicBezTo>
                <a:cubicBezTo>
                  <a:pt x="25" y="26"/>
                  <a:pt x="25" y="25"/>
                  <a:pt x="25" y="24"/>
                </a:cubicBezTo>
                <a:cubicBezTo>
                  <a:pt x="26" y="23"/>
                  <a:pt x="26" y="22"/>
                  <a:pt x="26" y="21"/>
                </a:cubicBezTo>
                <a:cubicBezTo>
                  <a:pt x="25" y="20"/>
                  <a:pt x="27" y="19"/>
                  <a:pt x="28" y="18"/>
                </a:cubicBezTo>
                <a:cubicBezTo>
                  <a:pt x="29" y="17"/>
                  <a:pt x="27" y="14"/>
                  <a:pt x="27" y="12"/>
                </a:cubicBezTo>
                <a:cubicBezTo>
                  <a:pt x="27" y="11"/>
                  <a:pt x="24" y="13"/>
                  <a:pt x="24" y="13"/>
                </a:cubicBezTo>
                <a:moveTo>
                  <a:pt x="9" y="30"/>
                </a:moveTo>
                <a:cubicBezTo>
                  <a:pt x="9" y="31"/>
                  <a:pt x="8" y="31"/>
                  <a:pt x="7" y="31"/>
                </a:cubicBezTo>
                <a:cubicBezTo>
                  <a:pt x="6" y="31"/>
                  <a:pt x="6" y="33"/>
                  <a:pt x="7" y="34"/>
                </a:cubicBezTo>
                <a:cubicBezTo>
                  <a:pt x="8" y="34"/>
                  <a:pt x="8" y="34"/>
                  <a:pt x="8" y="33"/>
                </a:cubicBezTo>
                <a:cubicBezTo>
                  <a:pt x="8" y="32"/>
                  <a:pt x="10" y="32"/>
                  <a:pt x="10" y="32"/>
                </a:cubicBezTo>
                <a:cubicBezTo>
                  <a:pt x="11" y="33"/>
                  <a:pt x="12" y="31"/>
                  <a:pt x="12" y="30"/>
                </a:cubicBezTo>
                <a:cubicBezTo>
                  <a:pt x="12" y="29"/>
                  <a:pt x="10" y="29"/>
                  <a:pt x="9" y="30"/>
                </a:cubicBezTo>
                <a:moveTo>
                  <a:pt x="5" y="33"/>
                </a:moveTo>
                <a:cubicBezTo>
                  <a:pt x="5" y="32"/>
                  <a:pt x="4" y="32"/>
                  <a:pt x="3" y="32"/>
                </a:cubicBezTo>
                <a:cubicBezTo>
                  <a:pt x="3" y="31"/>
                  <a:pt x="2" y="31"/>
                  <a:pt x="1" y="32"/>
                </a:cubicBezTo>
                <a:cubicBezTo>
                  <a:pt x="0" y="33"/>
                  <a:pt x="0" y="33"/>
                  <a:pt x="0" y="34"/>
                </a:cubicBezTo>
                <a:cubicBezTo>
                  <a:pt x="1" y="34"/>
                  <a:pt x="1" y="34"/>
                  <a:pt x="2" y="33"/>
                </a:cubicBezTo>
                <a:cubicBezTo>
                  <a:pt x="2" y="32"/>
                  <a:pt x="3" y="34"/>
                  <a:pt x="2" y="35"/>
                </a:cubicBezTo>
                <a:cubicBezTo>
                  <a:pt x="1" y="36"/>
                  <a:pt x="2" y="38"/>
                  <a:pt x="3" y="38"/>
                </a:cubicBezTo>
                <a:cubicBezTo>
                  <a:pt x="4" y="38"/>
                  <a:pt x="4" y="35"/>
                  <a:pt x="5" y="34"/>
                </a:cubicBezTo>
                <a:cubicBezTo>
                  <a:pt x="6" y="33"/>
                  <a:pt x="5" y="33"/>
                  <a:pt x="5" y="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378"/>
          <p:cNvSpPr>
            <a:spLocks noEditPoints="1"/>
          </p:cNvSpPr>
          <p:nvPr/>
        </p:nvSpPr>
        <p:spPr bwMode="auto">
          <a:xfrm>
            <a:off x="2988008" y="2642627"/>
            <a:ext cx="639898" cy="443281"/>
          </a:xfrm>
          <a:custGeom>
            <a:avLst/>
            <a:gdLst>
              <a:gd name="T0" fmla="*/ 126 w 133"/>
              <a:gd name="T1" fmla="*/ 17 h 92"/>
              <a:gd name="T2" fmla="*/ 120 w 133"/>
              <a:gd name="T3" fmla="*/ 12 h 92"/>
              <a:gd name="T4" fmla="*/ 115 w 133"/>
              <a:gd name="T5" fmla="*/ 5 h 92"/>
              <a:gd name="T6" fmla="*/ 107 w 133"/>
              <a:gd name="T7" fmla="*/ 0 h 92"/>
              <a:gd name="T8" fmla="*/ 102 w 133"/>
              <a:gd name="T9" fmla="*/ 4 h 92"/>
              <a:gd name="T10" fmla="*/ 97 w 133"/>
              <a:gd name="T11" fmla="*/ 11 h 92"/>
              <a:gd name="T12" fmla="*/ 91 w 133"/>
              <a:gd name="T13" fmla="*/ 14 h 92"/>
              <a:gd name="T14" fmla="*/ 95 w 133"/>
              <a:gd name="T15" fmla="*/ 17 h 92"/>
              <a:gd name="T16" fmla="*/ 95 w 133"/>
              <a:gd name="T17" fmla="*/ 21 h 92"/>
              <a:gd name="T18" fmla="*/ 83 w 133"/>
              <a:gd name="T19" fmla="*/ 25 h 92"/>
              <a:gd name="T20" fmla="*/ 75 w 133"/>
              <a:gd name="T21" fmla="*/ 32 h 92"/>
              <a:gd name="T22" fmla="*/ 62 w 133"/>
              <a:gd name="T23" fmla="*/ 33 h 92"/>
              <a:gd name="T24" fmla="*/ 48 w 133"/>
              <a:gd name="T25" fmla="*/ 31 h 92"/>
              <a:gd name="T26" fmla="*/ 41 w 133"/>
              <a:gd name="T27" fmla="*/ 25 h 92"/>
              <a:gd name="T28" fmla="*/ 36 w 133"/>
              <a:gd name="T29" fmla="*/ 18 h 92"/>
              <a:gd name="T30" fmla="*/ 30 w 133"/>
              <a:gd name="T31" fmla="*/ 13 h 92"/>
              <a:gd name="T32" fmla="*/ 27 w 133"/>
              <a:gd name="T33" fmla="*/ 15 h 92"/>
              <a:gd name="T34" fmla="*/ 22 w 133"/>
              <a:gd name="T35" fmla="*/ 19 h 92"/>
              <a:gd name="T36" fmla="*/ 18 w 133"/>
              <a:gd name="T37" fmla="*/ 24 h 92"/>
              <a:gd name="T38" fmla="*/ 16 w 133"/>
              <a:gd name="T39" fmla="*/ 30 h 92"/>
              <a:gd name="T40" fmla="*/ 11 w 133"/>
              <a:gd name="T41" fmla="*/ 35 h 92"/>
              <a:gd name="T42" fmla="*/ 4 w 133"/>
              <a:gd name="T43" fmla="*/ 37 h 92"/>
              <a:gd name="T44" fmla="*/ 0 w 133"/>
              <a:gd name="T45" fmla="*/ 39 h 92"/>
              <a:gd name="T46" fmla="*/ 3 w 133"/>
              <a:gd name="T47" fmla="*/ 46 h 92"/>
              <a:gd name="T48" fmla="*/ 8 w 133"/>
              <a:gd name="T49" fmla="*/ 50 h 92"/>
              <a:gd name="T50" fmla="*/ 14 w 133"/>
              <a:gd name="T51" fmla="*/ 51 h 92"/>
              <a:gd name="T52" fmla="*/ 12 w 133"/>
              <a:gd name="T53" fmla="*/ 56 h 92"/>
              <a:gd name="T54" fmla="*/ 13 w 133"/>
              <a:gd name="T55" fmla="*/ 61 h 92"/>
              <a:gd name="T56" fmla="*/ 17 w 133"/>
              <a:gd name="T57" fmla="*/ 63 h 92"/>
              <a:gd name="T58" fmla="*/ 30 w 133"/>
              <a:gd name="T59" fmla="*/ 69 h 92"/>
              <a:gd name="T60" fmla="*/ 32 w 133"/>
              <a:gd name="T61" fmla="*/ 70 h 92"/>
              <a:gd name="T62" fmla="*/ 39 w 133"/>
              <a:gd name="T63" fmla="*/ 69 h 92"/>
              <a:gd name="T64" fmla="*/ 43 w 133"/>
              <a:gd name="T65" fmla="*/ 66 h 92"/>
              <a:gd name="T66" fmla="*/ 49 w 133"/>
              <a:gd name="T67" fmla="*/ 68 h 92"/>
              <a:gd name="T68" fmla="*/ 52 w 133"/>
              <a:gd name="T69" fmla="*/ 70 h 92"/>
              <a:gd name="T70" fmla="*/ 52 w 133"/>
              <a:gd name="T71" fmla="*/ 78 h 92"/>
              <a:gd name="T72" fmla="*/ 55 w 133"/>
              <a:gd name="T73" fmla="*/ 83 h 92"/>
              <a:gd name="T74" fmla="*/ 59 w 133"/>
              <a:gd name="T75" fmla="*/ 83 h 92"/>
              <a:gd name="T76" fmla="*/ 64 w 133"/>
              <a:gd name="T77" fmla="*/ 81 h 92"/>
              <a:gd name="T78" fmla="*/ 70 w 133"/>
              <a:gd name="T79" fmla="*/ 82 h 92"/>
              <a:gd name="T80" fmla="*/ 75 w 133"/>
              <a:gd name="T81" fmla="*/ 84 h 92"/>
              <a:gd name="T82" fmla="*/ 78 w 133"/>
              <a:gd name="T83" fmla="*/ 85 h 92"/>
              <a:gd name="T84" fmla="*/ 91 w 133"/>
              <a:gd name="T85" fmla="*/ 80 h 92"/>
              <a:gd name="T86" fmla="*/ 97 w 133"/>
              <a:gd name="T87" fmla="*/ 76 h 92"/>
              <a:gd name="T88" fmla="*/ 99 w 133"/>
              <a:gd name="T89" fmla="*/ 71 h 92"/>
              <a:gd name="T90" fmla="*/ 103 w 133"/>
              <a:gd name="T91" fmla="*/ 66 h 92"/>
              <a:gd name="T92" fmla="*/ 102 w 133"/>
              <a:gd name="T93" fmla="*/ 63 h 92"/>
              <a:gd name="T94" fmla="*/ 101 w 133"/>
              <a:gd name="T95" fmla="*/ 59 h 92"/>
              <a:gd name="T96" fmla="*/ 102 w 133"/>
              <a:gd name="T97" fmla="*/ 56 h 92"/>
              <a:gd name="T98" fmla="*/ 100 w 133"/>
              <a:gd name="T99" fmla="*/ 48 h 92"/>
              <a:gd name="T100" fmla="*/ 104 w 133"/>
              <a:gd name="T101" fmla="*/ 45 h 92"/>
              <a:gd name="T102" fmla="*/ 95 w 133"/>
              <a:gd name="T103" fmla="*/ 43 h 92"/>
              <a:gd name="T104" fmla="*/ 104 w 133"/>
              <a:gd name="T105" fmla="*/ 36 h 92"/>
              <a:gd name="T106" fmla="*/ 108 w 133"/>
              <a:gd name="T107" fmla="*/ 39 h 92"/>
              <a:gd name="T108" fmla="*/ 115 w 133"/>
              <a:gd name="T109" fmla="*/ 34 h 92"/>
              <a:gd name="T110" fmla="*/ 121 w 133"/>
              <a:gd name="T111" fmla="*/ 32 h 92"/>
              <a:gd name="T112" fmla="*/ 125 w 133"/>
              <a:gd name="T113" fmla="*/ 31 h 92"/>
              <a:gd name="T114" fmla="*/ 127 w 133"/>
              <a:gd name="T115" fmla="*/ 24 h 92"/>
              <a:gd name="T116" fmla="*/ 132 w 133"/>
              <a:gd name="T117" fmla="*/ 18 h 92"/>
              <a:gd name="T118" fmla="*/ 104 w 133"/>
              <a:gd name="T119" fmla="*/ 75 h 92"/>
              <a:gd name="T120" fmla="*/ 78 w 133"/>
              <a:gd name="T121"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92">
                <a:moveTo>
                  <a:pt x="132" y="16"/>
                </a:moveTo>
                <a:cubicBezTo>
                  <a:pt x="132" y="15"/>
                  <a:pt x="131" y="16"/>
                  <a:pt x="131" y="16"/>
                </a:cubicBezTo>
                <a:cubicBezTo>
                  <a:pt x="130" y="16"/>
                  <a:pt x="129" y="16"/>
                  <a:pt x="128" y="17"/>
                </a:cubicBezTo>
                <a:cubicBezTo>
                  <a:pt x="128" y="18"/>
                  <a:pt x="127" y="17"/>
                  <a:pt x="126" y="17"/>
                </a:cubicBezTo>
                <a:cubicBezTo>
                  <a:pt x="125" y="17"/>
                  <a:pt x="124" y="17"/>
                  <a:pt x="124" y="16"/>
                </a:cubicBezTo>
                <a:cubicBezTo>
                  <a:pt x="124" y="16"/>
                  <a:pt x="124" y="15"/>
                  <a:pt x="124" y="15"/>
                </a:cubicBezTo>
                <a:cubicBezTo>
                  <a:pt x="124" y="14"/>
                  <a:pt x="123" y="14"/>
                  <a:pt x="122" y="13"/>
                </a:cubicBezTo>
                <a:cubicBezTo>
                  <a:pt x="122" y="13"/>
                  <a:pt x="120" y="12"/>
                  <a:pt x="120" y="12"/>
                </a:cubicBezTo>
                <a:cubicBezTo>
                  <a:pt x="120" y="13"/>
                  <a:pt x="119" y="12"/>
                  <a:pt x="118" y="12"/>
                </a:cubicBezTo>
                <a:cubicBezTo>
                  <a:pt x="117" y="12"/>
                  <a:pt x="117" y="11"/>
                  <a:pt x="117" y="10"/>
                </a:cubicBezTo>
                <a:cubicBezTo>
                  <a:pt x="117" y="10"/>
                  <a:pt x="116" y="9"/>
                  <a:pt x="116" y="8"/>
                </a:cubicBezTo>
                <a:cubicBezTo>
                  <a:pt x="116" y="7"/>
                  <a:pt x="115" y="7"/>
                  <a:pt x="115" y="5"/>
                </a:cubicBezTo>
                <a:cubicBezTo>
                  <a:pt x="114" y="3"/>
                  <a:pt x="113" y="4"/>
                  <a:pt x="114" y="3"/>
                </a:cubicBezTo>
                <a:cubicBezTo>
                  <a:pt x="114" y="2"/>
                  <a:pt x="112" y="2"/>
                  <a:pt x="112" y="2"/>
                </a:cubicBezTo>
                <a:cubicBezTo>
                  <a:pt x="112" y="1"/>
                  <a:pt x="110" y="1"/>
                  <a:pt x="109" y="1"/>
                </a:cubicBezTo>
                <a:cubicBezTo>
                  <a:pt x="108" y="0"/>
                  <a:pt x="108" y="1"/>
                  <a:pt x="107" y="0"/>
                </a:cubicBezTo>
                <a:cubicBezTo>
                  <a:pt x="106" y="0"/>
                  <a:pt x="104" y="1"/>
                  <a:pt x="104" y="1"/>
                </a:cubicBezTo>
                <a:cubicBezTo>
                  <a:pt x="103" y="1"/>
                  <a:pt x="102" y="0"/>
                  <a:pt x="101" y="2"/>
                </a:cubicBezTo>
                <a:cubicBezTo>
                  <a:pt x="100" y="3"/>
                  <a:pt x="101" y="3"/>
                  <a:pt x="101" y="3"/>
                </a:cubicBezTo>
                <a:cubicBezTo>
                  <a:pt x="101" y="3"/>
                  <a:pt x="102" y="4"/>
                  <a:pt x="102" y="4"/>
                </a:cubicBezTo>
                <a:cubicBezTo>
                  <a:pt x="102" y="5"/>
                  <a:pt x="101" y="5"/>
                  <a:pt x="101" y="5"/>
                </a:cubicBezTo>
                <a:cubicBezTo>
                  <a:pt x="100" y="5"/>
                  <a:pt x="99" y="7"/>
                  <a:pt x="99" y="7"/>
                </a:cubicBezTo>
                <a:cubicBezTo>
                  <a:pt x="99" y="8"/>
                  <a:pt x="98" y="9"/>
                  <a:pt x="98" y="10"/>
                </a:cubicBezTo>
                <a:cubicBezTo>
                  <a:pt x="98" y="10"/>
                  <a:pt x="98" y="11"/>
                  <a:pt x="97" y="11"/>
                </a:cubicBezTo>
                <a:cubicBezTo>
                  <a:pt x="97" y="11"/>
                  <a:pt x="96" y="12"/>
                  <a:pt x="95" y="12"/>
                </a:cubicBezTo>
                <a:cubicBezTo>
                  <a:pt x="95" y="12"/>
                  <a:pt x="93" y="12"/>
                  <a:pt x="93" y="11"/>
                </a:cubicBezTo>
                <a:cubicBezTo>
                  <a:pt x="93" y="11"/>
                  <a:pt x="93" y="11"/>
                  <a:pt x="93" y="11"/>
                </a:cubicBezTo>
                <a:cubicBezTo>
                  <a:pt x="91" y="14"/>
                  <a:pt x="91" y="14"/>
                  <a:pt x="91" y="14"/>
                </a:cubicBezTo>
                <a:cubicBezTo>
                  <a:pt x="91" y="16"/>
                  <a:pt x="91" y="16"/>
                  <a:pt x="91" y="16"/>
                </a:cubicBezTo>
                <a:cubicBezTo>
                  <a:pt x="91" y="16"/>
                  <a:pt x="90" y="16"/>
                  <a:pt x="90" y="17"/>
                </a:cubicBezTo>
                <a:cubicBezTo>
                  <a:pt x="91" y="18"/>
                  <a:pt x="91" y="17"/>
                  <a:pt x="93" y="17"/>
                </a:cubicBezTo>
                <a:cubicBezTo>
                  <a:pt x="94" y="17"/>
                  <a:pt x="95" y="18"/>
                  <a:pt x="95" y="17"/>
                </a:cubicBezTo>
                <a:cubicBezTo>
                  <a:pt x="95" y="16"/>
                  <a:pt x="96" y="16"/>
                  <a:pt x="97" y="17"/>
                </a:cubicBezTo>
                <a:cubicBezTo>
                  <a:pt x="98" y="18"/>
                  <a:pt x="100" y="19"/>
                  <a:pt x="100" y="20"/>
                </a:cubicBezTo>
                <a:cubicBezTo>
                  <a:pt x="100" y="21"/>
                  <a:pt x="98" y="20"/>
                  <a:pt x="97" y="20"/>
                </a:cubicBezTo>
                <a:cubicBezTo>
                  <a:pt x="97" y="20"/>
                  <a:pt x="96" y="21"/>
                  <a:pt x="95" y="21"/>
                </a:cubicBezTo>
                <a:cubicBezTo>
                  <a:pt x="94" y="21"/>
                  <a:pt x="93" y="21"/>
                  <a:pt x="92" y="22"/>
                </a:cubicBezTo>
                <a:cubicBezTo>
                  <a:pt x="91" y="23"/>
                  <a:pt x="91" y="24"/>
                  <a:pt x="90" y="24"/>
                </a:cubicBezTo>
                <a:cubicBezTo>
                  <a:pt x="89" y="24"/>
                  <a:pt x="88" y="24"/>
                  <a:pt x="87" y="25"/>
                </a:cubicBezTo>
                <a:cubicBezTo>
                  <a:pt x="85" y="26"/>
                  <a:pt x="84" y="25"/>
                  <a:pt x="83" y="25"/>
                </a:cubicBezTo>
                <a:cubicBezTo>
                  <a:pt x="83" y="25"/>
                  <a:pt x="82" y="25"/>
                  <a:pt x="81" y="26"/>
                </a:cubicBezTo>
                <a:cubicBezTo>
                  <a:pt x="80" y="27"/>
                  <a:pt x="82" y="27"/>
                  <a:pt x="82" y="28"/>
                </a:cubicBezTo>
                <a:cubicBezTo>
                  <a:pt x="81" y="29"/>
                  <a:pt x="80" y="29"/>
                  <a:pt x="79" y="30"/>
                </a:cubicBezTo>
                <a:cubicBezTo>
                  <a:pt x="78" y="31"/>
                  <a:pt x="76" y="32"/>
                  <a:pt x="75" y="32"/>
                </a:cubicBezTo>
                <a:cubicBezTo>
                  <a:pt x="74" y="32"/>
                  <a:pt x="72" y="31"/>
                  <a:pt x="70" y="32"/>
                </a:cubicBezTo>
                <a:cubicBezTo>
                  <a:pt x="68" y="33"/>
                  <a:pt x="67" y="34"/>
                  <a:pt x="66" y="34"/>
                </a:cubicBezTo>
                <a:cubicBezTo>
                  <a:pt x="65" y="34"/>
                  <a:pt x="65" y="33"/>
                  <a:pt x="64" y="33"/>
                </a:cubicBezTo>
                <a:cubicBezTo>
                  <a:pt x="63" y="33"/>
                  <a:pt x="63" y="33"/>
                  <a:pt x="62" y="33"/>
                </a:cubicBezTo>
                <a:cubicBezTo>
                  <a:pt x="61" y="32"/>
                  <a:pt x="61" y="33"/>
                  <a:pt x="60" y="32"/>
                </a:cubicBezTo>
                <a:cubicBezTo>
                  <a:pt x="58" y="31"/>
                  <a:pt x="56" y="31"/>
                  <a:pt x="56" y="31"/>
                </a:cubicBezTo>
                <a:cubicBezTo>
                  <a:pt x="55" y="31"/>
                  <a:pt x="51" y="31"/>
                  <a:pt x="50" y="31"/>
                </a:cubicBezTo>
                <a:cubicBezTo>
                  <a:pt x="49" y="31"/>
                  <a:pt x="48" y="31"/>
                  <a:pt x="48" y="31"/>
                </a:cubicBezTo>
                <a:cubicBezTo>
                  <a:pt x="47" y="30"/>
                  <a:pt x="47" y="30"/>
                  <a:pt x="46" y="29"/>
                </a:cubicBezTo>
                <a:cubicBezTo>
                  <a:pt x="46" y="27"/>
                  <a:pt x="45" y="27"/>
                  <a:pt x="45" y="27"/>
                </a:cubicBezTo>
                <a:cubicBezTo>
                  <a:pt x="44" y="27"/>
                  <a:pt x="44" y="26"/>
                  <a:pt x="43" y="26"/>
                </a:cubicBezTo>
                <a:cubicBezTo>
                  <a:pt x="43" y="26"/>
                  <a:pt x="42" y="25"/>
                  <a:pt x="41" y="25"/>
                </a:cubicBezTo>
                <a:cubicBezTo>
                  <a:pt x="40" y="25"/>
                  <a:pt x="37" y="24"/>
                  <a:pt x="36" y="23"/>
                </a:cubicBezTo>
                <a:cubicBezTo>
                  <a:pt x="36" y="23"/>
                  <a:pt x="37" y="22"/>
                  <a:pt x="37" y="22"/>
                </a:cubicBezTo>
                <a:cubicBezTo>
                  <a:pt x="37" y="21"/>
                  <a:pt x="38" y="20"/>
                  <a:pt x="37" y="19"/>
                </a:cubicBezTo>
                <a:cubicBezTo>
                  <a:pt x="37" y="19"/>
                  <a:pt x="36" y="18"/>
                  <a:pt x="36" y="18"/>
                </a:cubicBezTo>
                <a:cubicBezTo>
                  <a:pt x="36" y="17"/>
                  <a:pt x="35" y="16"/>
                  <a:pt x="34" y="16"/>
                </a:cubicBezTo>
                <a:cubicBezTo>
                  <a:pt x="33" y="16"/>
                  <a:pt x="33" y="16"/>
                  <a:pt x="32" y="15"/>
                </a:cubicBezTo>
                <a:cubicBezTo>
                  <a:pt x="31" y="15"/>
                  <a:pt x="31" y="15"/>
                  <a:pt x="30" y="13"/>
                </a:cubicBezTo>
                <a:cubicBezTo>
                  <a:pt x="30" y="13"/>
                  <a:pt x="30" y="13"/>
                  <a:pt x="30" y="13"/>
                </a:cubicBezTo>
                <a:cubicBezTo>
                  <a:pt x="30" y="13"/>
                  <a:pt x="30" y="13"/>
                  <a:pt x="30" y="13"/>
                </a:cubicBezTo>
                <a:cubicBezTo>
                  <a:pt x="29" y="13"/>
                  <a:pt x="29" y="13"/>
                  <a:pt x="29" y="12"/>
                </a:cubicBezTo>
                <a:cubicBezTo>
                  <a:pt x="29" y="13"/>
                  <a:pt x="28" y="13"/>
                  <a:pt x="28" y="14"/>
                </a:cubicBezTo>
                <a:cubicBezTo>
                  <a:pt x="28" y="14"/>
                  <a:pt x="28" y="15"/>
                  <a:pt x="27" y="15"/>
                </a:cubicBezTo>
                <a:cubicBezTo>
                  <a:pt x="27" y="15"/>
                  <a:pt x="26" y="16"/>
                  <a:pt x="26" y="17"/>
                </a:cubicBezTo>
                <a:cubicBezTo>
                  <a:pt x="26" y="18"/>
                  <a:pt x="26" y="18"/>
                  <a:pt x="26" y="18"/>
                </a:cubicBezTo>
                <a:cubicBezTo>
                  <a:pt x="26" y="19"/>
                  <a:pt x="24" y="19"/>
                  <a:pt x="24" y="19"/>
                </a:cubicBezTo>
                <a:cubicBezTo>
                  <a:pt x="24" y="19"/>
                  <a:pt x="23" y="19"/>
                  <a:pt x="22" y="19"/>
                </a:cubicBezTo>
                <a:cubicBezTo>
                  <a:pt x="21" y="19"/>
                  <a:pt x="21" y="18"/>
                  <a:pt x="20" y="19"/>
                </a:cubicBezTo>
                <a:cubicBezTo>
                  <a:pt x="20" y="20"/>
                  <a:pt x="19" y="23"/>
                  <a:pt x="19" y="23"/>
                </a:cubicBezTo>
                <a:cubicBezTo>
                  <a:pt x="19" y="24"/>
                  <a:pt x="20" y="24"/>
                  <a:pt x="19" y="24"/>
                </a:cubicBezTo>
                <a:cubicBezTo>
                  <a:pt x="18" y="24"/>
                  <a:pt x="18" y="24"/>
                  <a:pt x="18" y="24"/>
                </a:cubicBezTo>
                <a:cubicBezTo>
                  <a:pt x="17" y="24"/>
                  <a:pt x="16" y="24"/>
                  <a:pt x="15" y="24"/>
                </a:cubicBezTo>
                <a:cubicBezTo>
                  <a:pt x="15" y="24"/>
                  <a:pt x="14" y="25"/>
                  <a:pt x="14" y="25"/>
                </a:cubicBezTo>
                <a:cubicBezTo>
                  <a:pt x="15" y="25"/>
                  <a:pt x="15" y="27"/>
                  <a:pt x="15" y="27"/>
                </a:cubicBezTo>
                <a:cubicBezTo>
                  <a:pt x="15" y="28"/>
                  <a:pt x="16" y="29"/>
                  <a:pt x="16" y="30"/>
                </a:cubicBezTo>
                <a:cubicBezTo>
                  <a:pt x="15" y="30"/>
                  <a:pt x="14" y="31"/>
                  <a:pt x="14" y="31"/>
                </a:cubicBezTo>
                <a:cubicBezTo>
                  <a:pt x="14" y="32"/>
                  <a:pt x="15" y="32"/>
                  <a:pt x="14" y="33"/>
                </a:cubicBezTo>
                <a:cubicBezTo>
                  <a:pt x="14" y="33"/>
                  <a:pt x="13" y="33"/>
                  <a:pt x="12" y="34"/>
                </a:cubicBezTo>
                <a:cubicBezTo>
                  <a:pt x="12" y="34"/>
                  <a:pt x="11" y="34"/>
                  <a:pt x="11" y="35"/>
                </a:cubicBezTo>
                <a:cubicBezTo>
                  <a:pt x="10" y="35"/>
                  <a:pt x="10" y="36"/>
                  <a:pt x="9" y="36"/>
                </a:cubicBezTo>
                <a:cubicBezTo>
                  <a:pt x="8" y="35"/>
                  <a:pt x="7" y="35"/>
                  <a:pt x="7" y="36"/>
                </a:cubicBezTo>
                <a:cubicBezTo>
                  <a:pt x="6" y="37"/>
                  <a:pt x="6" y="37"/>
                  <a:pt x="5" y="37"/>
                </a:cubicBezTo>
                <a:cubicBezTo>
                  <a:pt x="5" y="37"/>
                  <a:pt x="4" y="37"/>
                  <a:pt x="4" y="37"/>
                </a:cubicBezTo>
                <a:cubicBezTo>
                  <a:pt x="4" y="36"/>
                  <a:pt x="3" y="37"/>
                  <a:pt x="3" y="37"/>
                </a:cubicBezTo>
                <a:cubicBezTo>
                  <a:pt x="2" y="37"/>
                  <a:pt x="2" y="38"/>
                  <a:pt x="2" y="38"/>
                </a:cubicBezTo>
                <a:cubicBezTo>
                  <a:pt x="1" y="38"/>
                  <a:pt x="1" y="38"/>
                  <a:pt x="1" y="38"/>
                </a:cubicBezTo>
                <a:cubicBezTo>
                  <a:pt x="1" y="39"/>
                  <a:pt x="0" y="39"/>
                  <a:pt x="0" y="39"/>
                </a:cubicBezTo>
                <a:cubicBezTo>
                  <a:pt x="1" y="41"/>
                  <a:pt x="1" y="41"/>
                  <a:pt x="1" y="41"/>
                </a:cubicBezTo>
                <a:cubicBezTo>
                  <a:pt x="1" y="41"/>
                  <a:pt x="3" y="42"/>
                  <a:pt x="3" y="43"/>
                </a:cubicBezTo>
                <a:cubicBezTo>
                  <a:pt x="3" y="43"/>
                  <a:pt x="3" y="46"/>
                  <a:pt x="3" y="46"/>
                </a:cubicBezTo>
                <a:cubicBezTo>
                  <a:pt x="3" y="46"/>
                  <a:pt x="3" y="46"/>
                  <a:pt x="3" y="46"/>
                </a:cubicBezTo>
                <a:cubicBezTo>
                  <a:pt x="4" y="46"/>
                  <a:pt x="5" y="47"/>
                  <a:pt x="5" y="47"/>
                </a:cubicBezTo>
                <a:cubicBezTo>
                  <a:pt x="5" y="48"/>
                  <a:pt x="5" y="49"/>
                  <a:pt x="6" y="49"/>
                </a:cubicBezTo>
                <a:cubicBezTo>
                  <a:pt x="7" y="49"/>
                  <a:pt x="8" y="50"/>
                  <a:pt x="8" y="50"/>
                </a:cubicBezTo>
                <a:cubicBezTo>
                  <a:pt x="8" y="50"/>
                  <a:pt x="8" y="50"/>
                  <a:pt x="8" y="50"/>
                </a:cubicBezTo>
                <a:cubicBezTo>
                  <a:pt x="9" y="50"/>
                  <a:pt x="9" y="50"/>
                  <a:pt x="9" y="50"/>
                </a:cubicBezTo>
                <a:cubicBezTo>
                  <a:pt x="9" y="50"/>
                  <a:pt x="9" y="50"/>
                  <a:pt x="9" y="50"/>
                </a:cubicBezTo>
                <a:cubicBezTo>
                  <a:pt x="10" y="49"/>
                  <a:pt x="11" y="49"/>
                  <a:pt x="12" y="49"/>
                </a:cubicBezTo>
                <a:cubicBezTo>
                  <a:pt x="13" y="49"/>
                  <a:pt x="15" y="50"/>
                  <a:pt x="14" y="51"/>
                </a:cubicBezTo>
                <a:cubicBezTo>
                  <a:pt x="14" y="51"/>
                  <a:pt x="13" y="53"/>
                  <a:pt x="12" y="53"/>
                </a:cubicBezTo>
                <a:cubicBezTo>
                  <a:pt x="12" y="53"/>
                  <a:pt x="12" y="53"/>
                  <a:pt x="11" y="53"/>
                </a:cubicBezTo>
                <a:cubicBezTo>
                  <a:pt x="11" y="54"/>
                  <a:pt x="11" y="54"/>
                  <a:pt x="11" y="54"/>
                </a:cubicBezTo>
                <a:cubicBezTo>
                  <a:pt x="11" y="55"/>
                  <a:pt x="12" y="55"/>
                  <a:pt x="12" y="56"/>
                </a:cubicBezTo>
                <a:cubicBezTo>
                  <a:pt x="13" y="57"/>
                  <a:pt x="12" y="58"/>
                  <a:pt x="11" y="57"/>
                </a:cubicBezTo>
                <a:cubicBezTo>
                  <a:pt x="11" y="56"/>
                  <a:pt x="10" y="58"/>
                  <a:pt x="11" y="58"/>
                </a:cubicBezTo>
                <a:cubicBezTo>
                  <a:pt x="11" y="58"/>
                  <a:pt x="11" y="60"/>
                  <a:pt x="11" y="60"/>
                </a:cubicBezTo>
                <a:cubicBezTo>
                  <a:pt x="12" y="60"/>
                  <a:pt x="13" y="61"/>
                  <a:pt x="13" y="61"/>
                </a:cubicBezTo>
                <a:cubicBezTo>
                  <a:pt x="14" y="61"/>
                  <a:pt x="15" y="62"/>
                  <a:pt x="15" y="62"/>
                </a:cubicBezTo>
                <a:cubicBezTo>
                  <a:pt x="15" y="62"/>
                  <a:pt x="15" y="63"/>
                  <a:pt x="15" y="63"/>
                </a:cubicBezTo>
                <a:cubicBezTo>
                  <a:pt x="15" y="63"/>
                  <a:pt x="15" y="63"/>
                  <a:pt x="15" y="63"/>
                </a:cubicBezTo>
                <a:cubicBezTo>
                  <a:pt x="16" y="63"/>
                  <a:pt x="17" y="63"/>
                  <a:pt x="17" y="63"/>
                </a:cubicBezTo>
                <a:cubicBezTo>
                  <a:pt x="17" y="62"/>
                  <a:pt x="18" y="62"/>
                  <a:pt x="19" y="63"/>
                </a:cubicBezTo>
                <a:cubicBezTo>
                  <a:pt x="19" y="64"/>
                  <a:pt x="22" y="66"/>
                  <a:pt x="23" y="66"/>
                </a:cubicBezTo>
                <a:cubicBezTo>
                  <a:pt x="24" y="67"/>
                  <a:pt x="27" y="68"/>
                  <a:pt x="27" y="68"/>
                </a:cubicBezTo>
                <a:cubicBezTo>
                  <a:pt x="28" y="68"/>
                  <a:pt x="29" y="69"/>
                  <a:pt x="30" y="69"/>
                </a:cubicBezTo>
                <a:cubicBezTo>
                  <a:pt x="30" y="69"/>
                  <a:pt x="31" y="69"/>
                  <a:pt x="31" y="69"/>
                </a:cubicBezTo>
                <a:cubicBezTo>
                  <a:pt x="31" y="69"/>
                  <a:pt x="31" y="69"/>
                  <a:pt x="31" y="68"/>
                </a:cubicBezTo>
                <a:cubicBezTo>
                  <a:pt x="32" y="68"/>
                  <a:pt x="32" y="69"/>
                  <a:pt x="32" y="69"/>
                </a:cubicBezTo>
                <a:cubicBezTo>
                  <a:pt x="32" y="70"/>
                  <a:pt x="32" y="70"/>
                  <a:pt x="32" y="70"/>
                </a:cubicBezTo>
                <a:cubicBezTo>
                  <a:pt x="32" y="70"/>
                  <a:pt x="33" y="70"/>
                  <a:pt x="33" y="69"/>
                </a:cubicBezTo>
                <a:cubicBezTo>
                  <a:pt x="33" y="68"/>
                  <a:pt x="34" y="68"/>
                  <a:pt x="34" y="68"/>
                </a:cubicBezTo>
                <a:cubicBezTo>
                  <a:pt x="35" y="68"/>
                  <a:pt x="35" y="68"/>
                  <a:pt x="36" y="68"/>
                </a:cubicBezTo>
                <a:cubicBezTo>
                  <a:pt x="37" y="69"/>
                  <a:pt x="37" y="68"/>
                  <a:pt x="39" y="69"/>
                </a:cubicBezTo>
                <a:cubicBezTo>
                  <a:pt x="39" y="69"/>
                  <a:pt x="39" y="69"/>
                  <a:pt x="39" y="69"/>
                </a:cubicBezTo>
                <a:cubicBezTo>
                  <a:pt x="40" y="69"/>
                  <a:pt x="40" y="68"/>
                  <a:pt x="41" y="68"/>
                </a:cubicBezTo>
                <a:cubicBezTo>
                  <a:pt x="41" y="67"/>
                  <a:pt x="41" y="67"/>
                  <a:pt x="41" y="67"/>
                </a:cubicBezTo>
                <a:cubicBezTo>
                  <a:pt x="42" y="67"/>
                  <a:pt x="42" y="66"/>
                  <a:pt x="43" y="66"/>
                </a:cubicBezTo>
                <a:cubicBezTo>
                  <a:pt x="44" y="65"/>
                  <a:pt x="45" y="66"/>
                  <a:pt x="46" y="66"/>
                </a:cubicBezTo>
                <a:cubicBezTo>
                  <a:pt x="46" y="65"/>
                  <a:pt x="47" y="65"/>
                  <a:pt x="47" y="65"/>
                </a:cubicBezTo>
                <a:cubicBezTo>
                  <a:pt x="47" y="66"/>
                  <a:pt x="48" y="66"/>
                  <a:pt x="48" y="67"/>
                </a:cubicBezTo>
                <a:cubicBezTo>
                  <a:pt x="48" y="67"/>
                  <a:pt x="49" y="68"/>
                  <a:pt x="49" y="68"/>
                </a:cubicBezTo>
                <a:cubicBezTo>
                  <a:pt x="49" y="67"/>
                  <a:pt x="50" y="67"/>
                  <a:pt x="50" y="67"/>
                </a:cubicBezTo>
                <a:cubicBezTo>
                  <a:pt x="50" y="67"/>
                  <a:pt x="51" y="67"/>
                  <a:pt x="51" y="68"/>
                </a:cubicBezTo>
                <a:cubicBezTo>
                  <a:pt x="51" y="69"/>
                  <a:pt x="51" y="69"/>
                  <a:pt x="52" y="69"/>
                </a:cubicBezTo>
                <a:cubicBezTo>
                  <a:pt x="52" y="69"/>
                  <a:pt x="52" y="69"/>
                  <a:pt x="52" y="70"/>
                </a:cubicBezTo>
                <a:cubicBezTo>
                  <a:pt x="52" y="71"/>
                  <a:pt x="53" y="73"/>
                  <a:pt x="52" y="74"/>
                </a:cubicBezTo>
                <a:cubicBezTo>
                  <a:pt x="51" y="74"/>
                  <a:pt x="50" y="76"/>
                  <a:pt x="50" y="77"/>
                </a:cubicBezTo>
                <a:cubicBezTo>
                  <a:pt x="50" y="77"/>
                  <a:pt x="50" y="78"/>
                  <a:pt x="50" y="78"/>
                </a:cubicBezTo>
                <a:cubicBezTo>
                  <a:pt x="51" y="77"/>
                  <a:pt x="53" y="78"/>
                  <a:pt x="52" y="78"/>
                </a:cubicBezTo>
                <a:cubicBezTo>
                  <a:pt x="52" y="78"/>
                  <a:pt x="53" y="80"/>
                  <a:pt x="53" y="80"/>
                </a:cubicBezTo>
                <a:cubicBezTo>
                  <a:pt x="54" y="80"/>
                  <a:pt x="54" y="80"/>
                  <a:pt x="54" y="81"/>
                </a:cubicBezTo>
                <a:cubicBezTo>
                  <a:pt x="54" y="81"/>
                  <a:pt x="53" y="82"/>
                  <a:pt x="54" y="82"/>
                </a:cubicBezTo>
                <a:cubicBezTo>
                  <a:pt x="55" y="82"/>
                  <a:pt x="55" y="82"/>
                  <a:pt x="55" y="83"/>
                </a:cubicBezTo>
                <a:cubicBezTo>
                  <a:pt x="55" y="84"/>
                  <a:pt x="56" y="84"/>
                  <a:pt x="57" y="84"/>
                </a:cubicBezTo>
                <a:cubicBezTo>
                  <a:pt x="57" y="83"/>
                  <a:pt x="57" y="83"/>
                  <a:pt x="58" y="83"/>
                </a:cubicBezTo>
                <a:cubicBezTo>
                  <a:pt x="58" y="83"/>
                  <a:pt x="58" y="84"/>
                  <a:pt x="59" y="84"/>
                </a:cubicBezTo>
                <a:cubicBezTo>
                  <a:pt x="59" y="85"/>
                  <a:pt x="59" y="83"/>
                  <a:pt x="59" y="83"/>
                </a:cubicBezTo>
                <a:cubicBezTo>
                  <a:pt x="59" y="82"/>
                  <a:pt x="59" y="81"/>
                  <a:pt x="59" y="82"/>
                </a:cubicBezTo>
                <a:cubicBezTo>
                  <a:pt x="59" y="82"/>
                  <a:pt x="60" y="82"/>
                  <a:pt x="61" y="81"/>
                </a:cubicBezTo>
                <a:cubicBezTo>
                  <a:pt x="61" y="81"/>
                  <a:pt x="62" y="82"/>
                  <a:pt x="62" y="81"/>
                </a:cubicBezTo>
                <a:cubicBezTo>
                  <a:pt x="63" y="80"/>
                  <a:pt x="63" y="81"/>
                  <a:pt x="64" y="81"/>
                </a:cubicBezTo>
                <a:cubicBezTo>
                  <a:pt x="65" y="80"/>
                  <a:pt x="65" y="81"/>
                  <a:pt x="66" y="81"/>
                </a:cubicBezTo>
                <a:cubicBezTo>
                  <a:pt x="66" y="80"/>
                  <a:pt x="67" y="79"/>
                  <a:pt x="67" y="80"/>
                </a:cubicBezTo>
                <a:cubicBezTo>
                  <a:pt x="68" y="80"/>
                  <a:pt x="68" y="80"/>
                  <a:pt x="69" y="80"/>
                </a:cubicBezTo>
                <a:cubicBezTo>
                  <a:pt x="71" y="81"/>
                  <a:pt x="70" y="81"/>
                  <a:pt x="70" y="82"/>
                </a:cubicBezTo>
                <a:cubicBezTo>
                  <a:pt x="70" y="82"/>
                  <a:pt x="71" y="83"/>
                  <a:pt x="72" y="83"/>
                </a:cubicBezTo>
                <a:cubicBezTo>
                  <a:pt x="72" y="83"/>
                  <a:pt x="72" y="84"/>
                  <a:pt x="72" y="84"/>
                </a:cubicBezTo>
                <a:cubicBezTo>
                  <a:pt x="73" y="84"/>
                  <a:pt x="74" y="84"/>
                  <a:pt x="74" y="83"/>
                </a:cubicBezTo>
                <a:cubicBezTo>
                  <a:pt x="74" y="83"/>
                  <a:pt x="75" y="83"/>
                  <a:pt x="75" y="84"/>
                </a:cubicBezTo>
                <a:cubicBezTo>
                  <a:pt x="75" y="84"/>
                  <a:pt x="76" y="84"/>
                  <a:pt x="76" y="84"/>
                </a:cubicBezTo>
                <a:cubicBezTo>
                  <a:pt x="77" y="83"/>
                  <a:pt x="77" y="84"/>
                  <a:pt x="77" y="84"/>
                </a:cubicBezTo>
                <a:cubicBezTo>
                  <a:pt x="77" y="85"/>
                  <a:pt x="77" y="86"/>
                  <a:pt x="77" y="86"/>
                </a:cubicBezTo>
                <a:cubicBezTo>
                  <a:pt x="78" y="87"/>
                  <a:pt x="78" y="86"/>
                  <a:pt x="78" y="85"/>
                </a:cubicBezTo>
                <a:cubicBezTo>
                  <a:pt x="78" y="85"/>
                  <a:pt x="79" y="84"/>
                  <a:pt x="81" y="84"/>
                </a:cubicBezTo>
                <a:cubicBezTo>
                  <a:pt x="83" y="83"/>
                  <a:pt x="85" y="81"/>
                  <a:pt x="85" y="81"/>
                </a:cubicBezTo>
                <a:cubicBezTo>
                  <a:pt x="85" y="81"/>
                  <a:pt x="87" y="82"/>
                  <a:pt x="88" y="81"/>
                </a:cubicBezTo>
                <a:cubicBezTo>
                  <a:pt x="88" y="81"/>
                  <a:pt x="91" y="80"/>
                  <a:pt x="91" y="80"/>
                </a:cubicBezTo>
                <a:cubicBezTo>
                  <a:pt x="92" y="80"/>
                  <a:pt x="92" y="80"/>
                  <a:pt x="93" y="79"/>
                </a:cubicBezTo>
                <a:cubicBezTo>
                  <a:pt x="93" y="79"/>
                  <a:pt x="93" y="79"/>
                  <a:pt x="94" y="78"/>
                </a:cubicBezTo>
                <a:cubicBezTo>
                  <a:pt x="95" y="78"/>
                  <a:pt x="95" y="77"/>
                  <a:pt x="95" y="77"/>
                </a:cubicBezTo>
                <a:cubicBezTo>
                  <a:pt x="95" y="77"/>
                  <a:pt x="97" y="76"/>
                  <a:pt x="97" y="76"/>
                </a:cubicBezTo>
                <a:cubicBezTo>
                  <a:pt x="97" y="76"/>
                  <a:pt x="98" y="75"/>
                  <a:pt x="98" y="75"/>
                </a:cubicBezTo>
                <a:cubicBezTo>
                  <a:pt x="98" y="74"/>
                  <a:pt x="99" y="74"/>
                  <a:pt x="99" y="74"/>
                </a:cubicBezTo>
                <a:cubicBezTo>
                  <a:pt x="99" y="74"/>
                  <a:pt x="99" y="73"/>
                  <a:pt x="99" y="72"/>
                </a:cubicBezTo>
                <a:cubicBezTo>
                  <a:pt x="100" y="72"/>
                  <a:pt x="99" y="72"/>
                  <a:pt x="99" y="71"/>
                </a:cubicBezTo>
                <a:cubicBezTo>
                  <a:pt x="99" y="71"/>
                  <a:pt x="100" y="71"/>
                  <a:pt x="100" y="71"/>
                </a:cubicBezTo>
                <a:cubicBezTo>
                  <a:pt x="101" y="70"/>
                  <a:pt x="101" y="70"/>
                  <a:pt x="101" y="69"/>
                </a:cubicBezTo>
                <a:cubicBezTo>
                  <a:pt x="101" y="68"/>
                  <a:pt x="102" y="68"/>
                  <a:pt x="103" y="68"/>
                </a:cubicBezTo>
                <a:cubicBezTo>
                  <a:pt x="103" y="68"/>
                  <a:pt x="103" y="67"/>
                  <a:pt x="103" y="66"/>
                </a:cubicBezTo>
                <a:cubicBezTo>
                  <a:pt x="103" y="65"/>
                  <a:pt x="104" y="65"/>
                  <a:pt x="104" y="65"/>
                </a:cubicBezTo>
                <a:cubicBezTo>
                  <a:pt x="103" y="65"/>
                  <a:pt x="104" y="64"/>
                  <a:pt x="105" y="64"/>
                </a:cubicBezTo>
                <a:cubicBezTo>
                  <a:pt x="105" y="64"/>
                  <a:pt x="104" y="63"/>
                  <a:pt x="104" y="63"/>
                </a:cubicBezTo>
                <a:cubicBezTo>
                  <a:pt x="103" y="64"/>
                  <a:pt x="103" y="63"/>
                  <a:pt x="102" y="63"/>
                </a:cubicBezTo>
                <a:cubicBezTo>
                  <a:pt x="102" y="64"/>
                  <a:pt x="101" y="63"/>
                  <a:pt x="102" y="63"/>
                </a:cubicBezTo>
                <a:cubicBezTo>
                  <a:pt x="102" y="62"/>
                  <a:pt x="103" y="62"/>
                  <a:pt x="104" y="61"/>
                </a:cubicBezTo>
                <a:cubicBezTo>
                  <a:pt x="104" y="61"/>
                  <a:pt x="103" y="60"/>
                  <a:pt x="103" y="60"/>
                </a:cubicBezTo>
                <a:cubicBezTo>
                  <a:pt x="102" y="60"/>
                  <a:pt x="101" y="59"/>
                  <a:pt x="101" y="59"/>
                </a:cubicBezTo>
                <a:cubicBezTo>
                  <a:pt x="100" y="59"/>
                  <a:pt x="101" y="58"/>
                  <a:pt x="102" y="59"/>
                </a:cubicBezTo>
                <a:cubicBezTo>
                  <a:pt x="103" y="59"/>
                  <a:pt x="104" y="59"/>
                  <a:pt x="104" y="59"/>
                </a:cubicBezTo>
                <a:cubicBezTo>
                  <a:pt x="104" y="59"/>
                  <a:pt x="103" y="57"/>
                  <a:pt x="102" y="57"/>
                </a:cubicBezTo>
                <a:cubicBezTo>
                  <a:pt x="101" y="57"/>
                  <a:pt x="102" y="56"/>
                  <a:pt x="102" y="56"/>
                </a:cubicBezTo>
                <a:cubicBezTo>
                  <a:pt x="101" y="55"/>
                  <a:pt x="100" y="54"/>
                  <a:pt x="100" y="53"/>
                </a:cubicBezTo>
                <a:cubicBezTo>
                  <a:pt x="100" y="52"/>
                  <a:pt x="99" y="52"/>
                  <a:pt x="98" y="52"/>
                </a:cubicBezTo>
                <a:cubicBezTo>
                  <a:pt x="98" y="51"/>
                  <a:pt x="98" y="50"/>
                  <a:pt x="99" y="50"/>
                </a:cubicBezTo>
                <a:cubicBezTo>
                  <a:pt x="100" y="49"/>
                  <a:pt x="100" y="48"/>
                  <a:pt x="100" y="48"/>
                </a:cubicBezTo>
                <a:cubicBezTo>
                  <a:pt x="101" y="48"/>
                  <a:pt x="101" y="48"/>
                  <a:pt x="102" y="48"/>
                </a:cubicBezTo>
                <a:cubicBezTo>
                  <a:pt x="102" y="47"/>
                  <a:pt x="103" y="47"/>
                  <a:pt x="103" y="47"/>
                </a:cubicBezTo>
                <a:cubicBezTo>
                  <a:pt x="103" y="46"/>
                  <a:pt x="105" y="46"/>
                  <a:pt x="105" y="46"/>
                </a:cubicBezTo>
                <a:cubicBezTo>
                  <a:pt x="106" y="46"/>
                  <a:pt x="105" y="44"/>
                  <a:pt x="104" y="45"/>
                </a:cubicBezTo>
                <a:cubicBezTo>
                  <a:pt x="103" y="45"/>
                  <a:pt x="102" y="45"/>
                  <a:pt x="102" y="44"/>
                </a:cubicBezTo>
                <a:cubicBezTo>
                  <a:pt x="101" y="43"/>
                  <a:pt x="100" y="45"/>
                  <a:pt x="99" y="46"/>
                </a:cubicBezTo>
                <a:cubicBezTo>
                  <a:pt x="98" y="46"/>
                  <a:pt x="97" y="45"/>
                  <a:pt x="98" y="44"/>
                </a:cubicBezTo>
                <a:cubicBezTo>
                  <a:pt x="98" y="43"/>
                  <a:pt x="97" y="43"/>
                  <a:pt x="95" y="43"/>
                </a:cubicBezTo>
                <a:cubicBezTo>
                  <a:pt x="94" y="43"/>
                  <a:pt x="94" y="41"/>
                  <a:pt x="95" y="40"/>
                </a:cubicBezTo>
                <a:cubicBezTo>
                  <a:pt x="96" y="40"/>
                  <a:pt x="98" y="41"/>
                  <a:pt x="98" y="40"/>
                </a:cubicBezTo>
                <a:cubicBezTo>
                  <a:pt x="99" y="38"/>
                  <a:pt x="99" y="39"/>
                  <a:pt x="101" y="38"/>
                </a:cubicBezTo>
                <a:cubicBezTo>
                  <a:pt x="102" y="36"/>
                  <a:pt x="103" y="35"/>
                  <a:pt x="104" y="36"/>
                </a:cubicBezTo>
                <a:cubicBezTo>
                  <a:pt x="105" y="37"/>
                  <a:pt x="103" y="39"/>
                  <a:pt x="103" y="39"/>
                </a:cubicBezTo>
                <a:cubicBezTo>
                  <a:pt x="103" y="40"/>
                  <a:pt x="103" y="40"/>
                  <a:pt x="103" y="41"/>
                </a:cubicBezTo>
                <a:cubicBezTo>
                  <a:pt x="102" y="42"/>
                  <a:pt x="103" y="42"/>
                  <a:pt x="104" y="41"/>
                </a:cubicBezTo>
                <a:cubicBezTo>
                  <a:pt x="105" y="40"/>
                  <a:pt x="107" y="39"/>
                  <a:pt x="108" y="39"/>
                </a:cubicBezTo>
                <a:cubicBezTo>
                  <a:pt x="109" y="39"/>
                  <a:pt x="109" y="39"/>
                  <a:pt x="109" y="39"/>
                </a:cubicBezTo>
                <a:cubicBezTo>
                  <a:pt x="109" y="38"/>
                  <a:pt x="110" y="38"/>
                  <a:pt x="110" y="38"/>
                </a:cubicBezTo>
                <a:cubicBezTo>
                  <a:pt x="111" y="37"/>
                  <a:pt x="114" y="36"/>
                  <a:pt x="114" y="35"/>
                </a:cubicBezTo>
                <a:cubicBezTo>
                  <a:pt x="114" y="35"/>
                  <a:pt x="115" y="34"/>
                  <a:pt x="115" y="34"/>
                </a:cubicBezTo>
                <a:cubicBezTo>
                  <a:pt x="116" y="34"/>
                  <a:pt x="116" y="34"/>
                  <a:pt x="117" y="34"/>
                </a:cubicBezTo>
                <a:cubicBezTo>
                  <a:pt x="118" y="34"/>
                  <a:pt x="119" y="35"/>
                  <a:pt x="118" y="34"/>
                </a:cubicBezTo>
                <a:cubicBezTo>
                  <a:pt x="118" y="33"/>
                  <a:pt x="118" y="33"/>
                  <a:pt x="119" y="33"/>
                </a:cubicBezTo>
                <a:cubicBezTo>
                  <a:pt x="120" y="33"/>
                  <a:pt x="120" y="32"/>
                  <a:pt x="121" y="32"/>
                </a:cubicBezTo>
                <a:cubicBezTo>
                  <a:pt x="121" y="32"/>
                  <a:pt x="121" y="30"/>
                  <a:pt x="122" y="30"/>
                </a:cubicBezTo>
                <a:cubicBezTo>
                  <a:pt x="123" y="30"/>
                  <a:pt x="123" y="31"/>
                  <a:pt x="124" y="31"/>
                </a:cubicBezTo>
                <a:cubicBezTo>
                  <a:pt x="124" y="31"/>
                  <a:pt x="124" y="31"/>
                  <a:pt x="124" y="31"/>
                </a:cubicBezTo>
                <a:cubicBezTo>
                  <a:pt x="125" y="31"/>
                  <a:pt x="125" y="31"/>
                  <a:pt x="125" y="31"/>
                </a:cubicBezTo>
                <a:cubicBezTo>
                  <a:pt x="125" y="30"/>
                  <a:pt x="125" y="29"/>
                  <a:pt x="125" y="28"/>
                </a:cubicBezTo>
                <a:cubicBezTo>
                  <a:pt x="125" y="28"/>
                  <a:pt x="125" y="27"/>
                  <a:pt x="125" y="27"/>
                </a:cubicBezTo>
                <a:cubicBezTo>
                  <a:pt x="125" y="26"/>
                  <a:pt x="125" y="25"/>
                  <a:pt x="125" y="25"/>
                </a:cubicBezTo>
                <a:cubicBezTo>
                  <a:pt x="126" y="25"/>
                  <a:pt x="126" y="24"/>
                  <a:pt x="127" y="24"/>
                </a:cubicBezTo>
                <a:cubicBezTo>
                  <a:pt x="128" y="25"/>
                  <a:pt x="129" y="25"/>
                  <a:pt x="129" y="24"/>
                </a:cubicBezTo>
                <a:cubicBezTo>
                  <a:pt x="129" y="24"/>
                  <a:pt x="130" y="24"/>
                  <a:pt x="130" y="23"/>
                </a:cubicBezTo>
                <a:cubicBezTo>
                  <a:pt x="130" y="22"/>
                  <a:pt x="131" y="22"/>
                  <a:pt x="131" y="21"/>
                </a:cubicBezTo>
                <a:cubicBezTo>
                  <a:pt x="131" y="20"/>
                  <a:pt x="132" y="19"/>
                  <a:pt x="132" y="18"/>
                </a:cubicBezTo>
                <a:cubicBezTo>
                  <a:pt x="133" y="18"/>
                  <a:pt x="132" y="18"/>
                  <a:pt x="132" y="16"/>
                </a:cubicBezTo>
                <a:moveTo>
                  <a:pt x="100" y="78"/>
                </a:moveTo>
                <a:cubicBezTo>
                  <a:pt x="100" y="81"/>
                  <a:pt x="101" y="82"/>
                  <a:pt x="101" y="82"/>
                </a:cubicBezTo>
                <a:cubicBezTo>
                  <a:pt x="102" y="82"/>
                  <a:pt x="105" y="76"/>
                  <a:pt x="104" y="75"/>
                </a:cubicBezTo>
                <a:cubicBezTo>
                  <a:pt x="104" y="75"/>
                  <a:pt x="101" y="76"/>
                  <a:pt x="100" y="78"/>
                </a:cubicBezTo>
                <a:moveTo>
                  <a:pt x="77" y="87"/>
                </a:moveTo>
                <a:cubicBezTo>
                  <a:pt x="76" y="87"/>
                  <a:pt x="74" y="89"/>
                  <a:pt x="75" y="90"/>
                </a:cubicBezTo>
                <a:cubicBezTo>
                  <a:pt x="76" y="92"/>
                  <a:pt x="78" y="91"/>
                  <a:pt x="78" y="90"/>
                </a:cubicBezTo>
                <a:cubicBezTo>
                  <a:pt x="79" y="89"/>
                  <a:pt x="80" y="88"/>
                  <a:pt x="80" y="87"/>
                </a:cubicBezTo>
                <a:cubicBezTo>
                  <a:pt x="80" y="87"/>
                  <a:pt x="78" y="87"/>
                  <a:pt x="77" y="8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379"/>
          <p:cNvSpPr>
            <a:spLocks noEditPoints="1"/>
          </p:cNvSpPr>
          <p:nvPr/>
        </p:nvSpPr>
        <p:spPr bwMode="auto">
          <a:xfrm>
            <a:off x="3434864" y="3078758"/>
            <a:ext cx="107245" cy="142994"/>
          </a:xfrm>
          <a:custGeom>
            <a:avLst/>
            <a:gdLst>
              <a:gd name="T0" fmla="*/ 12 w 22"/>
              <a:gd name="T1" fmla="*/ 12 h 30"/>
              <a:gd name="T2" fmla="*/ 15 w 22"/>
              <a:gd name="T3" fmla="*/ 14 h 30"/>
              <a:gd name="T4" fmla="*/ 15 w 22"/>
              <a:gd name="T5" fmla="*/ 16 h 30"/>
              <a:gd name="T6" fmla="*/ 16 w 22"/>
              <a:gd name="T7" fmla="*/ 17 h 30"/>
              <a:gd name="T8" fmla="*/ 17 w 22"/>
              <a:gd name="T9" fmla="*/ 20 h 30"/>
              <a:gd name="T10" fmla="*/ 18 w 22"/>
              <a:gd name="T11" fmla="*/ 19 h 30"/>
              <a:gd name="T12" fmla="*/ 19 w 22"/>
              <a:gd name="T13" fmla="*/ 18 h 30"/>
              <a:gd name="T14" fmla="*/ 18 w 22"/>
              <a:gd name="T15" fmla="*/ 15 h 30"/>
              <a:gd name="T16" fmla="*/ 16 w 22"/>
              <a:gd name="T17" fmla="*/ 13 h 30"/>
              <a:gd name="T18" fmla="*/ 14 w 22"/>
              <a:gd name="T19" fmla="*/ 11 h 30"/>
              <a:gd name="T20" fmla="*/ 11 w 22"/>
              <a:gd name="T21" fmla="*/ 11 h 30"/>
              <a:gd name="T22" fmla="*/ 10 w 22"/>
              <a:gd name="T23" fmla="*/ 9 h 30"/>
              <a:gd name="T24" fmla="*/ 12 w 22"/>
              <a:gd name="T25" fmla="*/ 6 h 30"/>
              <a:gd name="T26" fmla="*/ 12 w 22"/>
              <a:gd name="T27" fmla="*/ 2 h 30"/>
              <a:gd name="T28" fmla="*/ 11 w 22"/>
              <a:gd name="T29" fmla="*/ 1 h 30"/>
              <a:gd name="T30" fmla="*/ 8 w 22"/>
              <a:gd name="T31" fmla="*/ 1 h 30"/>
              <a:gd name="T32" fmla="*/ 7 w 22"/>
              <a:gd name="T33" fmla="*/ 6 h 30"/>
              <a:gd name="T34" fmla="*/ 6 w 22"/>
              <a:gd name="T35" fmla="*/ 6 h 30"/>
              <a:gd name="T36" fmla="*/ 7 w 22"/>
              <a:gd name="T37" fmla="*/ 9 h 30"/>
              <a:gd name="T38" fmla="*/ 8 w 22"/>
              <a:gd name="T39" fmla="*/ 11 h 30"/>
              <a:gd name="T40" fmla="*/ 10 w 22"/>
              <a:gd name="T41" fmla="*/ 11 h 30"/>
              <a:gd name="T42" fmla="*/ 12 w 22"/>
              <a:gd name="T43" fmla="*/ 12 h 30"/>
              <a:gd name="T44" fmla="*/ 8 w 22"/>
              <a:gd name="T45" fmla="*/ 12 h 30"/>
              <a:gd name="T46" fmla="*/ 10 w 22"/>
              <a:gd name="T47" fmla="*/ 15 h 30"/>
              <a:gd name="T48" fmla="*/ 8 w 22"/>
              <a:gd name="T49" fmla="*/ 12 h 30"/>
              <a:gd name="T50" fmla="*/ 11 w 22"/>
              <a:gd name="T51" fmla="*/ 19 h 30"/>
              <a:gd name="T52" fmla="*/ 12 w 22"/>
              <a:gd name="T53" fmla="*/ 18 h 30"/>
              <a:gd name="T54" fmla="*/ 13 w 22"/>
              <a:gd name="T55" fmla="*/ 20 h 30"/>
              <a:gd name="T56" fmla="*/ 13 w 22"/>
              <a:gd name="T57" fmla="*/ 22 h 30"/>
              <a:gd name="T58" fmla="*/ 15 w 22"/>
              <a:gd name="T59" fmla="*/ 19 h 30"/>
              <a:gd name="T60" fmla="*/ 15 w 22"/>
              <a:gd name="T61" fmla="*/ 18 h 30"/>
              <a:gd name="T62" fmla="*/ 11 w 22"/>
              <a:gd name="T63" fmla="*/ 16 h 30"/>
              <a:gd name="T64" fmla="*/ 11 w 22"/>
              <a:gd name="T65" fmla="*/ 19 h 30"/>
              <a:gd name="T66" fmla="*/ 4 w 22"/>
              <a:gd name="T67" fmla="*/ 20 h 30"/>
              <a:gd name="T68" fmla="*/ 1 w 22"/>
              <a:gd name="T69" fmla="*/ 24 h 30"/>
              <a:gd name="T70" fmla="*/ 5 w 22"/>
              <a:gd name="T71" fmla="*/ 20 h 30"/>
              <a:gd name="T72" fmla="*/ 5 w 22"/>
              <a:gd name="T73" fmla="*/ 18 h 30"/>
              <a:gd name="T74" fmla="*/ 4 w 22"/>
              <a:gd name="T75" fmla="*/ 20 h 30"/>
              <a:gd name="T76" fmla="*/ 15 w 22"/>
              <a:gd name="T77" fmla="*/ 21 h 30"/>
              <a:gd name="T78" fmla="*/ 17 w 22"/>
              <a:gd name="T79" fmla="*/ 20 h 30"/>
              <a:gd name="T80" fmla="*/ 15 w 22"/>
              <a:gd name="T81" fmla="*/ 21 h 30"/>
              <a:gd name="T82" fmla="*/ 21 w 22"/>
              <a:gd name="T83" fmla="*/ 26 h 30"/>
              <a:gd name="T84" fmla="*/ 21 w 22"/>
              <a:gd name="T85" fmla="*/ 22 h 30"/>
              <a:gd name="T86" fmla="*/ 19 w 22"/>
              <a:gd name="T87" fmla="*/ 21 h 30"/>
              <a:gd name="T88" fmla="*/ 18 w 22"/>
              <a:gd name="T89" fmla="*/ 23 h 30"/>
              <a:gd name="T90" fmla="*/ 16 w 22"/>
              <a:gd name="T91" fmla="*/ 24 h 30"/>
              <a:gd name="T92" fmla="*/ 15 w 22"/>
              <a:gd name="T93" fmla="*/ 23 h 30"/>
              <a:gd name="T94" fmla="*/ 12 w 22"/>
              <a:gd name="T95" fmla="*/ 25 h 30"/>
              <a:gd name="T96" fmla="*/ 11 w 22"/>
              <a:gd name="T97" fmla="*/ 27 h 30"/>
              <a:gd name="T98" fmla="*/ 13 w 22"/>
              <a:gd name="T99" fmla="*/ 26 h 30"/>
              <a:gd name="T100" fmla="*/ 15 w 22"/>
              <a:gd name="T101" fmla="*/ 25 h 30"/>
              <a:gd name="T102" fmla="*/ 17 w 22"/>
              <a:gd name="T103" fmla="*/ 29 h 30"/>
              <a:gd name="T104" fmla="*/ 19 w 22"/>
              <a:gd name="T105" fmla="*/ 30 h 30"/>
              <a:gd name="T106" fmla="*/ 19 w 22"/>
              <a:gd name="T107" fmla="*/ 27 h 30"/>
              <a:gd name="T108" fmla="*/ 21 w 22"/>
              <a:gd name="T10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30">
                <a:moveTo>
                  <a:pt x="12" y="12"/>
                </a:moveTo>
                <a:cubicBezTo>
                  <a:pt x="13" y="12"/>
                  <a:pt x="15" y="13"/>
                  <a:pt x="15" y="14"/>
                </a:cubicBezTo>
                <a:cubicBezTo>
                  <a:pt x="14" y="14"/>
                  <a:pt x="15" y="16"/>
                  <a:pt x="15" y="16"/>
                </a:cubicBezTo>
                <a:cubicBezTo>
                  <a:pt x="16" y="15"/>
                  <a:pt x="17" y="16"/>
                  <a:pt x="16" y="17"/>
                </a:cubicBezTo>
                <a:cubicBezTo>
                  <a:pt x="15" y="18"/>
                  <a:pt x="17" y="19"/>
                  <a:pt x="17" y="20"/>
                </a:cubicBezTo>
                <a:cubicBezTo>
                  <a:pt x="17" y="21"/>
                  <a:pt x="18" y="20"/>
                  <a:pt x="18" y="19"/>
                </a:cubicBezTo>
                <a:cubicBezTo>
                  <a:pt x="18" y="18"/>
                  <a:pt x="18" y="18"/>
                  <a:pt x="19" y="18"/>
                </a:cubicBezTo>
                <a:cubicBezTo>
                  <a:pt x="20" y="17"/>
                  <a:pt x="19" y="16"/>
                  <a:pt x="18" y="15"/>
                </a:cubicBezTo>
                <a:cubicBezTo>
                  <a:pt x="18" y="14"/>
                  <a:pt x="16" y="14"/>
                  <a:pt x="16" y="13"/>
                </a:cubicBezTo>
                <a:cubicBezTo>
                  <a:pt x="16" y="12"/>
                  <a:pt x="14" y="12"/>
                  <a:pt x="14" y="11"/>
                </a:cubicBezTo>
                <a:cubicBezTo>
                  <a:pt x="14" y="11"/>
                  <a:pt x="12" y="10"/>
                  <a:pt x="11" y="11"/>
                </a:cubicBezTo>
                <a:cubicBezTo>
                  <a:pt x="10" y="11"/>
                  <a:pt x="11" y="10"/>
                  <a:pt x="10" y="9"/>
                </a:cubicBezTo>
                <a:cubicBezTo>
                  <a:pt x="9" y="8"/>
                  <a:pt x="11" y="7"/>
                  <a:pt x="12" y="6"/>
                </a:cubicBezTo>
                <a:cubicBezTo>
                  <a:pt x="13" y="5"/>
                  <a:pt x="11" y="3"/>
                  <a:pt x="12" y="2"/>
                </a:cubicBezTo>
                <a:cubicBezTo>
                  <a:pt x="12" y="1"/>
                  <a:pt x="12" y="1"/>
                  <a:pt x="11" y="1"/>
                </a:cubicBezTo>
                <a:cubicBezTo>
                  <a:pt x="11" y="1"/>
                  <a:pt x="9" y="0"/>
                  <a:pt x="8" y="1"/>
                </a:cubicBezTo>
                <a:cubicBezTo>
                  <a:pt x="7" y="1"/>
                  <a:pt x="8" y="6"/>
                  <a:pt x="7" y="6"/>
                </a:cubicBezTo>
                <a:cubicBezTo>
                  <a:pt x="7" y="6"/>
                  <a:pt x="7" y="5"/>
                  <a:pt x="6" y="6"/>
                </a:cubicBezTo>
                <a:cubicBezTo>
                  <a:pt x="6" y="6"/>
                  <a:pt x="6" y="9"/>
                  <a:pt x="7" y="9"/>
                </a:cubicBezTo>
                <a:cubicBezTo>
                  <a:pt x="8" y="9"/>
                  <a:pt x="8" y="9"/>
                  <a:pt x="8" y="11"/>
                </a:cubicBezTo>
                <a:cubicBezTo>
                  <a:pt x="7" y="12"/>
                  <a:pt x="9" y="12"/>
                  <a:pt x="10" y="11"/>
                </a:cubicBezTo>
                <a:cubicBezTo>
                  <a:pt x="11" y="11"/>
                  <a:pt x="11" y="12"/>
                  <a:pt x="12" y="12"/>
                </a:cubicBezTo>
                <a:moveTo>
                  <a:pt x="8" y="12"/>
                </a:moveTo>
                <a:cubicBezTo>
                  <a:pt x="8" y="13"/>
                  <a:pt x="8" y="15"/>
                  <a:pt x="10" y="15"/>
                </a:cubicBezTo>
                <a:cubicBezTo>
                  <a:pt x="11" y="14"/>
                  <a:pt x="8" y="12"/>
                  <a:pt x="8" y="12"/>
                </a:cubicBezTo>
                <a:moveTo>
                  <a:pt x="11" y="19"/>
                </a:moveTo>
                <a:cubicBezTo>
                  <a:pt x="12" y="19"/>
                  <a:pt x="12" y="19"/>
                  <a:pt x="12" y="18"/>
                </a:cubicBezTo>
                <a:cubicBezTo>
                  <a:pt x="13" y="18"/>
                  <a:pt x="13" y="19"/>
                  <a:pt x="13" y="20"/>
                </a:cubicBezTo>
                <a:cubicBezTo>
                  <a:pt x="12" y="21"/>
                  <a:pt x="12" y="22"/>
                  <a:pt x="13" y="22"/>
                </a:cubicBezTo>
                <a:cubicBezTo>
                  <a:pt x="14" y="23"/>
                  <a:pt x="16" y="19"/>
                  <a:pt x="15" y="19"/>
                </a:cubicBezTo>
                <a:cubicBezTo>
                  <a:pt x="15" y="18"/>
                  <a:pt x="14" y="19"/>
                  <a:pt x="15" y="18"/>
                </a:cubicBezTo>
                <a:cubicBezTo>
                  <a:pt x="15" y="18"/>
                  <a:pt x="12" y="16"/>
                  <a:pt x="11" y="16"/>
                </a:cubicBezTo>
                <a:cubicBezTo>
                  <a:pt x="10" y="16"/>
                  <a:pt x="11" y="19"/>
                  <a:pt x="11" y="19"/>
                </a:cubicBezTo>
                <a:moveTo>
                  <a:pt x="4" y="20"/>
                </a:moveTo>
                <a:cubicBezTo>
                  <a:pt x="3" y="21"/>
                  <a:pt x="0" y="23"/>
                  <a:pt x="1" y="24"/>
                </a:cubicBezTo>
                <a:cubicBezTo>
                  <a:pt x="1" y="24"/>
                  <a:pt x="4" y="21"/>
                  <a:pt x="5" y="20"/>
                </a:cubicBezTo>
                <a:cubicBezTo>
                  <a:pt x="6" y="19"/>
                  <a:pt x="6" y="18"/>
                  <a:pt x="5" y="18"/>
                </a:cubicBezTo>
                <a:cubicBezTo>
                  <a:pt x="5" y="17"/>
                  <a:pt x="5" y="19"/>
                  <a:pt x="4" y="20"/>
                </a:cubicBezTo>
                <a:moveTo>
                  <a:pt x="15" y="21"/>
                </a:moveTo>
                <a:cubicBezTo>
                  <a:pt x="15" y="22"/>
                  <a:pt x="17" y="21"/>
                  <a:pt x="17" y="20"/>
                </a:cubicBezTo>
                <a:cubicBezTo>
                  <a:pt x="16" y="20"/>
                  <a:pt x="15" y="21"/>
                  <a:pt x="15" y="21"/>
                </a:cubicBezTo>
                <a:moveTo>
                  <a:pt x="21" y="26"/>
                </a:moveTo>
                <a:cubicBezTo>
                  <a:pt x="22" y="26"/>
                  <a:pt x="21" y="23"/>
                  <a:pt x="21" y="22"/>
                </a:cubicBezTo>
                <a:cubicBezTo>
                  <a:pt x="21" y="20"/>
                  <a:pt x="18" y="20"/>
                  <a:pt x="19" y="21"/>
                </a:cubicBezTo>
                <a:cubicBezTo>
                  <a:pt x="20" y="22"/>
                  <a:pt x="18" y="22"/>
                  <a:pt x="18" y="23"/>
                </a:cubicBezTo>
                <a:cubicBezTo>
                  <a:pt x="18" y="24"/>
                  <a:pt x="16" y="23"/>
                  <a:pt x="16" y="24"/>
                </a:cubicBezTo>
                <a:cubicBezTo>
                  <a:pt x="17" y="24"/>
                  <a:pt x="15" y="24"/>
                  <a:pt x="15" y="23"/>
                </a:cubicBezTo>
                <a:cubicBezTo>
                  <a:pt x="14" y="23"/>
                  <a:pt x="13" y="24"/>
                  <a:pt x="12" y="25"/>
                </a:cubicBezTo>
                <a:cubicBezTo>
                  <a:pt x="11" y="25"/>
                  <a:pt x="10" y="27"/>
                  <a:pt x="11" y="27"/>
                </a:cubicBezTo>
                <a:cubicBezTo>
                  <a:pt x="12" y="27"/>
                  <a:pt x="12" y="26"/>
                  <a:pt x="13" y="26"/>
                </a:cubicBezTo>
                <a:cubicBezTo>
                  <a:pt x="14" y="26"/>
                  <a:pt x="14" y="25"/>
                  <a:pt x="15" y="25"/>
                </a:cubicBezTo>
                <a:cubicBezTo>
                  <a:pt x="16" y="26"/>
                  <a:pt x="15" y="29"/>
                  <a:pt x="17" y="29"/>
                </a:cubicBezTo>
                <a:cubicBezTo>
                  <a:pt x="18" y="29"/>
                  <a:pt x="18" y="30"/>
                  <a:pt x="19" y="30"/>
                </a:cubicBezTo>
                <a:cubicBezTo>
                  <a:pt x="20" y="30"/>
                  <a:pt x="19" y="28"/>
                  <a:pt x="19" y="27"/>
                </a:cubicBezTo>
                <a:cubicBezTo>
                  <a:pt x="19" y="27"/>
                  <a:pt x="20" y="27"/>
                  <a:pt x="21"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380"/>
          <p:cNvSpPr>
            <a:spLocks noEditPoints="1"/>
          </p:cNvSpPr>
          <p:nvPr/>
        </p:nvSpPr>
        <p:spPr bwMode="auto">
          <a:xfrm>
            <a:off x="3692253" y="3314698"/>
            <a:ext cx="125120" cy="82221"/>
          </a:xfrm>
          <a:custGeom>
            <a:avLst/>
            <a:gdLst>
              <a:gd name="T0" fmla="*/ 20 w 26"/>
              <a:gd name="T1" fmla="*/ 16 h 17"/>
              <a:gd name="T2" fmla="*/ 19 w 26"/>
              <a:gd name="T3" fmla="*/ 15 h 17"/>
              <a:gd name="T4" fmla="*/ 17 w 26"/>
              <a:gd name="T5" fmla="*/ 13 h 17"/>
              <a:gd name="T6" fmla="*/ 15 w 26"/>
              <a:gd name="T7" fmla="*/ 11 h 17"/>
              <a:gd name="T8" fmla="*/ 15 w 26"/>
              <a:gd name="T9" fmla="*/ 9 h 17"/>
              <a:gd name="T10" fmla="*/ 15 w 26"/>
              <a:gd name="T11" fmla="*/ 7 h 17"/>
              <a:gd name="T12" fmla="*/ 11 w 26"/>
              <a:gd name="T13" fmla="*/ 5 h 17"/>
              <a:gd name="T14" fmla="*/ 2 w 26"/>
              <a:gd name="T15" fmla="*/ 0 h 17"/>
              <a:gd name="T16" fmla="*/ 0 w 26"/>
              <a:gd name="T17" fmla="*/ 0 h 17"/>
              <a:gd name="T18" fmla="*/ 0 w 26"/>
              <a:gd name="T19" fmla="*/ 14 h 17"/>
              <a:gd name="T20" fmla="*/ 3 w 26"/>
              <a:gd name="T21" fmla="*/ 14 h 17"/>
              <a:gd name="T22" fmla="*/ 5 w 26"/>
              <a:gd name="T23" fmla="*/ 13 h 17"/>
              <a:gd name="T24" fmla="*/ 7 w 26"/>
              <a:gd name="T25" fmla="*/ 11 h 17"/>
              <a:gd name="T26" fmla="*/ 11 w 26"/>
              <a:gd name="T27" fmla="*/ 12 h 17"/>
              <a:gd name="T28" fmla="*/ 16 w 26"/>
              <a:gd name="T29" fmla="*/ 17 h 17"/>
              <a:gd name="T30" fmla="*/ 21 w 26"/>
              <a:gd name="T31" fmla="*/ 17 h 17"/>
              <a:gd name="T32" fmla="*/ 20 w 26"/>
              <a:gd name="T33" fmla="*/ 16 h 17"/>
              <a:gd name="T34" fmla="*/ 24 w 26"/>
              <a:gd name="T35" fmla="*/ 4 h 17"/>
              <a:gd name="T36" fmla="*/ 22 w 26"/>
              <a:gd name="T37" fmla="*/ 6 h 17"/>
              <a:gd name="T38" fmla="*/ 17 w 26"/>
              <a:gd name="T39" fmla="*/ 6 h 17"/>
              <a:gd name="T40" fmla="*/ 20 w 26"/>
              <a:gd name="T41" fmla="*/ 8 h 17"/>
              <a:gd name="T42" fmla="*/ 25 w 26"/>
              <a:gd name="T43" fmla="*/ 6 h 17"/>
              <a:gd name="T44" fmla="*/ 26 w 26"/>
              <a:gd name="T45" fmla="*/ 4 h 17"/>
              <a:gd name="T46" fmla="*/ 24 w 26"/>
              <a:gd name="T4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7">
                <a:moveTo>
                  <a:pt x="20" y="16"/>
                </a:moveTo>
                <a:cubicBezTo>
                  <a:pt x="20" y="16"/>
                  <a:pt x="19" y="15"/>
                  <a:pt x="19" y="15"/>
                </a:cubicBezTo>
                <a:cubicBezTo>
                  <a:pt x="19" y="14"/>
                  <a:pt x="18" y="14"/>
                  <a:pt x="17" y="13"/>
                </a:cubicBezTo>
                <a:cubicBezTo>
                  <a:pt x="16" y="13"/>
                  <a:pt x="16" y="11"/>
                  <a:pt x="15" y="11"/>
                </a:cubicBezTo>
                <a:cubicBezTo>
                  <a:pt x="14" y="10"/>
                  <a:pt x="13" y="9"/>
                  <a:pt x="15" y="9"/>
                </a:cubicBezTo>
                <a:cubicBezTo>
                  <a:pt x="16" y="9"/>
                  <a:pt x="16" y="8"/>
                  <a:pt x="15" y="7"/>
                </a:cubicBezTo>
                <a:cubicBezTo>
                  <a:pt x="14" y="6"/>
                  <a:pt x="11" y="6"/>
                  <a:pt x="11" y="5"/>
                </a:cubicBezTo>
                <a:cubicBezTo>
                  <a:pt x="11" y="4"/>
                  <a:pt x="5" y="1"/>
                  <a:pt x="2" y="0"/>
                </a:cubicBezTo>
                <a:cubicBezTo>
                  <a:pt x="2" y="0"/>
                  <a:pt x="1" y="0"/>
                  <a:pt x="0" y="0"/>
                </a:cubicBezTo>
                <a:cubicBezTo>
                  <a:pt x="0" y="14"/>
                  <a:pt x="0" y="14"/>
                  <a:pt x="0" y="14"/>
                </a:cubicBezTo>
                <a:cubicBezTo>
                  <a:pt x="1" y="14"/>
                  <a:pt x="2" y="14"/>
                  <a:pt x="3" y="14"/>
                </a:cubicBezTo>
                <a:cubicBezTo>
                  <a:pt x="6" y="14"/>
                  <a:pt x="5" y="13"/>
                  <a:pt x="5" y="13"/>
                </a:cubicBezTo>
                <a:cubicBezTo>
                  <a:pt x="6" y="13"/>
                  <a:pt x="6" y="12"/>
                  <a:pt x="7" y="11"/>
                </a:cubicBezTo>
                <a:cubicBezTo>
                  <a:pt x="7" y="10"/>
                  <a:pt x="10" y="11"/>
                  <a:pt x="11" y="12"/>
                </a:cubicBezTo>
                <a:cubicBezTo>
                  <a:pt x="13" y="13"/>
                  <a:pt x="15" y="17"/>
                  <a:pt x="16" y="17"/>
                </a:cubicBezTo>
                <a:cubicBezTo>
                  <a:pt x="18" y="16"/>
                  <a:pt x="19" y="17"/>
                  <a:pt x="21" y="17"/>
                </a:cubicBezTo>
                <a:cubicBezTo>
                  <a:pt x="22" y="17"/>
                  <a:pt x="21" y="16"/>
                  <a:pt x="20" y="16"/>
                </a:cubicBezTo>
                <a:moveTo>
                  <a:pt x="24" y="4"/>
                </a:moveTo>
                <a:cubicBezTo>
                  <a:pt x="24" y="5"/>
                  <a:pt x="23" y="5"/>
                  <a:pt x="22" y="6"/>
                </a:cubicBezTo>
                <a:cubicBezTo>
                  <a:pt x="20" y="7"/>
                  <a:pt x="17" y="5"/>
                  <a:pt x="17" y="6"/>
                </a:cubicBezTo>
                <a:cubicBezTo>
                  <a:pt x="17" y="7"/>
                  <a:pt x="19" y="8"/>
                  <a:pt x="20" y="8"/>
                </a:cubicBezTo>
                <a:cubicBezTo>
                  <a:pt x="22" y="8"/>
                  <a:pt x="25" y="6"/>
                  <a:pt x="25" y="6"/>
                </a:cubicBezTo>
                <a:cubicBezTo>
                  <a:pt x="25" y="5"/>
                  <a:pt x="26" y="4"/>
                  <a:pt x="26" y="4"/>
                </a:cubicBezTo>
                <a:cubicBezTo>
                  <a:pt x="25" y="3"/>
                  <a:pt x="24" y="4"/>
                  <a:pt x="24"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381"/>
          <p:cNvSpPr>
            <a:spLocks/>
          </p:cNvSpPr>
          <p:nvPr/>
        </p:nvSpPr>
        <p:spPr bwMode="auto">
          <a:xfrm>
            <a:off x="3048780" y="3178854"/>
            <a:ext cx="25024" cy="42898"/>
          </a:xfrm>
          <a:custGeom>
            <a:avLst/>
            <a:gdLst>
              <a:gd name="T0" fmla="*/ 1 w 5"/>
              <a:gd name="T1" fmla="*/ 0 h 9"/>
              <a:gd name="T2" fmla="*/ 0 w 5"/>
              <a:gd name="T3" fmla="*/ 2 h 9"/>
              <a:gd name="T4" fmla="*/ 0 w 5"/>
              <a:gd name="T5" fmla="*/ 5 h 9"/>
              <a:gd name="T6" fmla="*/ 1 w 5"/>
              <a:gd name="T7" fmla="*/ 8 h 9"/>
              <a:gd name="T8" fmla="*/ 5 w 5"/>
              <a:gd name="T9" fmla="*/ 5 h 9"/>
              <a:gd name="T10" fmla="*/ 1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1" y="0"/>
                </a:moveTo>
                <a:cubicBezTo>
                  <a:pt x="0" y="0"/>
                  <a:pt x="0" y="1"/>
                  <a:pt x="0" y="2"/>
                </a:cubicBezTo>
                <a:cubicBezTo>
                  <a:pt x="0" y="3"/>
                  <a:pt x="0" y="4"/>
                  <a:pt x="0" y="5"/>
                </a:cubicBezTo>
                <a:cubicBezTo>
                  <a:pt x="0" y="6"/>
                  <a:pt x="0" y="7"/>
                  <a:pt x="1" y="8"/>
                </a:cubicBezTo>
                <a:cubicBezTo>
                  <a:pt x="2" y="9"/>
                  <a:pt x="4" y="7"/>
                  <a:pt x="5" y="5"/>
                </a:cubicBezTo>
                <a:cubicBezTo>
                  <a:pt x="5" y="3"/>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382"/>
          <p:cNvSpPr>
            <a:spLocks/>
          </p:cNvSpPr>
          <p:nvPr/>
        </p:nvSpPr>
        <p:spPr bwMode="auto">
          <a:xfrm>
            <a:off x="2655547" y="3404069"/>
            <a:ext cx="75072" cy="157293"/>
          </a:xfrm>
          <a:custGeom>
            <a:avLst/>
            <a:gdLst>
              <a:gd name="T0" fmla="*/ 13 w 16"/>
              <a:gd name="T1" fmla="*/ 1 h 32"/>
              <a:gd name="T2" fmla="*/ 13 w 16"/>
              <a:gd name="T3" fmla="*/ 2 h 32"/>
              <a:gd name="T4" fmla="*/ 12 w 16"/>
              <a:gd name="T5" fmla="*/ 3 h 32"/>
              <a:gd name="T6" fmla="*/ 11 w 16"/>
              <a:gd name="T7" fmla="*/ 4 h 32"/>
              <a:gd name="T8" fmla="*/ 10 w 16"/>
              <a:gd name="T9" fmla="*/ 5 h 32"/>
              <a:gd name="T10" fmla="*/ 10 w 16"/>
              <a:gd name="T11" fmla="*/ 6 h 32"/>
              <a:gd name="T12" fmla="*/ 8 w 16"/>
              <a:gd name="T13" fmla="*/ 8 h 32"/>
              <a:gd name="T14" fmla="*/ 5 w 16"/>
              <a:gd name="T15" fmla="*/ 9 h 32"/>
              <a:gd name="T16" fmla="*/ 2 w 16"/>
              <a:gd name="T17" fmla="*/ 10 h 32"/>
              <a:gd name="T18" fmla="*/ 1 w 16"/>
              <a:gd name="T19" fmla="*/ 13 h 32"/>
              <a:gd name="T20" fmla="*/ 2 w 16"/>
              <a:gd name="T21" fmla="*/ 17 h 32"/>
              <a:gd name="T22" fmla="*/ 1 w 16"/>
              <a:gd name="T23" fmla="*/ 21 h 32"/>
              <a:gd name="T24" fmla="*/ 0 w 16"/>
              <a:gd name="T25" fmla="*/ 27 h 32"/>
              <a:gd name="T26" fmla="*/ 2 w 16"/>
              <a:gd name="T27" fmla="*/ 31 h 32"/>
              <a:gd name="T28" fmla="*/ 6 w 16"/>
              <a:gd name="T29" fmla="*/ 32 h 32"/>
              <a:gd name="T30" fmla="*/ 8 w 16"/>
              <a:gd name="T31" fmla="*/ 31 h 32"/>
              <a:gd name="T32" fmla="*/ 11 w 16"/>
              <a:gd name="T33" fmla="*/ 22 h 32"/>
              <a:gd name="T34" fmla="*/ 14 w 16"/>
              <a:gd name="T35" fmla="*/ 13 h 32"/>
              <a:gd name="T36" fmla="*/ 14 w 16"/>
              <a:gd name="T37" fmla="*/ 11 h 32"/>
              <a:gd name="T38" fmla="*/ 15 w 16"/>
              <a:gd name="T39" fmla="*/ 9 h 32"/>
              <a:gd name="T40" fmla="*/ 16 w 16"/>
              <a:gd name="T41" fmla="*/ 9 h 32"/>
              <a:gd name="T42" fmla="*/ 15 w 16"/>
              <a:gd name="T43" fmla="*/ 5 h 32"/>
              <a:gd name="T44" fmla="*/ 13 w 16"/>
              <a:gd name="T45"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2">
                <a:moveTo>
                  <a:pt x="13" y="1"/>
                </a:moveTo>
                <a:cubicBezTo>
                  <a:pt x="13" y="0"/>
                  <a:pt x="13" y="1"/>
                  <a:pt x="13" y="2"/>
                </a:cubicBezTo>
                <a:cubicBezTo>
                  <a:pt x="12" y="2"/>
                  <a:pt x="12" y="3"/>
                  <a:pt x="12" y="3"/>
                </a:cubicBezTo>
                <a:cubicBezTo>
                  <a:pt x="12" y="4"/>
                  <a:pt x="12" y="4"/>
                  <a:pt x="11" y="4"/>
                </a:cubicBezTo>
                <a:cubicBezTo>
                  <a:pt x="10" y="4"/>
                  <a:pt x="10" y="4"/>
                  <a:pt x="10" y="5"/>
                </a:cubicBezTo>
                <a:cubicBezTo>
                  <a:pt x="10" y="6"/>
                  <a:pt x="10" y="6"/>
                  <a:pt x="10" y="6"/>
                </a:cubicBezTo>
                <a:cubicBezTo>
                  <a:pt x="10" y="7"/>
                  <a:pt x="9" y="8"/>
                  <a:pt x="8" y="8"/>
                </a:cubicBezTo>
                <a:cubicBezTo>
                  <a:pt x="7" y="8"/>
                  <a:pt x="6" y="9"/>
                  <a:pt x="5" y="9"/>
                </a:cubicBezTo>
                <a:cubicBezTo>
                  <a:pt x="4" y="9"/>
                  <a:pt x="3" y="10"/>
                  <a:pt x="2" y="10"/>
                </a:cubicBezTo>
                <a:cubicBezTo>
                  <a:pt x="1" y="10"/>
                  <a:pt x="2" y="12"/>
                  <a:pt x="1" y="13"/>
                </a:cubicBezTo>
                <a:cubicBezTo>
                  <a:pt x="1" y="14"/>
                  <a:pt x="1" y="15"/>
                  <a:pt x="2" y="17"/>
                </a:cubicBezTo>
                <a:cubicBezTo>
                  <a:pt x="2" y="18"/>
                  <a:pt x="3" y="19"/>
                  <a:pt x="1" y="21"/>
                </a:cubicBezTo>
                <a:cubicBezTo>
                  <a:pt x="0" y="23"/>
                  <a:pt x="0" y="25"/>
                  <a:pt x="0" y="27"/>
                </a:cubicBezTo>
                <a:cubicBezTo>
                  <a:pt x="1" y="28"/>
                  <a:pt x="1" y="30"/>
                  <a:pt x="2" y="31"/>
                </a:cubicBezTo>
                <a:cubicBezTo>
                  <a:pt x="3" y="32"/>
                  <a:pt x="5" y="32"/>
                  <a:pt x="6" y="32"/>
                </a:cubicBezTo>
                <a:cubicBezTo>
                  <a:pt x="6" y="31"/>
                  <a:pt x="7" y="32"/>
                  <a:pt x="8" y="31"/>
                </a:cubicBezTo>
                <a:cubicBezTo>
                  <a:pt x="9" y="30"/>
                  <a:pt x="10" y="25"/>
                  <a:pt x="11" y="22"/>
                </a:cubicBezTo>
                <a:cubicBezTo>
                  <a:pt x="12" y="18"/>
                  <a:pt x="14" y="14"/>
                  <a:pt x="14" y="13"/>
                </a:cubicBezTo>
                <a:cubicBezTo>
                  <a:pt x="13" y="12"/>
                  <a:pt x="14" y="11"/>
                  <a:pt x="14" y="11"/>
                </a:cubicBezTo>
                <a:cubicBezTo>
                  <a:pt x="14" y="10"/>
                  <a:pt x="14" y="8"/>
                  <a:pt x="15" y="9"/>
                </a:cubicBezTo>
                <a:cubicBezTo>
                  <a:pt x="15" y="10"/>
                  <a:pt x="16" y="10"/>
                  <a:pt x="16" y="9"/>
                </a:cubicBezTo>
                <a:cubicBezTo>
                  <a:pt x="16" y="8"/>
                  <a:pt x="15" y="6"/>
                  <a:pt x="15" y="5"/>
                </a:cubicBezTo>
                <a:cubicBezTo>
                  <a:pt x="15" y="3"/>
                  <a:pt x="14" y="2"/>
                  <a:pt x="1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383"/>
          <p:cNvSpPr>
            <a:spLocks noEditPoints="1"/>
          </p:cNvSpPr>
          <p:nvPr/>
        </p:nvSpPr>
        <p:spPr bwMode="auto">
          <a:xfrm>
            <a:off x="2648397" y="3071608"/>
            <a:ext cx="125120" cy="78647"/>
          </a:xfrm>
          <a:custGeom>
            <a:avLst/>
            <a:gdLst>
              <a:gd name="T0" fmla="*/ 19 w 26"/>
              <a:gd name="T1" fmla="*/ 1 h 16"/>
              <a:gd name="T2" fmla="*/ 14 w 26"/>
              <a:gd name="T3" fmla="*/ 1 h 16"/>
              <a:gd name="T4" fmla="*/ 11 w 26"/>
              <a:gd name="T5" fmla="*/ 4 h 16"/>
              <a:gd name="T6" fmla="*/ 9 w 26"/>
              <a:gd name="T7" fmla="*/ 5 h 16"/>
              <a:gd name="T8" fmla="*/ 6 w 26"/>
              <a:gd name="T9" fmla="*/ 4 h 16"/>
              <a:gd name="T10" fmla="*/ 4 w 26"/>
              <a:gd name="T11" fmla="*/ 4 h 16"/>
              <a:gd name="T12" fmla="*/ 2 w 26"/>
              <a:gd name="T13" fmla="*/ 4 h 16"/>
              <a:gd name="T14" fmla="*/ 1 w 26"/>
              <a:gd name="T15" fmla="*/ 4 h 16"/>
              <a:gd name="T16" fmla="*/ 1 w 26"/>
              <a:gd name="T17" fmla="*/ 6 h 16"/>
              <a:gd name="T18" fmla="*/ 0 w 26"/>
              <a:gd name="T19" fmla="*/ 6 h 16"/>
              <a:gd name="T20" fmla="*/ 0 w 26"/>
              <a:gd name="T21" fmla="*/ 8 h 16"/>
              <a:gd name="T22" fmla="*/ 1 w 26"/>
              <a:gd name="T23" fmla="*/ 11 h 16"/>
              <a:gd name="T24" fmla="*/ 2 w 26"/>
              <a:gd name="T25" fmla="*/ 14 h 16"/>
              <a:gd name="T26" fmla="*/ 6 w 26"/>
              <a:gd name="T27" fmla="*/ 14 h 16"/>
              <a:gd name="T28" fmla="*/ 8 w 26"/>
              <a:gd name="T29" fmla="*/ 13 h 16"/>
              <a:gd name="T30" fmla="*/ 11 w 26"/>
              <a:gd name="T31" fmla="*/ 12 h 16"/>
              <a:gd name="T32" fmla="*/ 13 w 26"/>
              <a:gd name="T33" fmla="*/ 11 h 16"/>
              <a:gd name="T34" fmla="*/ 15 w 26"/>
              <a:gd name="T35" fmla="*/ 10 h 16"/>
              <a:gd name="T36" fmla="*/ 19 w 26"/>
              <a:gd name="T37" fmla="*/ 9 h 16"/>
              <a:gd name="T38" fmla="*/ 22 w 26"/>
              <a:gd name="T39" fmla="*/ 6 h 16"/>
              <a:gd name="T40" fmla="*/ 23 w 26"/>
              <a:gd name="T41" fmla="*/ 6 h 16"/>
              <a:gd name="T42" fmla="*/ 21 w 26"/>
              <a:gd name="T43" fmla="*/ 0 h 16"/>
              <a:gd name="T44" fmla="*/ 19 w 26"/>
              <a:gd name="T45" fmla="*/ 1 h 16"/>
              <a:gd name="T46" fmla="*/ 24 w 26"/>
              <a:gd name="T47" fmla="*/ 15 h 16"/>
              <a:gd name="T48" fmla="*/ 26 w 26"/>
              <a:gd name="T49" fmla="*/ 15 h 16"/>
              <a:gd name="T50" fmla="*/ 24 w 26"/>
              <a:gd name="T5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16">
                <a:moveTo>
                  <a:pt x="19" y="1"/>
                </a:moveTo>
                <a:cubicBezTo>
                  <a:pt x="17" y="1"/>
                  <a:pt x="15" y="1"/>
                  <a:pt x="14" y="1"/>
                </a:cubicBezTo>
                <a:cubicBezTo>
                  <a:pt x="14" y="1"/>
                  <a:pt x="11" y="3"/>
                  <a:pt x="11" y="4"/>
                </a:cubicBezTo>
                <a:cubicBezTo>
                  <a:pt x="10" y="5"/>
                  <a:pt x="10" y="5"/>
                  <a:pt x="9" y="5"/>
                </a:cubicBezTo>
                <a:cubicBezTo>
                  <a:pt x="9" y="4"/>
                  <a:pt x="6" y="4"/>
                  <a:pt x="6" y="4"/>
                </a:cubicBezTo>
                <a:cubicBezTo>
                  <a:pt x="6" y="4"/>
                  <a:pt x="4" y="4"/>
                  <a:pt x="4" y="4"/>
                </a:cubicBezTo>
                <a:cubicBezTo>
                  <a:pt x="3" y="4"/>
                  <a:pt x="2" y="3"/>
                  <a:pt x="2" y="4"/>
                </a:cubicBezTo>
                <a:cubicBezTo>
                  <a:pt x="2" y="4"/>
                  <a:pt x="1" y="4"/>
                  <a:pt x="1" y="4"/>
                </a:cubicBezTo>
                <a:cubicBezTo>
                  <a:pt x="1" y="5"/>
                  <a:pt x="1" y="5"/>
                  <a:pt x="1" y="6"/>
                </a:cubicBezTo>
                <a:cubicBezTo>
                  <a:pt x="1" y="6"/>
                  <a:pt x="1" y="6"/>
                  <a:pt x="0" y="6"/>
                </a:cubicBezTo>
                <a:cubicBezTo>
                  <a:pt x="0" y="7"/>
                  <a:pt x="0" y="7"/>
                  <a:pt x="0" y="8"/>
                </a:cubicBezTo>
                <a:cubicBezTo>
                  <a:pt x="0" y="8"/>
                  <a:pt x="0" y="10"/>
                  <a:pt x="1" y="11"/>
                </a:cubicBezTo>
                <a:cubicBezTo>
                  <a:pt x="2" y="12"/>
                  <a:pt x="1" y="14"/>
                  <a:pt x="2" y="14"/>
                </a:cubicBezTo>
                <a:cubicBezTo>
                  <a:pt x="2" y="15"/>
                  <a:pt x="4" y="15"/>
                  <a:pt x="6" y="14"/>
                </a:cubicBezTo>
                <a:cubicBezTo>
                  <a:pt x="7" y="13"/>
                  <a:pt x="8" y="13"/>
                  <a:pt x="8" y="13"/>
                </a:cubicBezTo>
                <a:cubicBezTo>
                  <a:pt x="9" y="13"/>
                  <a:pt x="11" y="12"/>
                  <a:pt x="11" y="12"/>
                </a:cubicBezTo>
                <a:cubicBezTo>
                  <a:pt x="11" y="11"/>
                  <a:pt x="12" y="11"/>
                  <a:pt x="13" y="11"/>
                </a:cubicBezTo>
                <a:cubicBezTo>
                  <a:pt x="14" y="11"/>
                  <a:pt x="14" y="11"/>
                  <a:pt x="15" y="10"/>
                </a:cubicBezTo>
                <a:cubicBezTo>
                  <a:pt x="15" y="10"/>
                  <a:pt x="17" y="9"/>
                  <a:pt x="19" y="9"/>
                </a:cubicBezTo>
                <a:cubicBezTo>
                  <a:pt x="22" y="8"/>
                  <a:pt x="21" y="7"/>
                  <a:pt x="22" y="6"/>
                </a:cubicBezTo>
                <a:cubicBezTo>
                  <a:pt x="22" y="6"/>
                  <a:pt x="23" y="6"/>
                  <a:pt x="23" y="6"/>
                </a:cubicBezTo>
                <a:cubicBezTo>
                  <a:pt x="22" y="4"/>
                  <a:pt x="21" y="1"/>
                  <a:pt x="21" y="0"/>
                </a:cubicBezTo>
                <a:cubicBezTo>
                  <a:pt x="20" y="0"/>
                  <a:pt x="19" y="1"/>
                  <a:pt x="19" y="1"/>
                </a:cubicBezTo>
                <a:moveTo>
                  <a:pt x="24" y="15"/>
                </a:moveTo>
                <a:cubicBezTo>
                  <a:pt x="25" y="16"/>
                  <a:pt x="26" y="15"/>
                  <a:pt x="26" y="15"/>
                </a:cubicBezTo>
                <a:cubicBezTo>
                  <a:pt x="26" y="15"/>
                  <a:pt x="23" y="15"/>
                  <a:pt x="24"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384"/>
          <p:cNvSpPr>
            <a:spLocks noEditPoints="1"/>
          </p:cNvSpPr>
          <p:nvPr/>
        </p:nvSpPr>
        <p:spPr bwMode="auto">
          <a:xfrm>
            <a:off x="3391965" y="3396919"/>
            <a:ext cx="439706" cy="389658"/>
          </a:xfrm>
          <a:custGeom>
            <a:avLst/>
            <a:gdLst>
              <a:gd name="T0" fmla="*/ 89 w 91"/>
              <a:gd name="T1" fmla="*/ 35 h 81"/>
              <a:gd name="T2" fmla="*/ 86 w 91"/>
              <a:gd name="T3" fmla="*/ 32 h 81"/>
              <a:gd name="T4" fmla="*/ 83 w 91"/>
              <a:gd name="T5" fmla="*/ 28 h 81"/>
              <a:gd name="T6" fmla="*/ 80 w 91"/>
              <a:gd name="T7" fmla="*/ 25 h 81"/>
              <a:gd name="T8" fmla="*/ 74 w 91"/>
              <a:gd name="T9" fmla="*/ 18 h 81"/>
              <a:gd name="T10" fmla="*/ 72 w 91"/>
              <a:gd name="T11" fmla="*/ 11 h 81"/>
              <a:gd name="T12" fmla="*/ 68 w 91"/>
              <a:gd name="T13" fmla="*/ 7 h 81"/>
              <a:gd name="T14" fmla="*/ 64 w 91"/>
              <a:gd name="T15" fmla="*/ 2 h 81"/>
              <a:gd name="T16" fmla="*/ 63 w 91"/>
              <a:gd name="T17" fmla="*/ 10 h 81"/>
              <a:gd name="T18" fmla="*/ 58 w 91"/>
              <a:gd name="T19" fmla="*/ 15 h 81"/>
              <a:gd name="T20" fmla="*/ 52 w 91"/>
              <a:gd name="T21" fmla="*/ 12 h 81"/>
              <a:gd name="T22" fmla="*/ 51 w 91"/>
              <a:gd name="T23" fmla="*/ 7 h 81"/>
              <a:gd name="T24" fmla="*/ 52 w 91"/>
              <a:gd name="T25" fmla="*/ 4 h 81"/>
              <a:gd name="T26" fmla="*/ 49 w 91"/>
              <a:gd name="T27" fmla="*/ 4 h 81"/>
              <a:gd name="T28" fmla="*/ 43 w 91"/>
              <a:gd name="T29" fmla="*/ 3 h 81"/>
              <a:gd name="T30" fmla="*/ 38 w 91"/>
              <a:gd name="T31" fmla="*/ 6 h 81"/>
              <a:gd name="T32" fmla="*/ 36 w 91"/>
              <a:gd name="T33" fmla="*/ 10 h 81"/>
              <a:gd name="T34" fmla="*/ 33 w 91"/>
              <a:gd name="T35" fmla="*/ 9 h 81"/>
              <a:gd name="T36" fmla="*/ 29 w 91"/>
              <a:gd name="T37" fmla="*/ 9 h 81"/>
              <a:gd name="T38" fmla="*/ 26 w 91"/>
              <a:gd name="T39" fmla="*/ 11 h 81"/>
              <a:gd name="T40" fmla="*/ 24 w 91"/>
              <a:gd name="T41" fmla="*/ 15 h 81"/>
              <a:gd name="T42" fmla="*/ 21 w 91"/>
              <a:gd name="T43" fmla="*/ 15 h 81"/>
              <a:gd name="T44" fmla="*/ 13 w 91"/>
              <a:gd name="T45" fmla="*/ 22 h 81"/>
              <a:gd name="T46" fmla="*/ 7 w 91"/>
              <a:gd name="T47" fmla="*/ 24 h 81"/>
              <a:gd name="T48" fmla="*/ 2 w 91"/>
              <a:gd name="T49" fmla="*/ 26 h 81"/>
              <a:gd name="T50" fmla="*/ 1 w 91"/>
              <a:gd name="T51" fmla="*/ 33 h 81"/>
              <a:gd name="T52" fmla="*/ 2 w 91"/>
              <a:gd name="T53" fmla="*/ 37 h 81"/>
              <a:gd name="T54" fmla="*/ 4 w 91"/>
              <a:gd name="T55" fmla="*/ 45 h 81"/>
              <a:gd name="T56" fmla="*/ 4 w 91"/>
              <a:gd name="T57" fmla="*/ 55 h 81"/>
              <a:gd name="T58" fmla="*/ 11 w 91"/>
              <a:gd name="T59" fmla="*/ 58 h 81"/>
              <a:gd name="T60" fmla="*/ 20 w 91"/>
              <a:gd name="T61" fmla="*/ 55 h 81"/>
              <a:gd name="T62" fmla="*/ 31 w 91"/>
              <a:gd name="T63" fmla="*/ 51 h 81"/>
              <a:gd name="T64" fmla="*/ 43 w 91"/>
              <a:gd name="T65" fmla="*/ 51 h 81"/>
              <a:gd name="T66" fmla="*/ 47 w 91"/>
              <a:gd name="T67" fmla="*/ 53 h 81"/>
              <a:gd name="T68" fmla="*/ 51 w 91"/>
              <a:gd name="T69" fmla="*/ 57 h 81"/>
              <a:gd name="T70" fmla="*/ 54 w 91"/>
              <a:gd name="T71" fmla="*/ 56 h 81"/>
              <a:gd name="T72" fmla="*/ 56 w 91"/>
              <a:gd name="T73" fmla="*/ 57 h 81"/>
              <a:gd name="T74" fmla="*/ 59 w 91"/>
              <a:gd name="T75" fmla="*/ 62 h 81"/>
              <a:gd name="T76" fmla="*/ 67 w 91"/>
              <a:gd name="T77" fmla="*/ 68 h 81"/>
              <a:gd name="T78" fmla="*/ 71 w 91"/>
              <a:gd name="T79" fmla="*/ 67 h 81"/>
              <a:gd name="T80" fmla="*/ 74 w 91"/>
              <a:gd name="T81" fmla="*/ 69 h 81"/>
              <a:gd name="T82" fmla="*/ 82 w 91"/>
              <a:gd name="T83" fmla="*/ 65 h 81"/>
              <a:gd name="T84" fmla="*/ 87 w 91"/>
              <a:gd name="T85" fmla="*/ 52 h 81"/>
              <a:gd name="T86" fmla="*/ 90 w 91"/>
              <a:gd name="T87" fmla="*/ 45 h 81"/>
              <a:gd name="T88" fmla="*/ 41 w 91"/>
              <a:gd name="T89" fmla="*/ 2 h 81"/>
              <a:gd name="T90" fmla="*/ 52 w 91"/>
              <a:gd name="T91" fmla="*/ 60 h 81"/>
              <a:gd name="T92" fmla="*/ 74 w 91"/>
              <a:gd name="T93" fmla="*/ 74 h 81"/>
              <a:gd name="T94" fmla="*/ 74 w 91"/>
              <a:gd name="T95" fmla="*/ 81 h 81"/>
              <a:gd name="T96" fmla="*/ 77 w 91"/>
              <a:gd name="T97" fmla="*/ 79 h 81"/>
              <a:gd name="T98" fmla="*/ 74 w 91"/>
              <a:gd name="T99" fmla="*/ 7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81">
                <a:moveTo>
                  <a:pt x="90" y="41"/>
                </a:moveTo>
                <a:cubicBezTo>
                  <a:pt x="90" y="40"/>
                  <a:pt x="90" y="39"/>
                  <a:pt x="90" y="39"/>
                </a:cubicBezTo>
                <a:cubicBezTo>
                  <a:pt x="89" y="39"/>
                  <a:pt x="89" y="37"/>
                  <a:pt x="89" y="35"/>
                </a:cubicBezTo>
                <a:cubicBezTo>
                  <a:pt x="90" y="34"/>
                  <a:pt x="90" y="34"/>
                  <a:pt x="89" y="35"/>
                </a:cubicBezTo>
                <a:cubicBezTo>
                  <a:pt x="88" y="36"/>
                  <a:pt x="88" y="34"/>
                  <a:pt x="87" y="33"/>
                </a:cubicBezTo>
                <a:cubicBezTo>
                  <a:pt x="87" y="33"/>
                  <a:pt x="87" y="31"/>
                  <a:pt x="86" y="32"/>
                </a:cubicBezTo>
                <a:cubicBezTo>
                  <a:pt x="85" y="32"/>
                  <a:pt x="85" y="30"/>
                  <a:pt x="85" y="31"/>
                </a:cubicBezTo>
                <a:cubicBezTo>
                  <a:pt x="84" y="31"/>
                  <a:pt x="84" y="29"/>
                  <a:pt x="84" y="28"/>
                </a:cubicBezTo>
                <a:cubicBezTo>
                  <a:pt x="84" y="27"/>
                  <a:pt x="83" y="28"/>
                  <a:pt x="83" y="28"/>
                </a:cubicBezTo>
                <a:cubicBezTo>
                  <a:pt x="83" y="27"/>
                  <a:pt x="82" y="27"/>
                  <a:pt x="82" y="28"/>
                </a:cubicBezTo>
                <a:cubicBezTo>
                  <a:pt x="81" y="28"/>
                  <a:pt x="81" y="27"/>
                  <a:pt x="81" y="26"/>
                </a:cubicBezTo>
                <a:cubicBezTo>
                  <a:pt x="81" y="26"/>
                  <a:pt x="81" y="25"/>
                  <a:pt x="80" y="25"/>
                </a:cubicBezTo>
                <a:cubicBezTo>
                  <a:pt x="80" y="24"/>
                  <a:pt x="80" y="24"/>
                  <a:pt x="80" y="23"/>
                </a:cubicBezTo>
                <a:cubicBezTo>
                  <a:pt x="80" y="22"/>
                  <a:pt x="75" y="20"/>
                  <a:pt x="74" y="20"/>
                </a:cubicBezTo>
                <a:cubicBezTo>
                  <a:pt x="74" y="20"/>
                  <a:pt x="74" y="19"/>
                  <a:pt x="74" y="18"/>
                </a:cubicBezTo>
                <a:cubicBezTo>
                  <a:pt x="74" y="18"/>
                  <a:pt x="73" y="17"/>
                  <a:pt x="73" y="16"/>
                </a:cubicBezTo>
                <a:cubicBezTo>
                  <a:pt x="73" y="15"/>
                  <a:pt x="72" y="14"/>
                  <a:pt x="72" y="13"/>
                </a:cubicBezTo>
                <a:cubicBezTo>
                  <a:pt x="72" y="13"/>
                  <a:pt x="72" y="12"/>
                  <a:pt x="72" y="11"/>
                </a:cubicBezTo>
                <a:cubicBezTo>
                  <a:pt x="72" y="10"/>
                  <a:pt x="70" y="9"/>
                  <a:pt x="70" y="9"/>
                </a:cubicBezTo>
                <a:cubicBezTo>
                  <a:pt x="70" y="8"/>
                  <a:pt x="69" y="9"/>
                  <a:pt x="69" y="9"/>
                </a:cubicBezTo>
                <a:cubicBezTo>
                  <a:pt x="68" y="9"/>
                  <a:pt x="68" y="8"/>
                  <a:pt x="68" y="7"/>
                </a:cubicBezTo>
                <a:cubicBezTo>
                  <a:pt x="68" y="6"/>
                  <a:pt x="68" y="4"/>
                  <a:pt x="67" y="3"/>
                </a:cubicBezTo>
                <a:cubicBezTo>
                  <a:pt x="66" y="3"/>
                  <a:pt x="66" y="1"/>
                  <a:pt x="66" y="1"/>
                </a:cubicBezTo>
                <a:cubicBezTo>
                  <a:pt x="65" y="0"/>
                  <a:pt x="64" y="2"/>
                  <a:pt x="64" y="2"/>
                </a:cubicBezTo>
                <a:cubicBezTo>
                  <a:pt x="64" y="3"/>
                  <a:pt x="64" y="4"/>
                  <a:pt x="64" y="4"/>
                </a:cubicBezTo>
                <a:cubicBezTo>
                  <a:pt x="63" y="4"/>
                  <a:pt x="64" y="6"/>
                  <a:pt x="64" y="6"/>
                </a:cubicBezTo>
                <a:cubicBezTo>
                  <a:pt x="63" y="7"/>
                  <a:pt x="63" y="9"/>
                  <a:pt x="63" y="10"/>
                </a:cubicBezTo>
                <a:cubicBezTo>
                  <a:pt x="63" y="12"/>
                  <a:pt x="63" y="13"/>
                  <a:pt x="63" y="14"/>
                </a:cubicBezTo>
                <a:cubicBezTo>
                  <a:pt x="62" y="15"/>
                  <a:pt x="62" y="16"/>
                  <a:pt x="61" y="16"/>
                </a:cubicBezTo>
                <a:cubicBezTo>
                  <a:pt x="60" y="17"/>
                  <a:pt x="58" y="16"/>
                  <a:pt x="58" y="15"/>
                </a:cubicBezTo>
                <a:cubicBezTo>
                  <a:pt x="58" y="15"/>
                  <a:pt x="57" y="14"/>
                  <a:pt x="56" y="14"/>
                </a:cubicBezTo>
                <a:cubicBezTo>
                  <a:pt x="55" y="14"/>
                  <a:pt x="55" y="13"/>
                  <a:pt x="54" y="13"/>
                </a:cubicBezTo>
                <a:cubicBezTo>
                  <a:pt x="53" y="12"/>
                  <a:pt x="52" y="13"/>
                  <a:pt x="52" y="12"/>
                </a:cubicBezTo>
                <a:cubicBezTo>
                  <a:pt x="51" y="11"/>
                  <a:pt x="51" y="11"/>
                  <a:pt x="50" y="10"/>
                </a:cubicBezTo>
                <a:cubicBezTo>
                  <a:pt x="49" y="10"/>
                  <a:pt x="50" y="10"/>
                  <a:pt x="50" y="9"/>
                </a:cubicBezTo>
                <a:cubicBezTo>
                  <a:pt x="51" y="8"/>
                  <a:pt x="51" y="8"/>
                  <a:pt x="51" y="7"/>
                </a:cubicBezTo>
                <a:cubicBezTo>
                  <a:pt x="50" y="6"/>
                  <a:pt x="51" y="7"/>
                  <a:pt x="52" y="6"/>
                </a:cubicBezTo>
                <a:cubicBezTo>
                  <a:pt x="53" y="6"/>
                  <a:pt x="52" y="5"/>
                  <a:pt x="53" y="5"/>
                </a:cubicBezTo>
                <a:cubicBezTo>
                  <a:pt x="54" y="4"/>
                  <a:pt x="53" y="4"/>
                  <a:pt x="52" y="4"/>
                </a:cubicBezTo>
                <a:cubicBezTo>
                  <a:pt x="52" y="3"/>
                  <a:pt x="52" y="4"/>
                  <a:pt x="51" y="4"/>
                </a:cubicBezTo>
                <a:cubicBezTo>
                  <a:pt x="51" y="5"/>
                  <a:pt x="51" y="3"/>
                  <a:pt x="51" y="3"/>
                </a:cubicBezTo>
                <a:cubicBezTo>
                  <a:pt x="50" y="3"/>
                  <a:pt x="49" y="5"/>
                  <a:pt x="49" y="4"/>
                </a:cubicBezTo>
                <a:cubicBezTo>
                  <a:pt x="48" y="3"/>
                  <a:pt x="46" y="3"/>
                  <a:pt x="45" y="3"/>
                </a:cubicBezTo>
                <a:cubicBezTo>
                  <a:pt x="44" y="2"/>
                  <a:pt x="43" y="1"/>
                  <a:pt x="43" y="1"/>
                </a:cubicBezTo>
                <a:cubicBezTo>
                  <a:pt x="42" y="2"/>
                  <a:pt x="43" y="2"/>
                  <a:pt x="43" y="3"/>
                </a:cubicBezTo>
                <a:cubicBezTo>
                  <a:pt x="44" y="4"/>
                  <a:pt x="41" y="4"/>
                  <a:pt x="40" y="4"/>
                </a:cubicBezTo>
                <a:cubicBezTo>
                  <a:pt x="39" y="4"/>
                  <a:pt x="40" y="5"/>
                  <a:pt x="39" y="4"/>
                </a:cubicBezTo>
                <a:cubicBezTo>
                  <a:pt x="39" y="4"/>
                  <a:pt x="38" y="6"/>
                  <a:pt x="38" y="6"/>
                </a:cubicBezTo>
                <a:cubicBezTo>
                  <a:pt x="37" y="7"/>
                  <a:pt x="38" y="8"/>
                  <a:pt x="37" y="8"/>
                </a:cubicBezTo>
                <a:cubicBezTo>
                  <a:pt x="36" y="9"/>
                  <a:pt x="36" y="9"/>
                  <a:pt x="37" y="10"/>
                </a:cubicBezTo>
                <a:cubicBezTo>
                  <a:pt x="38" y="11"/>
                  <a:pt x="37" y="11"/>
                  <a:pt x="36" y="10"/>
                </a:cubicBezTo>
                <a:cubicBezTo>
                  <a:pt x="35" y="9"/>
                  <a:pt x="34" y="9"/>
                  <a:pt x="35" y="10"/>
                </a:cubicBezTo>
                <a:cubicBezTo>
                  <a:pt x="35" y="11"/>
                  <a:pt x="34" y="11"/>
                  <a:pt x="34" y="10"/>
                </a:cubicBezTo>
                <a:cubicBezTo>
                  <a:pt x="34" y="9"/>
                  <a:pt x="33" y="9"/>
                  <a:pt x="33" y="9"/>
                </a:cubicBezTo>
                <a:cubicBezTo>
                  <a:pt x="32" y="8"/>
                  <a:pt x="31" y="7"/>
                  <a:pt x="31" y="7"/>
                </a:cubicBezTo>
                <a:cubicBezTo>
                  <a:pt x="30" y="7"/>
                  <a:pt x="30" y="8"/>
                  <a:pt x="29" y="8"/>
                </a:cubicBezTo>
                <a:cubicBezTo>
                  <a:pt x="29" y="8"/>
                  <a:pt x="29" y="8"/>
                  <a:pt x="29" y="9"/>
                </a:cubicBezTo>
                <a:cubicBezTo>
                  <a:pt x="29" y="10"/>
                  <a:pt x="28" y="9"/>
                  <a:pt x="27" y="9"/>
                </a:cubicBezTo>
                <a:cubicBezTo>
                  <a:pt x="26" y="9"/>
                  <a:pt x="27" y="10"/>
                  <a:pt x="27" y="10"/>
                </a:cubicBezTo>
                <a:cubicBezTo>
                  <a:pt x="26" y="10"/>
                  <a:pt x="26" y="11"/>
                  <a:pt x="26" y="11"/>
                </a:cubicBezTo>
                <a:cubicBezTo>
                  <a:pt x="25" y="11"/>
                  <a:pt x="25" y="12"/>
                  <a:pt x="25" y="13"/>
                </a:cubicBezTo>
                <a:cubicBezTo>
                  <a:pt x="25" y="14"/>
                  <a:pt x="24" y="13"/>
                  <a:pt x="24" y="13"/>
                </a:cubicBezTo>
                <a:cubicBezTo>
                  <a:pt x="23" y="13"/>
                  <a:pt x="24" y="14"/>
                  <a:pt x="24" y="15"/>
                </a:cubicBezTo>
                <a:cubicBezTo>
                  <a:pt x="24" y="15"/>
                  <a:pt x="24" y="15"/>
                  <a:pt x="23" y="16"/>
                </a:cubicBezTo>
                <a:cubicBezTo>
                  <a:pt x="23" y="16"/>
                  <a:pt x="22" y="15"/>
                  <a:pt x="22" y="14"/>
                </a:cubicBezTo>
                <a:cubicBezTo>
                  <a:pt x="22" y="13"/>
                  <a:pt x="21" y="14"/>
                  <a:pt x="21" y="15"/>
                </a:cubicBezTo>
                <a:cubicBezTo>
                  <a:pt x="20" y="16"/>
                  <a:pt x="21" y="17"/>
                  <a:pt x="21" y="18"/>
                </a:cubicBezTo>
                <a:cubicBezTo>
                  <a:pt x="20" y="18"/>
                  <a:pt x="18" y="19"/>
                  <a:pt x="17" y="21"/>
                </a:cubicBezTo>
                <a:cubicBezTo>
                  <a:pt x="16" y="22"/>
                  <a:pt x="14" y="21"/>
                  <a:pt x="13" y="22"/>
                </a:cubicBezTo>
                <a:cubicBezTo>
                  <a:pt x="13" y="22"/>
                  <a:pt x="12" y="22"/>
                  <a:pt x="11" y="22"/>
                </a:cubicBezTo>
                <a:cubicBezTo>
                  <a:pt x="11" y="23"/>
                  <a:pt x="9" y="24"/>
                  <a:pt x="9" y="23"/>
                </a:cubicBezTo>
                <a:cubicBezTo>
                  <a:pt x="9" y="23"/>
                  <a:pt x="7" y="23"/>
                  <a:pt x="7" y="24"/>
                </a:cubicBezTo>
                <a:cubicBezTo>
                  <a:pt x="6" y="25"/>
                  <a:pt x="5" y="26"/>
                  <a:pt x="4" y="26"/>
                </a:cubicBezTo>
                <a:cubicBezTo>
                  <a:pt x="3" y="26"/>
                  <a:pt x="3" y="27"/>
                  <a:pt x="3" y="27"/>
                </a:cubicBezTo>
                <a:cubicBezTo>
                  <a:pt x="2" y="27"/>
                  <a:pt x="2" y="26"/>
                  <a:pt x="2" y="26"/>
                </a:cubicBezTo>
                <a:cubicBezTo>
                  <a:pt x="2" y="25"/>
                  <a:pt x="2" y="26"/>
                  <a:pt x="1" y="27"/>
                </a:cubicBezTo>
                <a:cubicBezTo>
                  <a:pt x="1" y="28"/>
                  <a:pt x="2" y="29"/>
                  <a:pt x="1" y="30"/>
                </a:cubicBezTo>
                <a:cubicBezTo>
                  <a:pt x="1" y="31"/>
                  <a:pt x="0" y="32"/>
                  <a:pt x="1" y="33"/>
                </a:cubicBezTo>
                <a:cubicBezTo>
                  <a:pt x="2" y="35"/>
                  <a:pt x="3" y="36"/>
                  <a:pt x="2" y="36"/>
                </a:cubicBezTo>
                <a:cubicBezTo>
                  <a:pt x="2" y="37"/>
                  <a:pt x="1" y="35"/>
                  <a:pt x="1" y="35"/>
                </a:cubicBezTo>
                <a:cubicBezTo>
                  <a:pt x="1" y="36"/>
                  <a:pt x="2" y="36"/>
                  <a:pt x="2" y="37"/>
                </a:cubicBezTo>
                <a:cubicBezTo>
                  <a:pt x="1" y="37"/>
                  <a:pt x="0" y="35"/>
                  <a:pt x="0" y="36"/>
                </a:cubicBezTo>
                <a:cubicBezTo>
                  <a:pt x="0" y="36"/>
                  <a:pt x="2" y="39"/>
                  <a:pt x="2" y="41"/>
                </a:cubicBezTo>
                <a:cubicBezTo>
                  <a:pt x="2" y="42"/>
                  <a:pt x="4" y="43"/>
                  <a:pt x="4" y="45"/>
                </a:cubicBezTo>
                <a:cubicBezTo>
                  <a:pt x="4" y="47"/>
                  <a:pt x="6" y="49"/>
                  <a:pt x="6" y="50"/>
                </a:cubicBezTo>
                <a:cubicBezTo>
                  <a:pt x="6" y="50"/>
                  <a:pt x="5" y="51"/>
                  <a:pt x="6" y="53"/>
                </a:cubicBezTo>
                <a:cubicBezTo>
                  <a:pt x="6" y="54"/>
                  <a:pt x="5" y="55"/>
                  <a:pt x="4" y="55"/>
                </a:cubicBezTo>
                <a:cubicBezTo>
                  <a:pt x="3" y="55"/>
                  <a:pt x="4" y="56"/>
                  <a:pt x="5" y="56"/>
                </a:cubicBezTo>
                <a:cubicBezTo>
                  <a:pt x="6" y="56"/>
                  <a:pt x="5" y="57"/>
                  <a:pt x="6" y="58"/>
                </a:cubicBezTo>
                <a:cubicBezTo>
                  <a:pt x="8" y="58"/>
                  <a:pt x="10" y="58"/>
                  <a:pt x="11" y="58"/>
                </a:cubicBezTo>
                <a:cubicBezTo>
                  <a:pt x="12" y="58"/>
                  <a:pt x="12" y="57"/>
                  <a:pt x="13" y="57"/>
                </a:cubicBezTo>
                <a:cubicBezTo>
                  <a:pt x="14" y="57"/>
                  <a:pt x="14" y="56"/>
                  <a:pt x="15" y="56"/>
                </a:cubicBezTo>
                <a:cubicBezTo>
                  <a:pt x="15" y="55"/>
                  <a:pt x="18" y="55"/>
                  <a:pt x="20" y="55"/>
                </a:cubicBezTo>
                <a:cubicBezTo>
                  <a:pt x="23" y="55"/>
                  <a:pt x="24" y="55"/>
                  <a:pt x="24" y="53"/>
                </a:cubicBezTo>
                <a:cubicBezTo>
                  <a:pt x="25" y="53"/>
                  <a:pt x="27" y="53"/>
                  <a:pt x="27" y="52"/>
                </a:cubicBezTo>
                <a:cubicBezTo>
                  <a:pt x="28" y="51"/>
                  <a:pt x="29" y="51"/>
                  <a:pt x="31" y="51"/>
                </a:cubicBezTo>
                <a:cubicBezTo>
                  <a:pt x="33" y="51"/>
                  <a:pt x="34" y="50"/>
                  <a:pt x="36" y="50"/>
                </a:cubicBezTo>
                <a:cubicBezTo>
                  <a:pt x="37" y="49"/>
                  <a:pt x="39" y="49"/>
                  <a:pt x="40" y="49"/>
                </a:cubicBezTo>
                <a:cubicBezTo>
                  <a:pt x="41" y="49"/>
                  <a:pt x="42" y="51"/>
                  <a:pt x="43" y="51"/>
                </a:cubicBezTo>
                <a:cubicBezTo>
                  <a:pt x="44" y="50"/>
                  <a:pt x="45" y="51"/>
                  <a:pt x="45" y="51"/>
                </a:cubicBezTo>
                <a:cubicBezTo>
                  <a:pt x="46" y="51"/>
                  <a:pt x="46" y="51"/>
                  <a:pt x="47" y="51"/>
                </a:cubicBezTo>
                <a:cubicBezTo>
                  <a:pt x="47" y="52"/>
                  <a:pt x="47" y="52"/>
                  <a:pt x="47" y="53"/>
                </a:cubicBezTo>
                <a:cubicBezTo>
                  <a:pt x="46" y="53"/>
                  <a:pt x="48" y="53"/>
                  <a:pt x="49" y="55"/>
                </a:cubicBezTo>
                <a:cubicBezTo>
                  <a:pt x="50" y="56"/>
                  <a:pt x="49" y="56"/>
                  <a:pt x="49" y="57"/>
                </a:cubicBezTo>
                <a:cubicBezTo>
                  <a:pt x="50" y="58"/>
                  <a:pt x="50" y="58"/>
                  <a:pt x="51" y="57"/>
                </a:cubicBezTo>
                <a:cubicBezTo>
                  <a:pt x="52" y="55"/>
                  <a:pt x="53" y="56"/>
                  <a:pt x="53" y="55"/>
                </a:cubicBezTo>
                <a:cubicBezTo>
                  <a:pt x="54" y="54"/>
                  <a:pt x="55" y="52"/>
                  <a:pt x="55" y="53"/>
                </a:cubicBezTo>
                <a:cubicBezTo>
                  <a:pt x="56" y="53"/>
                  <a:pt x="55" y="54"/>
                  <a:pt x="54" y="56"/>
                </a:cubicBezTo>
                <a:cubicBezTo>
                  <a:pt x="54" y="58"/>
                  <a:pt x="53" y="57"/>
                  <a:pt x="53" y="58"/>
                </a:cubicBezTo>
                <a:cubicBezTo>
                  <a:pt x="53" y="58"/>
                  <a:pt x="55" y="59"/>
                  <a:pt x="55" y="58"/>
                </a:cubicBezTo>
                <a:cubicBezTo>
                  <a:pt x="55" y="56"/>
                  <a:pt x="55" y="56"/>
                  <a:pt x="56" y="57"/>
                </a:cubicBezTo>
                <a:cubicBezTo>
                  <a:pt x="57" y="58"/>
                  <a:pt x="56" y="59"/>
                  <a:pt x="56" y="59"/>
                </a:cubicBezTo>
                <a:cubicBezTo>
                  <a:pt x="56" y="60"/>
                  <a:pt x="57" y="59"/>
                  <a:pt x="58" y="59"/>
                </a:cubicBezTo>
                <a:cubicBezTo>
                  <a:pt x="58" y="59"/>
                  <a:pt x="60" y="61"/>
                  <a:pt x="59" y="62"/>
                </a:cubicBezTo>
                <a:cubicBezTo>
                  <a:pt x="59" y="63"/>
                  <a:pt x="59" y="64"/>
                  <a:pt x="61" y="65"/>
                </a:cubicBezTo>
                <a:cubicBezTo>
                  <a:pt x="62" y="66"/>
                  <a:pt x="62" y="66"/>
                  <a:pt x="63" y="66"/>
                </a:cubicBezTo>
                <a:cubicBezTo>
                  <a:pt x="64" y="66"/>
                  <a:pt x="67" y="67"/>
                  <a:pt x="67" y="68"/>
                </a:cubicBezTo>
                <a:cubicBezTo>
                  <a:pt x="68" y="68"/>
                  <a:pt x="70" y="67"/>
                  <a:pt x="70" y="66"/>
                </a:cubicBezTo>
                <a:cubicBezTo>
                  <a:pt x="70" y="65"/>
                  <a:pt x="72" y="66"/>
                  <a:pt x="71" y="66"/>
                </a:cubicBezTo>
                <a:cubicBezTo>
                  <a:pt x="70" y="67"/>
                  <a:pt x="71" y="68"/>
                  <a:pt x="71" y="67"/>
                </a:cubicBezTo>
                <a:cubicBezTo>
                  <a:pt x="71" y="66"/>
                  <a:pt x="72" y="66"/>
                  <a:pt x="72" y="67"/>
                </a:cubicBezTo>
                <a:cubicBezTo>
                  <a:pt x="72" y="67"/>
                  <a:pt x="73" y="67"/>
                  <a:pt x="73" y="68"/>
                </a:cubicBezTo>
                <a:cubicBezTo>
                  <a:pt x="74" y="69"/>
                  <a:pt x="74" y="69"/>
                  <a:pt x="74" y="69"/>
                </a:cubicBezTo>
                <a:cubicBezTo>
                  <a:pt x="74" y="68"/>
                  <a:pt x="74" y="68"/>
                  <a:pt x="75" y="67"/>
                </a:cubicBezTo>
                <a:cubicBezTo>
                  <a:pt x="76" y="67"/>
                  <a:pt x="76" y="66"/>
                  <a:pt x="77" y="66"/>
                </a:cubicBezTo>
                <a:cubicBezTo>
                  <a:pt x="78" y="65"/>
                  <a:pt x="82" y="65"/>
                  <a:pt x="82" y="65"/>
                </a:cubicBezTo>
                <a:cubicBezTo>
                  <a:pt x="82" y="65"/>
                  <a:pt x="82" y="62"/>
                  <a:pt x="83" y="61"/>
                </a:cubicBezTo>
                <a:cubicBezTo>
                  <a:pt x="83" y="59"/>
                  <a:pt x="84" y="59"/>
                  <a:pt x="84" y="57"/>
                </a:cubicBezTo>
                <a:cubicBezTo>
                  <a:pt x="85" y="56"/>
                  <a:pt x="86" y="53"/>
                  <a:pt x="87" y="52"/>
                </a:cubicBezTo>
                <a:cubicBezTo>
                  <a:pt x="87" y="52"/>
                  <a:pt x="88" y="52"/>
                  <a:pt x="88" y="51"/>
                </a:cubicBezTo>
                <a:cubicBezTo>
                  <a:pt x="88" y="50"/>
                  <a:pt x="89" y="49"/>
                  <a:pt x="89" y="48"/>
                </a:cubicBezTo>
                <a:cubicBezTo>
                  <a:pt x="89" y="47"/>
                  <a:pt x="90" y="45"/>
                  <a:pt x="90" y="45"/>
                </a:cubicBezTo>
                <a:cubicBezTo>
                  <a:pt x="90" y="45"/>
                  <a:pt x="89" y="44"/>
                  <a:pt x="90" y="43"/>
                </a:cubicBezTo>
                <a:cubicBezTo>
                  <a:pt x="91" y="42"/>
                  <a:pt x="90" y="41"/>
                  <a:pt x="90" y="41"/>
                </a:cubicBezTo>
                <a:moveTo>
                  <a:pt x="41" y="2"/>
                </a:moveTo>
                <a:cubicBezTo>
                  <a:pt x="41" y="2"/>
                  <a:pt x="37" y="2"/>
                  <a:pt x="38" y="3"/>
                </a:cubicBezTo>
                <a:cubicBezTo>
                  <a:pt x="39" y="3"/>
                  <a:pt x="41" y="3"/>
                  <a:pt x="41" y="2"/>
                </a:cubicBezTo>
                <a:moveTo>
                  <a:pt x="52" y="60"/>
                </a:moveTo>
                <a:cubicBezTo>
                  <a:pt x="53" y="61"/>
                  <a:pt x="54" y="61"/>
                  <a:pt x="55" y="60"/>
                </a:cubicBezTo>
                <a:cubicBezTo>
                  <a:pt x="55" y="59"/>
                  <a:pt x="51" y="60"/>
                  <a:pt x="52" y="60"/>
                </a:cubicBezTo>
                <a:moveTo>
                  <a:pt x="74" y="74"/>
                </a:moveTo>
                <a:cubicBezTo>
                  <a:pt x="73" y="74"/>
                  <a:pt x="71" y="73"/>
                  <a:pt x="70" y="73"/>
                </a:cubicBezTo>
                <a:cubicBezTo>
                  <a:pt x="70" y="73"/>
                  <a:pt x="72" y="76"/>
                  <a:pt x="71" y="77"/>
                </a:cubicBezTo>
                <a:cubicBezTo>
                  <a:pt x="71" y="78"/>
                  <a:pt x="73" y="81"/>
                  <a:pt x="74" y="81"/>
                </a:cubicBezTo>
                <a:cubicBezTo>
                  <a:pt x="75" y="81"/>
                  <a:pt x="75" y="80"/>
                  <a:pt x="76" y="80"/>
                </a:cubicBezTo>
                <a:cubicBezTo>
                  <a:pt x="76" y="80"/>
                  <a:pt x="76" y="79"/>
                  <a:pt x="76" y="79"/>
                </a:cubicBezTo>
                <a:cubicBezTo>
                  <a:pt x="76" y="78"/>
                  <a:pt x="77" y="79"/>
                  <a:pt x="77" y="79"/>
                </a:cubicBezTo>
                <a:cubicBezTo>
                  <a:pt x="78" y="79"/>
                  <a:pt x="77" y="77"/>
                  <a:pt x="78" y="77"/>
                </a:cubicBezTo>
                <a:cubicBezTo>
                  <a:pt x="79" y="77"/>
                  <a:pt x="78" y="74"/>
                  <a:pt x="78" y="73"/>
                </a:cubicBezTo>
                <a:cubicBezTo>
                  <a:pt x="78" y="72"/>
                  <a:pt x="75" y="74"/>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385"/>
          <p:cNvSpPr>
            <a:spLocks/>
          </p:cNvSpPr>
          <p:nvPr/>
        </p:nvSpPr>
        <p:spPr bwMode="auto">
          <a:xfrm>
            <a:off x="2759217" y="2792770"/>
            <a:ext cx="150144" cy="96521"/>
          </a:xfrm>
          <a:custGeom>
            <a:avLst/>
            <a:gdLst>
              <a:gd name="T0" fmla="*/ 31 w 31"/>
              <a:gd name="T1" fmla="*/ 12 h 20"/>
              <a:gd name="T2" fmla="*/ 29 w 31"/>
              <a:gd name="T3" fmla="*/ 12 h 20"/>
              <a:gd name="T4" fmla="*/ 27 w 31"/>
              <a:gd name="T5" fmla="*/ 10 h 20"/>
              <a:gd name="T6" fmla="*/ 24 w 31"/>
              <a:gd name="T7" fmla="*/ 9 h 20"/>
              <a:gd name="T8" fmla="*/ 22 w 31"/>
              <a:gd name="T9" fmla="*/ 7 h 20"/>
              <a:gd name="T10" fmla="*/ 21 w 31"/>
              <a:gd name="T11" fmla="*/ 5 h 20"/>
              <a:gd name="T12" fmla="*/ 20 w 31"/>
              <a:gd name="T13" fmla="*/ 4 h 20"/>
              <a:gd name="T14" fmla="*/ 17 w 31"/>
              <a:gd name="T15" fmla="*/ 3 h 20"/>
              <a:gd name="T16" fmla="*/ 16 w 31"/>
              <a:gd name="T17" fmla="*/ 1 h 20"/>
              <a:gd name="T18" fmla="*/ 14 w 31"/>
              <a:gd name="T19" fmla="*/ 0 h 20"/>
              <a:gd name="T20" fmla="*/ 13 w 31"/>
              <a:gd name="T21" fmla="*/ 0 h 20"/>
              <a:gd name="T22" fmla="*/ 12 w 31"/>
              <a:gd name="T23" fmla="*/ 0 h 20"/>
              <a:gd name="T24" fmla="*/ 11 w 31"/>
              <a:gd name="T25" fmla="*/ 1 h 20"/>
              <a:gd name="T26" fmla="*/ 9 w 31"/>
              <a:gd name="T27" fmla="*/ 2 h 20"/>
              <a:gd name="T28" fmla="*/ 9 w 31"/>
              <a:gd name="T29" fmla="*/ 4 h 20"/>
              <a:gd name="T30" fmla="*/ 7 w 31"/>
              <a:gd name="T31" fmla="*/ 3 h 20"/>
              <a:gd name="T32" fmla="*/ 6 w 31"/>
              <a:gd name="T33" fmla="*/ 3 h 20"/>
              <a:gd name="T34" fmla="*/ 3 w 31"/>
              <a:gd name="T35" fmla="*/ 1 h 20"/>
              <a:gd name="T36" fmla="*/ 1 w 31"/>
              <a:gd name="T37" fmla="*/ 2 h 20"/>
              <a:gd name="T38" fmla="*/ 2 w 31"/>
              <a:gd name="T39" fmla="*/ 1 h 20"/>
              <a:gd name="T40" fmla="*/ 3 w 31"/>
              <a:gd name="T41" fmla="*/ 4 h 20"/>
              <a:gd name="T42" fmla="*/ 4 w 31"/>
              <a:gd name="T43" fmla="*/ 5 h 20"/>
              <a:gd name="T44" fmla="*/ 2 w 31"/>
              <a:gd name="T45" fmla="*/ 5 h 20"/>
              <a:gd name="T46" fmla="*/ 0 w 31"/>
              <a:gd name="T47" fmla="*/ 5 h 20"/>
              <a:gd name="T48" fmla="*/ 1 w 31"/>
              <a:gd name="T49" fmla="*/ 7 h 20"/>
              <a:gd name="T50" fmla="*/ 1 w 31"/>
              <a:gd name="T51" fmla="*/ 8 h 20"/>
              <a:gd name="T52" fmla="*/ 2 w 31"/>
              <a:gd name="T53" fmla="*/ 9 h 20"/>
              <a:gd name="T54" fmla="*/ 2 w 31"/>
              <a:gd name="T55" fmla="*/ 11 h 20"/>
              <a:gd name="T56" fmla="*/ 2 w 31"/>
              <a:gd name="T57" fmla="*/ 14 h 20"/>
              <a:gd name="T58" fmla="*/ 4 w 31"/>
              <a:gd name="T59" fmla="*/ 13 h 20"/>
              <a:gd name="T60" fmla="*/ 6 w 31"/>
              <a:gd name="T61" fmla="*/ 12 h 20"/>
              <a:gd name="T62" fmla="*/ 8 w 31"/>
              <a:gd name="T63" fmla="*/ 12 h 20"/>
              <a:gd name="T64" fmla="*/ 10 w 31"/>
              <a:gd name="T65" fmla="*/ 12 h 20"/>
              <a:gd name="T66" fmla="*/ 12 w 31"/>
              <a:gd name="T67" fmla="*/ 13 h 20"/>
              <a:gd name="T68" fmla="*/ 13 w 31"/>
              <a:gd name="T69" fmla="*/ 13 h 20"/>
              <a:gd name="T70" fmla="*/ 15 w 31"/>
              <a:gd name="T71" fmla="*/ 14 h 20"/>
              <a:gd name="T72" fmla="*/ 16 w 31"/>
              <a:gd name="T73" fmla="*/ 14 h 20"/>
              <a:gd name="T74" fmla="*/ 17 w 31"/>
              <a:gd name="T75" fmla="*/ 16 h 20"/>
              <a:gd name="T76" fmla="*/ 19 w 31"/>
              <a:gd name="T77" fmla="*/ 16 h 20"/>
              <a:gd name="T78" fmla="*/ 19 w 31"/>
              <a:gd name="T79" fmla="*/ 19 h 20"/>
              <a:gd name="T80" fmla="*/ 20 w 31"/>
              <a:gd name="T81" fmla="*/ 19 h 20"/>
              <a:gd name="T82" fmla="*/ 21 w 31"/>
              <a:gd name="T83" fmla="*/ 19 h 20"/>
              <a:gd name="T84" fmla="*/ 23 w 31"/>
              <a:gd name="T85" fmla="*/ 18 h 20"/>
              <a:gd name="T86" fmla="*/ 26 w 31"/>
              <a:gd name="T87" fmla="*/ 17 h 20"/>
              <a:gd name="T88" fmla="*/ 28 w 31"/>
              <a:gd name="T89" fmla="*/ 14 h 20"/>
              <a:gd name="T90" fmla="*/ 29 w 31"/>
              <a:gd name="T91" fmla="*/ 13 h 20"/>
              <a:gd name="T92" fmla="*/ 31 w 31"/>
              <a:gd name="T93" fmla="*/ 14 h 20"/>
              <a:gd name="T94" fmla="*/ 31 w 31"/>
              <a:gd name="T95"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20">
                <a:moveTo>
                  <a:pt x="31" y="12"/>
                </a:moveTo>
                <a:cubicBezTo>
                  <a:pt x="31" y="12"/>
                  <a:pt x="30" y="12"/>
                  <a:pt x="29" y="12"/>
                </a:cubicBezTo>
                <a:cubicBezTo>
                  <a:pt x="28" y="12"/>
                  <a:pt x="28" y="10"/>
                  <a:pt x="27" y="10"/>
                </a:cubicBezTo>
                <a:cubicBezTo>
                  <a:pt x="26" y="10"/>
                  <a:pt x="25" y="9"/>
                  <a:pt x="24" y="9"/>
                </a:cubicBezTo>
                <a:cubicBezTo>
                  <a:pt x="24" y="8"/>
                  <a:pt x="22" y="7"/>
                  <a:pt x="22" y="7"/>
                </a:cubicBezTo>
                <a:cubicBezTo>
                  <a:pt x="22" y="7"/>
                  <a:pt x="21" y="6"/>
                  <a:pt x="21" y="5"/>
                </a:cubicBezTo>
                <a:cubicBezTo>
                  <a:pt x="21" y="5"/>
                  <a:pt x="21" y="4"/>
                  <a:pt x="20" y="4"/>
                </a:cubicBezTo>
                <a:cubicBezTo>
                  <a:pt x="20" y="4"/>
                  <a:pt x="17" y="4"/>
                  <a:pt x="17" y="3"/>
                </a:cubicBezTo>
                <a:cubicBezTo>
                  <a:pt x="17" y="3"/>
                  <a:pt x="17" y="1"/>
                  <a:pt x="16" y="1"/>
                </a:cubicBezTo>
                <a:cubicBezTo>
                  <a:pt x="15" y="1"/>
                  <a:pt x="15" y="1"/>
                  <a:pt x="14" y="0"/>
                </a:cubicBezTo>
                <a:cubicBezTo>
                  <a:pt x="14" y="0"/>
                  <a:pt x="13" y="0"/>
                  <a:pt x="13" y="0"/>
                </a:cubicBezTo>
                <a:cubicBezTo>
                  <a:pt x="13" y="0"/>
                  <a:pt x="12" y="0"/>
                  <a:pt x="12" y="0"/>
                </a:cubicBezTo>
                <a:cubicBezTo>
                  <a:pt x="12" y="0"/>
                  <a:pt x="12" y="1"/>
                  <a:pt x="11" y="1"/>
                </a:cubicBezTo>
                <a:cubicBezTo>
                  <a:pt x="10" y="1"/>
                  <a:pt x="9" y="2"/>
                  <a:pt x="9" y="2"/>
                </a:cubicBezTo>
                <a:cubicBezTo>
                  <a:pt x="9" y="3"/>
                  <a:pt x="10" y="4"/>
                  <a:pt x="9" y="4"/>
                </a:cubicBezTo>
                <a:cubicBezTo>
                  <a:pt x="8" y="3"/>
                  <a:pt x="8" y="3"/>
                  <a:pt x="7" y="3"/>
                </a:cubicBezTo>
                <a:cubicBezTo>
                  <a:pt x="7" y="3"/>
                  <a:pt x="6" y="4"/>
                  <a:pt x="6" y="3"/>
                </a:cubicBezTo>
                <a:cubicBezTo>
                  <a:pt x="5" y="2"/>
                  <a:pt x="4" y="1"/>
                  <a:pt x="3" y="1"/>
                </a:cubicBezTo>
                <a:cubicBezTo>
                  <a:pt x="2" y="1"/>
                  <a:pt x="0" y="1"/>
                  <a:pt x="1" y="2"/>
                </a:cubicBezTo>
                <a:cubicBezTo>
                  <a:pt x="1" y="2"/>
                  <a:pt x="1" y="1"/>
                  <a:pt x="2" y="1"/>
                </a:cubicBezTo>
                <a:cubicBezTo>
                  <a:pt x="3" y="2"/>
                  <a:pt x="2" y="3"/>
                  <a:pt x="3" y="4"/>
                </a:cubicBezTo>
                <a:cubicBezTo>
                  <a:pt x="4" y="4"/>
                  <a:pt x="5" y="5"/>
                  <a:pt x="4" y="5"/>
                </a:cubicBezTo>
                <a:cubicBezTo>
                  <a:pt x="4" y="5"/>
                  <a:pt x="3" y="6"/>
                  <a:pt x="2" y="5"/>
                </a:cubicBezTo>
                <a:cubicBezTo>
                  <a:pt x="1" y="5"/>
                  <a:pt x="0" y="4"/>
                  <a:pt x="0" y="5"/>
                </a:cubicBezTo>
                <a:cubicBezTo>
                  <a:pt x="0" y="6"/>
                  <a:pt x="0" y="7"/>
                  <a:pt x="1" y="7"/>
                </a:cubicBezTo>
                <a:cubicBezTo>
                  <a:pt x="2" y="7"/>
                  <a:pt x="1" y="8"/>
                  <a:pt x="1" y="8"/>
                </a:cubicBezTo>
                <a:cubicBezTo>
                  <a:pt x="0" y="9"/>
                  <a:pt x="2" y="8"/>
                  <a:pt x="2" y="9"/>
                </a:cubicBezTo>
                <a:cubicBezTo>
                  <a:pt x="2" y="10"/>
                  <a:pt x="3" y="10"/>
                  <a:pt x="2" y="11"/>
                </a:cubicBezTo>
                <a:cubicBezTo>
                  <a:pt x="2" y="11"/>
                  <a:pt x="2" y="13"/>
                  <a:pt x="2" y="14"/>
                </a:cubicBezTo>
                <a:cubicBezTo>
                  <a:pt x="3" y="14"/>
                  <a:pt x="4" y="14"/>
                  <a:pt x="4" y="13"/>
                </a:cubicBezTo>
                <a:cubicBezTo>
                  <a:pt x="5" y="13"/>
                  <a:pt x="6" y="12"/>
                  <a:pt x="6" y="12"/>
                </a:cubicBezTo>
                <a:cubicBezTo>
                  <a:pt x="7" y="12"/>
                  <a:pt x="7" y="12"/>
                  <a:pt x="8" y="12"/>
                </a:cubicBezTo>
                <a:cubicBezTo>
                  <a:pt x="8" y="11"/>
                  <a:pt x="10" y="11"/>
                  <a:pt x="10" y="12"/>
                </a:cubicBezTo>
                <a:cubicBezTo>
                  <a:pt x="11" y="12"/>
                  <a:pt x="12" y="13"/>
                  <a:pt x="12" y="13"/>
                </a:cubicBezTo>
                <a:cubicBezTo>
                  <a:pt x="12" y="13"/>
                  <a:pt x="12" y="13"/>
                  <a:pt x="13" y="13"/>
                </a:cubicBezTo>
                <a:cubicBezTo>
                  <a:pt x="14" y="13"/>
                  <a:pt x="15" y="13"/>
                  <a:pt x="15" y="14"/>
                </a:cubicBezTo>
                <a:cubicBezTo>
                  <a:pt x="15" y="14"/>
                  <a:pt x="15" y="14"/>
                  <a:pt x="16" y="14"/>
                </a:cubicBezTo>
                <a:cubicBezTo>
                  <a:pt x="16" y="14"/>
                  <a:pt x="17" y="16"/>
                  <a:pt x="17" y="16"/>
                </a:cubicBezTo>
                <a:cubicBezTo>
                  <a:pt x="18" y="16"/>
                  <a:pt x="19" y="16"/>
                  <a:pt x="19" y="16"/>
                </a:cubicBezTo>
                <a:cubicBezTo>
                  <a:pt x="19" y="16"/>
                  <a:pt x="19" y="18"/>
                  <a:pt x="19" y="19"/>
                </a:cubicBezTo>
                <a:cubicBezTo>
                  <a:pt x="20" y="19"/>
                  <a:pt x="20" y="19"/>
                  <a:pt x="20" y="19"/>
                </a:cubicBezTo>
                <a:cubicBezTo>
                  <a:pt x="20" y="19"/>
                  <a:pt x="21" y="18"/>
                  <a:pt x="21" y="19"/>
                </a:cubicBezTo>
                <a:cubicBezTo>
                  <a:pt x="22" y="20"/>
                  <a:pt x="23" y="19"/>
                  <a:pt x="23" y="18"/>
                </a:cubicBezTo>
                <a:cubicBezTo>
                  <a:pt x="23" y="17"/>
                  <a:pt x="26" y="17"/>
                  <a:pt x="26" y="17"/>
                </a:cubicBezTo>
                <a:cubicBezTo>
                  <a:pt x="27" y="16"/>
                  <a:pt x="27" y="14"/>
                  <a:pt x="28" y="14"/>
                </a:cubicBezTo>
                <a:cubicBezTo>
                  <a:pt x="28" y="15"/>
                  <a:pt x="29" y="13"/>
                  <a:pt x="29" y="13"/>
                </a:cubicBezTo>
                <a:cubicBezTo>
                  <a:pt x="30" y="13"/>
                  <a:pt x="30" y="14"/>
                  <a:pt x="31" y="14"/>
                </a:cubicBezTo>
                <a:lnTo>
                  <a:pt x="31"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386"/>
          <p:cNvSpPr>
            <a:spLocks/>
          </p:cNvSpPr>
          <p:nvPr/>
        </p:nvSpPr>
        <p:spPr bwMode="auto">
          <a:xfrm>
            <a:off x="2662696" y="2828519"/>
            <a:ext cx="214491" cy="175168"/>
          </a:xfrm>
          <a:custGeom>
            <a:avLst/>
            <a:gdLst>
              <a:gd name="T0" fmla="*/ 43 w 44"/>
              <a:gd name="T1" fmla="*/ 32 h 37"/>
              <a:gd name="T2" fmla="*/ 42 w 44"/>
              <a:gd name="T3" fmla="*/ 29 h 37"/>
              <a:gd name="T4" fmla="*/ 39 w 44"/>
              <a:gd name="T5" fmla="*/ 27 h 37"/>
              <a:gd name="T6" fmla="*/ 38 w 44"/>
              <a:gd name="T7" fmla="*/ 26 h 37"/>
              <a:gd name="T8" fmla="*/ 40 w 44"/>
              <a:gd name="T9" fmla="*/ 22 h 37"/>
              <a:gd name="T10" fmla="*/ 38 w 44"/>
              <a:gd name="T11" fmla="*/ 21 h 37"/>
              <a:gd name="T12" fmla="*/ 38 w 44"/>
              <a:gd name="T13" fmla="*/ 19 h 37"/>
              <a:gd name="T14" fmla="*/ 38 w 44"/>
              <a:gd name="T15" fmla="*/ 16 h 37"/>
              <a:gd name="T16" fmla="*/ 38 w 44"/>
              <a:gd name="T17" fmla="*/ 14 h 37"/>
              <a:gd name="T18" fmla="*/ 39 w 44"/>
              <a:gd name="T19" fmla="*/ 13 h 37"/>
              <a:gd name="T20" fmla="*/ 39 w 44"/>
              <a:gd name="T21" fmla="*/ 12 h 37"/>
              <a:gd name="T22" fmla="*/ 39 w 44"/>
              <a:gd name="T23" fmla="*/ 9 h 37"/>
              <a:gd name="T24" fmla="*/ 37 w 44"/>
              <a:gd name="T25" fmla="*/ 9 h 37"/>
              <a:gd name="T26" fmla="*/ 36 w 44"/>
              <a:gd name="T27" fmla="*/ 7 h 37"/>
              <a:gd name="T28" fmla="*/ 35 w 44"/>
              <a:gd name="T29" fmla="*/ 7 h 37"/>
              <a:gd name="T30" fmla="*/ 33 w 44"/>
              <a:gd name="T31" fmla="*/ 6 h 37"/>
              <a:gd name="T32" fmla="*/ 32 w 44"/>
              <a:gd name="T33" fmla="*/ 6 h 37"/>
              <a:gd name="T34" fmla="*/ 30 w 44"/>
              <a:gd name="T35" fmla="*/ 5 h 37"/>
              <a:gd name="T36" fmla="*/ 28 w 44"/>
              <a:gd name="T37" fmla="*/ 5 h 37"/>
              <a:gd name="T38" fmla="*/ 26 w 44"/>
              <a:gd name="T39" fmla="*/ 5 h 37"/>
              <a:gd name="T40" fmla="*/ 24 w 44"/>
              <a:gd name="T41" fmla="*/ 6 h 37"/>
              <a:gd name="T42" fmla="*/ 22 w 44"/>
              <a:gd name="T43" fmla="*/ 7 h 37"/>
              <a:gd name="T44" fmla="*/ 22 w 44"/>
              <a:gd name="T45" fmla="*/ 8 h 37"/>
              <a:gd name="T46" fmla="*/ 18 w 44"/>
              <a:gd name="T47" fmla="*/ 9 h 37"/>
              <a:gd name="T48" fmla="*/ 14 w 44"/>
              <a:gd name="T49" fmla="*/ 7 h 37"/>
              <a:gd name="T50" fmla="*/ 11 w 44"/>
              <a:gd name="T51" fmla="*/ 4 h 37"/>
              <a:gd name="T52" fmla="*/ 9 w 44"/>
              <a:gd name="T53" fmla="*/ 3 h 37"/>
              <a:gd name="T54" fmla="*/ 9 w 44"/>
              <a:gd name="T55" fmla="*/ 1 h 37"/>
              <a:gd name="T56" fmla="*/ 4 w 44"/>
              <a:gd name="T57" fmla="*/ 3 h 37"/>
              <a:gd name="T58" fmla="*/ 3 w 44"/>
              <a:gd name="T59" fmla="*/ 2 h 37"/>
              <a:gd name="T60" fmla="*/ 2 w 44"/>
              <a:gd name="T61" fmla="*/ 0 h 37"/>
              <a:gd name="T62" fmla="*/ 1 w 44"/>
              <a:gd name="T63" fmla="*/ 1 h 37"/>
              <a:gd name="T64" fmla="*/ 1 w 44"/>
              <a:gd name="T65" fmla="*/ 3 h 37"/>
              <a:gd name="T66" fmla="*/ 1 w 44"/>
              <a:gd name="T67" fmla="*/ 5 h 37"/>
              <a:gd name="T68" fmla="*/ 2 w 44"/>
              <a:gd name="T69" fmla="*/ 7 h 37"/>
              <a:gd name="T70" fmla="*/ 3 w 44"/>
              <a:gd name="T71" fmla="*/ 9 h 37"/>
              <a:gd name="T72" fmla="*/ 4 w 44"/>
              <a:gd name="T73" fmla="*/ 10 h 37"/>
              <a:gd name="T74" fmla="*/ 5 w 44"/>
              <a:gd name="T75" fmla="*/ 11 h 37"/>
              <a:gd name="T76" fmla="*/ 5 w 44"/>
              <a:gd name="T77" fmla="*/ 12 h 37"/>
              <a:gd name="T78" fmla="*/ 4 w 44"/>
              <a:gd name="T79" fmla="*/ 14 h 37"/>
              <a:gd name="T80" fmla="*/ 4 w 44"/>
              <a:gd name="T81" fmla="*/ 16 h 37"/>
              <a:gd name="T82" fmla="*/ 5 w 44"/>
              <a:gd name="T83" fmla="*/ 17 h 37"/>
              <a:gd name="T84" fmla="*/ 7 w 44"/>
              <a:gd name="T85" fmla="*/ 19 h 37"/>
              <a:gd name="T86" fmla="*/ 8 w 44"/>
              <a:gd name="T87" fmla="*/ 20 h 37"/>
              <a:gd name="T88" fmla="*/ 8 w 44"/>
              <a:gd name="T89" fmla="*/ 22 h 37"/>
              <a:gd name="T90" fmla="*/ 9 w 44"/>
              <a:gd name="T91" fmla="*/ 23 h 37"/>
              <a:gd name="T92" fmla="*/ 10 w 44"/>
              <a:gd name="T93" fmla="*/ 25 h 37"/>
              <a:gd name="T94" fmla="*/ 11 w 44"/>
              <a:gd name="T95" fmla="*/ 25 h 37"/>
              <a:gd name="T96" fmla="*/ 12 w 44"/>
              <a:gd name="T97" fmla="*/ 25 h 37"/>
              <a:gd name="T98" fmla="*/ 13 w 44"/>
              <a:gd name="T99" fmla="*/ 25 h 37"/>
              <a:gd name="T100" fmla="*/ 16 w 44"/>
              <a:gd name="T101" fmla="*/ 28 h 37"/>
              <a:gd name="T102" fmla="*/ 17 w 44"/>
              <a:gd name="T103" fmla="*/ 30 h 37"/>
              <a:gd name="T104" fmla="*/ 20 w 44"/>
              <a:gd name="T105" fmla="*/ 31 h 37"/>
              <a:gd name="T106" fmla="*/ 25 w 44"/>
              <a:gd name="T107" fmla="*/ 33 h 37"/>
              <a:gd name="T108" fmla="*/ 28 w 44"/>
              <a:gd name="T109" fmla="*/ 32 h 37"/>
              <a:gd name="T110" fmla="*/ 30 w 44"/>
              <a:gd name="T111" fmla="*/ 35 h 37"/>
              <a:gd name="T112" fmla="*/ 38 w 44"/>
              <a:gd name="T113" fmla="*/ 37 h 37"/>
              <a:gd name="T114" fmla="*/ 40 w 44"/>
              <a:gd name="T115" fmla="*/ 37 h 37"/>
              <a:gd name="T116" fmla="*/ 40 w 44"/>
              <a:gd name="T117" fmla="*/ 36 h 37"/>
              <a:gd name="T118" fmla="*/ 41 w 44"/>
              <a:gd name="T119" fmla="*/ 34 h 37"/>
              <a:gd name="T120" fmla="*/ 43 w 44"/>
              <a:gd name="T121" fmla="*/ 33 h 37"/>
              <a:gd name="T122" fmla="*/ 43 w 44"/>
              <a:gd name="T1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 h="37">
                <a:moveTo>
                  <a:pt x="43" y="32"/>
                </a:moveTo>
                <a:cubicBezTo>
                  <a:pt x="42" y="32"/>
                  <a:pt x="43" y="30"/>
                  <a:pt x="42" y="29"/>
                </a:cubicBezTo>
                <a:cubicBezTo>
                  <a:pt x="41" y="29"/>
                  <a:pt x="40" y="28"/>
                  <a:pt x="39" y="27"/>
                </a:cubicBezTo>
                <a:cubicBezTo>
                  <a:pt x="39" y="27"/>
                  <a:pt x="38" y="26"/>
                  <a:pt x="38" y="26"/>
                </a:cubicBezTo>
                <a:cubicBezTo>
                  <a:pt x="38" y="25"/>
                  <a:pt x="41" y="23"/>
                  <a:pt x="40" y="22"/>
                </a:cubicBezTo>
                <a:cubicBezTo>
                  <a:pt x="40" y="21"/>
                  <a:pt x="38" y="22"/>
                  <a:pt x="38" y="21"/>
                </a:cubicBezTo>
                <a:cubicBezTo>
                  <a:pt x="38" y="21"/>
                  <a:pt x="38" y="20"/>
                  <a:pt x="38" y="19"/>
                </a:cubicBezTo>
                <a:cubicBezTo>
                  <a:pt x="37" y="18"/>
                  <a:pt x="38" y="17"/>
                  <a:pt x="38" y="16"/>
                </a:cubicBezTo>
                <a:cubicBezTo>
                  <a:pt x="37" y="16"/>
                  <a:pt x="38" y="15"/>
                  <a:pt x="38" y="14"/>
                </a:cubicBezTo>
                <a:cubicBezTo>
                  <a:pt x="38" y="14"/>
                  <a:pt x="39" y="14"/>
                  <a:pt x="39" y="13"/>
                </a:cubicBezTo>
                <a:cubicBezTo>
                  <a:pt x="39" y="12"/>
                  <a:pt x="39" y="12"/>
                  <a:pt x="39" y="12"/>
                </a:cubicBezTo>
                <a:cubicBezTo>
                  <a:pt x="39" y="11"/>
                  <a:pt x="39" y="9"/>
                  <a:pt x="39" y="9"/>
                </a:cubicBezTo>
                <a:cubicBezTo>
                  <a:pt x="39" y="9"/>
                  <a:pt x="38" y="9"/>
                  <a:pt x="37" y="9"/>
                </a:cubicBezTo>
                <a:cubicBezTo>
                  <a:pt x="37" y="9"/>
                  <a:pt x="36" y="7"/>
                  <a:pt x="36" y="7"/>
                </a:cubicBezTo>
                <a:cubicBezTo>
                  <a:pt x="35" y="7"/>
                  <a:pt x="35" y="7"/>
                  <a:pt x="35" y="7"/>
                </a:cubicBezTo>
                <a:cubicBezTo>
                  <a:pt x="35" y="6"/>
                  <a:pt x="34" y="6"/>
                  <a:pt x="33" y="6"/>
                </a:cubicBezTo>
                <a:cubicBezTo>
                  <a:pt x="32" y="6"/>
                  <a:pt x="32" y="6"/>
                  <a:pt x="32" y="6"/>
                </a:cubicBezTo>
                <a:cubicBezTo>
                  <a:pt x="32" y="6"/>
                  <a:pt x="31" y="5"/>
                  <a:pt x="30" y="5"/>
                </a:cubicBezTo>
                <a:cubicBezTo>
                  <a:pt x="30" y="4"/>
                  <a:pt x="28" y="4"/>
                  <a:pt x="28" y="5"/>
                </a:cubicBezTo>
                <a:cubicBezTo>
                  <a:pt x="27" y="5"/>
                  <a:pt x="27" y="5"/>
                  <a:pt x="26" y="5"/>
                </a:cubicBezTo>
                <a:cubicBezTo>
                  <a:pt x="26" y="5"/>
                  <a:pt x="25" y="6"/>
                  <a:pt x="24" y="6"/>
                </a:cubicBezTo>
                <a:cubicBezTo>
                  <a:pt x="24" y="7"/>
                  <a:pt x="23" y="7"/>
                  <a:pt x="22" y="7"/>
                </a:cubicBezTo>
                <a:cubicBezTo>
                  <a:pt x="22" y="7"/>
                  <a:pt x="22" y="8"/>
                  <a:pt x="22" y="8"/>
                </a:cubicBezTo>
                <a:cubicBezTo>
                  <a:pt x="22" y="8"/>
                  <a:pt x="19" y="9"/>
                  <a:pt x="18" y="9"/>
                </a:cubicBezTo>
                <a:cubicBezTo>
                  <a:pt x="16" y="9"/>
                  <a:pt x="16" y="7"/>
                  <a:pt x="14" y="7"/>
                </a:cubicBezTo>
                <a:cubicBezTo>
                  <a:pt x="12" y="7"/>
                  <a:pt x="11" y="5"/>
                  <a:pt x="11" y="4"/>
                </a:cubicBezTo>
                <a:cubicBezTo>
                  <a:pt x="10" y="4"/>
                  <a:pt x="9" y="3"/>
                  <a:pt x="9" y="3"/>
                </a:cubicBezTo>
                <a:cubicBezTo>
                  <a:pt x="9" y="2"/>
                  <a:pt x="10" y="0"/>
                  <a:pt x="9" y="1"/>
                </a:cubicBezTo>
                <a:cubicBezTo>
                  <a:pt x="8" y="1"/>
                  <a:pt x="6" y="3"/>
                  <a:pt x="4" y="3"/>
                </a:cubicBezTo>
                <a:cubicBezTo>
                  <a:pt x="2" y="2"/>
                  <a:pt x="4" y="2"/>
                  <a:pt x="3" y="2"/>
                </a:cubicBezTo>
                <a:cubicBezTo>
                  <a:pt x="2" y="1"/>
                  <a:pt x="3" y="0"/>
                  <a:pt x="2" y="0"/>
                </a:cubicBezTo>
                <a:cubicBezTo>
                  <a:pt x="1" y="0"/>
                  <a:pt x="1" y="1"/>
                  <a:pt x="1" y="1"/>
                </a:cubicBezTo>
                <a:cubicBezTo>
                  <a:pt x="0" y="1"/>
                  <a:pt x="1" y="3"/>
                  <a:pt x="1" y="3"/>
                </a:cubicBezTo>
                <a:cubicBezTo>
                  <a:pt x="1" y="3"/>
                  <a:pt x="1" y="5"/>
                  <a:pt x="1" y="5"/>
                </a:cubicBezTo>
                <a:cubicBezTo>
                  <a:pt x="1" y="6"/>
                  <a:pt x="2" y="7"/>
                  <a:pt x="2" y="7"/>
                </a:cubicBezTo>
                <a:cubicBezTo>
                  <a:pt x="2" y="7"/>
                  <a:pt x="3" y="8"/>
                  <a:pt x="3" y="9"/>
                </a:cubicBezTo>
                <a:cubicBezTo>
                  <a:pt x="3" y="10"/>
                  <a:pt x="3" y="10"/>
                  <a:pt x="4" y="10"/>
                </a:cubicBezTo>
                <a:cubicBezTo>
                  <a:pt x="4" y="10"/>
                  <a:pt x="5" y="11"/>
                  <a:pt x="5" y="11"/>
                </a:cubicBezTo>
                <a:cubicBezTo>
                  <a:pt x="5" y="12"/>
                  <a:pt x="5" y="12"/>
                  <a:pt x="5" y="12"/>
                </a:cubicBezTo>
                <a:cubicBezTo>
                  <a:pt x="4" y="12"/>
                  <a:pt x="4" y="14"/>
                  <a:pt x="4" y="14"/>
                </a:cubicBezTo>
                <a:cubicBezTo>
                  <a:pt x="3" y="14"/>
                  <a:pt x="4" y="16"/>
                  <a:pt x="4" y="16"/>
                </a:cubicBezTo>
                <a:cubicBezTo>
                  <a:pt x="4" y="16"/>
                  <a:pt x="5" y="17"/>
                  <a:pt x="5" y="17"/>
                </a:cubicBezTo>
                <a:cubicBezTo>
                  <a:pt x="5" y="18"/>
                  <a:pt x="7" y="19"/>
                  <a:pt x="7" y="19"/>
                </a:cubicBezTo>
                <a:cubicBezTo>
                  <a:pt x="8" y="19"/>
                  <a:pt x="8" y="20"/>
                  <a:pt x="8" y="20"/>
                </a:cubicBezTo>
                <a:cubicBezTo>
                  <a:pt x="9" y="21"/>
                  <a:pt x="8" y="21"/>
                  <a:pt x="8" y="22"/>
                </a:cubicBezTo>
                <a:cubicBezTo>
                  <a:pt x="8" y="22"/>
                  <a:pt x="9" y="23"/>
                  <a:pt x="9" y="23"/>
                </a:cubicBezTo>
                <a:cubicBezTo>
                  <a:pt x="9" y="24"/>
                  <a:pt x="10" y="24"/>
                  <a:pt x="10" y="25"/>
                </a:cubicBezTo>
                <a:cubicBezTo>
                  <a:pt x="11" y="25"/>
                  <a:pt x="11" y="25"/>
                  <a:pt x="11" y="25"/>
                </a:cubicBezTo>
                <a:cubicBezTo>
                  <a:pt x="11" y="25"/>
                  <a:pt x="11" y="24"/>
                  <a:pt x="12" y="25"/>
                </a:cubicBezTo>
                <a:cubicBezTo>
                  <a:pt x="12" y="25"/>
                  <a:pt x="13" y="25"/>
                  <a:pt x="13" y="25"/>
                </a:cubicBezTo>
                <a:cubicBezTo>
                  <a:pt x="14" y="25"/>
                  <a:pt x="15" y="27"/>
                  <a:pt x="16" y="28"/>
                </a:cubicBezTo>
                <a:cubicBezTo>
                  <a:pt x="16" y="29"/>
                  <a:pt x="16" y="30"/>
                  <a:pt x="17" y="30"/>
                </a:cubicBezTo>
                <a:cubicBezTo>
                  <a:pt x="18" y="31"/>
                  <a:pt x="19" y="30"/>
                  <a:pt x="20" y="31"/>
                </a:cubicBezTo>
                <a:cubicBezTo>
                  <a:pt x="21" y="33"/>
                  <a:pt x="23" y="33"/>
                  <a:pt x="25" y="33"/>
                </a:cubicBezTo>
                <a:cubicBezTo>
                  <a:pt x="26" y="33"/>
                  <a:pt x="27" y="32"/>
                  <a:pt x="28" y="32"/>
                </a:cubicBezTo>
                <a:cubicBezTo>
                  <a:pt x="30" y="33"/>
                  <a:pt x="29" y="35"/>
                  <a:pt x="30" y="35"/>
                </a:cubicBezTo>
                <a:cubicBezTo>
                  <a:pt x="30" y="36"/>
                  <a:pt x="37" y="36"/>
                  <a:pt x="38" y="37"/>
                </a:cubicBezTo>
                <a:cubicBezTo>
                  <a:pt x="38" y="37"/>
                  <a:pt x="39" y="37"/>
                  <a:pt x="40" y="37"/>
                </a:cubicBezTo>
                <a:cubicBezTo>
                  <a:pt x="40" y="37"/>
                  <a:pt x="40" y="36"/>
                  <a:pt x="40" y="36"/>
                </a:cubicBezTo>
                <a:cubicBezTo>
                  <a:pt x="40" y="35"/>
                  <a:pt x="41" y="34"/>
                  <a:pt x="41" y="34"/>
                </a:cubicBezTo>
                <a:cubicBezTo>
                  <a:pt x="42" y="34"/>
                  <a:pt x="43" y="34"/>
                  <a:pt x="43" y="33"/>
                </a:cubicBezTo>
                <a:cubicBezTo>
                  <a:pt x="44" y="33"/>
                  <a:pt x="43" y="32"/>
                  <a:pt x="43"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387"/>
          <p:cNvSpPr>
            <a:spLocks noEditPoints="1"/>
          </p:cNvSpPr>
          <p:nvPr/>
        </p:nvSpPr>
        <p:spPr bwMode="auto">
          <a:xfrm>
            <a:off x="2691295" y="2614028"/>
            <a:ext cx="436131" cy="207341"/>
          </a:xfrm>
          <a:custGeom>
            <a:avLst/>
            <a:gdLst>
              <a:gd name="T0" fmla="*/ 87 w 90"/>
              <a:gd name="T1" fmla="*/ 18 h 43"/>
              <a:gd name="T2" fmla="*/ 84 w 90"/>
              <a:gd name="T3" fmla="*/ 15 h 43"/>
              <a:gd name="T4" fmla="*/ 78 w 90"/>
              <a:gd name="T5" fmla="*/ 14 h 43"/>
              <a:gd name="T6" fmla="*/ 73 w 90"/>
              <a:gd name="T7" fmla="*/ 10 h 43"/>
              <a:gd name="T8" fmla="*/ 67 w 90"/>
              <a:gd name="T9" fmla="*/ 4 h 43"/>
              <a:gd name="T10" fmla="*/ 61 w 90"/>
              <a:gd name="T11" fmla="*/ 6 h 43"/>
              <a:gd name="T12" fmla="*/ 59 w 90"/>
              <a:gd name="T13" fmla="*/ 4 h 43"/>
              <a:gd name="T14" fmla="*/ 56 w 90"/>
              <a:gd name="T15" fmla="*/ 4 h 43"/>
              <a:gd name="T16" fmla="*/ 54 w 90"/>
              <a:gd name="T17" fmla="*/ 1 h 43"/>
              <a:gd name="T18" fmla="*/ 46 w 90"/>
              <a:gd name="T19" fmla="*/ 2 h 43"/>
              <a:gd name="T20" fmla="*/ 38 w 90"/>
              <a:gd name="T21" fmla="*/ 4 h 43"/>
              <a:gd name="T22" fmla="*/ 33 w 90"/>
              <a:gd name="T23" fmla="*/ 6 h 43"/>
              <a:gd name="T24" fmla="*/ 33 w 90"/>
              <a:gd name="T25" fmla="*/ 9 h 43"/>
              <a:gd name="T26" fmla="*/ 33 w 90"/>
              <a:gd name="T27" fmla="*/ 12 h 43"/>
              <a:gd name="T28" fmla="*/ 31 w 90"/>
              <a:gd name="T29" fmla="*/ 14 h 43"/>
              <a:gd name="T30" fmla="*/ 28 w 90"/>
              <a:gd name="T31" fmla="*/ 14 h 43"/>
              <a:gd name="T32" fmla="*/ 22 w 90"/>
              <a:gd name="T33" fmla="*/ 14 h 43"/>
              <a:gd name="T34" fmla="*/ 18 w 90"/>
              <a:gd name="T35" fmla="*/ 14 h 43"/>
              <a:gd name="T36" fmla="*/ 12 w 90"/>
              <a:gd name="T37" fmla="*/ 12 h 43"/>
              <a:gd name="T38" fmla="*/ 7 w 90"/>
              <a:gd name="T39" fmla="*/ 13 h 43"/>
              <a:gd name="T40" fmla="*/ 5 w 90"/>
              <a:gd name="T41" fmla="*/ 17 h 43"/>
              <a:gd name="T42" fmla="*/ 1 w 90"/>
              <a:gd name="T43" fmla="*/ 17 h 43"/>
              <a:gd name="T44" fmla="*/ 0 w 90"/>
              <a:gd name="T45" fmla="*/ 21 h 43"/>
              <a:gd name="T46" fmla="*/ 3 w 90"/>
              <a:gd name="T47" fmla="*/ 23 h 43"/>
              <a:gd name="T48" fmla="*/ 5 w 90"/>
              <a:gd name="T49" fmla="*/ 26 h 43"/>
              <a:gd name="T50" fmla="*/ 11 w 90"/>
              <a:gd name="T51" fmla="*/ 25 h 43"/>
              <a:gd name="T52" fmla="*/ 13 w 90"/>
              <a:gd name="T53" fmla="*/ 30 h 43"/>
              <a:gd name="T54" fmla="*/ 9 w 90"/>
              <a:gd name="T55" fmla="*/ 33 h 43"/>
              <a:gd name="T56" fmla="*/ 13 w 90"/>
              <a:gd name="T57" fmla="*/ 37 h 43"/>
              <a:gd name="T58" fmla="*/ 15 w 90"/>
              <a:gd name="T59" fmla="*/ 39 h 43"/>
              <a:gd name="T60" fmla="*/ 21 w 90"/>
              <a:gd name="T61" fmla="*/ 40 h 43"/>
              <a:gd name="T62" fmla="*/ 27 w 90"/>
              <a:gd name="T63" fmla="*/ 28 h 43"/>
              <a:gd name="T64" fmla="*/ 31 w 90"/>
              <a:gd name="T65" fmla="*/ 29 h 43"/>
              <a:gd name="T66" fmla="*/ 37 w 90"/>
              <a:gd name="T67" fmla="*/ 34 h 43"/>
              <a:gd name="T68" fmla="*/ 44 w 90"/>
              <a:gd name="T69" fmla="*/ 38 h 43"/>
              <a:gd name="T70" fmla="*/ 49 w 90"/>
              <a:gd name="T71" fmla="*/ 42 h 43"/>
              <a:gd name="T72" fmla="*/ 54 w 90"/>
              <a:gd name="T73" fmla="*/ 40 h 43"/>
              <a:gd name="T74" fmla="*/ 59 w 90"/>
              <a:gd name="T75" fmla="*/ 37 h 43"/>
              <a:gd name="T76" fmla="*/ 66 w 90"/>
              <a:gd name="T77" fmla="*/ 36 h 43"/>
              <a:gd name="T78" fmla="*/ 75 w 90"/>
              <a:gd name="T79" fmla="*/ 38 h 43"/>
              <a:gd name="T80" fmla="*/ 76 w 90"/>
              <a:gd name="T81" fmla="*/ 33 h 43"/>
              <a:gd name="T82" fmla="*/ 79 w 90"/>
              <a:gd name="T83" fmla="*/ 30 h 43"/>
              <a:gd name="T84" fmla="*/ 81 w 90"/>
              <a:gd name="T85" fmla="*/ 25 h 43"/>
              <a:gd name="T86" fmla="*/ 87 w 90"/>
              <a:gd name="T87" fmla="*/ 24 h 43"/>
              <a:gd name="T88" fmla="*/ 89 w 90"/>
              <a:gd name="T89" fmla="*/ 20 h 43"/>
              <a:gd name="T90" fmla="*/ 34 w 90"/>
              <a:gd name="T91" fmla="*/ 27 h 43"/>
              <a:gd name="T92" fmla="*/ 71 w 90"/>
              <a:gd name="T93" fmla="*/ 27 h 43"/>
              <a:gd name="T94" fmla="*/ 62 w 90"/>
              <a:gd name="T95" fmla="*/ 27 h 43"/>
              <a:gd name="T96" fmla="*/ 71 w 90"/>
              <a:gd name="T97"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 h="43">
                <a:moveTo>
                  <a:pt x="89" y="18"/>
                </a:moveTo>
                <a:cubicBezTo>
                  <a:pt x="89" y="17"/>
                  <a:pt x="89" y="17"/>
                  <a:pt x="89" y="17"/>
                </a:cubicBezTo>
                <a:cubicBezTo>
                  <a:pt x="88" y="18"/>
                  <a:pt x="87" y="18"/>
                  <a:pt x="87" y="18"/>
                </a:cubicBezTo>
                <a:cubicBezTo>
                  <a:pt x="87" y="18"/>
                  <a:pt x="86" y="17"/>
                  <a:pt x="86" y="17"/>
                </a:cubicBezTo>
                <a:cubicBezTo>
                  <a:pt x="86" y="16"/>
                  <a:pt x="86" y="16"/>
                  <a:pt x="85" y="16"/>
                </a:cubicBezTo>
                <a:cubicBezTo>
                  <a:pt x="85" y="16"/>
                  <a:pt x="84" y="16"/>
                  <a:pt x="84" y="15"/>
                </a:cubicBezTo>
                <a:cubicBezTo>
                  <a:pt x="84" y="14"/>
                  <a:pt x="83" y="14"/>
                  <a:pt x="83" y="14"/>
                </a:cubicBezTo>
                <a:cubicBezTo>
                  <a:pt x="82" y="13"/>
                  <a:pt x="81" y="14"/>
                  <a:pt x="80" y="14"/>
                </a:cubicBezTo>
                <a:cubicBezTo>
                  <a:pt x="80" y="15"/>
                  <a:pt x="79" y="14"/>
                  <a:pt x="78" y="14"/>
                </a:cubicBezTo>
                <a:cubicBezTo>
                  <a:pt x="78" y="14"/>
                  <a:pt x="77" y="13"/>
                  <a:pt x="76" y="13"/>
                </a:cubicBezTo>
                <a:cubicBezTo>
                  <a:pt x="76" y="13"/>
                  <a:pt x="76" y="14"/>
                  <a:pt x="75" y="14"/>
                </a:cubicBezTo>
                <a:cubicBezTo>
                  <a:pt x="75" y="14"/>
                  <a:pt x="74" y="12"/>
                  <a:pt x="73" y="10"/>
                </a:cubicBezTo>
                <a:cubicBezTo>
                  <a:pt x="72" y="9"/>
                  <a:pt x="70" y="6"/>
                  <a:pt x="69" y="5"/>
                </a:cubicBezTo>
                <a:cubicBezTo>
                  <a:pt x="67" y="5"/>
                  <a:pt x="68" y="4"/>
                  <a:pt x="68" y="4"/>
                </a:cubicBezTo>
                <a:cubicBezTo>
                  <a:pt x="69" y="3"/>
                  <a:pt x="67" y="3"/>
                  <a:pt x="67" y="4"/>
                </a:cubicBezTo>
                <a:cubicBezTo>
                  <a:pt x="66" y="4"/>
                  <a:pt x="65" y="5"/>
                  <a:pt x="65" y="5"/>
                </a:cubicBezTo>
                <a:cubicBezTo>
                  <a:pt x="64" y="5"/>
                  <a:pt x="63" y="6"/>
                  <a:pt x="62" y="6"/>
                </a:cubicBezTo>
                <a:cubicBezTo>
                  <a:pt x="62" y="5"/>
                  <a:pt x="61" y="7"/>
                  <a:pt x="61" y="6"/>
                </a:cubicBezTo>
                <a:cubicBezTo>
                  <a:pt x="60" y="6"/>
                  <a:pt x="61" y="5"/>
                  <a:pt x="61" y="5"/>
                </a:cubicBezTo>
                <a:cubicBezTo>
                  <a:pt x="61" y="4"/>
                  <a:pt x="60" y="5"/>
                  <a:pt x="60" y="5"/>
                </a:cubicBezTo>
                <a:cubicBezTo>
                  <a:pt x="60" y="4"/>
                  <a:pt x="59" y="4"/>
                  <a:pt x="59" y="4"/>
                </a:cubicBezTo>
                <a:cubicBezTo>
                  <a:pt x="59" y="5"/>
                  <a:pt x="59" y="5"/>
                  <a:pt x="59" y="4"/>
                </a:cubicBezTo>
                <a:cubicBezTo>
                  <a:pt x="59" y="4"/>
                  <a:pt x="58" y="3"/>
                  <a:pt x="58" y="4"/>
                </a:cubicBezTo>
                <a:cubicBezTo>
                  <a:pt x="57" y="4"/>
                  <a:pt x="56" y="4"/>
                  <a:pt x="56" y="4"/>
                </a:cubicBezTo>
                <a:cubicBezTo>
                  <a:pt x="55" y="4"/>
                  <a:pt x="56" y="4"/>
                  <a:pt x="56" y="3"/>
                </a:cubicBezTo>
                <a:cubicBezTo>
                  <a:pt x="56" y="3"/>
                  <a:pt x="55" y="2"/>
                  <a:pt x="56" y="2"/>
                </a:cubicBezTo>
                <a:cubicBezTo>
                  <a:pt x="56" y="1"/>
                  <a:pt x="55" y="0"/>
                  <a:pt x="54" y="1"/>
                </a:cubicBezTo>
                <a:cubicBezTo>
                  <a:pt x="54" y="1"/>
                  <a:pt x="53" y="1"/>
                  <a:pt x="52" y="0"/>
                </a:cubicBezTo>
                <a:cubicBezTo>
                  <a:pt x="52" y="0"/>
                  <a:pt x="50" y="1"/>
                  <a:pt x="50" y="1"/>
                </a:cubicBezTo>
                <a:cubicBezTo>
                  <a:pt x="50" y="2"/>
                  <a:pt x="47" y="2"/>
                  <a:pt x="46" y="2"/>
                </a:cubicBezTo>
                <a:cubicBezTo>
                  <a:pt x="46" y="2"/>
                  <a:pt x="44" y="3"/>
                  <a:pt x="43" y="3"/>
                </a:cubicBezTo>
                <a:cubicBezTo>
                  <a:pt x="43" y="3"/>
                  <a:pt x="42" y="3"/>
                  <a:pt x="41" y="3"/>
                </a:cubicBezTo>
                <a:cubicBezTo>
                  <a:pt x="40" y="3"/>
                  <a:pt x="39" y="4"/>
                  <a:pt x="38" y="4"/>
                </a:cubicBezTo>
                <a:cubicBezTo>
                  <a:pt x="37" y="5"/>
                  <a:pt x="36" y="4"/>
                  <a:pt x="35" y="4"/>
                </a:cubicBezTo>
                <a:cubicBezTo>
                  <a:pt x="35" y="5"/>
                  <a:pt x="34" y="4"/>
                  <a:pt x="33" y="4"/>
                </a:cubicBezTo>
                <a:cubicBezTo>
                  <a:pt x="33" y="5"/>
                  <a:pt x="33" y="6"/>
                  <a:pt x="33" y="6"/>
                </a:cubicBezTo>
                <a:cubicBezTo>
                  <a:pt x="34" y="7"/>
                  <a:pt x="35" y="7"/>
                  <a:pt x="35" y="7"/>
                </a:cubicBezTo>
                <a:cubicBezTo>
                  <a:pt x="35" y="8"/>
                  <a:pt x="34" y="8"/>
                  <a:pt x="33" y="8"/>
                </a:cubicBezTo>
                <a:cubicBezTo>
                  <a:pt x="32" y="8"/>
                  <a:pt x="32" y="9"/>
                  <a:pt x="33" y="9"/>
                </a:cubicBezTo>
                <a:cubicBezTo>
                  <a:pt x="33" y="10"/>
                  <a:pt x="32" y="10"/>
                  <a:pt x="31" y="10"/>
                </a:cubicBezTo>
                <a:cubicBezTo>
                  <a:pt x="31" y="11"/>
                  <a:pt x="31" y="12"/>
                  <a:pt x="32" y="12"/>
                </a:cubicBezTo>
                <a:cubicBezTo>
                  <a:pt x="32" y="12"/>
                  <a:pt x="33" y="12"/>
                  <a:pt x="33" y="12"/>
                </a:cubicBezTo>
                <a:cubicBezTo>
                  <a:pt x="34" y="12"/>
                  <a:pt x="34" y="13"/>
                  <a:pt x="34" y="14"/>
                </a:cubicBezTo>
                <a:cubicBezTo>
                  <a:pt x="34" y="14"/>
                  <a:pt x="33" y="14"/>
                  <a:pt x="33" y="14"/>
                </a:cubicBezTo>
                <a:cubicBezTo>
                  <a:pt x="32" y="14"/>
                  <a:pt x="31" y="14"/>
                  <a:pt x="31" y="14"/>
                </a:cubicBezTo>
                <a:cubicBezTo>
                  <a:pt x="30" y="14"/>
                  <a:pt x="30" y="15"/>
                  <a:pt x="30" y="15"/>
                </a:cubicBezTo>
                <a:cubicBezTo>
                  <a:pt x="30" y="15"/>
                  <a:pt x="30" y="14"/>
                  <a:pt x="29" y="14"/>
                </a:cubicBezTo>
                <a:cubicBezTo>
                  <a:pt x="28" y="14"/>
                  <a:pt x="28" y="14"/>
                  <a:pt x="28" y="14"/>
                </a:cubicBezTo>
                <a:cubicBezTo>
                  <a:pt x="27" y="13"/>
                  <a:pt x="26" y="13"/>
                  <a:pt x="25" y="13"/>
                </a:cubicBezTo>
                <a:cubicBezTo>
                  <a:pt x="25" y="14"/>
                  <a:pt x="25" y="14"/>
                  <a:pt x="24" y="13"/>
                </a:cubicBezTo>
                <a:cubicBezTo>
                  <a:pt x="24" y="13"/>
                  <a:pt x="22" y="14"/>
                  <a:pt x="22" y="14"/>
                </a:cubicBezTo>
                <a:cubicBezTo>
                  <a:pt x="22" y="14"/>
                  <a:pt x="21" y="15"/>
                  <a:pt x="20" y="14"/>
                </a:cubicBezTo>
                <a:cubicBezTo>
                  <a:pt x="19" y="14"/>
                  <a:pt x="19" y="14"/>
                  <a:pt x="19" y="14"/>
                </a:cubicBezTo>
                <a:cubicBezTo>
                  <a:pt x="19" y="15"/>
                  <a:pt x="18" y="14"/>
                  <a:pt x="18" y="14"/>
                </a:cubicBezTo>
                <a:cubicBezTo>
                  <a:pt x="18" y="14"/>
                  <a:pt x="17" y="13"/>
                  <a:pt x="16" y="12"/>
                </a:cubicBezTo>
                <a:cubicBezTo>
                  <a:pt x="16" y="12"/>
                  <a:pt x="14" y="12"/>
                  <a:pt x="14" y="12"/>
                </a:cubicBezTo>
                <a:cubicBezTo>
                  <a:pt x="14" y="11"/>
                  <a:pt x="12" y="11"/>
                  <a:pt x="12" y="12"/>
                </a:cubicBezTo>
                <a:cubicBezTo>
                  <a:pt x="12" y="12"/>
                  <a:pt x="11" y="12"/>
                  <a:pt x="11" y="12"/>
                </a:cubicBezTo>
                <a:cubicBezTo>
                  <a:pt x="10" y="11"/>
                  <a:pt x="10" y="12"/>
                  <a:pt x="9" y="12"/>
                </a:cubicBezTo>
                <a:cubicBezTo>
                  <a:pt x="9" y="12"/>
                  <a:pt x="8" y="13"/>
                  <a:pt x="7" y="13"/>
                </a:cubicBezTo>
                <a:cubicBezTo>
                  <a:pt x="6" y="13"/>
                  <a:pt x="7" y="14"/>
                  <a:pt x="6" y="14"/>
                </a:cubicBezTo>
                <a:cubicBezTo>
                  <a:pt x="5" y="14"/>
                  <a:pt x="5" y="15"/>
                  <a:pt x="5" y="15"/>
                </a:cubicBezTo>
                <a:cubicBezTo>
                  <a:pt x="5" y="16"/>
                  <a:pt x="6" y="16"/>
                  <a:pt x="5" y="17"/>
                </a:cubicBezTo>
                <a:cubicBezTo>
                  <a:pt x="4" y="17"/>
                  <a:pt x="4" y="16"/>
                  <a:pt x="3" y="15"/>
                </a:cubicBezTo>
                <a:cubicBezTo>
                  <a:pt x="2" y="15"/>
                  <a:pt x="2" y="15"/>
                  <a:pt x="2" y="16"/>
                </a:cubicBezTo>
                <a:cubicBezTo>
                  <a:pt x="2" y="17"/>
                  <a:pt x="1" y="17"/>
                  <a:pt x="1" y="17"/>
                </a:cubicBezTo>
                <a:cubicBezTo>
                  <a:pt x="0" y="18"/>
                  <a:pt x="1" y="18"/>
                  <a:pt x="1" y="19"/>
                </a:cubicBezTo>
                <a:cubicBezTo>
                  <a:pt x="1" y="19"/>
                  <a:pt x="1" y="19"/>
                  <a:pt x="1" y="19"/>
                </a:cubicBezTo>
                <a:cubicBezTo>
                  <a:pt x="0" y="19"/>
                  <a:pt x="0" y="20"/>
                  <a:pt x="0" y="21"/>
                </a:cubicBezTo>
                <a:cubicBezTo>
                  <a:pt x="0" y="21"/>
                  <a:pt x="1" y="21"/>
                  <a:pt x="1" y="21"/>
                </a:cubicBezTo>
                <a:cubicBezTo>
                  <a:pt x="1" y="22"/>
                  <a:pt x="1" y="23"/>
                  <a:pt x="2" y="23"/>
                </a:cubicBezTo>
                <a:cubicBezTo>
                  <a:pt x="2" y="22"/>
                  <a:pt x="3" y="23"/>
                  <a:pt x="3" y="23"/>
                </a:cubicBezTo>
                <a:cubicBezTo>
                  <a:pt x="4" y="23"/>
                  <a:pt x="4" y="23"/>
                  <a:pt x="5" y="24"/>
                </a:cubicBezTo>
                <a:cubicBezTo>
                  <a:pt x="5" y="25"/>
                  <a:pt x="6" y="25"/>
                  <a:pt x="5" y="25"/>
                </a:cubicBezTo>
                <a:cubicBezTo>
                  <a:pt x="4" y="26"/>
                  <a:pt x="5" y="26"/>
                  <a:pt x="5" y="26"/>
                </a:cubicBezTo>
                <a:cubicBezTo>
                  <a:pt x="6" y="27"/>
                  <a:pt x="6" y="27"/>
                  <a:pt x="6" y="27"/>
                </a:cubicBezTo>
                <a:cubicBezTo>
                  <a:pt x="6" y="27"/>
                  <a:pt x="6" y="27"/>
                  <a:pt x="7" y="27"/>
                </a:cubicBezTo>
                <a:cubicBezTo>
                  <a:pt x="8" y="26"/>
                  <a:pt x="10" y="25"/>
                  <a:pt x="11" y="25"/>
                </a:cubicBezTo>
                <a:cubicBezTo>
                  <a:pt x="13" y="25"/>
                  <a:pt x="14" y="25"/>
                  <a:pt x="15" y="26"/>
                </a:cubicBezTo>
                <a:cubicBezTo>
                  <a:pt x="15" y="27"/>
                  <a:pt x="15" y="28"/>
                  <a:pt x="15" y="29"/>
                </a:cubicBezTo>
                <a:cubicBezTo>
                  <a:pt x="15" y="30"/>
                  <a:pt x="14" y="30"/>
                  <a:pt x="13" y="30"/>
                </a:cubicBezTo>
                <a:cubicBezTo>
                  <a:pt x="12" y="29"/>
                  <a:pt x="10" y="30"/>
                  <a:pt x="10" y="31"/>
                </a:cubicBezTo>
                <a:cubicBezTo>
                  <a:pt x="10" y="31"/>
                  <a:pt x="11" y="33"/>
                  <a:pt x="10" y="32"/>
                </a:cubicBezTo>
                <a:cubicBezTo>
                  <a:pt x="8" y="31"/>
                  <a:pt x="8" y="33"/>
                  <a:pt x="9" y="33"/>
                </a:cubicBezTo>
                <a:cubicBezTo>
                  <a:pt x="9" y="33"/>
                  <a:pt x="10" y="33"/>
                  <a:pt x="10" y="34"/>
                </a:cubicBezTo>
                <a:cubicBezTo>
                  <a:pt x="10" y="35"/>
                  <a:pt x="10" y="36"/>
                  <a:pt x="11" y="36"/>
                </a:cubicBezTo>
                <a:cubicBezTo>
                  <a:pt x="12" y="35"/>
                  <a:pt x="12" y="37"/>
                  <a:pt x="13" y="37"/>
                </a:cubicBezTo>
                <a:cubicBezTo>
                  <a:pt x="13" y="37"/>
                  <a:pt x="14" y="37"/>
                  <a:pt x="14" y="38"/>
                </a:cubicBezTo>
                <a:cubicBezTo>
                  <a:pt x="13" y="39"/>
                  <a:pt x="14" y="41"/>
                  <a:pt x="14" y="40"/>
                </a:cubicBezTo>
                <a:cubicBezTo>
                  <a:pt x="14" y="40"/>
                  <a:pt x="14" y="39"/>
                  <a:pt x="15" y="39"/>
                </a:cubicBezTo>
                <a:cubicBezTo>
                  <a:pt x="14" y="38"/>
                  <a:pt x="16" y="38"/>
                  <a:pt x="17" y="38"/>
                </a:cubicBezTo>
                <a:cubicBezTo>
                  <a:pt x="18" y="38"/>
                  <a:pt x="19" y="39"/>
                  <a:pt x="20" y="40"/>
                </a:cubicBezTo>
                <a:cubicBezTo>
                  <a:pt x="20" y="41"/>
                  <a:pt x="21" y="40"/>
                  <a:pt x="21" y="40"/>
                </a:cubicBezTo>
                <a:cubicBezTo>
                  <a:pt x="21" y="30"/>
                  <a:pt x="21" y="30"/>
                  <a:pt x="21" y="30"/>
                </a:cubicBezTo>
                <a:cubicBezTo>
                  <a:pt x="27" y="29"/>
                  <a:pt x="27" y="29"/>
                  <a:pt x="27" y="29"/>
                </a:cubicBezTo>
                <a:cubicBezTo>
                  <a:pt x="27" y="29"/>
                  <a:pt x="27" y="29"/>
                  <a:pt x="27" y="28"/>
                </a:cubicBezTo>
                <a:cubicBezTo>
                  <a:pt x="28" y="27"/>
                  <a:pt x="29" y="28"/>
                  <a:pt x="29" y="29"/>
                </a:cubicBezTo>
                <a:cubicBezTo>
                  <a:pt x="30" y="29"/>
                  <a:pt x="29" y="27"/>
                  <a:pt x="30" y="28"/>
                </a:cubicBezTo>
                <a:cubicBezTo>
                  <a:pt x="31" y="28"/>
                  <a:pt x="30" y="29"/>
                  <a:pt x="31" y="29"/>
                </a:cubicBezTo>
                <a:cubicBezTo>
                  <a:pt x="31" y="29"/>
                  <a:pt x="32" y="30"/>
                  <a:pt x="32" y="32"/>
                </a:cubicBezTo>
                <a:cubicBezTo>
                  <a:pt x="33" y="32"/>
                  <a:pt x="34" y="34"/>
                  <a:pt x="34" y="35"/>
                </a:cubicBezTo>
                <a:cubicBezTo>
                  <a:pt x="35" y="35"/>
                  <a:pt x="37" y="34"/>
                  <a:pt x="37" y="34"/>
                </a:cubicBezTo>
                <a:cubicBezTo>
                  <a:pt x="38" y="35"/>
                  <a:pt x="41" y="35"/>
                  <a:pt x="42" y="35"/>
                </a:cubicBezTo>
                <a:cubicBezTo>
                  <a:pt x="42" y="35"/>
                  <a:pt x="43" y="36"/>
                  <a:pt x="43" y="36"/>
                </a:cubicBezTo>
                <a:cubicBezTo>
                  <a:pt x="44" y="36"/>
                  <a:pt x="44" y="37"/>
                  <a:pt x="44" y="38"/>
                </a:cubicBezTo>
                <a:cubicBezTo>
                  <a:pt x="44" y="39"/>
                  <a:pt x="45" y="40"/>
                  <a:pt x="45" y="40"/>
                </a:cubicBezTo>
                <a:cubicBezTo>
                  <a:pt x="45" y="41"/>
                  <a:pt x="46" y="41"/>
                  <a:pt x="47" y="41"/>
                </a:cubicBezTo>
                <a:cubicBezTo>
                  <a:pt x="48" y="41"/>
                  <a:pt x="49" y="41"/>
                  <a:pt x="49" y="42"/>
                </a:cubicBezTo>
                <a:cubicBezTo>
                  <a:pt x="49" y="43"/>
                  <a:pt x="50" y="42"/>
                  <a:pt x="50" y="42"/>
                </a:cubicBezTo>
                <a:cubicBezTo>
                  <a:pt x="50" y="41"/>
                  <a:pt x="51" y="40"/>
                  <a:pt x="52" y="40"/>
                </a:cubicBezTo>
                <a:cubicBezTo>
                  <a:pt x="53" y="40"/>
                  <a:pt x="53" y="40"/>
                  <a:pt x="54" y="40"/>
                </a:cubicBezTo>
                <a:cubicBezTo>
                  <a:pt x="54" y="39"/>
                  <a:pt x="54" y="38"/>
                  <a:pt x="54" y="38"/>
                </a:cubicBezTo>
                <a:cubicBezTo>
                  <a:pt x="55" y="38"/>
                  <a:pt x="56" y="38"/>
                  <a:pt x="56" y="37"/>
                </a:cubicBezTo>
                <a:cubicBezTo>
                  <a:pt x="56" y="36"/>
                  <a:pt x="57" y="36"/>
                  <a:pt x="59" y="37"/>
                </a:cubicBezTo>
                <a:cubicBezTo>
                  <a:pt x="60" y="37"/>
                  <a:pt x="61" y="37"/>
                  <a:pt x="61" y="37"/>
                </a:cubicBezTo>
                <a:cubicBezTo>
                  <a:pt x="61" y="36"/>
                  <a:pt x="62" y="35"/>
                  <a:pt x="63" y="36"/>
                </a:cubicBezTo>
                <a:cubicBezTo>
                  <a:pt x="63" y="36"/>
                  <a:pt x="65" y="37"/>
                  <a:pt x="66" y="36"/>
                </a:cubicBezTo>
                <a:cubicBezTo>
                  <a:pt x="67" y="36"/>
                  <a:pt x="71" y="37"/>
                  <a:pt x="72" y="37"/>
                </a:cubicBezTo>
                <a:cubicBezTo>
                  <a:pt x="72" y="37"/>
                  <a:pt x="73" y="36"/>
                  <a:pt x="74" y="37"/>
                </a:cubicBezTo>
                <a:cubicBezTo>
                  <a:pt x="74" y="38"/>
                  <a:pt x="75" y="37"/>
                  <a:pt x="75" y="38"/>
                </a:cubicBezTo>
                <a:cubicBezTo>
                  <a:pt x="75" y="38"/>
                  <a:pt x="75" y="38"/>
                  <a:pt x="75" y="37"/>
                </a:cubicBezTo>
                <a:cubicBezTo>
                  <a:pt x="75" y="37"/>
                  <a:pt x="76" y="36"/>
                  <a:pt x="77" y="36"/>
                </a:cubicBezTo>
                <a:cubicBezTo>
                  <a:pt x="77" y="35"/>
                  <a:pt x="76" y="34"/>
                  <a:pt x="76" y="33"/>
                </a:cubicBezTo>
                <a:cubicBezTo>
                  <a:pt x="76" y="33"/>
                  <a:pt x="76" y="31"/>
                  <a:pt x="75" y="31"/>
                </a:cubicBezTo>
                <a:cubicBezTo>
                  <a:pt x="75" y="31"/>
                  <a:pt x="76" y="30"/>
                  <a:pt x="76" y="30"/>
                </a:cubicBezTo>
                <a:cubicBezTo>
                  <a:pt x="77" y="30"/>
                  <a:pt x="78" y="30"/>
                  <a:pt x="79" y="30"/>
                </a:cubicBezTo>
                <a:cubicBezTo>
                  <a:pt x="79" y="30"/>
                  <a:pt x="80" y="30"/>
                  <a:pt x="80" y="30"/>
                </a:cubicBezTo>
                <a:cubicBezTo>
                  <a:pt x="81" y="30"/>
                  <a:pt x="80" y="30"/>
                  <a:pt x="80" y="29"/>
                </a:cubicBezTo>
                <a:cubicBezTo>
                  <a:pt x="80" y="29"/>
                  <a:pt x="81" y="26"/>
                  <a:pt x="81" y="25"/>
                </a:cubicBezTo>
                <a:cubicBezTo>
                  <a:pt x="82" y="24"/>
                  <a:pt x="82" y="25"/>
                  <a:pt x="83" y="25"/>
                </a:cubicBezTo>
                <a:cubicBezTo>
                  <a:pt x="84" y="25"/>
                  <a:pt x="85" y="25"/>
                  <a:pt x="85" y="25"/>
                </a:cubicBezTo>
                <a:cubicBezTo>
                  <a:pt x="85" y="25"/>
                  <a:pt x="87" y="25"/>
                  <a:pt x="87" y="24"/>
                </a:cubicBezTo>
                <a:cubicBezTo>
                  <a:pt x="87" y="24"/>
                  <a:pt x="87" y="24"/>
                  <a:pt x="87" y="23"/>
                </a:cubicBezTo>
                <a:cubicBezTo>
                  <a:pt x="87" y="22"/>
                  <a:pt x="88" y="21"/>
                  <a:pt x="88" y="21"/>
                </a:cubicBezTo>
                <a:cubicBezTo>
                  <a:pt x="89" y="21"/>
                  <a:pt x="89" y="20"/>
                  <a:pt x="89" y="20"/>
                </a:cubicBezTo>
                <a:cubicBezTo>
                  <a:pt x="89" y="19"/>
                  <a:pt x="90" y="19"/>
                  <a:pt x="90" y="18"/>
                </a:cubicBezTo>
                <a:cubicBezTo>
                  <a:pt x="90" y="18"/>
                  <a:pt x="90" y="18"/>
                  <a:pt x="89" y="18"/>
                </a:cubicBezTo>
                <a:moveTo>
                  <a:pt x="34" y="27"/>
                </a:moveTo>
                <a:cubicBezTo>
                  <a:pt x="33" y="27"/>
                  <a:pt x="31" y="27"/>
                  <a:pt x="30" y="26"/>
                </a:cubicBezTo>
                <a:cubicBezTo>
                  <a:pt x="30" y="26"/>
                  <a:pt x="34" y="26"/>
                  <a:pt x="34" y="27"/>
                </a:cubicBezTo>
                <a:moveTo>
                  <a:pt x="71" y="27"/>
                </a:moveTo>
                <a:cubicBezTo>
                  <a:pt x="69" y="27"/>
                  <a:pt x="65" y="26"/>
                  <a:pt x="63" y="28"/>
                </a:cubicBezTo>
                <a:cubicBezTo>
                  <a:pt x="62" y="29"/>
                  <a:pt x="63" y="30"/>
                  <a:pt x="62" y="31"/>
                </a:cubicBezTo>
                <a:cubicBezTo>
                  <a:pt x="61" y="31"/>
                  <a:pt x="61" y="28"/>
                  <a:pt x="62" y="27"/>
                </a:cubicBezTo>
                <a:cubicBezTo>
                  <a:pt x="63" y="26"/>
                  <a:pt x="66" y="26"/>
                  <a:pt x="67" y="26"/>
                </a:cubicBezTo>
                <a:cubicBezTo>
                  <a:pt x="69" y="27"/>
                  <a:pt x="72" y="26"/>
                  <a:pt x="73" y="26"/>
                </a:cubicBezTo>
                <a:cubicBezTo>
                  <a:pt x="73" y="26"/>
                  <a:pt x="72" y="27"/>
                  <a:pt x="71"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388"/>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389"/>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390"/>
          <p:cNvSpPr>
            <a:spLocks/>
          </p:cNvSpPr>
          <p:nvPr/>
        </p:nvSpPr>
        <p:spPr bwMode="auto">
          <a:xfrm>
            <a:off x="2330236" y="3218177"/>
            <a:ext cx="193042" cy="207341"/>
          </a:xfrm>
          <a:custGeom>
            <a:avLst/>
            <a:gdLst>
              <a:gd name="T0" fmla="*/ 36 w 40"/>
              <a:gd name="T1" fmla="*/ 20 h 43"/>
              <a:gd name="T2" fmla="*/ 36 w 40"/>
              <a:gd name="T3" fmla="*/ 19 h 43"/>
              <a:gd name="T4" fmla="*/ 35 w 40"/>
              <a:gd name="T5" fmla="*/ 18 h 43"/>
              <a:gd name="T6" fmla="*/ 36 w 40"/>
              <a:gd name="T7" fmla="*/ 16 h 43"/>
              <a:gd name="T8" fmla="*/ 37 w 40"/>
              <a:gd name="T9" fmla="*/ 14 h 43"/>
              <a:gd name="T10" fmla="*/ 38 w 40"/>
              <a:gd name="T11" fmla="*/ 11 h 43"/>
              <a:gd name="T12" fmla="*/ 40 w 40"/>
              <a:gd name="T13" fmla="*/ 9 h 43"/>
              <a:gd name="T14" fmla="*/ 40 w 40"/>
              <a:gd name="T15" fmla="*/ 7 h 43"/>
              <a:gd name="T16" fmla="*/ 40 w 40"/>
              <a:gd name="T17" fmla="*/ 5 h 43"/>
              <a:gd name="T18" fmla="*/ 36 w 40"/>
              <a:gd name="T19" fmla="*/ 3 h 43"/>
              <a:gd name="T20" fmla="*/ 34 w 40"/>
              <a:gd name="T21" fmla="*/ 3 h 43"/>
              <a:gd name="T22" fmla="*/ 32 w 40"/>
              <a:gd name="T23" fmla="*/ 1 h 43"/>
              <a:gd name="T24" fmla="*/ 30 w 40"/>
              <a:gd name="T25" fmla="*/ 2 h 43"/>
              <a:gd name="T26" fmla="*/ 26 w 40"/>
              <a:gd name="T27" fmla="*/ 2 h 43"/>
              <a:gd name="T28" fmla="*/ 22 w 40"/>
              <a:gd name="T29" fmla="*/ 2 h 43"/>
              <a:gd name="T30" fmla="*/ 17 w 40"/>
              <a:gd name="T31" fmla="*/ 3 h 43"/>
              <a:gd name="T32" fmla="*/ 13 w 40"/>
              <a:gd name="T33" fmla="*/ 3 h 43"/>
              <a:gd name="T34" fmla="*/ 13 w 40"/>
              <a:gd name="T35" fmla="*/ 7 h 43"/>
              <a:gd name="T36" fmla="*/ 10 w 40"/>
              <a:gd name="T37" fmla="*/ 14 h 43"/>
              <a:gd name="T38" fmla="*/ 8 w 40"/>
              <a:gd name="T39" fmla="*/ 20 h 43"/>
              <a:gd name="T40" fmla="*/ 6 w 40"/>
              <a:gd name="T41" fmla="*/ 23 h 43"/>
              <a:gd name="T42" fmla="*/ 3 w 40"/>
              <a:gd name="T43" fmla="*/ 23 h 43"/>
              <a:gd name="T44" fmla="*/ 0 w 40"/>
              <a:gd name="T45" fmla="*/ 24 h 43"/>
              <a:gd name="T46" fmla="*/ 1 w 40"/>
              <a:gd name="T47" fmla="*/ 27 h 43"/>
              <a:gd name="T48" fmla="*/ 9 w 40"/>
              <a:gd name="T49" fmla="*/ 26 h 43"/>
              <a:gd name="T50" fmla="*/ 10 w 40"/>
              <a:gd name="T51" fmla="*/ 30 h 43"/>
              <a:gd name="T52" fmla="*/ 15 w 40"/>
              <a:gd name="T53" fmla="*/ 31 h 43"/>
              <a:gd name="T54" fmla="*/ 17 w 40"/>
              <a:gd name="T55" fmla="*/ 29 h 43"/>
              <a:gd name="T56" fmla="*/ 20 w 40"/>
              <a:gd name="T57" fmla="*/ 30 h 43"/>
              <a:gd name="T58" fmla="*/ 20 w 40"/>
              <a:gd name="T59" fmla="*/ 34 h 43"/>
              <a:gd name="T60" fmla="*/ 21 w 40"/>
              <a:gd name="T61" fmla="*/ 38 h 43"/>
              <a:gd name="T62" fmla="*/ 24 w 40"/>
              <a:gd name="T63" fmla="*/ 37 h 43"/>
              <a:gd name="T64" fmla="*/ 25 w 40"/>
              <a:gd name="T65" fmla="*/ 38 h 43"/>
              <a:gd name="T66" fmla="*/ 27 w 40"/>
              <a:gd name="T67" fmla="*/ 38 h 43"/>
              <a:gd name="T68" fmla="*/ 30 w 40"/>
              <a:gd name="T69" fmla="*/ 40 h 43"/>
              <a:gd name="T70" fmla="*/ 32 w 40"/>
              <a:gd name="T71" fmla="*/ 39 h 43"/>
              <a:gd name="T72" fmla="*/ 35 w 40"/>
              <a:gd name="T73" fmla="*/ 41 h 43"/>
              <a:gd name="T74" fmla="*/ 37 w 40"/>
              <a:gd name="T75" fmla="*/ 43 h 43"/>
              <a:gd name="T76" fmla="*/ 37 w 40"/>
              <a:gd name="T77" fmla="*/ 40 h 43"/>
              <a:gd name="T78" fmla="*/ 34 w 40"/>
              <a:gd name="T79" fmla="*/ 39 h 43"/>
              <a:gd name="T80" fmla="*/ 35 w 40"/>
              <a:gd name="T81" fmla="*/ 34 h 43"/>
              <a:gd name="T82" fmla="*/ 36 w 40"/>
              <a:gd name="T83" fmla="*/ 32 h 43"/>
              <a:gd name="T84" fmla="*/ 38 w 40"/>
              <a:gd name="T85" fmla="*/ 31 h 43"/>
              <a:gd name="T86" fmla="*/ 37 w 40"/>
              <a:gd name="T8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43">
                <a:moveTo>
                  <a:pt x="37" y="29"/>
                </a:moveTo>
                <a:cubicBezTo>
                  <a:pt x="36" y="28"/>
                  <a:pt x="35" y="21"/>
                  <a:pt x="36" y="20"/>
                </a:cubicBezTo>
                <a:cubicBezTo>
                  <a:pt x="36" y="20"/>
                  <a:pt x="36" y="20"/>
                  <a:pt x="36" y="21"/>
                </a:cubicBezTo>
                <a:cubicBezTo>
                  <a:pt x="36" y="19"/>
                  <a:pt x="36" y="19"/>
                  <a:pt x="36" y="19"/>
                </a:cubicBezTo>
                <a:cubicBezTo>
                  <a:pt x="36" y="19"/>
                  <a:pt x="36" y="19"/>
                  <a:pt x="36" y="19"/>
                </a:cubicBezTo>
                <a:cubicBezTo>
                  <a:pt x="36" y="19"/>
                  <a:pt x="35" y="19"/>
                  <a:pt x="35" y="18"/>
                </a:cubicBezTo>
                <a:cubicBezTo>
                  <a:pt x="35" y="18"/>
                  <a:pt x="36" y="18"/>
                  <a:pt x="36" y="18"/>
                </a:cubicBezTo>
                <a:cubicBezTo>
                  <a:pt x="36" y="18"/>
                  <a:pt x="36" y="16"/>
                  <a:pt x="36" y="16"/>
                </a:cubicBezTo>
                <a:cubicBezTo>
                  <a:pt x="36" y="16"/>
                  <a:pt x="37" y="16"/>
                  <a:pt x="37" y="16"/>
                </a:cubicBezTo>
                <a:cubicBezTo>
                  <a:pt x="37" y="16"/>
                  <a:pt x="37" y="15"/>
                  <a:pt x="37" y="14"/>
                </a:cubicBezTo>
                <a:cubicBezTo>
                  <a:pt x="37" y="14"/>
                  <a:pt x="37" y="13"/>
                  <a:pt x="37" y="12"/>
                </a:cubicBezTo>
                <a:cubicBezTo>
                  <a:pt x="38" y="12"/>
                  <a:pt x="37" y="11"/>
                  <a:pt x="38" y="11"/>
                </a:cubicBezTo>
                <a:cubicBezTo>
                  <a:pt x="38" y="11"/>
                  <a:pt x="38" y="10"/>
                  <a:pt x="39" y="10"/>
                </a:cubicBezTo>
                <a:cubicBezTo>
                  <a:pt x="39" y="10"/>
                  <a:pt x="40" y="9"/>
                  <a:pt x="40" y="9"/>
                </a:cubicBezTo>
                <a:cubicBezTo>
                  <a:pt x="40" y="9"/>
                  <a:pt x="40" y="8"/>
                  <a:pt x="40" y="8"/>
                </a:cubicBezTo>
                <a:cubicBezTo>
                  <a:pt x="40" y="7"/>
                  <a:pt x="40" y="7"/>
                  <a:pt x="40" y="7"/>
                </a:cubicBezTo>
                <a:cubicBezTo>
                  <a:pt x="40" y="6"/>
                  <a:pt x="40" y="5"/>
                  <a:pt x="40" y="5"/>
                </a:cubicBezTo>
                <a:cubicBezTo>
                  <a:pt x="40" y="5"/>
                  <a:pt x="40" y="5"/>
                  <a:pt x="40" y="5"/>
                </a:cubicBezTo>
                <a:cubicBezTo>
                  <a:pt x="39" y="4"/>
                  <a:pt x="38" y="3"/>
                  <a:pt x="37" y="3"/>
                </a:cubicBezTo>
                <a:cubicBezTo>
                  <a:pt x="37" y="2"/>
                  <a:pt x="36" y="3"/>
                  <a:pt x="36" y="3"/>
                </a:cubicBezTo>
                <a:cubicBezTo>
                  <a:pt x="36" y="3"/>
                  <a:pt x="35" y="2"/>
                  <a:pt x="35" y="3"/>
                </a:cubicBezTo>
                <a:cubicBezTo>
                  <a:pt x="34" y="3"/>
                  <a:pt x="34" y="3"/>
                  <a:pt x="34" y="3"/>
                </a:cubicBezTo>
                <a:cubicBezTo>
                  <a:pt x="34" y="3"/>
                  <a:pt x="33" y="2"/>
                  <a:pt x="33" y="2"/>
                </a:cubicBezTo>
                <a:cubicBezTo>
                  <a:pt x="32" y="1"/>
                  <a:pt x="32" y="1"/>
                  <a:pt x="32" y="1"/>
                </a:cubicBezTo>
                <a:cubicBezTo>
                  <a:pt x="32" y="1"/>
                  <a:pt x="32" y="1"/>
                  <a:pt x="32" y="1"/>
                </a:cubicBezTo>
                <a:cubicBezTo>
                  <a:pt x="30" y="2"/>
                  <a:pt x="30" y="2"/>
                  <a:pt x="30" y="2"/>
                </a:cubicBezTo>
                <a:cubicBezTo>
                  <a:pt x="30" y="2"/>
                  <a:pt x="28" y="0"/>
                  <a:pt x="28" y="1"/>
                </a:cubicBezTo>
                <a:cubicBezTo>
                  <a:pt x="28" y="2"/>
                  <a:pt x="27" y="2"/>
                  <a:pt x="26" y="2"/>
                </a:cubicBezTo>
                <a:cubicBezTo>
                  <a:pt x="25" y="2"/>
                  <a:pt x="24" y="2"/>
                  <a:pt x="24" y="2"/>
                </a:cubicBezTo>
                <a:cubicBezTo>
                  <a:pt x="23" y="3"/>
                  <a:pt x="22" y="2"/>
                  <a:pt x="22" y="2"/>
                </a:cubicBezTo>
                <a:cubicBezTo>
                  <a:pt x="22" y="3"/>
                  <a:pt x="21" y="4"/>
                  <a:pt x="21" y="4"/>
                </a:cubicBezTo>
                <a:cubicBezTo>
                  <a:pt x="17" y="3"/>
                  <a:pt x="17" y="3"/>
                  <a:pt x="17" y="3"/>
                </a:cubicBezTo>
                <a:cubicBezTo>
                  <a:pt x="17" y="3"/>
                  <a:pt x="16" y="2"/>
                  <a:pt x="15" y="2"/>
                </a:cubicBezTo>
                <a:cubicBezTo>
                  <a:pt x="14" y="2"/>
                  <a:pt x="13" y="3"/>
                  <a:pt x="13" y="3"/>
                </a:cubicBezTo>
                <a:cubicBezTo>
                  <a:pt x="13" y="5"/>
                  <a:pt x="13" y="5"/>
                  <a:pt x="13" y="5"/>
                </a:cubicBezTo>
                <a:cubicBezTo>
                  <a:pt x="13" y="6"/>
                  <a:pt x="13" y="7"/>
                  <a:pt x="13" y="7"/>
                </a:cubicBezTo>
                <a:cubicBezTo>
                  <a:pt x="12" y="8"/>
                  <a:pt x="12" y="8"/>
                  <a:pt x="12" y="10"/>
                </a:cubicBezTo>
                <a:cubicBezTo>
                  <a:pt x="12" y="11"/>
                  <a:pt x="10" y="13"/>
                  <a:pt x="10" y="14"/>
                </a:cubicBezTo>
                <a:cubicBezTo>
                  <a:pt x="10" y="15"/>
                  <a:pt x="8" y="16"/>
                  <a:pt x="8" y="17"/>
                </a:cubicBezTo>
                <a:cubicBezTo>
                  <a:pt x="8" y="17"/>
                  <a:pt x="8" y="19"/>
                  <a:pt x="8" y="20"/>
                </a:cubicBezTo>
                <a:cubicBezTo>
                  <a:pt x="8" y="22"/>
                  <a:pt x="7" y="21"/>
                  <a:pt x="7" y="22"/>
                </a:cubicBezTo>
                <a:cubicBezTo>
                  <a:pt x="7" y="23"/>
                  <a:pt x="7" y="23"/>
                  <a:pt x="6" y="23"/>
                </a:cubicBezTo>
                <a:cubicBezTo>
                  <a:pt x="5" y="24"/>
                  <a:pt x="5" y="24"/>
                  <a:pt x="5" y="23"/>
                </a:cubicBezTo>
                <a:cubicBezTo>
                  <a:pt x="5" y="23"/>
                  <a:pt x="4" y="23"/>
                  <a:pt x="3" y="23"/>
                </a:cubicBezTo>
                <a:cubicBezTo>
                  <a:pt x="3" y="24"/>
                  <a:pt x="2" y="23"/>
                  <a:pt x="2" y="23"/>
                </a:cubicBezTo>
                <a:cubicBezTo>
                  <a:pt x="2" y="23"/>
                  <a:pt x="1" y="24"/>
                  <a:pt x="0" y="24"/>
                </a:cubicBezTo>
                <a:cubicBezTo>
                  <a:pt x="0" y="25"/>
                  <a:pt x="0" y="26"/>
                  <a:pt x="1" y="27"/>
                </a:cubicBezTo>
                <a:cubicBezTo>
                  <a:pt x="1" y="27"/>
                  <a:pt x="1" y="27"/>
                  <a:pt x="1" y="27"/>
                </a:cubicBezTo>
                <a:cubicBezTo>
                  <a:pt x="1" y="27"/>
                  <a:pt x="2" y="26"/>
                  <a:pt x="2" y="26"/>
                </a:cubicBezTo>
                <a:cubicBezTo>
                  <a:pt x="3" y="26"/>
                  <a:pt x="9" y="26"/>
                  <a:pt x="9" y="26"/>
                </a:cubicBezTo>
                <a:cubicBezTo>
                  <a:pt x="9" y="26"/>
                  <a:pt x="10" y="27"/>
                  <a:pt x="9" y="28"/>
                </a:cubicBezTo>
                <a:cubicBezTo>
                  <a:pt x="9" y="29"/>
                  <a:pt x="10" y="29"/>
                  <a:pt x="10" y="30"/>
                </a:cubicBezTo>
                <a:cubicBezTo>
                  <a:pt x="11" y="31"/>
                  <a:pt x="11" y="31"/>
                  <a:pt x="12" y="31"/>
                </a:cubicBezTo>
                <a:cubicBezTo>
                  <a:pt x="13" y="31"/>
                  <a:pt x="14" y="31"/>
                  <a:pt x="15" y="31"/>
                </a:cubicBezTo>
                <a:cubicBezTo>
                  <a:pt x="15" y="31"/>
                  <a:pt x="15" y="29"/>
                  <a:pt x="16" y="29"/>
                </a:cubicBezTo>
                <a:cubicBezTo>
                  <a:pt x="16" y="28"/>
                  <a:pt x="17" y="29"/>
                  <a:pt x="17" y="29"/>
                </a:cubicBezTo>
                <a:cubicBezTo>
                  <a:pt x="17" y="29"/>
                  <a:pt x="17" y="29"/>
                  <a:pt x="18" y="29"/>
                </a:cubicBezTo>
                <a:cubicBezTo>
                  <a:pt x="19" y="29"/>
                  <a:pt x="20" y="29"/>
                  <a:pt x="20" y="30"/>
                </a:cubicBezTo>
                <a:cubicBezTo>
                  <a:pt x="20" y="30"/>
                  <a:pt x="20" y="31"/>
                  <a:pt x="20" y="31"/>
                </a:cubicBezTo>
                <a:cubicBezTo>
                  <a:pt x="21" y="32"/>
                  <a:pt x="19" y="34"/>
                  <a:pt x="20" y="34"/>
                </a:cubicBezTo>
                <a:cubicBezTo>
                  <a:pt x="20" y="35"/>
                  <a:pt x="21" y="36"/>
                  <a:pt x="21" y="36"/>
                </a:cubicBezTo>
                <a:cubicBezTo>
                  <a:pt x="21" y="37"/>
                  <a:pt x="21" y="38"/>
                  <a:pt x="21" y="38"/>
                </a:cubicBezTo>
                <a:cubicBezTo>
                  <a:pt x="21" y="38"/>
                  <a:pt x="22" y="37"/>
                  <a:pt x="22" y="37"/>
                </a:cubicBezTo>
                <a:cubicBezTo>
                  <a:pt x="23" y="37"/>
                  <a:pt x="24" y="37"/>
                  <a:pt x="24" y="37"/>
                </a:cubicBezTo>
                <a:cubicBezTo>
                  <a:pt x="24" y="37"/>
                  <a:pt x="25" y="37"/>
                  <a:pt x="25" y="37"/>
                </a:cubicBezTo>
                <a:cubicBezTo>
                  <a:pt x="25" y="37"/>
                  <a:pt x="25" y="38"/>
                  <a:pt x="25" y="38"/>
                </a:cubicBezTo>
                <a:cubicBezTo>
                  <a:pt x="25" y="38"/>
                  <a:pt x="26" y="38"/>
                  <a:pt x="26" y="38"/>
                </a:cubicBezTo>
                <a:cubicBezTo>
                  <a:pt x="26" y="38"/>
                  <a:pt x="27" y="38"/>
                  <a:pt x="27" y="38"/>
                </a:cubicBezTo>
                <a:cubicBezTo>
                  <a:pt x="27" y="39"/>
                  <a:pt x="28" y="39"/>
                  <a:pt x="28" y="39"/>
                </a:cubicBezTo>
                <a:cubicBezTo>
                  <a:pt x="28" y="39"/>
                  <a:pt x="29" y="40"/>
                  <a:pt x="30" y="40"/>
                </a:cubicBezTo>
                <a:cubicBezTo>
                  <a:pt x="30" y="40"/>
                  <a:pt x="31" y="40"/>
                  <a:pt x="31" y="40"/>
                </a:cubicBezTo>
                <a:cubicBezTo>
                  <a:pt x="31" y="39"/>
                  <a:pt x="31" y="39"/>
                  <a:pt x="32" y="39"/>
                </a:cubicBezTo>
                <a:cubicBezTo>
                  <a:pt x="32" y="40"/>
                  <a:pt x="32" y="40"/>
                  <a:pt x="33" y="40"/>
                </a:cubicBezTo>
                <a:cubicBezTo>
                  <a:pt x="33" y="40"/>
                  <a:pt x="35" y="40"/>
                  <a:pt x="35" y="41"/>
                </a:cubicBezTo>
                <a:cubicBezTo>
                  <a:pt x="35" y="41"/>
                  <a:pt x="35" y="42"/>
                  <a:pt x="35" y="43"/>
                </a:cubicBezTo>
                <a:cubicBezTo>
                  <a:pt x="36" y="43"/>
                  <a:pt x="37" y="43"/>
                  <a:pt x="37" y="43"/>
                </a:cubicBezTo>
                <a:cubicBezTo>
                  <a:pt x="37" y="43"/>
                  <a:pt x="37" y="42"/>
                  <a:pt x="37" y="42"/>
                </a:cubicBezTo>
                <a:cubicBezTo>
                  <a:pt x="37" y="41"/>
                  <a:pt x="37" y="40"/>
                  <a:pt x="37" y="40"/>
                </a:cubicBezTo>
                <a:cubicBezTo>
                  <a:pt x="37" y="40"/>
                  <a:pt x="36" y="41"/>
                  <a:pt x="36" y="41"/>
                </a:cubicBezTo>
                <a:cubicBezTo>
                  <a:pt x="35" y="40"/>
                  <a:pt x="34" y="39"/>
                  <a:pt x="34" y="39"/>
                </a:cubicBezTo>
                <a:cubicBezTo>
                  <a:pt x="34" y="39"/>
                  <a:pt x="35" y="37"/>
                  <a:pt x="35" y="37"/>
                </a:cubicBezTo>
                <a:cubicBezTo>
                  <a:pt x="35" y="36"/>
                  <a:pt x="35" y="35"/>
                  <a:pt x="35" y="34"/>
                </a:cubicBezTo>
                <a:cubicBezTo>
                  <a:pt x="34" y="34"/>
                  <a:pt x="35" y="34"/>
                  <a:pt x="35" y="33"/>
                </a:cubicBezTo>
                <a:cubicBezTo>
                  <a:pt x="35" y="33"/>
                  <a:pt x="35" y="32"/>
                  <a:pt x="36" y="32"/>
                </a:cubicBezTo>
                <a:cubicBezTo>
                  <a:pt x="36" y="32"/>
                  <a:pt x="38" y="32"/>
                  <a:pt x="38" y="31"/>
                </a:cubicBezTo>
                <a:cubicBezTo>
                  <a:pt x="38" y="31"/>
                  <a:pt x="38" y="31"/>
                  <a:pt x="38" y="31"/>
                </a:cubicBezTo>
                <a:cubicBezTo>
                  <a:pt x="38" y="31"/>
                  <a:pt x="38" y="31"/>
                  <a:pt x="38" y="31"/>
                </a:cubicBezTo>
                <a:cubicBezTo>
                  <a:pt x="38" y="30"/>
                  <a:pt x="37" y="29"/>
                  <a:pt x="3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391"/>
          <p:cNvSpPr>
            <a:spLocks/>
          </p:cNvSpPr>
          <p:nvPr/>
        </p:nvSpPr>
        <p:spPr bwMode="auto">
          <a:xfrm>
            <a:off x="2505403" y="3303973"/>
            <a:ext cx="14299" cy="25024"/>
          </a:xfrm>
          <a:custGeom>
            <a:avLst/>
            <a:gdLst>
              <a:gd name="T0" fmla="*/ 0 w 3"/>
              <a:gd name="T1" fmla="*/ 3 h 5"/>
              <a:gd name="T2" fmla="*/ 1 w 3"/>
              <a:gd name="T3" fmla="*/ 5 h 5"/>
              <a:gd name="T4" fmla="*/ 2 w 3"/>
              <a:gd name="T5" fmla="*/ 4 h 5"/>
              <a:gd name="T6" fmla="*/ 3 w 3"/>
              <a:gd name="T7" fmla="*/ 2 h 5"/>
              <a:gd name="T8" fmla="*/ 3 w 3"/>
              <a:gd name="T9" fmla="*/ 1 h 5"/>
              <a:gd name="T10" fmla="*/ 3 w 3"/>
              <a:gd name="T11" fmla="*/ 0 h 5"/>
              <a:gd name="T12" fmla="*/ 2 w 3"/>
              <a:gd name="T13" fmla="*/ 0 h 5"/>
              <a:gd name="T14" fmla="*/ 1 w 3"/>
              <a:gd name="T15" fmla="*/ 1 h 5"/>
              <a:gd name="T16" fmla="*/ 0 w 3"/>
              <a:gd name="T17" fmla="*/ 1 h 5"/>
              <a:gd name="T18" fmla="*/ 0 w 3"/>
              <a:gd name="T19" fmla="*/ 1 h 5"/>
              <a:gd name="T20" fmla="*/ 0 w 3"/>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0" y="3"/>
                </a:moveTo>
                <a:cubicBezTo>
                  <a:pt x="0" y="3"/>
                  <a:pt x="0" y="4"/>
                  <a:pt x="1" y="5"/>
                </a:cubicBezTo>
                <a:cubicBezTo>
                  <a:pt x="1" y="5"/>
                  <a:pt x="1" y="4"/>
                  <a:pt x="2" y="4"/>
                </a:cubicBezTo>
                <a:cubicBezTo>
                  <a:pt x="2" y="4"/>
                  <a:pt x="3" y="2"/>
                  <a:pt x="3" y="2"/>
                </a:cubicBezTo>
                <a:cubicBezTo>
                  <a:pt x="3" y="1"/>
                  <a:pt x="3" y="1"/>
                  <a:pt x="3" y="1"/>
                </a:cubicBezTo>
                <a:cubicBezTo>
                  <a:pt x="3" y="1"/>
                  <a:pt x="3" y="1"/>
                  <a:pt x="3" y="0"/>
                </a:cubicBezTo>
                <a:cubicBezTo>
                  <a:pt x="2" y="0"/>
                  <a:pt x="2" y="0"/>
                  <a:pt x="2" y="0"/>
                </a:cubicBezTo>
                <a:cubicBezTo>
                  <a:pt x="2" y="0"/>
                  <a:pt x="2" y="1"/>
                  <a:pt x="1" y="1"/>
                </a:cubicBezTo>
                <a:cubicBezTo>
                  <a:pt x="0" y="1"/>
                  <a:pt x="0" y="1"/>
                  <a:pt x="0" y="1"/>
                </a:cubicBezTo>
                <a:cubicBezTo>
                  <a:pt x="0" y="1"/>
                  <a:pt x="0" y="1"/>
                  <a:pt x="0" y="1"/>
                </a:cubicBezTo>
                <a:lnTo>
                  <a:pt x="0"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392"/>
          <p:cNvSpPr>
            <a:spLocks/>
          </p:cNvSpPr>
          <p:nvPr/>
        </p:nvSpPr>
        <p:spPr bwMode="auto">
          <a:xfrm>
            <a:off x="2516128" y="3389770"/>
            <a:ext cx="114395" cy="185892"/>
          </a:xfrm>
          <a:custGeom>
            <a:avLst/>
            <a:gdLst>
              <a:gd name="T0" fmla="*/ 23 w 24"/>
              <a:gd name="T1" fmla="*/ 10 h 38"/>
              <a:gd name="T2" fmla="*/ 23 w 24"/>
              <a:gd name="T3" fmla="*/ 6 h 38"/>
              <a:gd name="T4" fmla="*/ 23 w 24"/>
              <a:gd name="T5" fmla="*/ 1 h 38"/>
              <a:gd name="T6" fmla="*/ 23 w 24"/>
              <a:gd name="T7" fmla="*/ 0 h 38"/>
              <a:gd name="T8" fmla="*/ 20 w 24"/>
              <a:gd name="T9" fmla="*/ 2 h 38"/>
              <a:gd name="T10" fmla="*/ 19 w 24"/>
              <a:gd name="T11" fmla="*/ 2 h 38"/>
              <a:gd name="T12" fmla="*/ 17 w 24"/>
              <a:gd name="T13" fmla="*/ 2 h 38"/>
              <a:gd name="T14" fmla="*/ 17 w 24"/>
              <a:gd name="T15" fmla="*/ 3 h 38"/>
              <a:gd name="T16" fmla="*/ 15 w 24"/>
              <a:gd name="T17" fmla="*/ 3 h 38"/>
              <a:gd name="T18" fmla="*/ 14 w 24"/>
              <a:gd name="T19" fmla="*/ 3 h 38"/>
              <a:gd name="T20" fmla="*/ 13 w 24"/>
              <a:gd name="T21" fmla="*/ 3 h 38"/>
              <a:gd name="T22" fmla="*/ 12 w 24"/>
              <a:gd name="T23" fmla="*/ 3 h 38"/>
              <a:gd name="T24" fmla="*/ 10 w 24"/>
              <a:gd name="T25" fmla="*/ 3 h 38"/>
              <a:gd name="T26" fmla="*/ 10 w 24"/>
              <a:gd name="T27" fmla="*/ 4 h 38"/>
              <a:gd name="T28" fmla="*/ 11 w 24"/>
              <a:gd name="T29" fmla="*/ 8 h 38"/>
              <a:gd name="T30" fmla="*/ 12 w 24"/>
              <a:gd name="T31" fmla="*/ 10 h 38"/>
              <a:gd name="T32" fmla="*/ 12 w 24"/>
              <a:gd name="T33" fmla="*/ 12 h 38"/>
              <a:gd name="T34" fmla="*/ 11 w 24"/>
              <a:gd name="T35" fmla="*/ 13 h 38"/>
              <a:gd name="T36" fmla="*/ 11 w 24"/>
              <a:gd name="T37" fmla="*/ 15 h 38"/>
              <a:gd name="T38" fmla="*/ 9 w 24"/>
              <a:gd name="T39" fmla="*/ 13 h 38"/>
              <a:gd name="T40" fmla="*/ 9 w 24"/>
              <a:gd name="T41" fmla="*/ 10 h 38"/>
              <a:gd name="T42" fmla="*/ 8 w 24"/>
              <a:gd name="T43" fmla="*/ 9 h 38"/>
              <a:gd name="T44" fmla="*/ 6 w 24"/>
              <a:gd name="T45" fmla="*/ 8 h 38"/>
              <a:gd name="T46" fmla="*/ 0 w 24"/>
              <a:gd name="T47" fmla="*/ 11 h 38"/>
              <a:gd name="T48" fmla="*/ 1 w 24"/>
              <a:gd name="T49" fmla="*/ 12 h 38"/>
              <a:gd name="T50" fmla="*/ 0 w 24"/>
              <a:gd name="T51" fmla="*/ 12 h 38"/>
              <a:gd name="T52" fmla="*/ 1 w 24"/>
              <a:gd name="T53" fmla="*/ 13 h 38"/>
              <a:gd name="T54" fmla="*/ 4 w 24"/>
              <a:gd name="T55" fmla="*/ 14 h 38"/>
              <a:gd name="T56" fmla="*/ 6 w 24"/>
              <a:gd name="T57" fmla="*/ 14 h 38"/>
              <a:gd name="T58" fmla="*/ 6 w 24"/>
              <a:gd name="T59" fmla="*/ 18 h 38"/>
              <a:gd name="T60" fmla="*/ 6 w 24"/>
              <a:gd name="T61" fmla="*/ 20 h 38"/>
              <a:gd name="T62" fmla="*/ 6 w 24"/>
              <a:gd name="T63" fmla="*/ 22 h 38"/>
              <a:gd name="T64" fmla="*/ 5 w 24"/>
              <a:gd name="T65" fmla="*/ 23 h 38"/>
              <a:gd name="T66" fmla="*/ 5 w 24"/>
              <a:gd name="T67" fmla="*/ 25 h 38"/>
              <a:gd name="T68" fmla="*/ 2 w 24"/>
              <a:gd name="T69" fmla="*/ 28 h 38"/>
              <a:gd name="T70" fmla="*/ 2 w 24"/>
              <a:gd name="T71" fmla="*/ 28 h 38"/>
              <a:gd name="T72" fmla="*/ 4 w 24"/>
              <a:gd name="T73" fmla="*/ 32 h 38"/>
              <a:gd name="T74" fmla="*/ 4 w 24"/>
              <a:gd name="T75" fmla="*/ 36 h 38"/>
              <a:gd name="T76" fmla="*/ 4 w 24"/>
              <a:gd name="T77" fmla="*/ 38 h 38"/>
              <a:gd name="T78" fmla="*/ 6 w 24"/>
              <a:gd name="T79" fmla="*/ 38 h 38"/>
              <a:gd name="T80" fmla="*/ 6 w 24"/>
              <a:gd name="T81" fmla="*/ 37 h 38"/>
              <a:gd name="T82" fmla="*/ 5 w 24"/>
              <a:gd name="T83" fmla="*/ 36 h 38"/>
              <a:gd name="T84" fmla="*/ 9 w 24"/>
              <a:gd name="T85" fmla="*/ 34 h 38"/>
              <a:gd name="T86" fmla="*/ 11 w 24"/>
              <a:gd name="T87" fmla="*/ 32 h 38"/>
              <a:gd name="T88" fmla="*/ 12 w 24"/>
              <a:gd name="T89" fmla="*/ 29 h 38"/>
              <a:gd name="T90" fmla="*/ 11 w 24"/>
              <a:gd name="T91" fmla="*/ 26 h 38"/>
              <a:gd name="T92" fmla="*/ 10 w 24"/>
              <a:gd name="T93" fmla="*/ 23 h 38"/>
              <a:gd name="T94" fmla="*/ 10 w 24"/>
              <a:gd name="T95" fmla="*/ 22 h 38"/>
              <a:gd name="T96" fmla="*/ 11 w 24"/>
              <a:gd name="T97" fmla="*/ 20 h 38"/>
              <a:gd name="T98" fmla="*/ 13 w 24"/>
              <a:gd name="T99" fmla="*/ 19 h 38"/>
              <a:gd name="T100" fmla="*/ 16 w 24"/>
              <a:gd name="T101" fmla="*/ 17 h 38"/>
              <a:gd name="T102" fmla="*/ 20 w 24"/>
              <a:gd name="T103" fmla="*/ 15 h 38"/>
              <a:gd name="T104" fmla="*/ 23 w 24"/>
              <a:gd name="T105"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 h="38">
                <a:moveTo>
                  <a:pt x="23" y="10"/>
                </a:moveTo>
                <a:cubicBezTo>
                  <a:pt x="23" y="10"/>
                  <a:pt x="23" y="7"/>
                  <a:pt x="23" y="6"/>
                </a:cubicBezTo>
                <a:cubicBezTo>
                  <a:pt x="23" y="5"/>
                  <a:pt x="23" y="2"/>
                  <a:pt x="23" y="1"/>
                </a:cubicBezTo>
                <a:cubicBezTo>
                  <a:pt x="23" y="1"/>
                  <a:pt x="23" y="1"/>
                  <a:pt x="23" y="0"/>
                </a:cubicBezTo>
                <a:cubicBezTo>
                  <a:pt x="22" y="1"/>
                  <a:pt x="20" y="2"/>
                  <a:pt x="20" y="2"/>
                </a:cubicBezTo>
                <a:cubicBezTo>
                  <a:pt x="20" y="2"/>
                  <a:pt x="19" y="2"/>
                  <a:pt x="19" y="2"/>
                </a:cubicBezTo>
                <a:cubicBezTo>
                  <a:pt x="18" y="3"/>
                  <a:pt x="18" y="2"/>
                  <a:pt x="17" y="2"/>
                </a:cubicBezTo>
                <a:cubicBezTo>
                  <a:pt x="17" y="2"/>
                  <a:pt x="17" y="3"/>
                  <a:pt x="17" y="3"/>
                </a:cubicBezTo>
                <a:cubicBezTo>
                  <a:pt x="17" y="3"/>
                  <a:pt x="16" y="3"/>
                  <a:pt x="15" y="3"/>
                </a:cubicBezTo>
                <a:cubicBezTo>
                  <a:pt x="15" y="3"/>
                  <a:pt x="14" y="3"/>
                  <a:pt x="14" y="3"/>
                </a:cubicBezTo>
                <a:cubicBezTo>
                  <a:pt x="13" y="3"/>
                  <a:pt x="13" y="3"/>
                  <a:pt x="13" y="3"/>
                </a:cubicBezTo>
                <a:cubicBezTo>
                  <a:pt x="12" y="2"/>
                  <a:pt x="12" y="3"/>
                  <a:pt x="12" y="3"/>
                </a:cubicBezTo>
                <a:cubicBezTo>
                  <a:pt x="11" y="3"/>
                  <a:pt x="11" y="3"/>
                  <a:pt x="10" y="3"/>
                </a:cubicBezTo>
                <a:cubicBezTo>
                  <a:pt x="10" y="3"/>
                  <a:pt x="10" y="3"/>
                  <a:pt x="10" y="4"/>
                </a:cubicBezTo>
                <a:cubicBezTo>
                  <a:pt x="10" y="5"/>
                  <a:pt x="11" y="7"/>
                  <a:pt x="11" y="8"/>
                </a:cubicBezTo>
                <a:cubicBezTo>
                  <a:pt x="12" y="9"/>
                  <a:pt x="12" y="9"/>
                  <a:pt x="12" y="10"/>
                </a:cubicBezTo>
                <a:cubicBezTo>
                  <a:pt x="13" y="10"/>
                  <a:pt x="12" y="10"/>
                  <a:pt x="12" y="12"/>
                </a:cubicBezTo>
                <a:cubicBezTo>
                  <a:pt x="13" y="13"/>
                  <a:pt x="12" y="13"/>
                  <a:pt x="11" y="13"/>
                </a:cubicBezTo>
                <a:cubicBezTo>
                  <a:pt x="11" y="14"/>
                  <a:pt x="11" y="15"/>
                  <a:pt x="11" y="15"/>
                </a:cubicBezTo>
                <a:cubicBezTo>
                  <a:pt x="11" y="16"/>
                  <a:pt x="9" y="13"/>
                  <a:pt x="9" y="13"/>
                </a:cubicBezTo>
                <a:cubicBezTo>
                  <a:pt x="9" y="12"/>
                  <a:pt x="10" y="11"/>
                  <a:pt x="9" y="10"/>
                </a:cubicBezTo>
                <a:cubicBezTo>
                  <a:pt x="9" y="9"/>
                  <a:pt x="8" y="9"/>
                  <a:pt x="8" y="9"/>
                </a:cubicBezTo>
                <a:cubicBezTo>
                  <a:pt x="7" y="9"/>
                  <a:pt x="6" y="8"/>
                  <a:pt x="6" y="8"/>
                </a:cubicBezTo>
                <a:cubicBezTo>
                  <a:pt x="6" y="8"/>
                  <a:pt x="0" y="11"/>
                  <a:pt x="0" y="11"/>
                </a:cubicBezTo>
                <a:cubicBezTo>
                  <a:pt x="1" y="12"/>
                  <a:pt x="1" y="12"/>
                  <a:pt x="1" y="12"/>
                </a:cubicBezTo>
                <a:cubicBezTo>
                  <a:pt x="0" y="12"/>
                  <a:pt x="0" y="12"/>
                  <a:pt x="0" y="12"/>
                </a:cubicBezTo>
                <a:cubicBezTo>
                  <a:pt x="1" y="13"/>
                  <a:pt x="1" y="13"/>
                  <a:pt x="1" y="13"/>
                </a:cubicBezTo>
                <a:cubicBezTo>
                  <a:pt x="1" y="13"/>
                  <a:pt x="3" y="13"/>
                  <a:pt x="4" y="14"/>
                </a:cubicBezTo>
                <a:cubicBezTo>
                  <a:pt x="4" y="14"/>
                  <a:pt x="6" y="14"/>
                  <a:pt x="6" y="14"/>
                </a:cubicBezTo>
                <a:cubicBezTo>
                  <a:pt x="6" y="15"/>
                  <a:pt x="6" y="17"/>
                  <a:pt x="6" y="18"/>
                </a:cubicBezTo>
                <a:cubicBezTo>
                  <a:pt x="6" y="19"/>
                  <a:pt x="5" y="19"/>
                  <a:pt x="6" y="20"/>
                </a:cubicBezTo>
                <a:cubicBezTo>
                  <a:pt x="6" y="20"/>
                  <a:pt x="6" y="21"/>
                  <a:pt x="6" y="22"/>
                </a:cubicBezTo>
                <a:cubicBezTo>
                  <a:pt x="7" y="22"/>
                  <a:pt x="6" y="23"/>
                  <a:pt x="5" y="23"/>
                </a:cubicBezTo>
                <a:cubicBezTo>
                  <a:pt x="5" y="24"/>
                  <a:pt x="5" y="25"/>
                  <a:pt x="5" y="25"/>
                </a:cubicBezTo>
                <a:cubicBezTo>
                  <a:pt x="4" y="26"/>
                  <a:pt x="3" y="27"/>
                  <a:pt x="2" y="28"/>
                </a:cubicBezTo>
                <a:cubicBezTo>
                  <a:pt x="2" y="28"/>
                  <a:pt x="2" y="28"/>
                  <a:pt x="2" y="28"/>
                </a:cubicBezTo>
                <a:cubicBezTo>
                  <a:pt x="3" y="28"/>
                  <a:pt x="3" y="31"/>
                  <a:pt x="4" y="32"/>
                </a:cubicBezTo>
                <a:cubicBezTo>
                  <a:pt x="4" y="32"/>
                  <a:pt x="4" y="36"/>
                  <a:pt x="4" y="36"/>
                </a:cubicBezTo>
                <a:cubicBezTo>
                  <a:pt x="4" y="36"/>
                  <a:pt x="4" y="38"/>
                  <a:pt x="4" y="38"/>
                </a:cubicBezTo>
                <a:cubicBezTo>
                  <a:pt x="4" y="38"/>
                  <a:pt x="5" y="38"/>
                  <a:pt x="6" y="38"/>
                </a:cubicBezTo>
                <a:cubicBezTo>
                  <a:pt x="6" y="38"/>
                  <a:pt x="6" y="37"/>
                  <a:pt x="6" y="37"/>
                </a:cubicBezTo>
                <a:cubicBezTo>
                  <a:pt x="6" y="36"/>
                  <a:pt x="5" y="37"/>
                  <a:pt x="5" y="36"/>
                </a:cubicBezTo>
                <a:cubicBezTo>
                  <a:pt x="5" y="36"/>
                  <a:pt x="7" y="34"/>
                  <a:pt x="9" y="34"/>
                </a:cubicBezTo>
                <a:cubicBezTo>
                  <a:pt x="10" y="33"/>
                  <a:pt x="11" y="33"/>
                  <a:pt x="11" y="32"/>
                </a:cubicBezTo>
                <a:cubicBezTo>
                  <a:pt x="12" y="31"/>
                  <a:pt x="11" y="30"/>
                  <a:pt x="12" y="29"/>
                </a:cubicBezTo>
                <a:cubicBezTo>
                  <a:pt x="12" y="28"/>
                  <a:pt x="11" y="28"/>
                  <a:pt x="11" y="26"/>
                </a:cubicBezTo>
                <a:cubicBezTo>
                  <a:pt x="11" y="24"/>
                  <a:pt x="10" y="24"/>
                  <a:pt x="10" y="23"/>
                </a:cubicBezTo>
                <a:cubicBezTo>
                  <a:pt x="10" y="22"/>
                  <a:pt x="10" y="22"/>
                  <a:pt x="10" y="22"/>
                </a:cubicBezTo>
                <a:cubicBezTo>
                  <a:pt x="11" y="22"/>
                  <a:pt x="11" y="21"/>
                  <a:pt x="11" y="20"/>
                </a:cubicBezTo>
                <a:cubicBezTo>
                  <a:pt x="12" y="19"/>
                  <a:pt x="12" y="20"/>
                  <a:pt x="13" y="19"/>
                </a:cubicBezTo>
                <a:cubicBezTo>
                  <a:pt x="14" y="19"/>
                  <a:pt x="14" y="18"/>
                  <a:pt x="16" y="17"/>
                </a:cubicBezTo>
                <a:cubicBezTo>
                  <a:pt x="17" y="16"/>
                  <a:pt x="19" y="16"/>
                  <a:pt x="20" y="15"/>
                </a:cubicBezTo>
                <a:cubicBezTo>
                  <a:pt x="21" y="14"/>
                  <a:pt x="24" y="11"/>
                  <a:pt x="23"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393"/>
          <p:cNvSpPr>
            <a:spLocks/>
          </p:cNvSpPr>
          <p:nvPr/>
        </p:nvSpPr>
        <p:spPr bwMode="auto">
          <a:xfrm>
            <a:off x="2508978" y="3289674"/>
            <a:ext cx="117970" cy="114395"/>
          </a:xfrm>
          <a:custGeom>
            <a:avLst/>
            <a:gdLst>
              <a:gd name="T0" fmla="*/ 22 w 24"/>
              <a:gd name="T1" fmla="*/ 19 h 24"/>
              <a:gd name="T2" fmla="*/ 21 w 24"/>
              <a:gd name="T3" fmla="*/ 17 h 24"/>
              <a:gd name="T4" fmla="*/ 21 w 24"/>
              <a:gd name="T5" fmla="*/ 15 h 24"/>
              <a:gd name="T6" fmla="*/ 21 w 24"/>
              <a:gd name="T7" fmla="*/ 14 h 24"/>
              <a:gd name="T8" fmla="*/ 20 w 24"/>
              <a:gd name="T9" fmla="*/ 12 h 24"/>
              <a:gd name="T10" fmla="*/ 21 w 24"/>
              <a:gd name="T11" fmla="*/ 9 h 24"/>
              <a:gd name="T12" fmla="*/ 18 w 24"/>
              <a:gd name="T13" fmla="*/ 6 h 24"/>
              <a:gd name="T14" fmla="*/ 18 w 24"/>
              <a:gd name="T15" fmla="*/ 5 h 24"/>
              <a:gd name="T16" fmla="*/ 9 w 24"/>
              <a:gd name="T17" fmla="*/ 0 h 24"/>
              <a:gd name="T18" fmla="*/ 8 w 24"/>
              <a:gd name="T19" fmla="*/ 2 h 24"/>
              <a:gd name="T20" fmla="*/ 8 w 24"/>
              <a:gd name="T21" fmla="*/ 4 h 24"/>
              <a:gd name="T22" fmla="*/ 5 w 24"/>
              <a:gd name="T23" fmla="*/ 3 h 24"/>
              <a:gd name="T24" fmla="*/ 5 w 24"/>
              <a:gd name="T25" fmla="*/ 0 h 24"/>
              <a:gd name="T26" fmla="*/ 3 w 24"/>
              <a:gd name="T27" fmla="*/ 0 h 24"/>
              <a:gd name="T28" fmla="*/ 2 w 24"/>
              <a:gd name="T29" fmla="*/ 0 h 24"/>
              <a:gd name="T30" fmla="*/ 2 w 24"/>
              <a:gd name="T31" fmla="*/ 1 h 24"/>
              <a:gd name="T32" fmla="*/ 3 w 24"/>
              <a:gd name="T33" fmla="*/ 3 h 24"/>
              <a:gd name="T34" fmla="*/ 2 w 24"/>
              <a:gd name="T35" fmla="*/ 3 h 24"/>
              <a:gd name="T36" fmla="*/ 2 w 24"/>
              <a:gd name="T37" fmla="*/ 4 h 24"/>
              <a:gd name="T38" fmla="*/ 2 w 24"/>
              <a:gd name="T39" fmla="*/ 5 h 24"/>
              <a:gd name="T40" fmla="*/ 1 w 24"/>
              <a:gd name="T41" fmla="*/ 7 h 24"/>
              <a:gd name="T42" fmla="*/ 0 w 24"/>
              <a:gd name="T43" fmla="*/ 8 h 24"/>
              <a:gd name="T44" fmla="*/ 1 w 24"/>
              <a:gd name="T45" fmla="*/ 12 h 24"/>
              <a:gd name="T46" fmla="*/ 2 w 24"/>
              <a:gd name="T47" fmla="*/ 15 h 24"/>
              <a:gd name="T48" fmla="*/ 3 w 24"/>
              <a:gd name="T49" fmla="*/ 17 h 24"/>
              <a:gd name="T50" fmla="*/ 1 w 24"/>
              <a:gd name="T51" fmla="*/ 16 h 24"/>
              <a:gd name="T52" fmla="*/ 1 w 24"/>
              <a:gd name="T53" fmla="*/ 16 h 24"/>
              <a:gd name="T54" fmla="*/ 1 w 24"/>
              <a:gd name="T55" fmla="*/ 16 h 24"/>
              <a:gd name="T56" fmla="*/ 3 w 24"/>
              <a:gd name="T57" fmla="*/ 17 h 24"/>
              <a:gd name="T58" fmla="*/ 5 w 24"/>
              <a:gd name="T59" fmla="*/ 18 h 24"/>
              <a:gd name="T60" fmla="*/ 8 w 24"/>
              <a:gd name="T61" fmla="*/ 19 h 24"/>
              <a:gd name="T62" fmla="*/ 8 w 24"/>
              <a:gd name="T63" fmla="*/ 19 h 24"/>
              <a:gd name="T64" fmla="*/ 9 w 24"/>
              <a:gd name="T65" fmla="*/ 19 h 24"/>
              <a:gd name="T66" fmla="*/ 10 w 24"/>
              <a:gd name="T67" fmla="*/ 19 h 24"/>
              <a:gd name="T68" fmla="*/ 11 w 24"/>
              <a:gd name="T69" fmla="*/ 24 h 24"/>
              <a:gd name="T70" fmla="*/ 13 w 24"/>
              <a:gd name="T71" fmla="*/ 24 h 24"/>
              <a:gd name="T72" fmla="*/ 14 w 24"/>
              <a:gd name="T73" fmla="*/ 24 h 24"/>
              <a:gd name="T74" fmla="*/ 15 w 24"/>
              <a:gd name="T75" fmla="*/ 24 h 24"/>
              <a:gd name="T76" fmla="*/ 16 w 24"/>
              <a:gd name="T77" fmla="*/ 24 h 24"/>
              <a:gd name="T78" fmla="*/ 18 w 24"/>
              <a:gd name="T79" fmla="*/ 24 h 24"/>
              <a:gd name="T80" fmla="*/ 18 w 24"/>
              <a:gd name="T81" fmla="*/ 23 h 24"/>
              <a:gd name="T82" fmla="*/ 20 w 24"/>
              <a:gd name="T83" fmla="*/ 23 h 24"/>
              <a:gd name="T84" fmla="*/ 21 w 24"/>
              <a:gd name="T85" fmla="*/ 23 h 24"/>
              <a:gd name="T86" fmla="*/ 24 w 24"/>
              <a:gd name="T87" fmla="*/ 21 h 24"/>
              <a:gd name="T88" fmla="*/ 22 w 24"/>
              <a:gd name="T8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 h="24">
                <a:moveTo>
                  <a:pt x="22" y="19"/>
                </a:moveTo>
                <a:cubicBezTo>
                  <a:pt x="22" y="18"/>
                  <a:pt x="21" y="18"/>
                  <a:pt x="21" y="17"/>
                </a:cubicBezTo>
                <a:cubicBezTo>
                  <a:pt x="21" y="16"/>
                  <a:pt x="21" y="15"/>
                  <a:pt x="21" y="15"/>
                </a:cubicBezTo>
                <a:cubicBezTo>
                  <a:pt x="21" y="15"/>
                  <a:pt x="21" y="15"/>
                  <a:pt x="21" y="14"/>
                </a:cubicBezTo>
                <a:cubicBezTo>
                  <a:pt x="22" y="13"/>
                  <a:pt x="21" y="13"/>
                  <a:pt x="20" y="12"/>
                </a:cubicBezTo>
                <a:cubicBezTo>
                  <a:pt x="20" y="11"/>
                  <a:pt x="21" y="10"/>
                  <a:pt x="21" y="9"/>
                </a:cubicBezTo>
                <a:cubicBezTo>
                  <a:pt x="19" y="7"/>
                  <a:pt x="18" y="6"/>
                  <a:pt x="18" y="6"/>
                </a:cubicBezTo>
                <a:cubicBezTo>
                  <a:pt x="18" y="5"/>
                  <a:pt x="18" y="5"/>
                  <a:pt x="18" y="5"/>
                </a:cubicBezTo>
                <a:cubicBezTo>
                  <a:pt x="9" y="0"/>
                  <a:pt x="9" y="0"/>
                  <a:pt x="9" y="0"/>
                </a:cubicBezTo>
                <a:cubicBezTo>
                  <a:pt x="9" y="1"/>
                  <a:pt x="9" y="2"/>
                  <a:pt x="8" y="2"/>
                </a:cubicBezTo>
                <a:cubicBezTo>
                  <a:pt x="8" y="2"/>
                  <a:pt x="9" y="3"/>
                  <a:pt x="8" y="4"/>
                </a:cubicBezTo>
                <a:cubicBezTo>
                  <a:pt x="8" y="4"/>
                  <a:pt x="6" y="3"/>
                  <a:pt x="5" y="3"/>
                </a:cubicBezTo>
                <a:cubicBezTo>
                  <a:pt x="4" y="4"/>
                  <a:pt x="4" y="2"/>
                  <a:pt x="5" y="0"/>
                </a:cubicBezTo>
                <a:cubicBezTo>
                  <a:pt x="3" y="0"/>
                  <a:pt x="3" y="0"/>
                  <a:pt x="3" y="0"/>
                </a:cubicBezTo>
                <a:cubicBezTo>
                  <a:pt x="3" y="0"/>
                  <a:pt x="2" y="0"/>
                  <a:pt x="2" y="0"/>
                </a:cubicBezTo>
                <a:cubicBezTo>
                  <a:pt x="2" y="1"/>
                  <a:pt x="2" y="1"/>
                  <a:pt x="2" y="1"/>
                </a:cubicBezTo>
                <a:cubicBezTo>
                  <a:pt x="2" y="1"/>
                  <a:pt x="3" y="2"/>
                  <a:pt x="3" y="3"/>
                </a:cubicBezTo>
                <a:cubicBezTo>
                  <a:pt x="3" y="3"/>
                  <a:pt x="2" y="3"/>
                  <a:pt x="2" y="3"/>
                </a:cubicBezTo>
                <a:cubicBezTo>
                  <a:pt x="2" y="4"/>
                  <a:pt x="2" y="4"/>
                  <a:pt x="2" y="4"/>
                </a:cubicBezTo>
                <a:cubicBezTo>
                  <a:pt x="2" y="5"/>
                  <a:pt x="2" y="5"/>
                  <a:pt x="2" y="5"/>
                </a:cubicBezTo>
                <a:cubicBezTo>
                  <a:pt x="2" y="5"/>
                  <a:pt x="1" y="7"/>
                  <a:pt x="1" y="7"/>
                </a:cubicBezTo>
                <a:cubicBezTo>
                  <a:pt x="0" y="7"/>
                  <a:pt x="0" y="8"/>
                  <a:pt x="0" y="8"/>
                </a:cubicBezTo>
                <a:cubicBezTo>
                  <a:pt x="0" y="10"/>
                  <a:pt x="0" y="12"/>
                  <a:pt x="1" y="12"/>
                </a:cubicBezTo>
                <a:cubicBezTo>
                  <a:pt x="2" y="13"/>
                  <a:pt x="2" y="14"/>
                  <a:pt x="2" y="15"/>
                </a:cubicBezTo>
                <a:cubicBezTo>
                  <a:pt x="2" y="16"/>
                  <a:pt x="3" y="16"/>
                  <a:pt x="3" y="17"/>
                </a:cubicBezTo>
                <a:cubicBezTo>
                  <a:pt x="2" y="17"/>
                  <a:pt x="2" y="16"/>
                  <a:pt x="1" y="16"/>
                </a:cubicBezTo>
                <a:cubicBezTo>
                  <a:pt x="1" y="16"/>
                  <a:pt x="1" y="16"/>
                  <a:pt x="1" y="16"/>
                </a:cubicBezTo>
                <a:cubicBezTo>
                  <a:pt x="1" y="16"/>
                  <a:pt x="1" y="16"/>
                  <a:pt x="1" y="16"/>
                </a:cubicBezTo>
                <a:cubicBezTo>
                  <a:pt x="2" y="17"/>
                  <a:pt x="3" y="17"/>
                  <a:pt x="3" y="17"/>
                </a:cubicBezTo>
                <a:cubicBezTo>
                  <a:pt x="3" y="17"/>
                  <a:pt x="4" y="18"/>
                  <a:pt x="5" y="18"/>
                </a:cubicBezTo>
                <a:cubicBezTo>
                  <a:pt x="5" y="18"/>
                  <a:pt x="7" y="19"/>
                  <a:pt x="8" y="19"/>
                </a:cubicBezTo>
                <a:cubicBezTo>
                  <a:pt x="8" y="19"/>
                  <a:pt x="8" y="19"/>
                  <a:pt x="8" y="19"/>
                </a:cubicBezTo>
                <a:cubicBezTo>
                  <a:pt x="8" y="19"/>
                  <a:pt x="9" y="19"/>
                  <a:pt x="9" y="19"/>
                </a:cubicBezTo>
                <a:cubicBezTo>
                  <a:pt x="9" y="19"/>
                  <a:pt x="10" y="19"/>
                  <a:pt x="10" y="19"/>
                </a:cubicBezTo>
                <a:cubicBezTo>
                  <a:pt x="10" y="19"/>
                  <a:pt x="11" y="22"/>
                  <a:pt x="11" y="24"/>
                </a:cubicBezTo>
                <a:cubicBezTo>
                  <a:pt x="12" y="24"/>
                  <a:pt x="12" y="24"/>
                  <a:pt x="13" y="24"/>
                </a:cubicBezTo>
                <a:cubicBezTo>
                  <a:pt x="13" y="24"/>
                  <a:pt x="13" y="23"/>
                  <a:pt x="14" y="24"/>
                </a:cubicBezTo>
                <a:cubicBezTo>
                  <a:pt x="14" y="24"/>
                  <a:pt x="14" y="24"/>
                  <a:pt x="15" y="24"/>
                </a:cubicBezTo>
                <a:cubicBezTo>
                  <a:pt x="15" y="24"/>
                  <a:pt x="16" y="24"/>
                  <a:pt x="16" y="24"/>
                </a:cubicBezTo>
                <a:cubicBezTo>
                  <a:pt x="17" y="24"/>
                  <a:pt x="18" y="24"/>
                  <a:pt x="18" y="24"/>
                </a:cubicBezTo>
                <a:cubicBezTo>
                  <a:pt x="18" y="24"/>
                  <a:pt x="18" y="23"/>
                  <a:pt x="18" y="23"/>
                </a:cubicBezTo>
                <a:cubicBezTo>
                  <a:pt x="19" y="23"/>
                  <a:pt x="19" y="24"/>
                  <a:pt x="20" y="23"/>
                </a:cubicBezTo>
                <a:cubicBezTo>
                  <a:pt x="20" y="23"/>
                  <a:pt x="21" y="23"/>
                  <a:pt x="21" y="23"/>
                </a:cubicBezTo>
                <a:cubicBezTo>
                  <a:pt x="21" y="23"/>
                  <a:pt x="23" y="22"/>
                  <a:pt x="24" y="21"/>
                </a:cubicBezTo>
                <a:cubicBezTo>
                  <a:pt x="24" y="20"/>
                  <a:pt x="22" y="21"/>
                  <a:pt x="22"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394"/>
          <p:cNvSpPr>
            <a:spLocks/>
          </p:cNvSpPr>
          <p:nvPr/>
        </p:nvSpPr>
        <p:spPr bwMode="auto">
          <a:xfrm>
            <a:off x="2544726" y="3382620"/>
            <a:ext cx="32174" cy="85796"/>
          </a:xfrm>
          <a:custGeom>
            <a:avLst/>
            <a:gdLst>
              <a:gd name="T0" fmla="*/ 6 w 7"/>
              <a:gd name="T1" fmla="*/ 12 h 18"/>
              <a:gd name="T2" fmla="*/ 5 w 7"/>
              <a:gd name="T3" fmla="*/ 10 h 18"/>
              <a:gd name="T4" fmla="*/ 5 w 7"/>
              <a:gd name="T5" fmla="*/ 11 h 18"/>
              <a:gd name="T6" fmla="*/ 3 w 7"/>
              <a:gd name="T7" fmla="*/ 7 h 18"/>
              <a:gd name="T8" fmla="*/ 3 w 7"/>
              <a:gd name="T9" fmla="*/ 3 h 18"/>
              <a:gd name="T10" fmla="*/ 2 w 7"/>
              <a:gd name="T11" fmla="*/ 0 h 18"/>
              <a:gd name="T12" fmla="*/ 1 w 7"/>
              <a:gd name="T13" fmla="*/ 0 h 18"/>
              <a:gd name="T14" fmla="*/ 2 w 7"/>
              <a:gd name="T15" fmla="*/ 3 h 18"/>
              <a:gd name="T16" fmla="*/ 1 w 7"/>
              <a:gd name="T17" fmla="*/ 3 h 18"/>
              <a:gd name="T18" fmla="*/ 1 w 7"/>
              <a:gd name="T19" fmla="*/ 7 h 18"/>
              <a:gd name="T20" fmla="*/ 0 w 7"/>
              <a:gd name="T21" fmla="*/ 7 h 18"/>
              <a:gd name="T22" fmla="*/ 0 w 7"/>
              <a:gd name="T23" fmla="*/ 9 h 18"/>
              <a:gd name="T24" fmla="*/ 0 w 7"/>
              <a:gd name="T25" fmla="*/ 10 h 18"/>
              <a:gd name="T26" fmla="*/ 0 w 7"/>
              <a:gd name="T27" fmla="*/ 10 h 18"/>
              <a:gd name="T28" fmla="*/ 2 w 7"/>
              <a:gd name="T29" fmla="*/ 11 h 18"/>
              <a:gd name="T30" fmla="*/ 3 w 7"/>
              <a:gd name="T31" fmla="*/ 12 h 18"/>
              <a:gd name="T32" fmla="*/ 3 w 7"/>
              <a:gd name="T33" fmla="*/ 15 h 18"/>
              <a:gd name="T34" fmla="*/ 5 w 7"/>
              <a:gd name="T35" fmla="*/ 17 h 18"/>
              <a:gd name="T36" fmla="*/ 5 w 7"/>
              <a:gd name="T37" fmla="*/ 15 h 18"/>
              <a:gd name="T38" fmla="*/ 6 w 7"/>
              <a:gd name="T39" fmla="*/ 14 h 18"/>
              <a:gd name="T40" fmla="*/ 6 w 7"/>
              <a:gd name="T4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18">
                <a:moveTo>
                  <a:pt x="6" y="12"/>
                </a:moveTo>
                <a:cubicBezTo>
                  <a:pt x="6" y="11"/>
                  <a:pt x="6" y="11"/>
                  <a:pt x="5" y="10"/>
                </a:cubicBezTo>
                <a:cubicBezTo>
                  <a:pt x="5" y="10"/>
                  <a:pt x="5" y="11"/>
                  <a:pt x="5" y="11"/>
                </a:cubicBezTo>
                <a:cubicBezTo>
                  <a:pt x="4" y="11"/>
                  <a:pt x="3" y="9"/>
                  <a:pt x="3" y="7"/>
                </a:cubicBezTo>
                <a:cubicBezTo>
                  <a:pt x="2" y="6"/>
                  <a:pt x="4" y="5"/>
                  <a:pt x="3" y="3"/>
                </a:cubicBezTo>
                <a:cubicBezTo>
                  <a:pt x="2" y="2"/>
                  <a:pt x="2" y="1"/>
                  <a:pt x="2" y="0"/>
                </a:cubicBezTo>
                <a:cubicBezTo>
                  <a:pt x="2" y="0"/>
                  <a:pt x="1" y="0"/>
                  <a:pt x="1" y="0"/>
                </a:cubicBezTo>
                <a:cubicBezTo>
                  <a:pt x="1" y="1"/>
                  <a:pt x="2" y="2"/>
                  <a:pt x="2" y="3"/>
                </a:cubicBezTo>
                <a:cubicBezTo>
                  <a:pt x="2" y="3"/>
                  <a:pt x="1" y="2"/>
                  <a:pt x="1" y="3"/>
                </a:cubicBezTo>
                <a:cubicBezTo>
                  <a:pt x="1" y="4"/>
                  <a:pt x="1" y="6"/>
                  <a:pt x="1" y="7"/>
                </a:cubicBezTo>
                <a:cubicBezTo>
                  <a:pt x="1" y="7"/>
                  <a:pt x="0" y="7"/>
                  <a:pt x="0" y="7"/>
                </a:cubicBezTo>
                <a:cubicBezTo>
                  <a:pt x="0" y="8"/>
                  <a:pt x="0" y="9"/>
                  <a:pt x="0" y="9"/>
                </a:cubicBezTo>
                <a:cubicBezTo>
                  <a:pt x="0" y="9"/>
                  <a:pt x="0" y="10"/>
                  <a:pt x="0" y="10"/>
                </a:cubicBezTo>
                <a:cubicBezTo>
                  <a:pt x="0" y="10"/>
                  <a:pt x="0" y="10"/>
                  <a:pt x="0" y="10"/>
                </a:cubicBezTo>
                <a:cubicBezTo>
                  <a:pt x="0" y="10"/>
                  <a:pt x="1" y="11"/>
                  <a:pt x="2" y="11"/>
                </a:cubicBezTo>
                <a:cubicBezTo>
                  <a:pt x="2" y="11"/>
                  <a:pt x="3" y="11"/>
                  <a:pt x="3" y="12"/>
                </a:cubicBezTo>
                <a:cubicBezTo>
                  <a:pt x="4" y="13"/>
                  <a:pt x="3" y="14"/>
                  <a:pt x="3" y="15"/>
                </a:cubicBezTo>
                <a:cubicBezTo>
                  <a:pt x="3" y="15"/>
                  <a:pt x="5" y="18"/>
                  <a:pt x="5" y="17"/>
                </a:cubicBezTo>
                <a:cubicBezTo>
                  <a:pt x="5" y="17"/>
                  <a:pt x="5" y="16"/>
                  <a:pt x="5" y="15"/>
                </a:cubicBezTo>
                <a:cubicBezTo>
                  <a:pt x="6" y="15"/>
                  <a:pt x="7" y="15"/>
                  <a:pt x="6" y="14"/>
                </a:cubicBezTo>
                <a:cubicBezTo>
                  <a:pt x="6" y="12"/>
                  <a:pt x="7" y="12"/>
                  <a:pt x="6"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395"/>
          <p:cNvSpPr>
            <a:spLocks/>
          </p:cNvSpPr>
          <p:nvPr/>
        </p:nvSpPr>
        <p:spPr bwMode="auto">
          <a:xfrm>
            <a:off x="2920085" y="2810644"/>
            <a:ext cx="82221" cy="60772"/>
          </a:xfrm>
          <a:custGeom>
            <a:avLst/>
            <a:gdLst>
              <a:gd name="T0" fmla="*/ 14 w 17"/>
              <a:gd name="T1" fmla="*/ 10 h 12"/>
              <a:gd name="T2" fmla="*/ 15 w 17"/>
              <a:gd name="T3" fmla="*/ 10 h 12"/>
              <a:gd name="T4" fmla="*/ 16 w 17"/>
              <a:gd name="T5" fmla="*/ 11 h 12"/>
              <a:gd name="T6" fmla="*/ 17 w 17"/>
              <a:gd name="T7" fmla="*/ 11 h 12"/>
              <a:gd name="T8" fmla="*/ 17 w 17"/>
              <a:gd name="T9" fmla="*/ 8 h 12"/>
              <a:gd name="T10" fmla="*/ 15 w 17"/>
              <a:gd name="T11" fmla="*/ 6 h 12"/>
              <a:gd name="T12" fmla="*/ 14 w 17"/>
              <a:gd name="T13" fmla="*/ 4 h 12"/>
              <a:gd name="T14" fmla="*/ 11 w 17"/>
              <a:gd name="T15" fmla="*/ 5 h 12"/>
              <a:gd name="T16" fmla="*/ 9 w 17"/>
              <a:gd name="T17" fmla="*/ 4 h 12"/>
              <a:gd name="T18" fmla="*/ 7 w 17"/>
              <a:gd name="T19" fmla="*/ 4 h 12"/>
              <a:gd name="T20" fmla="*/ 4 w 17"/>
              <a:gd name="T21" fmla="*/ 4 h 12"/>
              <a:gd name="T22" fmla="*/ 6 w 17"/>
              <a:gd name="T23" fmla="*/ 3 h 12"/>
              <a:gd name="T24" fmla="*/ 7 w 17"/>
              <a:gd name="T25" fmla="*/ 3 h 12"/>
              <a:gd name="T26" fmla="*/ 7 w 17"/>
              <a:gd name="T27" fmla="*/ 1 h 12"/>
              <a:gd name="T28" fmla="*/ 6 w 17"/>
              <a:gd name="T29" fmla="*/ 1 h 12"/>
              <a:gd name="T30" fmla="*/ 4 w 17"/>
              <a:gd name="T31" fmla="*/ 2 h 12"/>
              <a:gd name="T32" fmla="*/ 3 w 17"/>
              <a:gd name="T33" fmla="*/ 3 h 12"/>
              <a:gd name="T34" fmla="*/ 2 w 17"/>
              <a:gd name="T35" fmla="*/ 4 h 12"/>
              <a:gd name="T36" fmla="*/ 0 w 17"/>
              <a:gd name="T37" fmla="*/ 5 h 12"/>
              <a:gd name="T38" fmla="*/ 2 w 17"/>
              <a:gd name="T39" fmla="*/ 6 h 12"/>
              <a:gd name="T40" fmla="*/ 2 w 17"/>
              <a:gd name="T41" fmla="*/ 8 h 12"/>
              <a:gd name="T42" fmla="*/ 1 w 17"/>
              <a:gd name="T43" fmla="*/ 11 h 12"/>
              <a:gd name="T44" fmla="*/ 2 w 17"/>
              <a:gd name="T45" fmla="*/ 11 h 12"/>
              <a:gd name="T46" fmla="*/ 4 w 17"/>
              <a:gd name="T47" fmla="*/ 10 h 12"/>
              <a:gd name="T48" fmla="*/ 6 w 17"/>
              <a:gd name="T49" fmla="*/ 9 h 12"/>
              <a:gd name="T50" fmla="*/ 8 w 17"/>
              <a:gd name="T51" fmla="*/ 7 h 12"/>
              <a:gd name="T52" fmla="*/ 9 w 17"/>
              <a:gd name="T53" fmla="*/ 9 h 12"/>
              <a:gd name="T54" fmla="*/ 9 w 17"/>
              <a:gd name="T55" fmla="*/ 12 h 12"/>
              <a:gd name="T56" fmla="*/ 10 w 17"/>
              <a:gd name="T57" fmla="*/ 12 h 12"/>
              <a:gd name="T58" fmla="*/ 12 w 17"/>
              <a:gd name="T59" fmla="*/ 11 h 12"/>
              <a:gd name="T60" fmla="*/ 14 w 17"/>
              <a:gd name="T6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12">
                <a:moveTo>
                  <a:pt x="14" y="10"/>
                </a:moveTo>
                <a:cubicBezTo>
                  <a:pt x="15" y="10"/>
                  <a:pt x="14" y="10"/>
                  <a:pt x="15" y="10"/>
                </a:cubicBezTo>
                <a:cubicBezTo>
                  <a:pt x="15" y="10"/>
                  <a:pt x="16" y="10"/>
                  <a:pt x="16" y="11"/>
                </a:cubicBezTo>
                <a:cubicBezTo>
                  <a:pt x="17" y="11"/>
                  <a:pt x="17" y="11"/>
                  <a:pt x="17" y="11"/>
                </a:cubicBezTo>
                <a:cubicBezTo>
                  <a:pt x="17" y="11"/>
                  <a:pt x="17" y="8"/>
                  <a:pt x="17" y="8"/>
                </a:cubicBezTo>
                <a:cubicBezTo>
                  <a:pt x="17" y="7"/>
                  <a:pt x="15" y="6"/>
                  <a:pt x="15" y="6"/>
                </a:cubicBezTo>
                <a:cubicBezTo>
                  <a:pt x="14" y="4"/>
                  <a:pt x="14" y="4"/>
                  <a:pt x="14" y="4"/>
                </a:cubicBezTo>
                <a:cubicBezTo>
                  <a:pt x="14" y="4"/>
                  <a:pt x="12" y="5"/>
                  <a:pt x="11" y="5"/>
                </a:cubicBezTo>
                <a:cubicBezTo>
                  <a:pt x="11" y="4"/>
                  <a:pt x="10" y="5"/>
                  <a:pt x="9" y="4"/>
                </a:cubicBezTo>
                <a:cubicBezTo>
                  <a:pt x="9" y="4"/>
                  <a:pt x="8" y="5"/>
                  <a:pt x="7" y="4"/>
                </a:cubicBezTo>
                <a:cubicBezTo>
                  <a:pt x="7" y="4"/>
                  <a:pt x="4" y="4"/>
                  <a:pt x="4" y="4"/>
                </a:cubicBezTo>
                <a:cubicBezTo>
                  <a:pt x="4" y="3"/>
                  <a:pt x="5" y="3"/>
                  <a:pt x="6" y="3"/>
                </a:cubicBezTo>
                <a:cubicBezTo>
                  <a:pt x="6" y="3"/>
                  <a:pt x="6" y="3"/>
                  <a:pt x="7" y="3"/>
                </a:cubicBezTo>
                <a:cubicBezTo>
                  <a:pt x="7" y="2"/>
                  <a:pt x="8" y="1"/>
                  <a:pt x="7" y="1"/>
                </a:cubicBezTo>
                <a:cubicBezTo>
                  <a:pt x="7" y="0"/>
                  <a:pt x="6" y="1"/>
                  <a:pt x="6" y="1"/>
                </a:cubicBezTo>
                <a:cubicBezTo>
                  <a:pt x="5" y="2"/>
                  <a:pt x="4" y="1"/>
                  <a:pt x="4" y="2"/>
                </a:cubicBezTo>
                <a:cubicBezTo>
                  <a:pt x="4" y="2"/>
                  <a:pt x="4" y="3"/>
                  <a:pt x="3" y="3"/>
                </a:cubicBezTo>
                <a:cubicBezTo>
                  <a:pt x="3" y="3"/>
                  <a:pt x="3" y="4"/>
                  <a:pt x="2" y="4"/>
                </a:cubicBezTo>
                <a:cubicBezTo>
                  <a:pt x="2" y="4"/>
                  <a:pt x="0" y="4"/>
                  <a:pt x="0" y="5"/>
                </a:cubicBezTo>
                <a:cubicBezTo>
                  <a:pt x="0" y="5"/>
                  <a:pt x="2" y="6"/>
                  <a:pt x="2" y="6"/>
                </a:cubicBezTo>
                <a:cubicBezTo>
                  <a:pt x="2" y="7"/>
                  <a:pt x="3" y="8"/>
                  <a:pt x="2" y="8"/>
                </a:cubicBezTo>
                <a:cubicBezTo>
                  <a:pt x="1" y="9"/>
                  <a:pt x="1" y="9"/>
                  <a:pt x="1" y="11"/>
                </a:cubicBezTo>
                <a:cubicBezTo>
                  <a:pt x="1" y="11"/>
                  <a:pt x="2" y="11"/>
                  <a:pt x="2" y="11"/>
                </a:cubicBezTo>
                <a:cubicBezTo>
                  <a:pt x="2" y="10"/>
                  <a:pt x="4" y="11"/>
                  <a:pt x="4" y="10"/>
                </a:cubicBezTo>
                <a:cubicBezTo>
                  <a:pt x="4" y="10"/>
                  <a:pt x="6" y="10"/>
                  <a:pt x="6" y="9"/>
                </a:cubicBezTo>
                <a:cubicBezTo>
                  <a:pt x="6" y="9"/>
                  <a:pt x="8" y="7"/>
                  <a:pt x="8" y="7"/>
                </a:cubicBezTo>
                <a:cubicBezTo>
                  <a:pt x="9" y="7"/>
                  <a:pt x="8" y="9"/>
                  <a:pt x="9" y="9"/>
                </a:cubicBezTo>
                <a:cubicBezTo>
                  <a:pt x="10" y="10"/>
                  <a:pt x="9" y="11"/>
                  <a:pt x="9" y="12"/>
                </a:cubicBezTo>
                <a:cubicBezTo>
                  <a:pt x="10" y="12"/>
                  <a:pt x="10" y="12"/>
                  <a:pt x="10" y="12"/>
                </a:cubicBezTo>
                <a:cubicBezTo>
                  <a:pt x="11" y="12"/>
                  <a:pt x="11" y="11"/>
                  <a:pt x="12" y="11"/>
                </a:cubicBezTo>
                <a:cubicBezTo>
                  <a:pt x="12" y="11"/>
                  <a:pt x="14" y="10"/>
                  <a:pt x="14"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396"/>
          <p:cNvSpPr>
            <a:spLocks/>
          </p:cNvSpPr>
          <p:nvPr/>
        </p:nvSpPr>
        <p:spPr bwMode="auto">
          <a:xfrm>
            <a:off x="1357877" y="3000111"/>
            <a:ext cx="7150" cy="17874"/>
          </a:xfrm>
          <a:custGeom>
            <a:avLst/>
            <a:gdLst>
              <a:gd name="T0" fmla="*/ 2 w 2"/>
              <a:gd name="T1" fmla="*/ 4 h 4"/>
              <a:gd name="T2" fmla="*/ 1 w 2"/>
              <a:gd name="T3" fmla="*/ 3 h 4"/>
              <a:gd name="T4" fmla="*/ 0 w 2"/>
              <a:gd name="T5" fmla="*/ 2 h 4"/>
              <a:gd name="T6" fmla="*/ 1 w 2"/>
              <a:gd name="T7" fmla="*/ 1 h 4"/>
              <a:gd name="T8" fmla="*/ 1 w 2"/>
              <a:gd name="T9" fmla="*/ 3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cubicBezTo>
                  <a:pt x="2" y="4"/>
                  <a:pt x="1" y="4"/>
                  <a:pt x="1" y="3"/>
                </a:cubicBezTo>
                <a:cubicBezTo>
                  <a:pt x="1" y="3"/>
                  <a:pt x="0" y="3"/>
                  <a:pt x="0" y="2"/>
                </a:cubicBezTo>
                <a:cubicBezTo>
                  <a:pt x="0" y="1"/>
                  <a:pt x="1" y="0"/>
                  <a:pt x="1" y="1"/>
                </a:cubicBezTo>
                <a:cubicBezTo>
                  <a:pt x="2" y="2"/>
                  <a:pt x="1" y="2"/>
                  <a:pt x="1" y="3"/>
                </a:cubicBezTo>
                <a:cubicBezTo>
                  <a:pt x="1" y="3"/>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397"/>
          <p:cNvSpPr>
            <a:spLocks/>
          </p:cNvSpPr>
          <p:nvPr/>
        </p:nvSpPr>
        <p:spPr bwMode="auto">
          <a:xfrm>
            <a:off x="1536619" y="3164554"/>
            <a:ext cx="7150" cy="10725"/>
          </a:xfrm>
          <a:custGeom>
            <a:avLst/>
            <a:gdLst>
              <a:gd name="T0" fmla="*/ 0 w 2"/>
              <a:gd name="T1" fmla="*/ 2 h 2"/>
              <a:gd name="T2" fmla="*/ 0 w 2"/>
              <a:gd name="T3" fmla="*/ 1 h 2"/>
              <a:gd name="T4" fmla="*/ 2 w 2"/>
              <a:gd name="T5" fmla="*/ 0 h 2"/>
              <a:gd name="T6" fmla="*/ 2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1"/>
                  <a:pt x="1" y="1"/>
                  <a:pt x="0" y="1"/>
                </a:cubicBezTo>
                <a:cubicBezTo>
                  <a:pt x="0" y="0"/>
                  <a:pt x="1" y="0"/>
                  <a:pt x="2" y="0"/>
                </a:cubicBezTo>
                <a:cubicBezTo>
                  <a:pt x="2" y="1"/>
                  <a:pt x="2" y="1"/>
                  <a:pt x="2" y="1"/>
                </a:cubicBezTo>
                <a:cubicBezTo>
                  <a:pt x="1" y="2"/>
                  <a:pt x="0" y="2"/>
                  <a:pt x="0"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398"/>
          <p:cNvSpPr>
            <a:spLocks/>
          </p:cNvSpPr>
          <p:nvPr/>
        </p:nvSpPr>
        <p:spPr bwMode="auto">
          <a:xfrm>
            <a:off x="2659122" y="2807070"/>
            <a:ext cx="32174" cy="35748"/>
          </a:xfrm>
          <a:custGeom>
            <a:avLst/>
            <a:gdLst>
              <a:gd name="T0" fmla="*/ 7 w 7"/>
              <a:gd name="T1" fmla="*/ 5 h 7"/>
              <a:gd name="T2" fmla="*/ 5 w 7"/>
              <a:gd name="T3" fmla="*/ 4 h 7"/>
              <a:gd name="T4" fmla="*/ 5 w 7"/>
              <a:gd name="T5" fmla="*/ 2 h 7"/>
              <a:gd name="T6" fmla="*/ 4 w 7"/>
              <a:gd name="T7" fmla="*/ 1 h 7"/>
              <a:gd name="T8" fmla="*/ 2 w 7"/>
              <a:gd name="T9" fmla="*/ 0 h 7"/>
              <a:gd name="T10" fmla="*/ 0 w 7"/>
              <a:gd name="T11" fmla="*/ 1 h 7"/>
              <a:gd name="T12" fmla="*/ 0 w 7"/>
              <a:gd name="T13" fmla="*/ 3 h 7"/>
              <a:gd name="T14" fmla="*/ 2 w 7"/>
              <a:gd name="T15" fmla="*/ 3 h 7"/>
              <a:gd name="T16" fmla="*/ 2 w 7"/>
              <a:gd name="T17" fmla="*/ 4 h 7"/>
              <a:gd name="T18" fmla="*/ 3 w 7"/>
              <a:gd name="T19" fmla="*/ 4 h 7"/>
              <a:gd name="T20" fmla="*/ 3 w 7"/>
              <a:gd name="T21" fmla="*/ 5 h 7"/>
              <a:gd name="T22" fmla="*/ 4 w 7"/>
              <a:gd name="T23" fmla="*/ 5 h 7"/>
              <a:gd name="T24" fmla="*/ 5 w 7"/>
              <a:gd name="T25" fmla="*/ 6 h 7"/>
              <a:gd name="T26" fmla="*/ 6 w 7"/>
              <a:gd name="T27" fmla="*/ 7 h 7"/>
              <a:gd name="T28" fmla="*/ 7 w 7"/>
              <a:gd name="T29" fmla="*/ 6 h 7"/>
              <a:gd name="T30" fmla="*/ 7 w 7"/>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7" y="5"/>
                </a:moveTo>
                <a:cubicBezTo>
                  <a:pt x="7" y="5"/>
                  <a:pt x="5" y="4"/>
                  <a:pt x="5" y="4"/>
                </a:cubicBezTo>
                <a:cubicBezTo>
                  <a:pt x="5" y="3"/>
                  <a:pt x="4" y="2"/>
                  <a:pt x="5" y="2"/>
                </a:cubicBezTo>
                <a:cubicBezTo>
                  <a:pt x="5" y="2"/>
                  <a:pt x="4" y="1"/>
                  <a:pt x="4" y="1"/>
                </a:cubicBezTo>
                <a:cubicBezTo>
                  <a:pt x="3" y="0"/>
                  <a:pt x="3" y="0"/>
                  <a:pt x="2" y="0"/>
                </a:cubicBezTo>
                <a:cubicBezTo>
                  <a:pt x="1" y="0"/>
                  <a:pt x="1" y="1"/>
                  <a:pt x="0" y="1"/>
                </a:cubicBezTo>
                <a:cubicBezTo>
                  <a:pt x="0" y="2"/>
                  <a:pt x="0" y="2"/>
                  <a:pt x="0" y="3"/>
                </a:cubicBezTo>
                <a:cubicBezTo>
                  <a:pt x="1" y="4"/>
                  <a:pt x="2" y="3"/>
                  <a:pt x="2" y="3"/>
                </a:cubicBezTo>
                <a:cubicBezTo>
                  <a:pt x="2" y="3"/>
                  <a:pt x="2" y="4"/>
                  <a:pt x="2" y="4"/>
                </a:cubicBezTo>
                <a:cubicBezTo>
                  <a:pt x="2" y="4"/>
                  <a:pt x="2" y="4"/>
                  <a:pt x="3" y="4"/>
                </a:cubicBezTo>
                <a:cubicBezTo>
                  <a:pt x="3" y="4"/>
                  <a:pt x="3" y="4"/>
                  <a:pt x="3" y="5"/>
                </a:cubicBezTo>
                <a:cubicBezTo>
                  <a:pt x="4" y="5"/>
                  <a:pt x="4" y="5"/>
                  <a:pt x="4" y="5"/>
                </a:cubicBezTo>
                <a:cubicBezTo>
                  <a:pt x="5" y="5"/>
                  <a:pt x="5" y="5"/>
                  <a:pt x="5" y="6"/>
                </a:cubicBezTo>
                <a:cubicBezTo>
                  <a:pt x="6" y="6"/>
                  <a:pt x="6" y="6"/>
                  <a:pt x="6" y="7"/>
                </a:cubicBezTo>
                <a:cubicBezTo>
                  <a:pt x="6" y="7"/>
                  <a:pt x="7" y="7"/>
                  <a:pt x="7" y="6"/>
                </a:cubicBezTo>
                <a:cubicBezTo>
                  <a:pt x="7" y="6"/>
                  <a:pt x="7" y="6"/>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399"/>
          <p:cNvSpPr>
            <a:spLocks noEditPoints="1"/>
          </p:cNvSpPr>
          <p:nvPr/>
        </p:nvSpPr>
        <p:spPr bwMode="auto">
          <a:xfrm>
            <a:off x="2673421" y="2803495"/>
            <a:ext cx="53623" cy="42898"/>
          </a:xfrm>
          <a:custGeom>
            <a:avLst/>
            <a:gdLst>
              <a:gd name="T0" fmla="*/ 11 w 11"/>
              <a:gd name="T1" fmla="*/ 3 h 9"/>
              <a:gd name="T2" fmla="*/ 9 w 11"/>
              <a:gd name="T3" fmla="*/ 0 h 9"/>
              <a:gd name="T4" fmla="*/ 7 w 11"/>
              <a:gd name="T5" fmla="*/ 1 h 9"/>
              <a:gd name="T6" fmla="*/ 6 w 11"/>
              <a:gd name="T7" fmla="*/ 1 h 9"/>
              <a:gd name="T8" fmla="*/ 4 w 11"/>
              <a:gd name="T9" fmla="*/ 0 h 9"/>
              <a:gd name="T10" fmla="*/ 4 w 11"/>
              <a:gd name="T11" fmla="*/ 0 h 9"/>
              <a:gd name="T12" fmla="*/ 3 w 11"/>
              <a:gd name="T13" fmla="*/ 1 h 9"/>
              <a:gd name="T14" fmla="*/ 4 w 11"/>
              <a:gd name="T15" fmla="*/ 2 h 9"/>
              <a:gd name="T16" fmla="*/ 2 w 11"/>
              <a:gd name="T17" fmla="*/ 2 h 9"/>
              <a:gd name="T18" fmla="*/ 1 w 11"/>
              <a:gd name="T19" fmla="*/ 1 h 9"/>
              <a:gd name="T20" fmla="*/ 2 w 11"/>
              <a:gd name="T21" fmla="*/ 3 h 9"/>
              <a:gd name="T22" fmla="*/ 2 w 11"/>
              <a:gd name="T23" fmla="*/ 5 h 9"/>
              <a:gd name="T24" fmla="*/ 4 w 11"/>
              <a:gd name="T25" fmla="*/ 6 h 9"/>
              <a:gd name="T26" fmla="*/ 4 w 11"/>
              <a:gd name="T27" fmla="*/ 7 h 9"/>
              <a:gd name="T28" fmla="*/ 7 w 11"/>
              <a:gd name="T29" fmla="*/ 6 h 9"/>
              <a:gd name="T30" fmla="*/ 7 w 11"/>
              <a:gd name="T31" fmla="*/ 8 h 9"/>
              <a:gd name="T32" fmla="*/ 9 w 11"/>
              <a:gd name="T33" fmla="*/ 9 h 9"/>
              <a:gd name="T34" fmla="*/ 9 w 11"/>
              <a:gd name="T35" fmla="*/ 8 h 9"/>
              <a:gd name="T36" fmla="*/ 11 w 11"/>
              <a:gd name="T37" fmla="*/ 3 h 9"/>
              <a:gd name="T38" fmla="*/ 1 w 11"/>
              <a:gd name="T39" fmla="*/ 6 h 9"/>
              <a:gd name="T40" fmla="*/ 0 w 11"/>
              <a:gd name="T41" fmla="*/ 6 h 9"/>
              <a:gd name="T42" fmla="*/ 1 w 11"/>
              <a:gd name="T43" fmla="*/ 7 h 9"/>
              <a:gd name="T44" fmla="*/ 2 w 11"/>
              <a:gd name="T45" fmla="*/ 8 h 9"/>
              <a:gd name="T46" fmla="*/ 3 w 11"/>
              <a:gd name="T47" fmla="*/ 8 h 9"/>
              <a:gd name="T48" fmla="*/ 2 w 11"/>
              <a:gd name="T49" fmla="*/ 7 h 9"/>
              <a:gd name="T50" fmla="*/ 1 w 11"/>
              <a:gd name="T5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9">
                <a:moveTo>
                  <a:pt x="11" y="3"/>
                </a:moveTo>
                <a:cubicBezTo>
                  <a:pt x="10" y="2"/>
                  <a:pt x="9" y="1"/>
                  <a:pt x="9" y="0"/>
                </a:cubicBezTo>
                <a:cubicBezTo>
                  <a:pt x="8" y="1"/>
                  <a:pt x="7" y="1"/>
                  <a:pt x="7" y="1"/>
                </a:cubicBezTo>
                <a:cubicBezTo>
                  <a:pt x="7" y="2"/>
                  <a:pt x="6" y="1"/>
                  <a:pt x="6" y="1"/>
                </a:cubicBezTo>
                <a:cubicBezTo>
                  <a:pt x="6" y="1"/>
                  <a:pt x="5" y="0"/>
                  <a:pt x="4" y="0"/>
                </a:cubicBezTo>
                <a:cubicBezTo>
                  <a:pt x="4" y="0"/>
                  <a:pt x="4" y="0"/>
                  <a:pt x="4" y="0"/>
                </a:cubicBezTo>
                <a:cubicBezTo>
                  <a:pt x="4" y="0"/>
                  <a:pt x="3" y="1"/>
                  <a:pt x="3" y="1"/>
                </a:cubicBezTo>
                <a:cubicBezTo>
                  <a:pt x="4" y="1"/>
                  <a:pt x="4" y="1"/>
                  <a:pt x="4" y="2"/>
                </a:cubicBezTo>
                <a:cubicBezTo>
                  <a:pt x="4" y="2"/>
                  <a:pt x="3" y="2"/>
                  <a:pt x="2" y="2"/>
                </a:cubicBezTo>
                <a:cubicBezTo>
                  <a:pt x="2" y="1"/>
                  <a:pt x="1" y="1"/>
                  <a:pt x="1" y="1"/>
                </a:cubicBezTo>
                <a:cubicBezTo>
                  <a:pt x="1" y="2"/>
                  <a:pt x="2" y="2"/>
                  <a:pt x="2" y="3"/>
                </a:cubicBezTo>
                <a:cubicBezTo>
                  <a:pt x="1" y="3"/>
                  <a:pt x="2" y="4"/>
                  <a:pt x="2" y="5"/>
                </a:cubicBezTo>
                <a:cubicBezTo>
                  <a:pt x="2" y="5"/>
                  <a:pt x="4" y="6"/>
                  <a:pt x="4" y="6"/>
                </a:cubicBezTo>
                <a:cubicBezTo>
                  <a:pt x="4" y="7"/>
                  <a:pt x="4" y="7"/>
                  <a:pt x="4" y="7"/>
                </a:cubicBezTo>
                <a:cubicBezTo>
                  <a:pt x="5" y="7"/>
                  <a:pt x="6" y="6"/>
                  <a:pt x="7" y="6"/>
                </a:cubicBezTo>
                <a:cubicBezTo>
                  <a:pt x="8" y="5"/>
                  <a:pt x="7" y="7"/>
                  <a:pt x="7" y="8"/>
                </a:cubicBezTo>
                <a:cubicBezTo>
                  <a:pt x="7" y="8"/>
                  <a:pt x="8" y="9"/>
                  <a:pt x="9" y="9"/>
                </a:cubicBezTo>
                <a:cubicBezTo>
                  <a:pt x="9" y="8"/>
                  <a:pt x="9" y="8"/>
                  <a:pt x="9" y="8"/>
                </a:cubicBezTo>
                <a:cubicBezTo>
                  <a:pt x="10" y="6"/>
                  <a:pt x="11" y="4"/>
                  <a:pt x="11" y="3"/>
                </a:cubicBezTo>
                <a:moveTo>
                  <a:pt x="1" y="6"/>
                </a:moveTo>
                <a:cubicBezTo>
                  <a:pt x="1" y="6"/>
                  <a:pt x="1" y="6"/>
                  <a:pt x="0" y="6"/>
                </a:cubicBezTo>
                <a:cubicBezTo>
                  <a:pt x="0" y="6"/>
                  <a:pt x="0" y="7"/>
                  <a:pt x="1" y="7"/>
                </a:cubicBezTo>
                <a:cubicBezTo>
                  <a:pt x="2" y="7"/>
                  <a:pt x="0" y="7"/>
                  <a:pt x="2" y="8"/>
                </a:cubicBezTo>
                <a:cubicBezTo>
                  <a:pt x="2" y="8"/>
                  <a:pt x="3" y="8"/>
                  <a:pt x="3" y="8"/>
                </a:cubicBezTo>
                <a:cubicBezTo>
                  <a:pt x="3" y="7"/>
                  <a:pt x="3" y="7"/>
                  <a:pt x="2" y="7"/>
                </a:cubicBezTo>
                <a:cubicBezTo>
                  <a:pt x="2" y="6"/>
                  <a:pt x="2" y="6"/>
                  <a:pt x="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400"/>
          <p:cNvSpPr>
            <a:spLocks/>
          </p:cNvSpPr>
          <p:nvPr/>
        </p:nvSpPr>
        <p:spPr bwMode="auto">
          <a:xfrm>
            <a:off x="2841439" y="2846393"/>
            <a:ext cx="153718" cy="110820"/>
          </a:xfrm>
          <a:custGeom>
            <a:avLst/>
            <a:gdLst>
              <a:gd name="T0" fmla="*/ 31 w 32"/>
              <a:gd name="T1" fmla="*/ 3 h 23"/>
              <a:gd name="T2" fmla="*/ 30 w 32"/>
              <a:gd name="T3" fmla="*/ 3 h 23"/>
              <a:gd name="T4" fmla="*/ 28 w 32"/>
              <a:gd name="T5" fmla="*/ 4 h 23"/>
              <a:gd name="T6" fmla="*/ 26 w 32"/>
              <a:gd name="T7" fmla="*/ 5 h 23"/>
              <a:gd name="T8" fmla="*/ 25 w 32"/>
              <a:gd name="T9" fmla="*/ 5 h 23"/>
              <a:gd name="T10" fmla="*/ 25 w 32"/>
              <a:gd name="T11" fmla="*/ 2 h 23"/>
              <a:gd name="T12" fmla="*/ 24 w 32"/>
              <a:gd name="T13" fmla="*/ 0 h 23"/>
              <a:gd name="T14" fmla="*/ 22 w 32"/>
              <a:gd name="T15" fmla="*/ 2 h 23"/>
              <a:gd name="T16" fmla="*/ 20 w 32"/>
              <a:gd name="T17" fmla="*/ 3 h 23"/>
              <a:gd name="T18" fmla="*/ 18 w 32"/>
              <a:gd name="T19" fmla="*/ 4 h 23"/>
              <a:gd name="T20" fmla="*/ 16 w 32"/>
              <a:gd name="T21" fmla="*/ 3 h 23"/>
              <a:gd name="T22" fmla="*/ 14 w 32"/>
              <a:gd name="T23" fmla="*/ 3 h 23"/>
              <a:gd name="T24" fmla="*/ 12 w 32"/>
              <a:gd name="T25" fmla="*/ 2 h 23"/>
              <a:gd name="T26" fmla="*/ 11 w 32"/>
              <a:gd name="T27" fmla="*/ 3 h 23"/>
              <a:gd name="T28" fmla="*/ 9 w 32"/>
              <a:gd name="T29" fmla="*/ 6 h 23"/>
              <a:gd name="T30" fmla="*/ 6 w 32"/>
              <a:gd name="T31" fmla="*/ 7 h 23"/>
              <a:gd name="T32" fmla="*/ 4 w 32"/>
              <a:gd name="T33" fmla="*/ 8 h 23"/>
              <a:gd name="T34" fmla="*/ 3 w 32"/>
              <a:gd name="T35" fmla="*/ 8 h 23"/>
              <a:gd name="T36" fmla="*/ 2 w 32"/>
              <a:gd name="T37" fmla="*/ 9 h 23"/>
              <a:gd name="T38" fmla="*/ 1 w 32"/>
              <a:gd name="T39" fmla="*/ 10 h 23"/>
              <a:gd name="T40" fmla="*/ 1 w 32"/>
              <a:gd name="T41" fmla="*/ 12 h 23"/>
              <a:gd name="T42" fmla="*/ 1 w 32"/>
              <a:gd name="T43" fmla="*/ 15 h 23"/>
              <a:gd name="T44" fmla="*/ 1 w 32"/>
              <a:gd name="T45" fmla="*/ 17 h 23"/>
              <a:gd name="T46" fmla="*/ 3 w 32"/>
              <a:gd name="T47" fmla="*/ 18 h 23"/>
              <a:gd name="T48" fmla="*/ 1 w 32"/>
              <a:gd name="T49" fmla="*/ 22 h 23"/>
              <a:gd name="T50" fmla="*/ 1 w 32"/>
              <a:gd name="T51" fmla="*/ 22 h 23"/>
              <a:gd name="T52" fmla="*/ 5 w 32"/>
              <a:gd name="T53" fmla="*/ 23 h 23"/>
              <a:gd name="T54" fmla="*/ 14 w 32"/>
              <a:gd name="T55" fmla="*/ 22 h 23"/>
              <a:gd name="T56" fmla="*/ 14 w 32"/>
              <a:gd name="T57" fmla="*/ 19 h 23"/>
              <a:gd name="T58" fmla="*/ 15 w 32"/>
              <a:gd name="T59" fmla="*/ 18 h 23"/>
              <a:gd name="T60" fmla="*/ 17 w 32"/>
              <a:gd name="T61" fmla="*/ 18 h 23"/>
              <a:gd name="T62" fmla="*/ 19 w 32"/>
              <a:gd name="T63" fmla="*/ 17 h 23"/>
              <a:gd name="T64" fmla="*/ 20 w 32"/>
              <a:gd name="T65" fmla="*/ 16 h 23"/>
              <a:gd name="T66" fmla="*/ 21 w 32"/>
              <a:gd name="T67" fmla="*/ 14 h 23"/>
              <a:gd name="T68" fmla="*/ 22 w 32"/>
              <a:gd name="T69" fmla="*/ 13 h 23"/>
              <a:gd name="T70" fmla="*/ 22 w 32"/>
              <a:gd name="T71" fmla="*/ 11 h 23"/>
              <a:gd name="T72" fmla="*/ 24 w 32"/>
              <a:gd name="T73" fmla="*/ 11 h 23"/>
              <a:gd name="T74" fmla="*/ 24 w 32"/>
              <a:gd name="T75" fmla="*/ 10 h 23"/>
              <a:gd name="T76" fmla="*/ 25 w 32"/>
              <a:gd name="T77" fmla="*/ 8 h 23"/>
              <a:gd name="T78" fmla="*/ 25 w 32"/>
              <a:gd name="T79" fmla="*/ 7 h 23"/>
              <a:gd name="T80" fmla="*/ 25 w 32"/>
              <a:gd name="T81" fmla="*/ 6 h 23"/>
              <a:gd name="T82" fmla="*/ 26 w 32"/>
              <a:gd name="T83" fmla="*/ 6 h 23"/>
              <a:gd name="T84" fmla="*/ 27 w 32"/>
              <a:gd name="T85" fmla="*/ 5 h 23"/>
              <a:gd name="T86" fmla="*/ 30 w 32"/>
              <a:gd name="T87" fmla="*/ 4 h 23"/>
              <a:gd name="T88" fmla="*/ 32 w 32"/>
              <a:gd name="T89" fmla="*/ 4 h 23"/>
              <a:gd name="T90" fmla="*/ 31 w 32"/>
              <a:gd name="T91"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23">
                <a:moveTo>
                  <a:pt x="31" y="3"/>
                </a:moveTo>
                <a:cubicBezTo>
                  <a:pt x="30" y="3"/>
                  <a:pt x="31" y="3"/>
                  <a:pt x="30" y="3"/>
                </a:cubicBezTo>
                <a:cubicBezTo>
                  <a:pt x="30" y="3"/>
                  <a:pt x="28" y="4"/>
                  <a:pt x="28" y="4"/>
                </a:cubicBezTo>
                <a:cubicBezTo>
                  <a:pt x="27" y="4"/>
                  <a:pt x="27" y="5"/>
                  <a:pt x="26" y="5"/>
                </a:cubicBezTo>
                <a:cubicBezTo>
                  <a:pt x="26" y="5"/>
                  <a:pt x="26" y="5"/>
                  <a:pt x="25" y="5"/>
                </a:cubicBezTo>
                <a:cubicBezTo>
                  <a:pt x="25" y="4"/>
                  <a:pt x="26" y="3"/>
                  <a:pt x="25" y="2"/>
                </a:cubicBezTo>
                <a:cubicBezTo>
                  <a:pt x="24" y="2"/>
                  <a:pt x="25" y="0"/>
                  <a:pt x="24" y="0"/>
                </a:cubicBezTo>
                <a:cubicBezTo>
                  <a:pt x="24" y="0"/>
                  <a:pt x="22" y="2"/>
                  <a:pt x="22" y="2"/>
                </a:cubicBezTo>
                <a:cubicBezTo>
                  <a:pt x="22" y="3"/>
                  <a:pt x="20" y="3"/>
                  <a:pt x="20" y="3"/>
                </a:cubicBezTo>
                <a:cubicBezTo>
                  <a:pt x="20" y="4"/>
                  <a:pt x="18" y="3"/>
                  <a:pt x="18" y="4"/>
                </a:cubicBezTo>
                <a:cubicBezTo>
                  <a:pt x="18" y="5"/>
                  <a:pt x="17" y="3"/>
                  <a:pt x="16" y="3"/>
                </a:cubicBezTo>
                <a:cubicBezTo>
                  <a:pt x="16" y="3"/>
                  <a:pt x="15" y="2"/>
                  <a:pt x="14" y="3"/>
                </a:cubicBezTo>
                <a:cubicBezTo>
                  <a:pt x="14" y="3"/>
                  <a:pt x="13" y="2"/>
                  <a:pt x="12" y="2"/>
                </a:cubicBezTo>
                <a:cubicBezTo>
                  <a:pt x="12" y="2"/>
                  <a:pt x="11" y="4"/>
                  <a:pt x="11" y="3"/>
                </a:cubicBezTo>
                <a:cubicBezTo>
                  <a:pt x="10" y="3"/>
                  <a:pt x="10" y="5"/>
                  <a:pt x="9" y="6"/>
                </a:cubicBezTo>
                <a:cubicBezTo>
                  <a:pt x="9" y="6"/>
                  <a:pt x="6" y="6"/>
                  <a:pt x="6" y="7"/>
                </a:cubicBezTo>
                <a:cubicBezTo>
                  <a:pt x="6" y="8"/>
                  <a:pt x="5" y="9"/>
                  <a:pt x="4" y="8"/>
                </a:cubicBezTo>
                <a:cubicBezTo>
                  <a:pt x="4" y="7"/>
                  <a:pt x="3" y="8"/>
                  <a:pt x="3" y="8"/>
                </a:cubicBezTo>
                <a:cubicBezTo>
                  <a:pt x="3" y="7"/>
                  <a:pt x="2" y="8"/>
                  <a:pt x="2" y="9"/>
                </a:cubicBezTo>
                <a:cubicBezTo>
                  <a:pt x="2" y="10"/>
                  <a:pt x="1" y="10"/>
                  <a:pt x="1" y="10"/>
                </a:cubicBezTo>
                <a:cubicBezTo>
                  <a:pt x="1" y="11"/>
                  <a:pt x="0" y="12"/>
                  <a:pt x="1" y="12"/>
                </a:cubicBezTo>
                <a:cubicBezTo>
                  <a:pt x="1" y="13"/>
                  <a:pt x="0" y="14"/>
                  <a:pt x="1" y="15"/>
                </a:cubicBezTo>
                <a:cubicBezTo>
                  <a:pt x="1" y="16"/>
                  <a:pt x="1" y="17"/>
                  <a:pt x="1" y="17"/>
                </a:cubicBezTo>
                <a:cubicBezTo>
                  <a:pt x="1" y="18"/>
                  <a:pt x="3" y="17"/>
                  <a:pt x="3" y="18"/>
                </a:cubicBezTo>
                <a:cubicBezTo>
                  <a:pt x="4" y="19"/>
                  <a:pt x="1" y="21"/>
                  <a:pt x="1" y="22"/>
                </a:cubicBezTo>
                <a:cubicBezTo>
                  <a:pt x="1" y="22"/>
                  <a:pt x="1" y="22"/>
                  <a:pt x="1" y="22"/>
                </a:cubicBezTo>
                <a:cubicBezTo>
                  <a:pt x="2" y="22"/>
                  <a:pt x="4" y="22"/>
                  <a:pt x="5" y="23"/>
                </a:cubicBezTo>
                <a:cubicBezTo>
                  <a:pt x="6" y="23"/>
                  <a:pt x="14" y="22"/>
                  <a:pt x="14" y="22"/>
                </a:cubicBezTo>
                <a:cubicBezTo>
                  <a:pt x="14" y="21"/>
                  <a:pt x="13" y="20"/>
                  <a:pt x="14" y="19"/>
                </a:cubicBezTo>
                <a:cubicBezTo>
                  <a:pt x="14" y="19"/>
                  <a:pt x="14" y="18"/>
                  <a:pt x="15" y="18"/>
                </a:cubicBezTo>
                <a:cubicBezTo>
                  <a:pt x="16" y="18"/>
                  <a:pt x="17" y="18"/>
                  <a:pt x="17" y="18"/>
                </a:cubicBezTo>
                <a:cubicBezTo>
                  <a:pt x="17" y="17"/>
                  <a:pt x="19" y="17"/>
                  <a:pt x="19" y="17"/>
                </a:cubicBezTo>
                <a:cubicBezTo>
                  <a:pt x="19" y="18"/>
                  <a:pt x="20" y="17"/>
                  <a:pt x="20" y="16"/>
                </a:cubicBezTo>
                <a:cubicBezTo>
                  <a:pt x="20" y="15"/>
                  <a:pt x="20" y="14"/>
                  <a:pt x="21" y="14"/>
                </a:cubicBezTo>
                <a:cubicBezTo>
                  <a:pt x="22" y="14"/>
                  <a:pt x="22" y="13"/>
                  <a:pt x="22" y="13"/>
                </a:cubicBezTo>
                <a:cubicBezTo>
                  <a:pt x="22" y="12"/>
                  <a:pt x="21" y="12"/>
                  <a:pt x="22" y="11"/>
                </a:cubicBezTo>
                <a:cubicBezTo>
                  <a:pt x="22" y="11"/>
                  <a:pt x="24" y="12"/>
                  <a:pt x="24" y="11"/>
                </a:cubicBezTo>
                <a:cubicBezTo>
                  <a:pt x="24" y="11"/>
                  <a:pt x="24" y="10"/>
                  <a:pt x="24" y="10"/>
                </a:cubicBezTo>
                <a:cubicBezTo>
                  <a:pt x="25" y="9"/>
                  <a:pt x="25" y="9"/>
                  <a:pt x="25" y="8"/>
                </a:cubicBezTo>
                <a:cubicBezTo>
                  <a:pt x="25" y="8"/>
                  <a:pt x="25" y="7"/>
                  <a:pt x="25" y="7"/>
                </a:cubicBezTo>
                <a:cubicBezTo>
                  <a:pt x="25" y="6"/>
                  <a:pt x="25" y="6"/>
                  <a:pt x="25" y="6"/>
                </a:cubicBezTo>
                <a:cubicBezTo>
                  <a:pt x="25" y="6"/>
                  <a:pt x="26" y="6"/>
                  <a:pt x="26" y="6"/>
                </a:cubicBezTo>
                <a:cubicBezTo>
                  <a:pt x="26" y="5"/>
                  <a:pt x="27" y="5"/>
                  <a:pt x="27" y="5"/>
                </a:cubicBezTo>
                <a:cubicBezTo>
                  <a:pt x="28" y="5"/>
                  <a:pt x="29" y="4"/>
                  <a:pt x="30" y="4"/>
                </a:cubicBezTo>
                <a:cubicBezTo>
                  <a:pt x="30" y="4"/>
                  <a:pt x="31" y="4"/>
                  <a:pt x="32" y="4"/>
                </a:cubicBezTo>
                <a:cubicBezTo>
                  <a:pt x="32" y="3"/>
                  <a:pt x="31" y="3"/>
                  <a:pt x="3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401"/>
          <p:cNvSpPr>
            <a:spLocks/>
          </p:cNvSpPr>
          <p:nvPr/>
        </p:nvSpPr>
        <p:spPr bwMode="auto">
          <a:xfrm>
            <a:off x="2848589" y="2864267"/>
            <a:ext cx="178742" cy="160868"/>
          </a:xfrm>
          <a:custGeom>
            <a:avLst/>
            <a:gdLst>
              <a:gd name="T0" fmla="*/ 34 w 37"/>
              <a:gd name="T1" fmla="*/ 1 h 33"/>
              <a:gd name="T2" fmla="*/ 31 w 37"/>
              <a:gd name="T3" fmla="*/ 0 h 33"/>
              <a:gd name="T4" fmla="*/ 29 w 37"/>
              <a:gd name="T5" fmla="*/ 0 h 33"/>
              <a:gd name="T6" fmla="*/ 25 w 37"/>
              <a:gd name="T7" fmla="*/ 2 h 33"/>
              <a:gd name="T8" fmla="*/ 24 w 37"/>
              <a:gd name="T9" fmla="*/ 3 h 33"/>
              <a:gd name="T10" fmla="*/ 23 w 37"/>
              <a:gd name="T11" fmla="*/ 6 h 33"/>
              <a:gd name="T12" fmla="*/ 21 w 37"/>
              <a:gd name="T13" fmla="*/ 7 h 33"/>
              <a:gd name="T14" fmla="*/ 20 w 37"/>
              <a:gd name="T15" fmla="*/ 10 h 33"/>
              <a:gd name="T16" fmla="*/ 18 w 37"/>
              <a:gd name="T17" fmla="*/ 13 h 33"/>
              <a:gd name="T18" fmla="*/ 14 w 37"/>
              <a:gd name="T19" fmla="*/ 14 h 33"/>
              <a:gd name="T20" fmla="*/ 13 w 37"/>
              <a:gd name="T21" fmla="*/ 18 h 33"/>
              <a:gd name="T22" fmla="*/ 0 w 37"/>
              <a:gd name="T23" fmla="*/ 18 h 33"/>
              <a:gd name="T24" fmla="*/ 4 w 37"/>
              <a:gd name="T25" fmla="*/ 21 h 33"/>
              <a:gd name="T26" fmla="*/ 5 w 37"/>
              <a:gd name="T27" fmla="*/ 25 h 33"/>
              <a:gd name="T28" fmla="*/ 2 w 37"/>
              <a:gd name="T29" fmla="*/ 28 h 33"/>
              <a:gd name="T30" fmla="*/ 6 w 37"/>
              <a:gd name="T31" fmla="*/ 29 h 33"/>
              <a:gd name="T32" fmla="*/ 11 w 37"/>
              <a:gd name="T33" fmla="*/ 28 h 33"/>
              <a:gd name="T34" fmla="*/ 14 w 37"/>
              <a:gd name="T35" fmla="*/ 30 h 33"/>
              <a:gd name="T36" fmla="*/ 16 w 37"/>
              <a:gd name="T37" fmla="*/ 32 h 33"/>
              <a:gd name="T38" fmla="*/ 17 w 37"/>
              <a:gd name="T39" fmla="*/ 32 h 33"/>
              <a:gd name="T40" fmla="*/ 21 w 37"/>
              <a:gd name="T41" fmla="*/ 31 h 33"/>
              <a:gd name="T42" fmla="*/ 22 w 37"/>
              <a:gd name="T43" fmla="*/ 29 h 33"/>
              <a:gd name="T44" fmla="*/ 20 w 37"/>
              <a:gd name="T45" fmla="*/ 25 h 33"/>
              <a:gd name="T46" fmla="*/ 23 w 37"/>
              <a:gd name="T47" fmla="*/ 23 h 33"/>
              <a:gd name="T48" fmla="*/ 26 w 37"/>
              <a:gd name="T49" fmla="*/ 21 h 33"/>
              <a:gd name="T50" fmla="*/ 28 w 37"/>
              <a:gd name="T51" fmla="*/ 18 h 33"/>
              <a:gd name="T52" fmla="*/ 31 w 37"/>
              <a:gd name="T53" fmla="*/ 15 h 33"/>
              <a:gd name="T54" fmla="*/ 32 w 37"/>
              <a:gd name="T55" fmla="*/ 12 h 33"/>
              <a:gd name="T56" fmla="*/ 30 w 37"/>
              <a:gd name="T57" fmla="*/ 9 h 33"/>
              <a:gd name="T58" fmla="*/ 31 w 37"/>
              <a:gd name="T59" fmla="*/ 6 h 33"/>
              <a:gd name="T60" fmla="*/ 36 w 37"/>
              <a:gd name="T61" fmla="*/ 5 h 33"/>
              <a:gd name="T62" fmla="*/ 35 w 37"/>
              <a:gd name="T63"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3">
                <a:moveTo>
                  <a:pt x="35" y="3"/>
                </a:moveTo>
                <a:cubicBezTo>
                  <a:pt x="34" y="3"/>
                  <a:pt x="34" y="2"/>
                  <a:pt x="34" y="1"/>
                </a:cubicBezTo>
                <a:cubicBezTo>
                  <a:pt x="34" y="1"/>
                  <a:pt x="33" y="0"/>
                  <a:pt x="32" y="0"/>
                </a:cubicBezTo>
                <a:cubicBezTo>
                  <a:pt x="32" y="0"/>
                  <a:pt x="32" y="0"/>
                  <a:pt x="31" y="0"/>
                </a:cubicBezTo>
                <a:cubicBezTo>
                  <a:pt x="31" y="0"/>
                  <a:pt x="31" y="0"/>
                  <a:pt x="31" y="0"/>
                </a:cubicBezTo>
                <a:cubicBezTo>
                  <a:pt x="30" y="0"/>
                  <a:pt x="29" y="0"/>
                  <a:pt x="29" y="0"/>
                </a:cubicBezTo>
                <a:cubicBezTo>
                  <a:pt x="28" y="0"/>
                  <a:pt x="27" y="1"/>
                  <a:pt x="26" y="1"/>
                </a:cubicBezTo>
                <a:cubicBezTo>
                  <a:pt x="26" y="1"/>
                  <a:pt x="25" y="1"/>
                  <a:pt x="25" y="2"/>
                </a:cubicBezTo>
                <a:cubicBezTo>
                  <a:pt x="25" y="2"/>
                  <a:pt x="24" y="2"/>
                  <a:pt x="24" y="2"/>
                </a:cubicBezTo>
                <a:cubicBezTo>
                  <a:pt x="24" y="2"/>
                  <a:pt x="24" y="2"/>
                  <a:pt x="24" y="3"/>
                </a:cubicBezTo>
                <a:cubicBezTo>
                  <a:pt x="24" y="3"/>
                  <a:pt x="24" y="4"/>
                  <a:pt x="24" y="4"/>
                </a:cubicBezTo>
                <a:cubicBezTo>
                  <a:pt x="24" y="5"/>
                  <a:pt x="24" y="5"/>
                  <a:pt x="23" y="6"/>
                </a:cubicBezTo>
                <a:cubicBezTo>
                  <a:pt x="23" y="6"/>
                  <a:pt x="23" y="7"/>
                  <a:pt x="23" y="7"/>
                </a:cubicBezTo>
                <a:cubicBezTo>
                  <a:pt x="23" y="8"/>
                  <a:pt x="21" y="7"/>
                  <a:pt x="21" y="7"/>
                </a:cubicBezTo>
                <a:cubicBezTo>
                  <a:pt x="20" y="8"/>
                  <a:pt x="21" y="8"/>
                  <a:pt x="21" y="9"/>
                </a:cubicBezTo>
                <a:cubicBezTo>
                  <a:pt x="21" y="9"/>
                  <a:pt x="21" y="10"/>
                  <a:pt x="20" y="10"/>
                </a:cubicBezTo>
                <a:cubicBezTo>
                  <a:pt x="19" y="10"/>
                  <a:pt x="19" y="11"/>
                  <a:pt x="19" y="12"/>
                </a:cubicBezTo>
                <a:cubicBezTo>
                  <a:pt x="19" y="13"/>
                  <a:pt x="18" y="14"/>
                  <a:pt x="18" y="13"/>
                </a:cubicBezTo>
                <a:cubicBezTo>
                  <a:pt x="18" y="13"/>
                  <a:pt x="16" y="13"/>
                  <a:pt x="16" y="14"/>
                </a:cubicBezTo>
                <a:cubicBezTo>
                  <a:pt x="16" y="14"/>
                  <a:pt x="15" y="14"/>
                  <a:pt x="14" y="14"/>
                </a:cubicBezTo>
                <a:cubicBezTo>
                  <a:pt x="13" y="14"/>
                  <a:pt x="13" y="15"/>
                  <a:pt x="13" y="15"/>
                </a:cubicBezTo>
                <a:cubicBezTo>
                  <a:pt x="12" y="16"/>
                  <a:pt x="13" y="17"/>
                  <a:pt x="13" y="18"/>
                </a:cubicBezTo>
                <a:cubicBezTo>
                  <a:pt x="13" y="18"/>
                  <a:pt x="5" y="19"/>
                  <a:pt x="4" y="19"/>
                </a:cubicBezTo>
                <a:cubicBezTo>
                  <a:pt x="3" y="18"/>
                  <a:pt x="1" y="18"/>
                  <a:pt x="0" y="18"/>
                </a:cubicBezTo>
                <a:cubicBezTo>
                  <a:pt x="1" y="19"/>
                  <a:pt x="1" y="19"/>
                  <a:pt x="1" y="19"/>
                </a:cubicBezTo>
                <a:cubicBezTo>
                  <a:pt x="2" y="20"/>
                  <a:pt x="3" y="21"/>
                  <a:pt x="4" y="21"/>
                </a:cubicBezTo>
                <a:cubicBezTo>
                  <a:pt x="5" y="22"/>
                  <a:pt x="4" y="24"/>
                  <a:pt x="5" y="24"/>
                </a:cubicBezTo>
                <a:cubicBezTo>
                  <a:pt x="5" y="24"/>
                  <a:pt x="6" y="25"/>
                  <a:pt x="5" y="25"/>
                </a:cubicBezTo>
                <a:cubicBezTo>
                  <a:pt x="5" y="26"/>
                  <a:pt x="4" y="26"/>
                  <a:pt x="3" y="26"/>
                </a:cubicBezTo>
                <a:cubicBezTo>
                  <a:pt x="3" y="26"/>
                  <a:pt x="2" y="27"/>
                  <a:pt x="2" y="28"/>
                </a:cubicBezTo>
                <a:cubicBezTo>
                  <a:pt x="2" y="29"/>
                  <a:pt x="2" y="29"/>
                  <a:pt x="2" y="29"/>
                </a:cubicBezTo>
                <a:cubicBezTo>
                  <a:pt x="4" y="29"/>
                  <a:pt x="6" y="29"/>
                  <a:pt x="6" y="29"/>
                </a:cubicBezTo>
                <a:cubicBezTo>
                  <a:pt x="6" y="28"/>
                  <a:pt x="7" y="28"/>
                  <a:pt x="8" y="28"/>
                </a:cubicBezTo>
                <a:cubicBezTo>
                  <a:pt x="8" y="29"/>
                  <a:pt x="10" y="29"/>
                  <a:pt x="11" y="28"/>
                </a:cubicBezTo>
                <a:cubicBezTo>
                  <a:pt x="12" y="28"/>
                  <a:pt x="13" y="28"/>
                  <a:pt x="13" y="29"/>
                </a:cubicBezTo>
                <a:cubicBezTo>
                  <a:pt x="13" y="29"/>
                  <a:pt x="14" y="30"/>
                  <a:pt x="14" y="30"/>
                </a:cubicBezTo>
                <a:cubicBezTo>
                  <a:pt x="15" y="31"/>
                  <a:pt x="14" y="31"/>
                  <a:pt x="15" y="32"/>
                </a:cubicBezTo>
                <a:cubicBezTo>
                  <a:pt x="15" y="32"/>
                  <a:pt x="16" y="32"/>
                  <a:pt x="16" y="32"/>
                </a:cubicBezTo>
                <a:cubicBezTo>
                  <a:pt x="17" y="32"/>
                  <a:pt x="17" y="33"/>
                  <a:pt x="17" y="33"/>
                </a:cubicBezTo>
                <a:cubicBezTo>
                  <a:pt x="17" y="33"/>
                  <a:pt x="17" y="33"/>
                  <a:pt x="17" y="32"/>
                </a:cubicBezTo>
                <a:cubicBezTo>
                  <a:pt x="18" y="32"/>
                  <a:pt x="18" y="31"/>
                  <a:pt x="19" y="31"/>
                </a:cubicBezTo>
                <a:cubicBezTo>
                  <a:pt x="20" y="31"/>
                  <a:pt x="20" y="31"/>
                  <a:pt x="21" y="31"/>
                </a:cubicBezTo>
                <a:cubicBezTo>
                  <a:pt x="22" y="31"/>
                  <a:pt x="22" y="31"/>
                  <a:pt x="23" y="31"/>
                </a:cubicBezTo>
                <a:cubicBezTo>
                  <a:pt x="23" y="30"/>
                  <a:pt x="22" y="29"/>
                  <a:pt x="22" y="29"/>
                </a:cubicBezTo>
                <a:cubicBezTo>
                  <a:pt x="22" y="28"/>
                  <a:pt x="21" y="27"/>
                  <a:pt x="21" y="26"/>
                </a:cubicBezTo>
                <a:cubicBezTo>
                  <a:pt x="21" y="25"/>
                  <a:pt x="20" y="25"/>
                  <a:pt x="20" y="25"/>
                </a:cubicBezTo>
                <a:cubicBezTo>
                  <a:pt x="20" y="24"/>
                  <a:pt x="21" y="23"/>
                  <a:pt x="21" y="23"/>
                </a:cubicBezTo>
                <a:cubicBezTo>
                  <a:pt x="22" y="22"/>
                  <a:pt x="23" y="23"/>
                  <a:pt x="23" y="23"/>
                </a:cubicBezTo>
                <a:cubicBezTo>
                  <a:pt x="23" y="22"/>
                  <a:pt x="24" y="23"/>
                  <a:pt x="24" y="23"/>
                </a:cubicBezTo>
                <a:cubicBezTo>
                  <a:pt x="25" y="23"/>
                  <a:pt x="26" y="22"/>
                  <a:pt x="26" y="21"/>
                </a:cubicBezTo>
                <a:cubicBezTo>
                  <a:pt x="26" y="20"/>
                  <a:pt x="27" y="20"/>
                  <a:pt x="27" y="20"/>
                </a:cubicBezTo>
                <a:cubicBezTo>
                  <a:pt x="28" y="20"/>
                  <a:pt x="28" y="18"/>
                  <a:pt x="28" y="18"/>
                </a:cubicBezTo>
                <a:cubicBezTo>
                  <a:pt x="29" y="17"/>
                  <a:pt x="30" y="17"/>
                  <a:pt x="30" y="16"/>
                </a:cubicBezTo>
                <a:cubicBezTo>
                  <a:pt x="30" y="16"/>
                  <a:pt x="30" y="15"/>
                  <a:pt x="31" y="15"/>
                </a:cubicBezTo>
                <a:cubicBezTo>
                  <a:pt x="31" y="15"/>
                  <a:pt x="31" y="14"/>
                  <a:pt x="31" y="14"/>
                </a:cubicBezTo>
                <a:cubicBezTo>
                  <a:pt x="31" y="13"/>
                  <a:pt x="32" y="12"/>
                  <a:pt x="32" y="12"/>
                </a:cubicBezTo>
                <a:cubicBezTo>
                  <a:pt x="33" y="12"/>
                  <a:pt x="32" y="11"/>
                  <a:pt x="31" y="11"/>
                </a:cubicBezTo>
                <a:cubicBezTo>
                  <a:pt x="30" y="11"/>
                  <a:pt x="30" y="9"/>
                  <a:pt x="30" y="9"/>
                </a:cubicBezTo>
                <a:cubicBezTo>
                  <a:pt x="30" y="9"/>
                  <a:pt x="30" y="7"/>
                  <a:pt x="30" y="7"/>
                </a:cubicBezTo>
                <a:cubicBezTo>
                  <a:pt x="29" y="7"/>
                  <a:pt x="30" y="6"/>
                  <a:pt x="31" y="6"/>
                </a:cubicBezTo>
                <a:cubicBezTo>
                  <a:pt x="32" y="6"/>
                  <a:pt x="33" y="7"/>
                  <a:pt x="34" y="6"/>
                </a:cubicBezTo>
                <a:cubicBezTo>
                  <a:pt x="35" y="6"/>
                  <a:pt x="36" y="5"/>
                  <a:pt x="36" y="5"/>
                </a:cubicBezTo>
                <a:cubicBezTo>
                  <a:pt x="36" y="5"/>
                  <a:pt x="37" y="4"/>
                  <a:pt x="37" y="4"/>
                </a:cubicBezTo>
                <a:cubicBezTo>
                  <a:pt x="37" y="4"/>
                  <a:pt x="36" y="3"/>
                  <a:pt x="3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402"/>
          <p:cNvSpPr>
            <a:spLocks noEditPoints="1"/>
          </p:cNvSpPr>
          <p:nvPr/>
        </p:nvSpPr>
        <p:spPr bwMode="auto">
          <a:xfrm>
            <a:off x="3202498" y="3218177"/>
            <a:ext cx="489754" cy="178742"/>
          </a:xfrm>
          <a:custGeom>
            <a:avLst/>
            <a:gdLst>
              <a:gd name="T0" fmla="*/ 7 w 101"/>
              <a:gd name="T1" fmla="*/ 16 h 37"/>
              <a:gd name="T2" fmla="*/ 28 w 101"/>
              <a:gd name="T3" fmla="*/ 20 h 37"/>
              <a:gd name="T4" fmla="*/ 4 w 101"/>
              <a:gd name="T5" fmla="*/ 10 h 37"/>
              <a:gd name="T6" fmla="*/ 54 w 101"/>
              <a:gd name="T7" fmla="*/ 26 h 37"/>
              <a:gd name="T8" fmla="*/ 56 w 101"/>
              <a:gd name="T9" fmla="*/ 21 h 37"/>
              <a:gd name="T10" fmla="*/ 60 w 101"/>
              <a:gd name="T11" fmla="*/ 22 h 37"/>
              <a:gd name="T12" fmla="*/ 62 w 101"/>
              <a:gd name="T13" fmla="*/ 15 h 37"/>
              <a:gd name="T14" fmla="*/ 62 w 101"/>
              <a:gd name="T15" fmla="*/ 13 h 37"/>
              <a:gd name="T16" fmla="*/ 58 w 101"/>
              <a:gd name="T17" fmla="*/ 11 h 37"/>
              <a:gd name="T18" fmla="*/ 52 w 101"/>
              <a:gd name="T19" fmla="*/ 19 h 37"/>
              <a:gd name="T20" fmla="*/ 24 w 101"/>
              <a:gd name="T21" fmla="*/ 21 h 37"/>
              <a:gd name="T22" fmla="*/ 23 w 101"/>
              <a:gd name="T23" fmla="*/ 17 h 37"/>
              <a:gd name="T24" fmla="*/ 22 w 101"/>
              <a:gd name="T25" fmla="*/ 19 h 37"/>
              <a:gd name="T26" fmla="*/ 18 w 101"/>
              <a:gd name="T27" fmla="*/ 14 h 37"/>
              <a:gd name="T28" fmla="*/ 15 w 101"/>
              <a:gd name="T29" fmla="*/ 10 h 37"/>
              <a:gd name="T30" fmla="*/ 10 w 101"/>
              <a:gd name="T31" fmla="*/ 7 h 37"/>
              <a:gd name="T32" fmla="*/ 0 w 101"/>
              <a:gd name="T33" fmla="*/ 1 h 37"/>
              <a:gd name="T34" fmla="*/ 9 w 101"/>
              <a:gd name="T35" fmla="*/ 13 h 37"/>
              <a:gd name="T36" fmla="*/ 19 w 101"/>
              <a:gd name="T37" fmla="*/ 25 h 37"/>
              <a:gd name="T38" fmla="*/ 23 w 101"/>
              <a:gd name="T39" fmla="*/ 23 h 37"/>
              <a:gd name="T40" fmla="*/ 73 w 101"/>
              <a:gd name="T41" fmla="*/ 10 h 37"/>
              <a:gd name="T42" fmla="*/ 73 w 101"/>
              <a:gd name="T43" fmla="*/ 13 h 37"/>
              <a:gd name="T44" fmla="*/ 68 w 101"/>
              <a:gd name="T45" fmla="*/ 21 h 37"/>
              <a:gd name="T46" fmla="*/ 54 w 101"/>
              <a:gd name="T47" fmla="*/ 33 h 37"/>
              <a:gd name="T48" fmla="*/ 63 w 101"/>
              <a:gd name="T49" fmla="*/ 32 h 37"/>
              <a:gd name="T50" fmla="*/ 75 w 101"/>
              <a:gd name="T51" fmla="*/ 21 h 37"/>
              <a:gd name="T52" fmla="*/ 42 w 101"/>
              <a:gd name="T53" fmla="*/ 31 h 37"/>
              <a:gd name="T54" fmla="*/ 38 w 101"/>
              <a:gd name="T55" fmla="*/ 29 h 37"/>
              <a:gd name="T56" fmla="*/ 24 w 101"/>
              <a:gd name="T57" fmla="*/ 27 h 37"/>
              <a:gd name="T58" fmla="*/ 25 w 101"/>
              <a:gd name="T59" fmla="*/ 30 h 37"/>
              <a:gd name="T60" fmla="*/ 39 w 101"/>
              <a:gd name="T61" fmla="*/ 32 h 37"/>
              <a:gd name="T62" fmla="*/ 42 w 101"/>
              <a:gd name="T63" fmla="*/ 31 h 37"/>
              <a:gd name="T64" fmla="*/ 88 w 101"/>
              <a:gd name="T65" fmla="*/ 21 h 37"/>
              <a:gd name="T66" fmla="*/ 79 w 101"/>
              <a:gd name="T67" fmla="*/ 16 h 37"/>
              <a:gd name="T68" fmla="*/ 85 w 101"/>
              <a:gd name="T69" fmla="*/ 19 h 37"/>
              <a:gd name="T70" fmla="*/ 81 w 101"/>
              <a:gd name="T71" fmla="*/ 20 h 37"/>
              <a:gd name="T72" fmla="*/ 87 w 101"/>
              <a:gd name="T73" fmla="*/ 23 h 37"/>
              <a:gd name="T74" fmla="*/ 96 w 101"/>
              <a:gd name="T75" fmla="*/ 28 h 37"/>
              <a:gd name="T76" fmla="*/ 99 w 101"/>
              <a:gd name="T77" fmla="*/ 32 h 37"/>
              <a:gd name="T78" fmla="*/ 94 w 101"/>
              <a:gd name="T79" fmla="*/ 17 h 37"/>
              <a:gd name="T80" fmla="*/ 64 w 101"/>
              <a:gd name="T81" fmla="*/ 34 h 37"/>
              <a:gd name="T82" fmla="*/ 65 w 101"/>
              <a:gd name="T83" fmla="*/ 35 h 37"/>
              <a:gd name="T84" fmla="*/ 66 w 101"/>
              <a:gd name="T85" fmla="*/ 34 h 37"/>
              <a:gd name="T86" fmla="*/ 49 w 101"/>
              <a:gd name="T87" fmla="*/ 13 h 37"/>
              <a:gd name="T88" fmla="*/ 50 w 101"/>
              <a:gd name="T89" fmla="*/ 8 h 37"/>
              <a:gd name="T90" fmla="*/ 49 w 101"/>
              <a:gd name="T91" fmla="*/ 4 h 37"/>
              <a:gd name="T92" fmla="*/ 44 w 101"/>
              <a:gd name="T93" fmla="*/ 7 h 37"/>
              <a:gd name="T94" fmla="*/ 39 w 101"/>
              <a:gd name="T95" fmla="*/ 10 h 37"/>
              <a:gd name="T96" fmla="*/ 32 w 101"/>
              <a:gd name="T97" fmla="*/ 10 h 37"/>
              <a:gd name="T98" fmla="*/ 30 w 101"/>
              <a:gd name="T99" fmla="*/ 12 h 37"/>
              <a:gd name="T100" fmla="*/ 35 w 101"/>
              <a:gd name="T101" fmla="*/ 20 h 37"/>
              <a:gd name="T102" fmla="*/ 42 w 101"/>
              <a:gd name="T103" fmla="*/ 22 h 37"/>
              <a:gd name="T104" fmla="*/ 52 w 101"/>
              <a:gd name="T105" fmla="*/ 35 h 37"/>
              <a:gd name="T106" fmla="*/ 52 w 101"/>
              <a:gd name="T107" fmla="*/ 35 h 37"/>
              <a:gd name="T108" fmla="*/ 46 w 101"/>
              <a:gd name="T109" fmla="*/ 33 h 37"/>
              <a:gd name="T110" fmla="*/ 49 w 101"/>
              <a:gd name="T111"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 h="37">
                <a:moveTo>
                  <a:pt x="7" y="16"/>
                </a:moveTo>
                <a:cubicBezTo>
                  <a:pt x="7" y="16"/>
                  <a:pt x="8" y="18"/>
                  <a:pt x="8" y="17"/>
                </a:cubicBezTo>
                <a:cubicBezTo>
                  <a:pt x="9" y="17"/>
                  <a:pt x="7" y="15"/>
                  <a:pt x="7" y="16"/>
                </a:cubicBezTo>
                <a:moveTo>
                  <a:pt x="28" y="20"/>
                </a:moveTo>
                <a:cubicBezTo>
                  <a:pt x="28" y="19"/>
                  <a:pt x="27" y="20"/>
                  <a:pt x="27" y="20"/>
                </a:cubicBezTo>
                <a:cubicBezTo>
                  <a:pt x="28" y="21"/>
                  <a:pt x="28" y="20"/>
                  <a:pt x="28" y="20"/>
                </a:cubicBezTo>
                <a:moveTo>
                  <a:pt x="4" y="10"/>
                </a:moveTo>
                <a:cubicBezTo>
                  <a:pt x="4" y="11"/>
                  <a:pt x="4" y="13"/>
                  <a:pt x="5" y="12"/>
                </a:cubicBezTo>
                <a:cubicBezTo>
                  <a:pt x="6" y="11"/>
                  <a:pt x="4" y="10"/>
                  <a:pt x="4" y="10"/>
                </a:cubicBezTo>
                <a:moveTo>
                  <a:pt x="53" y="21"/>
                </a:moveTo>
                <a:cubicBezTo>
                  <a:pt x="54" y="22"/>
                  <a:pt x="54" y="23"/>
                  <a:pt x="54" y="24"/>
                </a:cubicBezTo>
                <a:cubicBezTo>
                  <a:pt x="54" y="25"/>
                  <a:pt x="53" y="27"/>
                  <a:pt x="54" y="26"/>
                </a:cubicBezTo>
                <a:cubicBezTo>
                  <a:pt x="55" y="26"/>
                  <a:pt x="56" y="25"/>
                  <a:pt x="55" y="24"/>
                </a:cubicBezTo>
                <a:cubicBezTo>
                  <a:pt x="55" y="24"/>
                  <a:pt x="55" y="21"/>
                  <a:pt x="55" y="20"/>
                </a:cubicBezTo>
                <a:cubicBezTo>
                  <a:pt x="55" y="19"/>
                  <a:pt x="57" y="20"/>
                  <a:pt x="56" y="21"/>
                </a:cubicBezTo>
                <a:cubicBezTo>
                  <a:pt x="56" y="22"/>
                  <a:pt x="58" y="22"/>
                  <a:pt x="58" y="23"/>
                </a:cubicBezTo>
                <a:cubicBezTo>
                  <a:pt x="58" y="25"/>
                  <a:pt x="59" y="24"/>
                  <a:pt x="60" y="24"/>
                </a:cubicBezTo>
                <a:cubicBezTo>
                  <a:pt x="61" y="23"/>
                  <a:pt x="60" y="23"/>
                  <a:pt x="60" y="22"/>
                </a:cubicBezTo>
                <a:cubicBezTo>
                  <a:pt x="59" y="21"/>
                  <a:pt x="60" y="20"/>
                  <a:pt x="59" y="19"/>
                </a:cubicBezTo>
                <a:cubicBezTo>
                  <a:pt x="58" y="19"/>
                  <a:pt x="58" y="18"/>
                  <a:pt x="59" y="17"/>
                </a:cubicBezTo>
                <a:cubicBezTo>
                  <a:pt x="59" y="17"/>
                  <a:pt x="62" y="16"/>
                  <a:pt x="62" y="15"/>
                </a:cubicBezTo>
                <a:cubicBezTo>
                  <a:pt x="62" y="14"/>
                  <a:pt x="58" y="15"/>
                  <a:pt x="57" y="16"/>
                </a:cubicBezTo>
                <a:cubicBezTo>
                  <a:pt x="57" y="18"/>
                  <a:pt x="54" y="16"/>
                  <a:pt x="55" y="14"/>
                </a:cubicBezTo>
                <a:cubicBezTo>
                  <a:pt x="55" y="12"/>
                  <a:pt x="60" y="12"/>
                  <a:pt x="62" y="13"/>
                </a:cubicBezTo>
                <a:cubicBezTo>
                  <a:pt x="63" y="13"/>
                  <a:pt x="65" y="11"/>
                  <a:pt x="66" y="10"/>
                </a:cubicBezTo>
                <a:cubicBezTo>
                  <a:pt x="66" y="9"/>
                  <a:pt x="65" y="10"/>
                  <a:pt x="63" y="11"/>
                </a:cubicBezTo>
                <a:cubicBezTo>
                  <a:pt x="62" y="12"/>
                  <a:pt x="59" y="11"/>
                  <a:pt x="58" y="11"/>
                </a:cubicBezTo>
                <a:cubicBezTo>
                  <a:pt x="56" y="10"/>
                  <a:pt x="56" y="12"/>
                  <a:pt x="55" y="12"/>
                </a:cubicBezTo>
                <a:cubicBezTo>
                  <a:pt x="54" y="12"/>
                  <a:pt x="54" y="15"/>
                  <a:pt x="54" y="15"/>
                </a:cubicBezTo>
                <a:cubicBezTo>
                  <a:pt x="53" y="15"/>
                  <a:pt x="53" y="17"/>
                  <a:pt x="52" y="19"/>
                </a:cubicBezTo>
                <a:cubicBezTo>
                  <a:pt x="51" y="21"/>
                  <a:pt x="52" y="21"/>
                  <a:pt x="53" y="21"/>
                </a:cubicBezTo>
                <a:moveTo>
                  <a:pt x="23" y="23"/>
                </a:moveTo>
                <a:cubicBezTo>
                  <a:pt x="23" y="22"/>
                  <a:pt x="24" y="21"/>
                  <a:pt x="24" y="21"/>
                </a:cubicBezTo>
                <a:cubicBezTo>
                  <a:pt x="24" y="20"/>
                  <a:pt x="24" y="20"/>
                  <a:pt x="25" y="20"/>
                </a:cubicBezTo>
                <a:cubicBezTo>
                  <a:pt x="25" y="20"/>
                  <a:pt x="25" y="19"/>
                  <a:pt x="25" y="19"/>
                </a:cubicBezTo>
                <a:cubicBezTo>
                  <a:pt x="24" y="19"/>
                  <a:pt x="24" y="17"/>
                  <a:pt x="23" y="17"/>
                </a:cubicBezTo>
                <a:cubicBezTo>
                  <a:pt x="22" y="17"/>
                  <a:pt x="22" y="18"/>
                  <a:pt x="23" y="18"/>
                </a:cubicBezTo>
                <a:cubicBezTo>
                  <a:pt x="23" y="18"/>
                  <a:pt x="24" y="19"/>
                  <a:pt x="23" y="19"/>
                </a:cubicBezTo>
                <a:cubicBezTo>
                  <a:pt x="23" y="20"/>
                  <a:pt x="23" y="19"/>
                  <a:pt x="22" y="19"/>
                </a:cubicBezTo>
                <a:cubicBezTo>
                  <a:pt x="21" y="19"/>
                  <a:pt x="22" y="18"/>
                  <a:pt x="21" y="18"/>
                </a:cubicBezTo>
                <a:cubicBezTo>
                  <a:pt x="20" y="18"/>
                  <a:pt x="20" y="16"/>
                  <a:pt x="19" y="16"/>
                </a:cubicBezTo>
                <a:cubicBezTo>
                  <a:pt x="18" y="16"/>
                  <a:pt x="18" y="15"/>
                  <a:pt x="18" y="14"/>
                </a:cubicBezTo>
                <a:cubicBezTo>
                  <a:pt x="19" y="13"/>
                  <a:pt x="17" y="13"/>
                  <a:pt x="17" y="12"/>
                </a:cubicBezTo>
                <a:cubicBezTo>
                  <a:pt x="17" y="11"/>
                  <a:pt x="16" y="12"/>
                  <a:pt x="16" y="11"/>
                </a:cubicBezTo>
                <a:cubicBezTo>
                  <a:pt x="16" y="10"/>
                  <a:pt x="15" y="11"/>
                  <a:pt x="15" y="10"/>
                </a:cubicBezTo>
                <a:cubicBezTo>
                  <a:pt x="14" y="9"/>
                  <a:pt x="14" y="10"/>
                  <a:pt x="13" y="9"/>
                </a:cubicBezTo>
                <a:cubicBezTo>
                  <a:pt x="13" y="9"/>
                  <a:pt x="12" y="8"/>
                  <a:pt x="12" y="9"/>
                </a:cubicBezTo>
                <a:cubicBezTo>
                  <a:pt x="11" y="9"/>
                  <a:pt x="10" y="8"/>
                  <a:pt x="10" y="7"/>
                </a:cubicBezTo>
                <a:cubicBezTo>
                  <a:pt x="10" y="6"/>
                  <a:pt x="7" y="5"/>
                  <a:pt x="6" y="3"/>
                </a:cubicBezTo>
                <a:cubicBezTo>
                  <a:pt x="6" y="2"/>
                  <a:pt x="5" y="2"/>
                  <a:pt x="3" y="2"/>
                </a:cubicBezTo>
                <a:cubicBezTo>
                  <a:pt x="1" y="2"/>
                  <a:pt x="1" y="0"/>
                  <a:pt x="0" y="1"/>
                </a:cubicBezTo>
                <a:cubicBezTo>
                  <a:pt x="0" y="2"/>
                  <a:pt x="2" y="5"/>
                  <a:pt x="3" y="5"/>
                </a:cubicBezTo>
                <a:cubicBezTo>
                  <a:pt x="4" y="6"/>
                  <a:pt x="5" y="8"/>
                  <a:pt x="6" y="8"/>
                </a:cubicBezTo>
                <a:cubicBezTo>
                  <a:pt x="7" y="9"/>
                  <a:pt x="8" y="13"/>
                  <a:pt x="9" y="13"/>
                </a:cubicBezTo>
                <a:cubicBezTo>
                  <a:pt x="9" y="13"/>
                  <a:pt x="12" y="16"/>
                  <a:pt x="12" y="18"/>
                </a:cubicBezTo>
                <a:cubicBezTo>
                  <a:pt x="12" y="20"/>
                  <a:pt x="14" y="21"/>
                  <a:pt x="15" y="22"/>
                </a:cubicBezTo>
                <a:cubicBezTo>
                  <a:pt x="16" y="23"/>
                  <a:pt x="19" y="25"/>
                  <a:pt x="19" y="25"/>
                </a:cubicBezTo>
                <a:cubicBezTo>
                  <a:pt x="19" y="26"/>
                  <a:pt x="20" y="27"/>
                  <a:pt x="20" y="26"/>
                </a:cubicBezTo>
                <a:cubicBezTo>
                  <a:pt x="21" y="26"/>
                  <a:pt x="22" y="26"/>
                  <a:pt x="23" y="26"/>
                </a:cubicBezTo>
                <a:cubicBezTo>
                  <a:pt x="23" y="27"/>
                  <a:pt x="23" y="24"/>
                  <a:pt x="23" y="23"/>
                </a:cubicBezTo>
                <a:moveTo>
                  <a:pt x="73" y="13"/>
                </a:moveTo>
                <a:cubicBezTo>
                  <a:pt x="75" y="13"/>
                  <a:pt x="74" y="12"/>
                  <a:pt x="74" y="11"/>
                </a:cubicBezTo>
                <a:cubicBezTo>
                  <a:pt x="74" y="10"/>
                  <a:pt x="73" y="11"/>
                  <a:pt x="73" y="10"/>
                </a:cubicBezTo>
                <a:cubicBezTo>
                  <a:pt x="73" y="10"/>
                  <a:pt x="72" y="8"/>
                  <a:pt x="71" y="10"/>
                </a:cubicBezTo>
                <a:cubicBezTo>
                  <a:pt x="70" y="11"/>
                  <a:pt x="72" y="15"/>
                  <a:pt x="72" y="14"/>
                </a:cubicBezTo>
                <a:cubicBezTo>
                  <a:pt x="73" y="14"/>
                  <a:pt x="72" y="13"/>
                  <a:pt x="73" y="13"/>
                </a:cubicBezTo>
                <a:moveTo>
                  <a:pt x="68" y="21"/>
                </a:moveTo>
                <a:cubicBezTo>
                  <a:pt x="68" y="22"/>
                  <a:pt x="70" y="23"/>
                  <a:pt x="71" y="22"/>
                </a:cubicBezTo>
                <a:cubicBezTo>
                  <a:pt x="71" y="21"/>
                  <a:pt x="68" y="20"/>
                  <a:pt x="68" y="21"/>
                </a:cubicBezTo>
                <a:moveTo>
                  <a:pt x="63" y="32"/>
                </a:moveTo>
                <a:cubicBezTo>
                  <a:pt x="61" y="32"/>
                  <a:pt x="60" y="33"/>
                  <a:pt x="58" y="32"/>
                </a:cubicBezTo>
                <a:cubicBezTo>
                  <a:pt x="56" y="32"/>
                  <a:pt x="54" y="32"/>
                  <a:pt x="54" y="33"/>
                </a:cubicBezTo>
                <a:cubicBezTo>
                  <a:pt x="54" y="33"/>
                  <a:pt x="56" y="33"/>
                  <a:pt x="58" y="34"/>
                </a:cubicBezTo>
                <a:cubicBezTo>
                  <a:pt x="59" y="34"/>
                  <a:pt x="61" y="33"/>
                  <a:pt x="62" y="33"/>
                </a:cubicBezTo>
                <a:cubicBezTo>
                  <a:pt x="63" y="33"/>
                  <a:pt x="65" y="32"/>
                  <a:pt x="63" y="32"/>
                </a:cubicBezTo>
                <a:moveTo>
                  <a:pt x="77" y="20"/>
                </a:moveTo>
                <a:cubicBezTo>
                  <a:pt x="75" y="19"/>
                  <a:pt x="72" y="20"/>
                  <a:pt x="72" y="21"/>
                </a:cubicBezTo>
                <a:cubicBezTo>
                  <a:pt x="73" y="22"/>
                  <a:pt x="74" y="21"/>
                  <a:pt x="75" y="21"/>
                </a:cubicBezTo>
                <a:cubicBezTo>
                  <a:pt x="77" y="21"/>
                  <a:pt x="78" y="22"/>
                  <a:pt x="78" y="22"/>
                </a:cubicBezTo>
                <a:cubicBezTo>
                  <a:pt x="79" y="22"/>
                  <a:pt x="78" y="20"/>
                  <a:pt x="77" y="20"/>
                </a:cubicBezTo>
                <a:moveTo>
                  <a:pt x="42" y="31"/>
                </a:moveTo>
                <a:cubicBezTo>
                  <a:pt x="42" y="30"/>
                  <a:pt x="40" y="31"/>
                  <a:pt x="38" y="31"/>
                </a:cubicBezTo>
                <a:cubicBezTo>
                  <a:pt x="37" y="30"/>
                  <a:pt x="40" y="30"/>
                  <a:pt x="41" y="29"/>
                </a:cubicBezTo>
                <a:cubicBezTo>
                  <a:pt x="42" y="29"/>
                  <a:pt x="40" y="28"/>
                  <a:pt x="38" y="29"/>
                </a:cubicBezTo>
                <a:cubicBezTo>
                  <a:pt x="36" y="30"/>
                  <a:pt x="34" y="28"/>
                  <a:pt x="33" y="29"/>
                </a:cubicBezTo>
                <a:cubicBezTo>
                  <a:pt x="33" y="29"/>
                  <a:pt x="30" y="28"/>
                  <a:pt x="29" y="27"/>
                </a:cubicBezTo>
                <a:cubicBezTo>
                  <a:pt x="28" y="27"/>
                  <a:pt x="24" y="26"/>
                  <a:pt x="24" y="27"/>
                </a:cubicBezTo>
                <a:cubicBezTo>
                  <a:pt x="23" y="28"/>
                  <a:pt x="22" y="27"/>
                  <a:pt x="23" y="29"/>
                </a:cubicBezTo>
                <a:cubicBezTo>
                  <a:pt x="23" y="29"/>
                  <a:pt x="24" y="29"/>
                  <a:pt x="24" y="29"/>
                </a:cubicBezTo>
                <a:cubicBezTo>
                  <a:pt x="25" y="29"/>
                  <a:pt x="25" y="30"/>
                  <a:pt x="25" y="30"/>
                </a:cubicBezTo>
                <a:cubicBezTo>
                  <a:pt x="26" y="30"/>
                  <a:pt x="29" y="31"/>
                  <a:pt x="29" y="30"/>
                </a:cubicBezTo>
                <a:cubicBezTo>
                  <a:pt x="30" y="30"/>
                  <a:pt x="32" y="30"/>
                  <a:pt x="33" y="31"/>
                </a:cubicBezTo>
                <a:cubicBezTo>
                  <a:pt x="35" y="33"/>
                  <a:pt x="38" y="33"/>
                  <a:pt x="39" y="32"/>
                </a:cubicBezTo>
                <a:cubicBezTo>
                  <a:pt x="40" y="32"/>
                  <a:pt x="41" y="33"/>
                  <a:pt x="42" y="33"/>
                </a:cubicBezTo>
                <a:cubicBezTo>
                  <a:pt x="42" y="32"/>
                  <a:pt x="43" y="34"/>
                  <a:pt x="45" y="33"/>
                </a:cubicBezTo>
                <a:cubicBezTo>
                  <a:pt x="46" y="32"/>
                  <a:pt x="42" y="32"/>
                  <a:pt x="42" y="31"/>
                </a:cubicBezTo>
                <a:moveTo>
                  <a:pt x="94" y="17"/>
                </a:moveTo>
                <a:cubicBezTo>
                  <a:pt x="93" y="17"/>
                  <a:pt x="93" y="19"/>
                  <a:pt x="92" y="19"/>
                </a:cubicBezTo>
                <a:cubicBezTo>
                  <a:pt x="91" y="19"/>
                  <a:pt x="90" y="20"/>
                  <a:pt x="88" y="21"/>
                </a:cubicBezTo>
                <a:cubicBezTo>
                  <a:pt x="87" y="22"/>
                  <a:pt x="87" y="17"/>
                  <a:pt x="86" y="16"/>
                </a:cubicBezTo>
                <a:cubicBezTo>
                  <a:pt x="85" y="15"/>
                  <a:pt x="81" y="14"/>
                  <a:pt x="81" y="15"/>
                </a:cubicBezTo>
                <a:cubicBezTo>
                  <a:pt x="80" y="16"/>
                  <a:pt x="79" y="15"/>
                  <a:pt x="79" y="16"/>
                </a:cubicBezTo>
                <a:cubicBezTo>
                  <a:pt x="79" y="17"/>
                  <a:pt x="79" y="17"/>
                  <a:pt x="80" y="17"/>
                </a:cubicBezTo>
                <a:cubicBezTo>
                  <a:pt x="81" y="17"/>
                  <a:pt x="81" y="18"/>
                  <a:pt x="81" y="18"/>
                </a:cubicBezTo>
                <a:cubicBezTo>
                  <a:pt x="82" y="19"/>
                  <a:pt x="84" y="19"/>
                  <a:pt x="85" y="19"/>
                </a:cubicBezTo>
                <a:cubicBezTo>
                  <a:pt x="86" y="19"/>
                  <a:pt x="86" y="20"/>
                  <a:pt x="85" y="19"/>
                </a:cubicBezTo>
                <a:cubicBezTo>
                  <a:pt x="84" y="19"/>
                  <a:pt x="84" y="20"/>
                  <a:pt x="83" y="20"/>
                </a:cubicBezTo>
                <a:cubicBezTo>
                  <a:pt x="82" y="19"/>
                  <a:pt x="81" y="19"/>
                  <a:pt x="81" y="20"/>
                </a:cubicBezTo>
                <a:cubicBezTo>
                  <a:pt x="82" y="20"/>
                  <a:pt x="83" y="21"/>
                  <a:pt x="83" y="22"/>
                </a:cubicBezTo>
                <a:cubicBezTo>
                  <a:pt x="83" y="23"/>
                  <a:pt x="84" y="23"/>
                  <a:pt x="84" y="22"/>
                </a:cubicBezTo>
                <a:cubicBezTo>
                  <a:pt x="84" y="21"/>
                  <a:pt x="85" y="22"/>
                  <a:pt x="87" y="23"/>
                </a:cubicBezTo>
                <a:cubicBezTo>
                  <a:pt x="88" y="23"/>
                  <a:pt x="87" y="23"/>
                  <a:pt x="89" y="24"/>
                </a:cubicBezTo>
                <a:cubicBezTo>
                  <a:pt x="90" y="24"/>
                  <a:pt x="93" y="25"/>
                  <a:pt x="95" y="26"/>
                </a:cubicBezTo>
                <a:cubicBezTo>
                  <a:pt x="96" y="27"/>
                  <a:pt x="95" y="27"/>
                  <a:pt x="96" y="28"/>
                </a:cubicBezTo>
                <a:cubicBezTo>
                  <a:pt x="97" y="29"/>
                  <a:pt x="97" y="30"/>
                  <a:pt x="96" y="30"/>
                </a:cubicBezTo>
                <a:cubicBezTo>
                  <a:pt x="95" y="30"/>
                  <a:pt x="94" y="31"/>
                  <a:pt x="94" y="32"/>
                </a:cubicBezTo>
                <a:cubicBezTo>
                  <a:pt x="94" y="33"/>
                  <a:pt x="98" y="32"/>
                  <a:pt x="99" y="32"/>
                </a:cubicBezTo>
                <a:cubicBezTo>
                  <a:pt x="100" y="32"/>
                  <a:pt x="100" y="33"/>
                  <a:pt x="101" y="34"/>
                </a:cubicBezTo>
                <a:cubicBezTo>
                  <a:pt x="101" y="20"/>
                  <a:pt x="101" y="20"/>
                  <a:pt x="101" y="20"/>
                </a:cubicBezTo>
                <a:cubicBezTo>
                  <a:pt x="99" y="19"/>
                  <a:pt x="95" y="17"/>
                  <a:pt x="94" y="17"/>
                </a:cubicBezTo>
                <a:moveTo>
                  <a:pt x="65" y="34"/>
                </a:moveTo>
                <a:cubicBezTo>
                  <a:pt x="65" y="34"/>
                  <a:pt x="65" y="34"/>
                  <a:pt x="65" y="34"/>
                </a:cubicBezTo>
                <a:cubicBezTo>
                  <a:pt x="65" y="34"/>
                  <a:pt x="65" y="34"/>
                  <a:pt x="64" y="34"/>
                </a:cubicBezTo>
                <a:cubicBezTo>
                  <a:pt x="64" y="35"/>
                  <a:pt x="64" y="34"/>
                  <a:pt x="64" y="34"/>
                </a:cubicBezTo>
                <a:cubicBezTo>
                  <a:pt x="62" y="35"/>
                  <a:pt x="62" y="36"/>
                  <a:pt x="63" y="37"/>
                </a:cubicBezTo>
                <a:cubicBezTo>
                  <a:pt x="63" y="37"/>
                  <a:pt x="65" y="36"/>
                  <a:pt x="65" y="35"/>
                </a:cubicBezTo>
                <a:cubicBezTo>
                  <a:pt x="66" y="35"/>
                  <a:pt x="66" y="35"/>
                  <a:pt x="66" y="35"/>
                </a:cubicBezTo>
                <a:cubicBezTo>
                  <a:pt x="66" y="35"/>
                  <a:pt x="66" y="34"/>
                  <a:pt x="66" y="34"/>
                </a:cubicBezTo>
                <a:cubicBezTo>
                  <a:pt x="66" y="34"/>
                  <a:pt x="66" y="34"/>
                  <a:pt x="66" y="34"/>
                </a:cubicBezTo>
                <a:cubicBezTo>
                  <a:pt x="66" y="34"/>
                  <a:pt x="66" y="34"/>
                  <a:pt x="65" y="34"/>
                </a:cubicBezTo>
                <a:moveTo>
                  <a:pt x="47" y="17"/>
                </a:moveTo>
                <a:cubicBezTo>
                  <a:pt x="48" y="16"/>
                  <a:pt x="49" y="15"/>
                  <a:pt x="49" y="13"/>
                </a:cubicBezTo>
                <a:cubicBezTo>
                  <a:pt x="48" y="12"/>
                  <a:pt x="51" y="12"/>
                  <a:pt x="52" y="11"/>
                </a:cubicBezTo>
                <a:cubicBezTo>
                  <a:pt x="52" y="11"/>
                  <a:pt x="51" y="10"/>
                  <a:pt x="50" y="10"/>
                </a:cubicBezTo>
                <a:cubicBezTo>
                  <a:pt x="50" y="9"/>
                  <a:pt x="50" y="8"/>
                  <a:pt x="50" y="8"/>
                </a:cubicBezTo>
                <a:cubicBezTo>
                  <a:pt x="49" y="7"/>
                  <a:pt x="48" y="6"/>
                  <a:pt x="49" y="6"/>
                </a:cubicBezTo>
                <a:cubicBezTo>
                  <a:pt x="50" y="6"/>
                  <a:pt x="48" y="5"/>
                  <a:pt x="49" y="4"/>
                </a:cubicBezTo>
                <a:cubicBezTo>
                  <a:pt x="49" y="4"/>
                  <a:pt x="49" y="4"/>
                  <a:pt x="49" y="4"/>
                </a:cubicBezTo>
                <a:cubicBezTo>
                  <a:pt x="49" y="4"/>
                  <a:pt x="49" y="4"/>
                  <a:pt x="48" y="4"/>
                </a:cubicBezTo>
                <a:cubicBezTo>
                  <a:pt x="47" y="4"/>
                  <a:pt x="45" y="3"/>
                  <a:pt x="45" y="5"/>
                </a:cubicBezTo>
                <a:cubicBezTo>
                  <a:pt x="45" y="7"/>
                  <a:pt x="44" y="6"/>
                  <a:pt x="44" y="7"/>
                </a:cubicBezTo>
                <a:cubicBezTo>
                  <a:pt x="44" y="8"/>
                  <a:pt x="43" y="8"/>
                  <a:pt x="43" y="9"/>
                </a:cubicBezTo>
                <a:cubicBezTo>
                  <a:pt x="43" y="10"/>
                  <a:pt x="42" y="10"/>
                  <a:pt x="41" y="11"/>
                </a:cubicBezTo>
                <a:cubicBezTo>
                  <a:pt x="40" y="11"/>
                  <a:pt x="40" y="10"/>
                  <a:pt x="39" y="10"/>
                </a:cubicBezTo>
                <a:cubicBezTo>
                  <a:pt x="38" y="10"/>
                  <a:pt x="38" y="11"/>
                  <a:pt x="37" y="11"/>
                </a:cubicBezTo>
                <a:cubicBezTo>
                  <a:pt x="36" y="11"/>
                  <a:pt x="34" y="11"/>
                  <a:pt x="34" y="11"/>
                </a:cubicBezTo>
                <a:cubicBezTo>
                  <a:pt x="33" y="12"/>
                  <a:pt x="33" y="10"/>
                  <a:pt x="32" y="10"/>
                </a:cubicBezTo>
                <a:cubicBezTo>
                  <a:pt x="32" y="10"/>
                  <a:pt x="32" y="10"/>
                  <a:pt x="31" y="9"/>
                </a:cubicBezTo>
                <a:cubicBezTo>
                  <a:pt x="31" y="9"/>
                  <a:pt x="31" y="9"/>
                  <a:pt x="31" y="9"/>
                </a:cubicBezTo>
                <a:cubicBezTo>
                  <a:pt x="30" y="9"/>
                  <a:pt x="29" y="11"/>
                  <a:pt x="30" y="12"/>
                </a:cubicBezTo>
                <a:cubicBezTo>
                  <a:pt x="31" y="13"/>
                  <a:pt x="30" y="14"/>
                  <a:pt x="31" y="15"/>
                </a:cubicBezTo>
                <a:cubicBezTo>
                  <a:pt x="31" y="16"/>
                  <a:pt x="33" y="16"/>
                  <a:pt x="33" y="17"/>
                </a:cubicBezTo>
                <a:cubicBezTo>
                  <a:pt x="33" y="19"/>
                  <a:pt x="34" y="21"/>
                  <a:pt x="35" y="20"/>
                </a:cubicBezTo>
                <a:cubicBezTo>
                  <a:pt x="36" y="20"/>
                  <a:pt x="36" y="21"/>
                  <a:pt x="37" y="21"/>
                </a:cubicBezTo>
                <a:cubicBezTo>
                  <a:pt x="37" y="22"/>
                  <a:pt x="39" y="21"/>
                  <a:pt x="40" y="21"/>
                </a:cubicBezTo>
                <a:cubicBezTo>
                  <a:pt x="40" y="21"/>
                  <a:pt x="42" y="21"/>
                  <a:pt x="42" y="22"/>
                </a:cubicBezTo>
                <a:cubicBezTo>
                  <a:pt x="43" y="23"/>
                  <a:pt x="44" y="22"/>
                  <a:pt x="46" y="22"/>
                </a:cubicBezTo>
                <a:cubicBezTo>
                  <a:pt x="47" y="21"/>
                  <a:pt x="46" y="17"/>
                  <a:pt x="47" y="17"/>
                </a:cubicBezTo>
                <a:moveTo>
                  <a:pt x="52" y="35"/>
                </a:moveTo>
                <a:cubicBezTo>
                  <a:pt x="53" y="36"/>
                  <a:pt x="54" y="36"/>
                  <a:pt x="54" y="36"/>
                </a:cubicBezTo>
                <a:cubicBezTo>
                  <a:pt x="55" y="36"/>
                  <a:pt x="56" y="37"/>
                  <a:pt x="56" y="36"/>
                </a:cubicBezTo>
                <a:cubicBezTo>
                  <a:pt x="56" y="35"/>
                  <a:pt x="52" y="34"/>
                  <a:pt x="52" y="35"/>
                </a:cubicBezTo>
                <a:moveTo>
                  <a:pt x="49" y="32"/>
                </a:moveTo>
                <a:cubicBezTo>
                  <a:pt x="49" y="32"/>
                  <a:pt x="48" y="33"/>
                  <a:pt x="47" y="32"/>
                </a:cubicBezTo>
                <a:cubicBezTo>
                  <a:pt x="46" y="32"/>
                  <a:pt x="45" y="33"/>
                  <a:pt x="46" y="33"/>
                </a:cubicBezTo>
                <a:cubicBezTo>
                  <a:pt x="46" y="33"/>
                  <a:pt x="47" y="35"/>
                  <a:pt x="49" y="34"/>
                </a:cubicBezTo>
                <a:cubicBezTo>
                  <a:pt x="51" y="33"/>
                  <a:pt x="52" y="34"/>
                  <a:pt x="52" y="33"/>
                </a:cubicBezTo>
                <a:cubicBezTo>
                  <a:pt x="53" y="32"/>
                  <a:pt x="49" y="31"/>
                  <a:pt x="49"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403"/>
          <p:cNvSpPr>
            <a:spLocks noEditPoints="1"/>
          </p:cNvSpPr>
          <p:nvPr/>
        </p:nvSpPr>
        <p:spPr bwMode="auto">
          <a:xfrm>
            <a:off x="3513510" y="3371896"/>
            <a:ext cx="32174" cy="14299"/>
          </a:xfrm>
          <a:custGeom>
            <a:avLst/>
            <a:gdLst>
              <a:gd name="T0" fmla="*/ 0 w 7"/>
              <a:gd name="T1" fmla="*/ 2 h 3"/>
              <a:gd name="T2" fmla="*/ 0 w 7"/>
              <a:gd name="T3" fmla="*/ 2 h 3"/>
              <a:gd name="T4" fmla="*/ 0 w 7"/>
              <a:gd name="T5" fmla="*/ 2 h 3"/>
              <a:gd name="T6" fmla="*/ 1 w 7"/>
              <a:gd name="T7" fmla="*/ 2 h 3"/>
              <a:gd name="T8" fmla="*/ 0 w 7"/>
              <a:gd name="T9" fmla="*/ 2 h 3"/>
              <a:gd name="T10" fmla="*/ 0 w 7"/>
              <a:gd name="T11" fmla="*/ 2 h 3"/>
              <a:gd name="T12" fmla="*/ 4 w 7"/>
              <a:gd name="T13" fmla="*/ 0 h 3"/>
              <a:gd name="T14" fmla="*/ 2 w 7"/>
              <a:gd name="T15" fmla="*/ 1 h 3"/>
              <a:gd name="T16" fmla="*/ 1 w 7"/>
              <a:gd name="T17" fmla="*/ 2 h 3"/>
              <a:gd name="T18" fmla="*/ 2 w 7"/>
              <a:gd name="T19" fmla="*/ 2 h 3"/>
              <a:gd name="T20" fmla="*/ 7 w 7"/>
              <a:gd name="T21" fmla="*/ 0 h 3"/>
              <a:gd name="T22" fmla="*/ 4 w 7"/>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0" y="2"/>
                </a:moveTo>
                <a:cubicBezTo>
                  <a:pt x="0" y="2"/>
                  <a:pt x="0" y="2"/>
                  <a:pt x="0" y="2"/>
                </a:cubicBezTo>
                <a:cubicBezTo>
                  <a:pt x="0" y="2"/>
                  <a:pt x="0" y="3"/>
                  <a:pt x="0" y="2"/>
                </a:cubicBezTo>
                <a:cubicBezTo>
                  <a:pt x="1" y="2"/>
                  <a:pt x="1" y="2"/>
                  <a:pt x="1" y="2"/>
                </a:cubicBezTo>
                <a:cubicBezTo>
                  <a:pt x="1" y="2"/>
                  <a:pt x="1" y="2"/>
                  <a:pt x="0" y="2"/>
                </a:cubicBezTo>
                <a:cubicBezTo>
                  <a:pt x="0" y="2"/>
                  <a:pt x="0" y="2"/>
                  <a:pt x="0" y="2"/>
                </a:cubicBezTo>
                <a:moveTo>
                  <a:pt x="4" y="0"/>
                </a:moveTo>
                <a:cubicBezTo>
                  <a:pt x="3" y="0"/>
                  <a:pt x="2" y="1"/>
                  <a:pt x="2" y="1"/>
                </a:cubicBezTo>
                <a:cubicBezTo>
                  <a:pt x="2" y="1"/>
                  <a:pt x="2" y="1"/>
                  <a:pt x="1" y="2"/>
                </a:cubicBezTo>
                <a:cubicBezTo>
                  <a:pt x="2" y="2"/>
                  <a:pt x="2" y="2"/>
                  <a:pt x="2" y="2"/>
                </a:cubicBezTo>
                <a:cubicBezTo>
                  <a:pt x="3" y="2"/>
                  <a:pt x="7" y="1"/>
                  <a:pt x="7" y="0"/>
                </a:cubicBezTo>
                <a:cubicBezTo>
                  <a:pt x="7" y="0"/>
                  <a:pt x="5" y="0"/>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404"/>
          <p:cNvSpPr>
            <a:spLocks noEditPoints="1"/>
          </p:cNvSpPr>
          <p:nvPr/>
        </p:nvSpPr>
        <p:spPr bwMode="auto">
          <a:xfrm>
            <a:off x="2273038" y="2735573"/>
            <a:ext cx="121545" cy="128695"/>
          </a:xfrm>
          <a:custGeom>
            <a:avLst/>
            <a:gdLst>
              <a:gd name="T0" fmla="*/ 17 w 25"/>
              <a:gd name="T1" fmla="*/ 24 h 27"/>
              <a:gd name="T2" fmla="*/ 15 w 25"/>
              <a:gd name="T3" fmla="*/ 24 h 27"/>
              <a:gd name="T4" fmla="*/ 13 w 25"/>
              <a:gd name="T5" fmla="*/ 24 h 27"/>
              <a:gd name="T6" fmla="*/ 15 w 25"/>
              <a:gd name="T7" fmla="*/ 26 h 27"/>
              <a:gd name="T8" fmla="*/ 18 w 25"/>
              <a:gd name="T9" fmla="*/ 27 h 27"/>
              <a:gd name="T10" fmla="*/ 18 w 25"/>
              <a:gd name="T11" fmla="*/ 26 h 27"/>
              <a:gd name="T12" fmla="*/ 19 w 25"/>
              <a:gd name="T13" fmla="*/ 24 h 27"/>
              <a:gd name="T14" fmla="*/ 17 w 25"/>
              <a:gd name="T15" fmla="*/ 24 h 27"/>
              <a:gd name="T16" fmla="*/ 5 w 25"/>
              <a:gd name="T17" fmla="*/ 16 h 27"/>
              <a:gd name="T18" fmla="*/ 3 w 25"/>
              <a:gd name="T19" fmla="*/ 17 h 27"/>
              <a:gd name="T20" fmla="*/ 4 w 25"/>
              <a:gd name="T21" fmla="*/ 19 h 27"/>
              <a:gd name="T22" fmla="*/ 5 w 25"/>
              <a:gd name="T23" fmla="*/ 22 h 27"/>
              <a:gd name="T24" fmla="*/ 6 w 25"/>
              <a:gd name="T25" fmla="*/ 21 h 27"/>
              <a:gd name="T26" fmla="*/ 7 w 25"/>
              <a:gd name="T27" fmla="*/ 17 h 27"/>
              <a:gd name="T28" fmla="*/ 5 w 25"/>
              <a:gd name="T29" fmla="*/ 16 h 27"/>
              <a:gd name="T30" fmla="*/ 21 w 25"/>
              <a:gd name="T31" fmla="*/ 15 h 27"/>
              <a:gd name="T32" fmla="*/ 19 w 25"/>
              <a:gd name="T33" fmla="*/ 14 h 27"/>
              <a:gd name="T34" fmla="*/ 16 w 25"/>
              <a:gd name="T35" fmla="*/ 10 h 27"/>
              <a:gd name="T36" fmla="*/ 13 w 25"/>
              <a:gd name="T37" fmla="*/ 7 h 27"/>
              <a:gd name="T38" fmla="*/ 13 w 25"/>
              <a:gd name="T39" fmla="*/ 5 h 27"/>
              <a:gd name="T40" fmla="*/ 14 w 25"/>
              <a:gd name="T41" fmla="*/ 4 h 27"/>
              <a:gd name="T42" fmla="*/ 14 w 25"/>
              <a:gd name="T43" fmla="*/ 1 h 27"/>
              <a:gd name="T44" fmla="*/ 13 w 25"/>
              <a:gd name="T45" fmla="*/ 0 h 27"/>
              <a:gd name="T46" fmla="*/ 12 w 25"/>
              <a:gd name="T47" fmla="*/ 0 h 27"/>
              <a:gd name="T48" fmla="*/ 10 w 25"/>
              <a:gd name="T49" fmla="*/ 0 h 27"/>
              <a:gd name="T50" fmla="*/ 9 w 25"/>
              <a:gd name="T51" fmla="*/ 0 h 27"/>
              <a:gd name="T52" fmla="*/ 9 w 25"/>
              <a:gd name="T53" fmla="*/ 0 h 27"/>
              <a:gd name="T54" fmla="*/ 8 w 25"/>
              <a:gd name="T55" fmla="*/ 0 h 27"/>
              <a:gd name="T56" fmla="*/ 8 w 25"/>
              <a:gd name="T57" fmla="*/ 1 h 27"/>
              <a:gd name="T58" fmla="*/ 7 w 25"/>
              <a:gd name="T59" fmla="*/ 1 h 27"/>
              <a:gd name="T60" fmla="*/ 6 w 25"/>
              <a:gd name="T61" fmla="*/ 2 h 27"/>
              <a:gd name="T62" fmla="*/ 5 w 25"/>
              <a:gd name="T63" fmla="*/ 2 h 27"/>
              <a:gd name="T64" fmla="*/ 5 w 25"/>
              <a:gd name="T65" fmla="*/ 3 h 27"/>
              <a:gd name="T66" fmla="*/ 4 w 25"/>
              <a:gd name="T67" fmla="*/ 1 h 27"/>
              <a:gd name="T68" fmla="*/ 3 w 25"/>
              <a:gd name="T69" fmla="*/ 3 h 27"/>
              <a:gd name="T70" fmla="*/ 1 w 25"/>
              <a:gd name="T71" fmla="*/ 3 h 27"/>
              <a:gd name="T72" fmla="*/ 1 w 25"/>
              <a:gd name="T73" fmla="*/ 4 h 27"/>
              <a:gd name="T74" fmla="*/ 0 w 25"/>
              <a:gd name="T75" fmla="*/ 5 h 27"/>
              <a:gd name="T76" fmla="*/ 0 w 25"/>
              <a:gd name="T77" fmla="*/ 5 h 27"/>
              <a:gd name="T78" fmla="*/ 1 w 25"/>
              <a:gd name="T79" fmla="*/ 7 h 27"/>
              <a:gd name="T80" fmla="*/ 1 w 25"/>
              <a:gd name="T81" fmla="*/ 8 h 27"/>
              <a:gd name="T82" fmla="*/ 2 w 25"/>
              <a:gd name="T83" fmla="*/ 8 h 27"/>
              <a:gd name="T84" fmla="*/ 2 w 25"/>
              <a:gd name="T85" fmla="*/ 9 h 27"/>
              <a:gd name="T86" fmla="*/ 3 w 25"/>
              <a:gd name="T87" fmla="*/ 8 h 27"/>
              <a:gd name="T88" fmla="*/ 5 w 25"/>
              <a:gd name="T89" fmla="*/ 7 h 27"/>
              <a:gd name="T90" fmla="*/ 8 w 25"/>
              <a:gd name="T91" fmla="*/ 8 h 27"/>
              <a:gd name="T92" fmla="*/ 8 w 25"/>
              <a:gd name="T93" fmla="*/ 10 h 27"/>
              <a:gd name="T94" fmla="*/ 10 w 25"/>
              <a:gd name="T95" fmla="*/ 12 h 27"/>
              <a:gd name="T96" fmla="*/ 13 w 25"/>
              <a:gd name="T97" fmla="*/ 15 h 27"/>
              <a:gd name="T98" fmla="*/ 16 w 25"/>
              <a:gd name="T99" fmla="*/ 16 h 27"/>
              <a:gd name="T100" fmla="*/ 17 w 25"/>
              <a:gd name="T101" fmla="*/ 17 h 27"/>
              <a:gd name="T102" fmla="*/ 19 w 25"/>
              <a:gd name="T103" fmla="*/ 18 h 27"/>
              <a:gd name="T104" fmla="*/ 20 w 25"/>
              <a:gd name="T105" fmla="*/ 20 h 27"/>
              <a:gd name="T106" fmla="*/ 20 w 25"/>
              <a:gd name="T107" fmla="*/ 22 h 27"/>
              <a:gd name="T108" fmla="*/ 20 w 25"/>
              <a:gd name="T109" fmla="*/ 24 h 27"/>
              <a:gd name="T110" fmla="*/ 21 w 25"/>
              <a:gd name="T111" fmla="*/ 22 h 27"/>
              <a:gd name="T112" fmla="*/ 22 w 25"/>
              <a:gd name="T113" fmla="*/ 21 h 27"/>
              <a:gd name="T114" fmla="*/ 21 w 25"/>
              <a:gd name="T115" fmla="*/ 19 h 27"/>
              <a:gd name="T116" fmla="*/ 23 w 25"/>
              <a:gd name="T117" fmla="*/ 18 h 27"/>
              <a:gd name="T118" fmla="*/ 25 w 25"/>
              <a:gd name="T119" fmla="*/ 18 h 27"/>
              <a:gd name="T120" fmla="*/ 21 w 25"/>
              <a:gd name="T121"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 h="27">
                <a:moveTo>
                  <a:pt x="17" y="24"/>
                </a:moveTo>
                <a:cubicBezTo>
                  <a:pt x="16" y="24"/>
                  <a:pt x="15" y="24"/>
                  <a:pt x="15" y="24"/>
                </a:cubicBezTo>
                <a:cubicBezTo>
                  <a:pt x="14" y="23"/>
                  <a:pt x="13" y="24"/>
                  <a:pt x="13" y="24"/>
                </a:cubicBezTo>
                <a:cubicBezTo>
                  <a:pt x="13" y="25"/>
                  <a:pt x="13" y="25"/>
                  <a:pt x="15" y="26"/>
                </a:cubicBezTo>
                <a:cubicBezTo>
                  <a:pt x="17" y="26"/>
                  <a:pt x="17" y="27"/>
                  <a:pt x="18" y="27"/>
                </a:cubicBezTo>
                <a:cubicBezTo>
                  <a:pt x="18" y="27"/>
                  <a:pt x="18" y="27"/>
                  <a:pt x="18" y="26"/>
                </a:cubicBezTo>
                <a:cubicBezTo>
                  <a:pt x="18" y="25"/>
                  <a:pt x="19" y="24"/>
                  <a:pt x="19" y="24"/>
                </a:cubicBezTo>
                <a:cubicBezTo>
                  <a:pt x="19" y="24"/>
                  <a:pt x="19" y="23"/>
                  <a:pt x="17" y="24"/>
                </a:cubicBezTo>
                <a:moveTo>
                  <a:pt x="5" y="16"/>
                </a:moveTo>
                <a:cubicBezTo>
                  <a:pt x="4" y="17"/>
                  <a:pt x="3" y="16"/>
                  <a:pt x="3" y="17"/>
                </a:cubicBezTo>
                <a:cubicBezTo>
                  <a:pt x="3" y="17"/>
                  <a:pt x="4" y="18"/>
                  <a:pt x="4" y="19"/>
                </a:cubicBezTo>
                <a:cubicBezTo>
                  <a:pt x="4" y="21"/>
                  <a:pt x="4" y="22"/>
                  <a:pt x="5" y="22"/>
                </a:cubicBezTo>
                <a:cubicBezTo>
                  <a:pt x="6" y="21"/>
                  <a:pt x="6" y="21"/>
                  <a:pt x="6" y="21"/>
                </a:cubicBezTo>
                <a:cubicBezTo>
                  <a:pt x="7" y="20"/>
                  <a:pt x="6" y="18"/>
                  <a:pt x="7" y="17"/>
                </a:cubicBezTo>
                <a:cubicBezTo>
                  <a:pt x="7" y="16"/>
                  <a:pt x="5" y="16"/>
                  <a:pt x="5" y="16"/>
                </a:cubicBezTo>
                <a:moveTo>
                  <a:pt x="21" y="15"/>
                </a:moveTo>
                <a:cubicBezTo>
                  <a:pt x="20" y="15"/>
                  <a:pt x="20" y="14"/>
                  <a:pt x="19" y="14"/>
                </a:cubicBezTo>
                <a:cubicBezTo>
                  <a:pt x="18" y="14"/>
                  <a:pt x="16" y="12"/>
                  <a:pt x="16" y="10"/>
                </a:cubicBezTo>
                <a:cubicBezTo>
                  <a:pt x="15" y="8"/>
                  <a:pt x="13" y="8"/>
                  <a:pt x="13" y="7"/>
                </a:cubicBezTo>
                <a:cubicBezTo>
                  <a:pt x="12" y="6"/>
                  <a:pt x="13" y="6"/>
                  <a:pt x="13" y="5"/>
                </a:cubicBezTo>
                <a:cubicBezTo>
                  <a:pt x="12" y="4"/>
                  <a:pt x="13" y="4"/>
                  <a:pt x="14" y="4"/>
                </a:cubicBezTo>
                <a:cubicBezTo>
                  <a:pt x="14" y="3"/>
                  <a:pt x="14" y="1"/>
                  <a:pt x="14" y="1"/>
                </a:cubicBezTo>
                <a:cubicBezTo>
                  <a:pt x="13" y="1"/>
                  <a:pt x="13" y="1"/>
                  <a:pt x="13" y="0"/>
                </a:cubicBezTo>
                <a:cubicBezTo>
                  <a:pt x="12" y="0"/>
                  <a:pt x="12" y="0"/>
                  <a:pt x="12" y="0"/>
                </a:cubicBezTo>
                <a:cubicBezTo>
                  <a:pt x="12" y="0"/>
                  <a:pt x="11" y="0"/>
                  <a:pt x="10" y="0"/>
                </a:cubicBezTo>
                <a:cubicBezTo>
                  <a:pt x="10" y="0"/>
                  <a:pt x="9" y="0"/>
                  <a:pt x="9" y="0"/>
                </a:cubicBezTo>
                <a:cubicBezTo>
                  <a:pt x="9" y="0"/>
                  <a:pt x="9" y="0"/>
                  <a:pt x="9" y="0"/>
                </a:cubicBezTo>
                <a:cubicBezTo>
                  <a:pt x="8" y="0"/>
                  <a:pt x="8" y="0"/>
                  <a:pt x="8" y="0"/>
                </a:cubicBezTo>
                <a:cubicBezTo>
                  <a:pt x="8" y="0"/>
                  <a:pt x="8" y="1"/>
                  <a:pt x="8" y="1"/>
                </a:cubicBezTo>
                <a:cubicBezTo>
                  <a:pt x="8" y="1"/>
                  <a:pt x="7" y="1"/>
                  <a:pt x="7" y="1"/>
                </a:cubicBezTo>
                <a:cubicBezTo>
                  <a:pt x="7" y="2"/>
                  <a:pt x="7" y="2"/>
                  <a:pt x="6" y="2"/>
                </a:cubicBezTo>
                <a:cubicBezTo>
                  <a:pt x="6" y="1"/>
                  <a:pt x="5" y="2"/>
                  <a:pt x="5" y="2"/>
                </a:cubicBezTo>
                <a:cubicBezTo>
                  <a:pt x="5" y="2"/>
                  <a:pt x="5" y="3"/>
                  <a:pt x="5" y="3"/>
                </a:cubicBezTo>
                <a:cubicBezTo>
                  <a:pt x="4" y="2"/>
                  <a:pt x="4" y="1"/>
                  <a:pt x="4" y="1"/>
                </a:cubicBezTo>
                <a:cubicBezTo>
                  <a:pt x="3" y="1"/>
                  <a:pt x="3" y="3"/>
                  <a:pt x="3" y="3"/>
                </a:cubicBezTo>
                <a:cubicBezTo>
                  <a:pt x="2" y="3"/>
                  <a:pt x="1" y="3"/>
                  <a:pt x="1" y="3"/>
                </a:cubicBezTo>
                <a:cubicBezTo>
                  <a:pt x="0" y="4"/>
                  <a:pt x="1" y="4"/>
                  <a:pt x="1" y="4"/>
                </a:cubicBezTo>
                <a:cubicBezTo>
                  <a:pt x="1" y="4"/>
                  <a:pt x="1" y="5"/>
                  <a:pt x="0" y="5"/>
                </a:cubicBezTo>
                <a:cubicBezTo>
                  <a:pt x="0" y="5"/>
                  <a:pt x="0" y="5"/>
                  <a:pt x="0" y="5"/>
                </a:cubicBezTo>
                <a:cubicBezTo>
                  <a:pt x="0" y="6"/>
                  <a:pt x="1" y="6"/>
                  <a:pt x="1" y="7"/>
                </a:cubicBezTo>
                <a:cubicBezTo>
                  <a:pt x="0" y="7"/>
                  <a:pt x="1" y="8"/>
                  <a:pt x="1" y="8"/>
                </a:cubicBezTo>
                <a:cubicBezTo>
                  <a:pt x="2" y="8"/>
                  <a:pt x="2" y="8"/>
                  <a:pt x="2" y="8"/>
                </a:cubicBezTo>
                <a:cubicBezTo>
                  <a:pt x="2" y="8"/>
                  <a:pt x="2" y="8"/>
                  <a:pt x="2" y="9"/>
                </a:cubicBezTo>
                <a:cubicBezTo>
                  <a:pt x="2" y="9"/>
                  <a:pt x="3" y="9"/>
                  <a:pt x="3" y="8"/>
                </a:cubicBezTo>
                <a:cubicBezTo>
                  <a:pt x="4" y="8"/>
                  <a:pt x="3" y="7"/>
                  <a:pt x="5" y="7"/>
                </a:cubicBezTo>
                <a:cubicBezTo>
                  <a:pt x="6" y="7"/>
                  <a:pt x="7" y="8"/>
                  <a:pt x="8" y="8"/>
                </a:cubicBezTo>
                <a:cubicBezTo>
                  <a:pt x="8" y="9"/>
                  <a:pt x="8" y="9"/>
                  <a:pt x="8" y="10"/>
                </a:cubicBezTo>
                <a:cubicBezTo>
                  <a:pt x="8" y="10"/>
                  <a:pt x="9" y="11"/>
                  <a:pt x="10" y="12"/>
                </a:cubicBezTo>
                <a:cubicBezTo>
                  <a:pt x="12" y="13"/>
                  <a:pt x="13" y="15"/>
                  <a:pt x="13" y="15"/>
                </a:cubicBezTo>
                <a:cubicBezTo>
                  <a:pt x="14" y="15"/>
                  <a:pt x="15" y="15"/>
                  <a:pt x="16" y="16"/>
                </a:cubicBezTo>
                <a:cubicBezTo>
                  <a:pt x="16" y="16"/>
                  <a:pt x="17" y="17"/>
                  <a:pt x="17" y="17"/>
                </a:cubicBezTo>
                <a:cubicBezTo>
                  <a:pt x="18" y="18"/>
                  <a:pt x="18" y="18"/>
                  <a:pt x="19" y="18"/>
                </a:cubicBezTo>
                <a:cubicBezTo>
                  <a:pt x="20" y="19"/>
                  <a:pt x="19" y="19"/>
                  <a:pt x="20" y="20"/>
                </a:cubicBezTo>
                <a:cubicBezTo>
                  <a:pt x="20" y="20"/>
                  <a:pt x="20" y="22"/>
                  <a:pt x="20" y="22"/>
                </a:cubicBezTo>
                <a:cubicBezTo>
                  <a:pt x="19" y="23"/>
                  <a:pt x="20" y="24"/>
                  <a:pt x="20" y="24"/>
                </a:cubicBezTo>
                <a:cubicBezTo>
                  <a:pt x="20" y="24"/>
                  <a:pt x="21" y="23"/>
                  <a:pt x="21" y="22"/>
                </a:cubicBezTo>
                <a:cubicBezTo>
                  <a:pt x="21" y="21"/>
                  <a:pt x="22" y="21"/>
                  <a:pt x="22" y="21"/>
                </a:cubicBezTo>
                <a:cubicBezTo>
                  <a:pt x="23" y="20"/>
                  <a:pt x="22" y="20"/>
                  <a:pt x="21" y="19"/>
                </a:cubicBezTo>
                <a:cubicBezTo>
                  <a:pt x="21" y="18"/>
                  <a:pt x="22" y="17"/>
                  <a:pt x="23" y="18"/>
                </a:cubicBezTo>
                <a:cubicBezTo>
                  <a:pt x="25" y="19"/>
                  <a:pt x="25" y="19"/>
                  <a:pt x="25" y="18"/>
                </a:cubicBezTo>
                <a:cubicBezTo>
                  <a:pt x="25" y="17"/>
                  <a:pt x="22" y="16"/>
                  <a:pt x="21"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405"/>
          <p:cNvSpPr>
            <a:spLocks/>
          </p:cNvSpPr>
          <p:nvPr/>
        </p:nvSpPr>
        <p:spPr bwMode="auto">
          <a:xfrm>
            <a:off x="2394583" y="2782046"/>
            <a:ext cx="14299" cy="14299"/>
          </a:xfrm>
          <a:custGeom>
            <a:avLst/>
            <a:gdLst>
              <a:gd name="T0" fmla="*/ 1 w 3"/>
              <a:gd name="T1" fmla="*/ 0 h 3"/>
              <a:gd name="T2" fmla="*/ 0 w 3"/>
              <a:gd name="T3" fmla="*/ 1 h 3"/>
              <a:gd name="T4" fmla="*/ 0 w 3"/>
              <a:gd name="T5" fmla="*/ 2 h 3"/>
              <a:gd name="T6" fmla="*/ 2 w 3"/>
              <a:gd name="T7" fmla="*/ 3 h 3"/>
              <a:gd name="T8" fmla="*/ 2 w 3"/>
              <a:gd name="T9" fmla="*/ 3 h 3"/>
              <a:gd name="T10" fmla="*/ 3 w 3"/>
              <a:gd name="T11" fmla="*/ 2 h 3"/>
              <a:gd name="T12" fmla="*/ 1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0"/>
                </a:moveTo>
                <a:cubicBezTo>
                  <a:pt x="1" y="0"/>
                  <a:pt x="0" y="1"/>
                  <a:pt x="0" y="1"/>
                </a:cubicBezTo>
                <a:cubicBezTo>
                  <a:pt x="0" y="1"/>
                  <a:pt x="0" y="2"/>
                  <a:pt x="0" y="2"/>
                </a:cubicBezTo>
                <a:cubicBezTo>
                  <a:pt x="1" y="3"/>
                  <a:pt x="1" y="3"/>
                  <a:pt x="2" y="3"/>
                </a:cubicBezTo>
                <a:cubicBezTo>
                  <a:pt x="2" y="3"/>
                  <a:pt x="2" y="3"/>
                  <a:pt x="2" y="3"/>
                </a:cubicBezTo>
                <a:cubicBezTo>
                  <a:pt x="2" y="3"/>
                  <a:pt x="2" y="2"/>
                  <a:pt x="3" y="2"/>
                </a:cubicBezTo>
                <a:cubicBezTo>
                  <a:pt x="2" y="1"/>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406"/>
          <p:cNvSpPr>
            <a:spLocks/>
          </p:cNvSpPr>
          <p:nvPr/>
        </p:nvSpPr>
        <p:spPr bwMode="auto">
          <a:xfrm>
            <a:off x="2398158" y="2746297"/>
            <a:ext cx="42898" cy="50048"/>
          </a:xfrm>
          <a:custGeom>
            <a:avLst/>
            <a:gdLst>
              <a:gd name="T0" fmla="*/ 8 w 9"/>
              <a:gd name="T1" fmla="*/ 7 h 11"/>
              <a:gd name="T2" fmla="*/ 8 w 9"/>
              <a:gd name="T3" fmla="*/ 6 h 11"/>
              <a:gd name="T4" fmla="*/ 8 w 9"/>
              <a:gd name="T5" fmla="*/ 5 h 11"/>
              <a:gd name="T6" fmla="*/ 5 w 9"/>
              <a:gd name="T7" fmla="*/ 4 h 11"/>
              <a:gd name="T8" fmla="*/ 5 w 9"/>
              <a:gd name="T9" fmla="*/ 2 h 11"/>
              <a:gd name="T10" fmla="*/ 4 w 9"/>
              <a:gd name="T11" fmla="*/ 2 h 11"/>
              <a:gd name="T12" fmla="*/ 4 w 9"/>
              <a:gd name="T13" fmla="*/ 0 h 11"/>
              <a:gd name="T14" fmla="*/ 4 w 9"/>
              <a:gd name="T15" fmla="*/ 0 h 11"/>
              <a:gd name="T16" fmla="*/ 3 w 9"/>
              <a:gd name="T17" fmla="*/ 0 h 11"/>
              <a:gd name="T18" fmla="*/ 2 w 9"/>
              <a:gd name="T19" fmla="*/ 0 h 11"/>
              <a:gd name="T20" fmla="*/ 0 w 9"/>
              <a:gd name="T21" fmla="*/ 1 h 11"/>
              <a:gd name="T22" fmla="*/ 0 w 9"/>
              <a:gd name="T23" fmla="*/ 2 h 11"/>
              <a:gd name="T24" fmla="*/ 1 w 9"/>
              <a:gd name="T25" fmla="*/ 3 h 11"/>
              <a:gd name="T26" fmla="*/ 1 w 9"/>
              <a:gd name="T27" fmla="*/ 7 h 11"/>
              <a:gd name="T28" fmla="*/ 0 w 9"/>
              <a:gd name="T29" fmla="*/ 8 h 11"/>
              <a:gd name="T30" fmla="*/ 2 w 9"/>
              <a:gd name="T31" fmla="*/ 10 h 11"/>
              <a:gd name="T32" fmla="*/ 2 w 9"/>
              <a:gd name="T33" fmla="*/ 10 h 11"/>
              <a:gd name="T34" fmla="*/ 4 w 9"/>
              <a:gd name="T35" fmla="*/ 11 h 11"/>
              <a:gd name="T36" fmla="*/ 8 w 9"/>
              <a:gd name="T37" fmla="*/ 10 h 11"/>
              <a:gd name="T38" fmla="*/ 8 w 9"/>
              <a:gd name="T39" fmla="*/ 10 h 11"/>
              <a:gd name="T40" fmla="*/ 9 w 9"/>
              <a:gd name="T41" fmla="*/ 9 h 11"/>
              <a:gd name="T42" fmla="*/ 8 w 9"/>
              <a:gd name="T4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1">
                <a:moveTo>
                  <a:pt x="8" y="7"/>
                </a:moveTo>
                <a:cubicBezTo>
                  <a:pt x="7" y="7"/>
                  <a:pt x="7" y="6"/>
                  <a:pt x="8" y="6"/>
                </a:cubicBezTo>
                <a:cubicBezTo>
                  <a:pt x="8" y="5"/>
                  <a:pt x="8" y="5"/>
                  <a:pt x="8" y="5"/>
                </a:cubicBezTo>
                <a:cubicBezTo>
                  <a:pt x="8" y="4"/>
                  <a:pt x="6" y="4"/>
                  <a:pt x="5" y="4"/>
                </a:cubicBezTo>
                <a:cubicBezTo>
                  <a:pt x="5" y="4"/>
                  <a:pt x="6" y="2"/>
                  <a:pt x="5" y="2"/>
                </a:cubicBezTo>
                <a:cubicBezTo>
                  <a:pt x="5" y="2"/>
                  <a:pt x="4" y="2"/>
                  <a:pt x="4" y="2"/>
                </a:cubicBezTo>
                <a:cubicBezTo>
                  <a:pt x="4" y="1"/>
                  <a:pt x="4" y="1"/>
                  <a:pt x="4" y="0"/>
                </a:cubicBezTo>
                <a:cubicBezTo>
                  <a:pt x="4" y="0"/>
                  <a:pt x="4" y="0"/>
                  <a:pt x="4" y="0"/>
                </a:cubicBezTo>
                <a:cubicBezTo>
                  <a:pt x="3" y="0"/>
                  <a:pt x="3" y="0"/>
                  <a:pt x="3" y="0"/>
                </a:cubicBezTo>
                <a:cubicBezTo>
                  <a:pt x="3" y="0"/>
                  <a:pt x="2" y="0"/>
                  <a:pt x="2" y="0"/>
                </a:cubicBezTo>
                <a:cubicBezTo>
                  <a:pt x="2" y="0"/>
                  <a:pt x="1" y="0"/>
                  <a:pt x="0" y="1"/>
                </a:cubicBezTo>
                <a:cubicBezTo>
                  <a:pt x="0" y="1"/>
                  <a:pt x="0" y="2"/>
                  <a:pt x="0" y="2"/>
                </a:cubicBezTo>
                <a:cubicBezTo>
                  <a:pt x="1" y="2"/>
                  <a:pt x="1" y="3"/>
                  <a:pt x="1" y="3"/>
                </a:cubicBezTo>
                <a:cubicBezTo>
                  <a:pt x="1" y="4"/>
                  <a:pt x="1" y="7"/>
                  <a:pt x="1" y="7"/>
                </a:cubicBezTo>
                <a:cubicBezTo>
                  <a:pt x="1" y="7"/>
                  <a:pt x="0" y="7"/>
                  <a:pt x="0" y="8"/>
                </a:cubicBezTo>
                <a:cubicBezTo>
                  <a:pt x="1" y="8"/>
                  <a:pt x="1" y="9"/>
                  <a:pt x="2" y="10"/>
                </a:cubicBezTo>
                <a:cubicBezTo>
                  <a:pt x="2" y="10"/>
                  <a:pt x="2" y="10"/>
                  <a:pt x="2" y="10"/>
                </a:cubicBezTo>
                <a:cubicBezTo>
                  <a:pt x="2" y="10"/>
                  <a:pt x="4" y="11"/>
                  <a:pt x="4" y="11"/>
                </a:cubicBezTo>
                <a:cubicBezTo>
                  <a:pt x="4" y="11"/>
                  <a:pt x="6" y="10"/>
                  <a:pt x="8" y="10"/>
                </a:cubicBezTo>
                <a:cubicBezTo>
                  <a:pt x="8" y="10"/>
                  <a:pt x="8" y="10"/>
                  <a:pt x="8" y="10"/>
                </a:cubicBezTo>
                <a:cubicBezTo>
                  <a:pt x="8" y="9"/>
                  <a:pt x="8" y="9"/>
                  <a:pt x="9" y="9"/>
                </a:cubicBezTo>
                <a:cubicBezTo>
                  <a:pt x="9" y="9"/>
                  <a:pt x="8" y="8"/>
                  <a:pt x="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407"/>
          <p:cNvSpPr>
            <a:spLocks/>
          </p:cNvSpPr>
          <p:nvPr/>
        </p:nvSpPr>
        <p:spPr bwMode="auto">
          <a:xfrm>
            <a:off x="3431289" y="1738190"/>
            <a:ext cx="607800" cy="722119"/>
          </a:xfrm>
          <a:custGeom>
            <a:avLst/>
            <a:gdLst>
              <a:gd name="T0" fmla="*/ 0 w 300"/>
              <a:gd name="T1" fmla="*/ 202 h 202"/>
              <a:gd name="T2" fmla="*/ 0 w 300"/>
              <a:gd name="T3" fmla="*/ 0 h 202"/>
              <a:gd name="T4" fmla="*/ 300 w 300"/>
              <a:gd name="T5" fmla="*/ 0 h 202"/>
            </a:gdLst>
            <a:ahLst/>
            <a:cxnLst>
              <a:cxn ang="0">
                <a:pos x="T0" y="T1"/>
              </a:cxn>
              <a:cxn ang="0">
                <a:pos x="T2" y="T3"/>
              </a:cxn>
              <a:cxn ang="0">
                <a:pos x="T4" y="T5"/>
              </a:cxn>
            </a:cxnLst>
            <a:rect l="0" t="0" r="r" b="b"/>
            <a:pathLst>
              <a:path w="300" h="202">
                <a:moveTo>
                  <a:pt x="0" y="202"/>
                </a:moveTo>
                <a:lnTo>
                  <a:pt x="0" y="0"/>
                </a:lnTo>
                <a:lnTo>
                  <a:pt x="30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97" name="Group 196"/>
          <p:cNvGrpSpPr/>
          <p:nvPr/>
        </p:nvGrpSpPr>
        <p:grpSpPr>
          <a:xfrm>
            <a:off x="3349067" y="2374513"/>
            <a:ext cx="164443" cy="164443"/>
            <a:chOff x="3349067" y="2374513"/>
            <a:chExt cx="164443" cy="164443"/>
          </a:xfrm>
        </p:grpSpPr>
        <p:sp>
          <p:nvSpPr>
            <p:cNvPr id="181" name="Oval 408"/>
            <p:cNvSpPr>
              <a:spLocks noChangeArrowheads="1"/>
            </p:cNvSpPr>
            <p:nvPr/>
          </p:nvSpPr>
          <p:spPr bwMode="auto">
            <a:xfrm>
              <a:off x="3359792" y="2381663"/>
              <a:ext cx="142994" cy="14656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3" name="Freeform 410"/>
          <p:cNvSpPr>
            <a:spLocks/>
          </p:cNvSpPr>
          <p:nvPr/>
        </p:nvSpPr>
        <p:spPr bwMode="auto">
          <a:xfrm>
            <a:off x="1676038" y="3436243"/>
            <a:ext cx="1068879" cy="722119"/>
          </a:xfrm>
          <a:custGeom>
            <a:avLst/>
            <a:gdLst>
              <a:gd name="T0" fmla="*/ 0 w 299"/>
              <a:gd name="T1" fmla="*/ 0 h 202"/>
              <a:gd name="T2" fmla="*/ 0 w 299"/>
              <a:gd name="T3" fmla="*/ 202 h 202"/>
              <a:gd name="T4" fmla="*/ 299 w 299"/>
              <a:gd name="T5" fmla="*/ 202 h 202"/>
            </a:gdLst>
            <a:ahLst/>
            <a:cxnLst>
              <a:cxn ang="0">
                <a:pos x="T0" y="T1"/>
              </a:cxn>
              <a:cxn ang="0">
                <a:pos x="T2" y="T3"/>
              </a:cxn>
              <a:cxn ang="0">
                <a:pos x="T4" y="T5"/>
              </a:cxn>
            </a:cxnLst>
            <a:rect l="0" t="0" r="r" b="b"/>
            <a:pathLst>
              <a:path w="299" h="202">
                <a:moveTo>
                  <a:pt x="0" y="0"/>
                </a:moveTo>
                <a:lnTo>
                  <a:pt x="0" y="202"/>
                </a:lnTo>
                <a:lnTo>
                  <a:pt x="299" y="202"/>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Oval 411"/>
          <p:cNvSpPr>
            <a:spLocks noChangeArrowheads="1"/>
          </p:cNvSpPr>
          <p:nvPr/>
        </p:nvSpPr>
        <p:spPr bwMode="auto">
          <a:xfrm>
            <a:off x="1600967" y="3368321"/>
            <a:ext cx="146569" cy="142994"/>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412"/>
          <p:cNvSpPr>
            <a:spLocks noEditPoints="1"/>
          </p:cNvSpPr>
          <p:nvPr/>
        </p:nvSpPr>
        <p:spPr bwMode="auto">
          <a:xfrm>
            <a:off x="1593817" y="3357596"/>
            <a:ext cx="164443" cy="164443"/>
          </a:xfrm>
          <a:custGeom>
            <a:avLst/>
            <a:gdLst>
              <a:gd name="T0" fmla="*/ 0 w 34"/>
              <a:gd name="T1" fmla="*/ 17 h 34"/>
              <a:gd name="T2" fmla="*/ 17 w 34"/>
              <a:gd name="T3" fmla="*/ 34 h 34"/>
              <a:gd name="T4" fmla="*/ 34 w 34"/>
              <a:gd name="T5" fmla="*/ 17 h 34"/>
              <a:gd name="T6" fmla="*/ 17 w 34"/>
              <a:gd name="T7" fmla="*/ 0 h 34"/>
              <a:gd name="T8" fmla="*/ 0 w 34"/>
              <a:gd name="T9" fmla="*/ 17 h 34"/>
              <a:gd name="T10" fmla="*/ 0 w 34"/>
              <a:gd name="T11" fmla="*/ 17 h 34"/>
              <a:gd name="T12" fmla="*/ 30 w 34"/>
              <a:gd name="T13" fmla="*/ 17 h 34"/>
              <a:gd name="T14" fmla="*/ 17 w 34"/>
              <a:gd name="T15" fmla="*/ 30 h 34"/>
              <a:gd name="T16" fmla="*/ 4 w 34"/>
              <a:gd name="T17" fmla="*/ 17 h 34"/>
              <a:gd name="T18" fmla="*/ 17 w 34"/>
              <a:gd name="T19" fmla="*/ 4 h 34"/>
              <a:gd name="T20" fmla="*/ 30 w 34"/>
              <a:gd name="T21" fmla="*/ 17 h 34"/>
              <a:gd name="T22" fmla="*/ 30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0" y="17"/>
                </a:moveTo>
                <a:cubicBezTo>
                  <a:pt x="0" y="26"/>
                  <a:pt x="8" y="34"/>
                  <a:pt x="17" y="34"/>
                </a:cubicBezTo>
                <a:cubicBezTo>
                  <a:pt x="26" y="34"/>
                  <a:pt x="34" y="26"/>
                  <a:pt x="34" y="17"/>
                </a:cubicBezTo>
                <a:cubicBezTo>
                  <a:pt x="34" y="8"/>
                  <a:pt x="26" y="0"/>
                  <a:pt x="17" y="0"/>
                </a:cubicBezTo>
                <a:cubicBezTo>
                  <a:pt x="8" y="0"/>
                  <a:pt x="0" y="8"/>
                  <a:pt x="0" y="17"/>
                </a:cubicBezTo>
                <a:cubicBezTo>
                  <a:pt x="0" y="26"/>
                  <a:pt x="0" y="8"/>
                  <a:pt x="0" y="17"/>
                </a:cubicBezTo>
                <a:moveTo>
                  <a:pt x="30" y="17"/>
                </a:moveTo>
                <a:cubicBezTo>
                  <a:pt x="30" y="24"/>
                  <a:pt x="24" y="30"/>
                  <a:pt x="17" y="30"/>
                </a:cubicBezTo>
                <a:cubicBezTo>
                  <a:pt x="10" y="30"/>
                  <a:pt x="4" y="24"/>
                  <a:pt x="4" y="17"/>
                </a:cubicBezTo>
                <a:cubicBezTo>
                  <a:pt x="4" y="10"/>
                  <a:pt x="10" y="4"/>
                  <a:pt x="17" y="4"/>
                </a:cubicBezTo>
                <a:cubicBezTo>
                  <a:pt x="24" y="4"/>
                  <a:pt x="30" y="10"/>
                  <a:pt x="30" y="17"/>
                </a:cubicBezTo>
                <a:cubicBezTo>
                  <a:pt x="30" y="24"/>
                  <a:pt x="30" y="10"/>
                  <a:pt x="30"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413"/>
          <p:cNvSpPr>
            <a:spLocks/>
          </p:cNvSpPr>
          <p:nvPr/>
        </p:nvSpPr>
        <p:spPr bwMode="auto">
          <a:xfrm>
            <a:off x="768027" y="1505825"/>
            <a:ext cx="1004532" cy="625598"/>
          </a:xfrm>
          <a:custGeom>
            <a:avLst/>
            <a:gdLst>
              <a:gd name="T0" fmla="*/ 281 w 281"/>
              <a:gd name="T1" fmla="*/ 201 h 201"/>
              <a:gd name="T2" fmla="*/ 281 w 281"/>
              <a:gd name="T3" fmla="*/ 0 h 201"/>
              <a:gd name="T4" fmla="*/ 0 w 281"/>
              <a:gd name="T5" fmla="*/ 0 h 201"/>
            </a:gdLst>
            <a:ahLst/>
            <a:cxnLst>
              <a:cxn ang="0">
                <a:pos x="T0" y="T1"/>
              </a:cxn>
              <a:cxn ang="0">
                <a:pos x="T2" y="T3"/>
              </a:cxn>
              <a:cxn ang="0">
                <a:pos x="T4" y="T5"/>
              </a:cxn>
            </a:cxnLst>
            <a:rect l="0" t="0" r="r" b="b"/>
            <a:pathLst>
              <a:path w="281" h="201">
                <a:moveTo>
                  <a:pt x="281" y="201"/>
                </a:moveTo>
                <a:lnTo>
                  <a:pt x="281" y="0"/>
                </a:lnTo>
                <a:lnTo>
                  <a:pt x="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Oval 414"/>
          <p:cNvSpPr>
            <a:spLocks noChangeArrowheads="1"/>
          </p:cNvSpPr>
          <p:nvPr/>
        </p:nvSpPr>
        <p:spPr bwMode="auto">
          <a:xfrm>
            <a:off x="1697488" y="2056352"/>
            <a:ext cx="146569" cy="142994"/>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415"/>
          <p:cNvSpPr>
            <a:spLocks noEditPoints="1"/>
          </p:cNvSpPr>
          <p:nvPr/>
        </p:nvSpPr>
        <p:spPr bwMode="auto">
          <a:xfrm>
            <a:off x="1690338" y="2045627"/>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8"/>
                  <a:pt x="26" y="0"/>
                  <a:pt x="17" y="0"/>
                </a:cubicBezTo>
                <a:cubicBezTo>
                  <a:pt x="7" y="0"/>
                  <a:pt x="0" y="8"/>
                  <a:pt x="0" y="17"/>
                </a:cubicBezTo>
                <a:cubicBezTo>
                  <a:pt x="0" y="27"/>
                  <a:pt x="7" y="34"/>
                  <a:pt x="17" y="34"/>
                </a:cubicBezTo>
                <a:cubicBezTo>
                  <a:pt x="26" y="34"/>
                  <a:pt x="34" y="27"/>
                  <a:pt x="34" y="17"/>
                </a:cubicBezTo>
                <a:cubicBezTo>
                  <a:pt x="34" y="8"/>
                  <a:pt x="34" y="27"/>
                  <a:pt x="34" y="17"/>
                </a:cubicBezTo>
                <a:moveTo>
                  <a:pt x="4" y="17"/>
                </a:moveTo>
                <a:cubicBezTo>
                  <a:pt x="4" y="10"/>
                  <a:pt x="9" y="4"/>
                  <a:pt x="17" y="4"/>
                </a:cubicBezTo>
                <a:cubicBezTo>
                  <a:pt x="24" y="4"/>
                  <a:pt x="30" y="10"/>
                  <a:pt x="30" y="17"/>
                </a:cubicBezTo>
                <a:cubicBezTo>
                  <a:pt x="30" y="24"/>
                  <a:pt x="24" y="30"/>
                  <a:pt x="17" y="30"/>
                </a:cubicBezTo>
                <a:cubicBezTo>
                  <a:pt x="9"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Text Placeholder 2"/>
          <p:cNvSpPr txBox="1">
            <a:spLocks/>
          </p:cNvSpPr>
          <p:nvPr/>
        </p:nvSpPr>
        <p:spPr>
          <a:xfrm>
            <a:off x="4159037" y="152320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2</a:t>
            </a:r>
          </a:p>
          <a:p>
            <a:pPr>
              <a:lnSpc>
                <a:spcPct val="100000"/>
              </a:lnSpc>
              <a:spcAft>
                <a:spcPts val="0"/>
              </a:spcAft>
              <a:buClr>
                <a:schemeClr val="tx2"/>
              </a:buClr>
            </a:pPr>
            <a:r>
              <a:rPr lang="en-US" sz="1200" dirty="0">
                <a:solidFill>
                  <a:schemeClr val="bg1"/>
                </a:solidFill>
              </a:rPr>
              <a:t>Lorem ipsum</a:t>
            </a:r>
          </a:p>
        </p:txBody>
      </p:sp>
      <p:sp>
        <p:nvSpPr>
          <p:cNvPr id="191" name="Text Placeholder 2"/>
          <p:cNvSpPr txBox="1">
            <a:spLocks/>
          </p:cNvSpPr>
          <p:nvPr/>
        </p:nvSpPr>
        <p:spPr>
          <a:xfrm>
            <a:off x="396243" y="140068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1</a:t>
            </a:r>
          </a:p>
          <a:p>
            <a:pPr>
              <a:lnSpc>
                <a:spcPct val="100000"/>
              </a:lnSpc>
              <a:spcAft>
                <a:spcPts val="0"/>
              </a:spcAft>
              <a:buClr>
                <a:schemeClr val="tx2"/>
              </a:buClr>
            </a:pPr>
            <a:r>
              <a:rPr lang="en-US" sz="1200" dirty="0">
                <a:solidFill>
                  <a:schemeClr val="bg1"/>
                </a:solidFill>
              </a:rPr>
              <a:t>Lorem ipsum</a:t>
            </a:r>
          </a:p>
        </p:txBody>
      </p:sp>
      <p:sp>
        <p:nvSpPr>
          <p:cNvPr id="192" name="Text Placeholder 2"/>
          <p:cNvSpPr txBox="1">
            <a:spLocks/>
          </p:cNvSpPr>
          <p:nvPr/>
        </p:nvSpPr>
        <p:spPr>
          <a:xfrm>
            <a:off x="2783373" y="3949410"/>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3</a:t>
            </a:r>
          </a:p>
          <a:p>
            <a:pPr>
              <a:lnSpc>
                <a:spcPct val="100000"/>
              </a:lnSpc>
              <a:spcAft>
                <a:spcPts val="0"/>
              </a:spcAft>
              <a:buClr>
                <a:schemeClr val="tx2"/>
              </a:buClr>
            </a:pPr>
            <a:r>
              <a:rPr lang="en-US" sz="1200" dirty="0">
                <a:solidFill>
                  <a:schemeClr val="bg1"/>
                </a:solidFill>
              </a:rPr>
              <a:t>Lorem ipsum</a:t>
            </a:r>
          </a:p>
        </p:txBody>
      </p:sp>
      <p:grpSp>
        <p:nvGrpSpPr>
          <p:cNvPr id="424" name="Group 423"/>
          <p:cNvGrpSpPr/>
          <p:nvPr/>
        </p:nvGrpSpPr>
        <p:grpSpPr>
          <a:xfrm>
            <a:off x="4745781" y="2184738"/>
            <a:ext cx="2298111" cy="1802338"/>
            <a:chOff x="4525192" y="2175954"/>
            <a:chExt cx="2298111" cy="1802338"/>
          </a:xfrm>
        </p:grpSpPr>
        <p:sp>
          <p:nvSpPr>
            <p:cNvPr id="189" name="Text Placeholder 2"/>
            <p:cNvSpPr txBox="1">
              <a:spLocks/>
            </p:cNvSpPr>
            <p:nvPr/>
          </p:nvSpPr>
          <p:spPr>
            <a:xfrm>
              <a:off x="4836365" y="2175954"/>
              <a:ext cx="1881765"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005A82"/>
                  </a:solidFill>
                </a:rPr>
                <a:t>Lorem ipsum </a:t>
              </a:r>
              <a:r>
                <a:rPr lang="en-US" sz="900" dirty="0">
                  <a:solidFill>
                    <a:schemeClr val="bg1"/>
                  </a:solidFill>
                </a:rPr>
                <a:t>dolor sit amet, consectetur adipiscing elit. Nulla lorem, ondimentum vehicula at. </a:t>
              </a:r>
            </a:p>
          </p:txBody>
        </p:sp>
        <p:sp>
          <p:nvSpPr>
            <p:cNvPr id="193" name="Text Placeholder 2"/>
            <p:cNvSpPr txBox="1">
              <a:spLocks/>
            </p:cNvSpPr>
            <p:nvPr/>
          </p:nvSpPr>
          <p:spPr>
            <a:xfrm>
              <a:off x="4836364" y="2902394"/>
              <a:ext cx="1971551"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893713"/>
                  </a:solidFill>
                </a:rPr>
                <a:t>Lorem ipsum </a:t>
              </a:r>
              <a:r>
                <a:rPr lang="en-US" sz="900" dirty="0">
                  <a:solidFill>
                    <a:schemeClr val="bg1"/>
                  </a:solidFill>
                </a:rPr>
                <a:t>dolor sit amet, consectetur adipiscing elit. Nulla lorem, ondimentum vehicula at. </a:t>
              </a:r>
            </a:p>
          </p:txBody>
        </p:sp>
        <p:sp>
          <p:nvSpPr>
            <p:cNvPr id="194" name="Text Placeholder 2"/>
            <p:cNvSpPr txBox="1">
              <a:spLocks/>
            </p:cNvSpPr>
            <p:nvPr/>
          </p:nvSpPr>
          <p:spPr>
            <a:xfrm>
              <a:off x="4836365" y="3562794"/>
              <a:ext cx="1986938"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chemeClr val="accent4"/>
                  </a:solidFill>
                </a:rPr>
                <a:t>Lorem ipsum </a:t>
              </a:r>
              <a:r>
                <a:rPr lang="en-US" sz="900" dirty="0">
                  <a:solidFill>
                    <a:schemeClr val="bg1"/>
                  </a:solidFill>
                </a:rPr>
                <a:t>dolor sit amet, consectetur adipiscing elit. Nulla lorem, ondimentum vehicula at. </a:t>
              </a:r>
            </a:p>
          </p:txBody>
        </p:sp>
        <p:grpSp>
          <p:nvGrpSpPr>
            <p:cNvPr id="198" name="Group 197"/>
            <p:cNvGrpSpPr/>
            <p:nvPr/>
          </p:nvGrpSpPr>
          <p:grpSpPr>
            <a:xfrm>
              <a:off x="4525192" y="2195913"/>
              <a:ext cx="164443" cy="164443"/>
              <a:chOff x="3349067" y="2374513"/>
              <a:chExt cx="164443" cy="164443"/>
            </a:xfrm>
          </p:grpSpPr>
          <p:sp>
            <p:nvSpPr>
              <p:cNvPr id="199" name="Oval 408"/>
              <p:cNvSpPr>
                <a:spLocks noChangeArrowheads="1"/>
              </p:cNvSpPr>
              <p:nvPr/>
            </p:nvSpPr>
            <p:spPr bwMode="auto">
              <a:xfrm>
                <a:off x="3359792" y="2381663"/>
                <a:ext cx="142994" cy="146569"/>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0"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1" name="Group 200"/>
            <p:cNvGrpSpPr/>
            <p:nvPr/>
          </p:nvGrpSpPr>
          <p:grpSpPr>
            <a:xfrm>
              <a:off x="4525192" y="2907113"/>
              <a:ext cx="164443" cy="164443"/>
              <a:chOff x="3349067" y="2374513"/>
              <a:chExt cx="164443" cy="164443"/>
            </a:xfrm>
          </p:grpSpPr>
          <p:sp>
            <p:nvSpPr>
              <p:cNvPr id="202" name="Oval 408"/>
              <p:cNvSpPr>
                <a:spLocks noChangeArrowheads="1"/>
              </p:cNvSpPr>
              <p:nvPr/>
            </p:nvSpPr>
            <p:spPr bwMode="auto">
              <a:xfrm>
                <a:off x="3359792" y="2381663"/>
                <a:ext cx="142994" cy="146569"/>
              </a:xfrm>
              <a:prstGeom prst="ellipse">
                <a:avLst/>
              </a:pr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3"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4" name="Group 203"/>
            <p:cNvGrpSpPr/>
            <p:nvPr/>
          </p:nvGrpSpPr>
          <p:grpSpPr>
            <a:xfrm>
              <a:off x="4525192" y="3582753"/>
              <a:ext cx="164443" cy="164443"/>
              <a:chOff x="3349067" y="2374513"/>
              <a:chExt cx="164443" cy="164443"/>
            </a:xfrm>
          </p:grpSpPr>
          <p:sp>
            <p:nvSpPr>
              <p:cNvPr id="205" name="Oval 408"/>
              <p:cNvSpPr>
                <a:spLocks noChangeArrowheads="1"/>
              </p:cNvSpPr>
              <p:nvPr/>
            </p:nvSpPr>
            <p:spPr bwMode="auto">
              <a:xfrm>
                <a:off x="3359792" y="2381663"/>
                <a:ext cx="142994" cy="146569"/>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6"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435" name="Group 434"/>
          <p:cNvGrpSpPr/>
          <p:nvPr/>
        </p:nvGrpSpPr>
        <p:grpSpPr>
          <a:xfrm>
            <a:off x="9132889" y="2329097"/>
            <a:ext cx="2422652" cy="1198944"/>
            <a:chOff x="9132889" y="2532297"/>
            <a:chExt cx="2422652" cy="1198944"/>
          </a:xfrm>
        </p:grpSpPr>
        <p:sp>
          <p:nvSpPr>
            <p:cNvPr id="421" name="Text Placeholder 2"/>
            <p:cNvSpPr txBox="1">
              <a:spLocks/>
            </p:cNvSpPr>
            <p:nvPr/>
          </p:nvSpPr>
          <p:spPr>
            <a:xfrm>
              <a:off x="10485929" y="259034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sp>
          <p:nvSpPr>
            <p:cNvPr id="219" name="Freeform 419"/>
            <p:cNvSpPr>
              <a:spLocks/>
            </p:cNvSpPr>
            <p:nvPr/>
          </p:nvSpPr>
          <p:spPr bwMode="auto">
            <a:xfrm>
              <a:off x="9132889" y="2699366"/>
              <a:ext cx="1677988" cy="841375"/>
            </a:xfrm>
            <a:custGeom>
              <a:avLst/>
              <a:gdLst>
                <a:gd name="T0" fmla="*/ 399 w 399"/>
                <a:gd name="T1" fmla="*/ 200 h 200"/>
                <a:gd name="T2" fmla="*/ 383 w 399"/>
                <a:gd name="T3" fmla="*/ 200 h 200"/>
                <a:gd name="T4" fmla="*/ 199 w 399"/>
                <a:gd name="T5" fmla="*/ 16 h 200"/>
                <a:gd name="T6" fmla="*/ 16 w 399"/>
                <a:gd name="T7" fmla="*/ 200 h 200"/>
                <a:gd name="T8" fmla="*/ 0 w 399"/>
                <a:gd name="T9" fmla="*/ 200 h 200"/>
                <a:gd name="T10" fmla="*/ 199 w 399"/>
                <a:gd name="T11" fmla="*/ 0 h 200"/>
                <a:gd name="T12" fmla="*/ 399 w 399"/>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99" h="200">
                  <a:moveTo>
                    <a:pt x="399" y="200"/>
                  </a:moveTo>
                  <a:cubicBezTo>
                    <a:pt x="383" y="200"/>
                    <a:pt x="383" y="200"/>
                    <a:pt x="383" y="200"/>
                  </a:cubicBezTo>
                  <a:cubicBezTo>
                    <a:pt x="383" y="98"/>
                    <a:pt x="301" y="16"/>
                    <a:pt x="199" y="16"/>
                  </a:cubicBezTo>
                  <a:cubicBezTo>
                    <a:pt x="98" y="16"/>
                    <a:pt x="16" y="98"/>
                    <a:pt x="16" y="200"/>
                  </a:cubicBezTo>
                  <a:cubicBezTo>
                    <a:pt x="0" y="200"/>
                    <a:pt x="0" y="200"/>
                    <a:pt x="0" y="200"/>
                  </a:cubicBezTo>
                  <a:cubicBezTo>
                    <a:pt x="0" y="90"/>
                    <a:pt x="89" y="0"/>
                    <a:pt x="199" y="0"/>
                  </a:cubicBezTo>
                  <a:cubicBezTo>
                    <a:pt x="309" y="0"/>
                    <a:pt x="399" y="90"/>
                    <a:pt x="399" y="200"/>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0" name="Freeform 420"/>
            <p:cNvSpPr>
              <a:spLocks/>
            </p:cNvSpPr>
            <p:nvPr/>
          </p:nvSpPr>
          <p:spPr bwMode="auto">
            <a:xfrm>
              <a:off x="9229726" y="2796203"/>
              <a:ext cx="1114425" cy="744538"/>
            </a:xfrm>
            <a:custGeom>
              <a:avLst/>
              <a:gdLst>
                <a:gd name="T0" fmla="*/ 16 w 265"/>
                <a:gd name="T1" fmla="*/ 177 h 177"/>
                <a:gd name="T2" fmla="*/ 0 w 265"/>
                <a:gd name="T3" fmla="*/ 177 h 177"/>
                <a:gd name="T4" fmla="*/ 176 w 265"/>
                <a:gd name="T5" fmla="*/ 0 h 177"/>
                <a:gd name="T6" fmla="*/ 265 w 265"/>
                <a:gd name="T7" fmla="*/ 24 h 177"/>
                <a:gd name="T8" fmla="*/ 257 w 265"/>
                <a:gd name="T9" fmla="*/ 38 h 177"/>
                <a:gd name="T10" fmla="*/ 176 w 265"/>
                <a:gd name="T11" fmla="*/ 16 h 177"/>
                <a:gd name="T12" fmla="*/ 16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16" y="177"/>
                  </a:moveTo>
                  <a:cubicBezTo>
                    <a:pt x="0" y="177"/>
                    <a:pt x="0" y="177"/>
                    <a:pt x="0" y="177"/>
                  </a:cubicBezTo>
                  <a:cubicBezTo>
                    <a:pt x="0" y="79"/>
                    <a:pt x="79" y="0"/>
                    <a:pt x="176" y="0"/>
                  </a:cubicBezTo>
                  <a:cubicBezTo>
                    <a:pt x="207" y="0"/>
                    <a:pt x="238" y="8"/>
                    <a:pt x="265" y="24"/>
                  </a:cubicBezTo>
                  <a:cubicBezTo>
                    <a:pt x="257" y="38"/>
                    <a:pt x="257" y="38"/>
                    <a:pt x="257" y="38"/>
                  </a:cubicBezTo>
                  <a:cubicBezTo>
                    <a:pt x="232" y="23"/>
                    <a:pt x="205" y="16"/>
                    <a:pt x="176" y="16"/>
                  </a:cubicBezTo>
                  <a:cubicBezTo>
                    <a:pt x="88" y="16"/>
                    <a:pt x="16" y="88"/>
                    <a:pt x="16"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1" name="Freeform 421"/>
            <p:cNvSpPr>
              <a:spLocks/>
            </p:cNvSpPr>
            <p:nvPr/>
          </p:nvSpPr>
          <p:spPr bwMode="auto">
            <a:xfrm>
              <a:off x="9645651" y="2893041"/>
              <a:ext cx="971550" cy="647700"/>
            </a:xfrm>
            <a:custGeom>
              <a:avLst/>
              <a:gdLst>
                <a:gd name="T0" fmla="*/ 231 w 231"/>
                <a:gd name="T1" fmla="*/ 154 h 154"/>
                <a:gd name="T2" fmla="*/ 215 w 231"/>
                <a:gd name="T3" fmla="*/ 154 h 154"/>
                <a:gd name="T4" fmla="*/ 77 w 231"/>
                <a:gd name="T5" fmla="*/ 16 h 154"/>
                <a:gd name="T6" fmla="*/ 8 w 231"/>
                <a:gd name="T7" fmla="*/ 34 h 154"/>
                <a:gd name="T8" fmla="*/ 0 w 231"/>
                <a:gd name="T9" fmla="*/ 21 h 154"/>
                <a:gd name="T10" fmla="*/ 77 w 231"/>
                <a:gd name="T11" fmla="*/ 0 h 154"/>
                <a:gd name="T12" fmla="*/ 231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231" y="154"/>
                  </a:moveTo>
                  <a:cubicBezTo>
                    <a:pt x="215" y="154"/>
                    <a:pt x="215" y="154"/>
                    <a:pt x="215" y="154"/>
                  </a:cubicBezTo>
                  <a:cubicBezTo>
                    <a:pt x="215" y="78"/>
                    <a:pt x="153" y="16"/>
                    <a:pt x="77" y="16"/>
                  </a:cubicBezTo>
                  <a:cubicBezTo>
                    <a:pt x="53" y="16"/>
                    <a:pt x="29" y="22"/>
                    <a:pt x="8" y="34"/>
                  </a:cubicBezTo>
                  <a:cubicBezTo>
                    <a:pt x="0" y="21"/>
                    <a:pt x="0" y="21"/>
                    <a:pt x="0" y="21"/>
                  </a:cubicBezTo>
                  <a:cubicBezTo>
                    <a:pt x="24" y="7"/>
                    <a:pt x="50" y="0"/>
                    <a:pt x="77" y="0"/>
                  </a:cubicBezTo>
                  <a:cubicBezTo>
                    <a:pt x="162" y="0"/>
                    <a:pt x="231" y="69"/>
                    <a:pt x="231" y="15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2" name="Freeform 422"/>
            <p:cNvSpPr>
              <a:spLocks/>
            </p:cNvSpPr>
            <p:nvPr/>
          </p:nvSpPr>
          <p:spPr bwMode="auto">
            <a:xfrm>
              <a:off x="9418639" y="2989878"/>
              <a:ext cx="550863" cy="550863"/>
            </a:xfrm>
            <a:custGeom>
              <a:avLst/>
              <a:gdLst>
                <a:gd name="T0" fmla="*/ 16 w 131"/>
                <a:gd name="T1" fmla="*/ 131 h 131"/>
                <a:gd name="T2" fmla="*/ 0 w 131"/>
                <a:gd name="T3" fmla="*/ 131 h 131"/>
                <a:gd name="T4" fmla="*/ 131 w 131"/>
                <a:gd name="T5" fmla="*/ 0 h 131"/>
                <a:gd name="T6" fmla="*/ 131 w 131"/>
                <a:gd name="T7" fmla="*/ 16 h 131"/>
                <a:gd name="T8" fmla="*/ 16 w 131"/>
                <a:gd name="T9" fmla="*/ 131 h 131"/>
              </a:gdLst>
              <a:ahLst/>
              <a:cxnLst>
                <a:cxn ang="0">
                  <a:pos x="T0" y="T1"/>
                </a:cxn>
                <a:cxn ang="0">
                  <a:pos x="T2" y="T3"/>
                </a:cxn>
                <a:cxn ang="0">
                  <a:pos x="T4" y="T5"/>
                </a:cxn>
                <a:cxn ang="0">
                  <a:pos x="T6" y="T7"/>
                </a:cxn>
                <a:cxn ang="0">
                  <a:pos x="T8" y="T9"/>
                </a:cxn>
              </a:cxnLst>
              <a:rect l="0" t="0" r="r" b="b"/>
              <a:pathLst>
                <a:path w="131" h="131">
                  <a:moveTo>
                    <a:pt x="16" y="131"/>
                  </a:moveTo>
                  <a:cubicBezTo>
                    <a:pt x="0" y="131"/>
                    <a:pt x="0" y="131"/>
                    <a:pt x="0" y="131"/>
                  </a:cubicBezTo>
                  <a:cubicBezTo>
                    <a:pt x="0" y="59"/>
                    <a:pt x="59" y="0"/>
                    <a:pt x="131" y="0"/>
                  </a:cubicBezTo>
                  <a:cubicBezTo>
                    <a:pt x="131" y="16"/>
                    <a:pt x="131" y="16"/>
                    <a:pt x="131" y="16"/>
                  </a:cubicBezTo>
                  <a:cubicBezTo>
                    <a:pt x="68" y="16"/>
                    <a:pt x="16" y="67"/>
                    <a:pt x="16"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3" name="Freeform 423"/>
            <p:cNvSpPr>
              <a:spLocks/>
            </p:cNvSpPr>
            <p:nvPr/>
          </p:nvSpPr>
          <p:spPr bwMode="auto">
            <a:xfrm>
              <a:off x="9515476" y="3086716"/>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7"/>
                    <a:pt x="159" y="16"/>
                    <a:pt x="108" y="16"/>
                  </a:cubicBezTo>
                  <a:cubicBezTo>
                    <a:pt x="58" y="16"/>
                    <a:pt x="16" y="57"/>
                    <a:pt x="16" y="108"/>
                  </a:cubicBezTo>
                  <a:cubicBezTo>
                    <a:pt x="0" y="108"/>
                    <a:pt x="0" y="108"/>
                    <a:pt x="0" y="108"/>
                  </a:cubicBezTo>
                  <a:cubicBezTo>
                    <a:pt x="0" y="48"/>
                    <a:pt x="49" y="0"/>
                    <a:pt x="108" y="0"/>
                  </a:cubicBezTo>
                  <a:cubicBezTo>
                    <a:pt x="168" y="0"/>
                    <a:pt x="216" y="48"/>
                    <a:pt x="216" y="108"/>
                  </a:cubicBezTo>
                  <a:close/>
                </a:path>
              </a:pathLst>
            </a:custGeom>
            <a:solidFill>
              <a:srgbClr val="165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424"/>
            <p:cNvSpPr>
              <a:spLocks/>
            </p:cNvSpPr>
            <p:nvPr/>
          </p:nvSpPr>
          <p:spPr bwMode="auto">
            <a:xfrm>
              <a:off x="9645651" y="3213716"/>
              <a:ext cx="652463" cy="327025"/>
            </a:xfrm>
            <a:custGeom>
              <a:avLst/>
              <a:gdLst>
                <a:gd name="T0" fmla="*/ 0 w 155"/>
                <a:gd name="T1" fmla="*/ 78 h 78"/>
                <a:gd name="T2" fmla="*/ 77 w 155"/>
                <a:gd name="T3" fmla="*/ 0 h 78"/>
                <a:gd name="T4" fmla="*/ 155 w 155"/>
                <a:gd name="T5" fmla="*/ 78 h 78"/>
              </a:gdLst>
              <a:ahLst/>
              <a:cxnLst>
                <a:cxn ang="0">
                  <a:pos x="T0" y="T1"/>
                </a:cxn>
                <a:cxn ang="0">
                  <a:pos x="T2" y="T3"/>
                </a:cxn>
                <a:cxn ang="0">
                  <a:pos x="T4" y="T5"/>
                </a:cxn>
              </a:cxnLst>
              <a:rect l="0" t="0" r="r" b="b"/>
              <a:pathLst>
                <a:path w="155" h="78">
                  <a:moveTo>
                    <a:pt x="0" y="78"/>
                  </a:moveTo>
                  <a:cubicBezTo>
                    <a:pt x="0" y="35"/>
                    <a:pt x="35" y="0"/>
                    <a:pt x="77" y="0"/>
                  </a:cubicBezTo>
                  <a:cubicBezTo>
                    <a:pt x="120" y="0"/>
                    <a:pt x="155" y="35"/>
                    <a:pt x="155" y="78"/>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465"/>
            <p:cNvSpPr>
              <a:spLocks/>
            </p:cNvSpPr>
            <p:nvPr/>
          </p:nvSpPr>
          <p:spPr bwMode="auto">
            <a:xfrm>
              <a:off x="9431339" y="3634403"/>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6" name="Freeform 466"/>
            <p:cNvSpPr>
              <a:spLocks noEditPoints="1"/>
            </p:cNvSpPr>
            <p:nvPr/>
          </p:nvSpPr>
          <p:spPr bwMode="auto">
            <a:xfrm>
              <a:off x="9510714" y="3629641"/>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7" name="Freeform 467"/>
            <p:cNvSpPr>
              <a:spLocks noEditPoints="1"/>
            </p:cNvSpPr>
            <p:nvPr/>
          </p:nvSpPr>
          <p:spPr bwMode="auto">
            <a:xfrm>
              <a:off x="9628189" y="3634403"/>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8" name="Freeform 468"/>
            <p:cNvSpPr>
              <a:spLocks/>
            </p:cNvSpPr>
            <p:nvPr/>
          </p:nvSpPr>
          <p:spPr bwMode="auto">
            <a:xfrm>
              <a:off x="9734551" y="3634403"/>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5 w 45"/>
                <a:gd name="T11" fmla="*/ 10 h 61"/>
                <a:gd name="T12" fmla="*/ 15 w 45"/>
                <a:gd name="T13" fmla="*/ 21 h 61"/>
                <a:gd name="T14" fmla="*/ 42 w 45"/>
                <a:gd name="T15" fmla="*/ 21 h 61"/>
                <a:gd name="T16" fmla="*/ 42 w 45"/>
                <a:gd name="T17" fmla="*/ 34 h 61"/>
                <a:gd name="T18" fmla="*/ 15 w 45"/>
                <a:gd name="T19" fmla="*/ 34 h 61"/>
                <a:gd name="T20" fmla="*/ 15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5" y="10"/>
                  </a:lnTo>
                  <a:lnTo>
                    <a:pt x="15" y="21"/>
                  </a:lnTo>
                  <a:lnTo>
                    <a:pt x="42" y="21"/>
                  </a:lnTo>
                  <a:lnTo>
                    <a:pt x="42" y="34"/>
                  </a:lnTo>
                  <a:lnTo>
                    <a:pt x="15" y="34"/>
                  </a:lnTo>
                  <a:lnTo>
                    <a:pt x="15"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9" name="Freeform 469"/>
            <p:cNvSpPr>
              <a:spLocks/>
            </p:cNvSpPr>
            <p:nvPr/>
          </p:nvSpPr>
          <p:spPr bwMode="auto">
            <a:xfrm>
              <a:off x="9826626" y="3634403"/>
              <a:ext cx="104775" cy="96838"/>
            </a:xfrm>
            <a:custGeom>
              <a:avLst/>
              <a:gdLst>
                <a:gd name="T0" fmla="*/ 66 w 66"/>
                <a:gd name="T1" fmla="*/ 61 h 61"/>
                <a:gd name="T2" fmla="*/ 50 w 66"/>
                <a:gd name="T3" fmla="*/ 61 h 61"/>
                <a:gd name="T4" fmla="*/ 50 w 66"/>
                <a:gd name="T5" fmla="*/ 18 h 61"/>
                <a:gd name="T6" fmla="*/ 40 w 66"/>
                <a:gd name="T7" fmla="*/ 45 h 61"/>
                <a:gd name="T8" fmla="*/ 26 w 66"/>
                <a:gd name="T9" fmla="*/ 45 h 61"/>
                <a:gd name="T10" fmla="*/ 16 w 66"/>
                <a:gd name="T11" fmla="*/ 18 h 61"/>
                <a:gd name="T12" fmla="*/ 16 w 66"/>
                <a:gd name="T13" fmla="*/ 61 h 61"/>
                <a:gd name="T14" fmla="*/ 0 w 66"/>
                <a:gd name="T15" fmla="*/ 61 h 61"/>
                <a:gd name="T16" fmla="*/ 0 w 66"/>
                <a:gd name="T17" fmla="*/ 0 h 61"/>
                <a:gd name="T18" fmla="*/ 18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6" y="45"/>
                  </a:lnTo>
                  <a:lnTo>
                    <a:pt x="16" y="18"/>
                  </a:lnTo>
                  <a:lnTo>
                    <a:pt x="16" y="61"/>
                  </a:lnTo>
                  <a:lnTo>
                    <a:pt x="0" y="61"/>
                  </a:lnTo>
                  <a:lnTo>
                    <a:pt x="0" y="0"/>
                  </a:lnTo>
                  <a:lnTo>
                    <a:pt x="18"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0" name="Freeform 470"/>
            <p:cNvSpPr>
              <a:spLocks/>
            </p:cNvSpPr>
            <p:nvPr/>
          </p:nvSpPr>
          <p:spPr bwMode="auto">
            <a:xfrm>
              <a:off x="9998076" y="3634403"/>
              <a:ext cx="60325" cy="96838"/>
            </a:xfrm>
            <a:custGeom>
              <a:avLst/>
              <a:gdLst>
                <a:gd name="T0" fmla="*/ 38 w 38"/>
                <a:gd name="T1" fmla="*/ 61 h 61"/>
                <a:gd name="T2" fmla="*/ 0 w 38"/>
                <a:gd name="T3" fmla="*/ 61 h 61"/>
                <a:gd name="T4" fmla="*/ 0 w 38"/>
                <a:gd name="T5" fmla="*/ 50 h 61"/>
                <a:gd name="T6" fmla="*/ 11 w 38"/>
                <a:gd name="T7" fmla="*/ 50 h 61"/>
                <a:gd name="T8" fmla="*/ 11 w 38"/>
                <a:gd name="T9" fmla="*/ 10 h 61"/>
                <a:gd name="T10" fmla="*/ 0 w 38"/>
                <a:gd name="T11" fmla="*/ 10 h 61"/>
                <a:gd name="T12" fmla="*/ 0 w 38"/>
                <a:gd name="T13" fmla="*/ 0 h 61"/>
                <a:gd name="T14" fmla="*/ 38 w 38"/>
                <a:gd name="T15" fmla="*/ 0 h 61"/>
                <a:gd name="T16" fmla="*/ 38 w 38"/>
                <a:gd name="T17" fmla="*/ 10 h 61"/>
                <a:gd name="T18" fmla="*/ 27 w 38"/>
                <a:gd name="T19" fmla="*/ 10 h 61"/>
                <a:gd name="T20" fmla="*/ 27 w 38"/>
                <a:gd name="T21" fmla="*/ 50 h 61"/>
                <a:gd name="T22" fmla="*/ 38 w 38"/>
                <a:gd name="T23" fmla="*/ 50 h 61"/>
                <a:gd name="T24" fmla="*/ 38 w 38"/>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1">
                  <a:moveTo>
                    <a:pt x="38" y="61"/>
                  </a:moveTo>
                  <a:lnTo>
                    <a:pt x="0" y="61"/>
                  </a:lnTo>
                  <a:lnTo>
                    <a:pt x="0" y="50"/>
                  </a:lnTo>
                  <a:lnTo>
                    <a:pt x="11" y="50"/>
                  </a:lnTo>
                  <a:lnTo>
                    <a:pt x="11" y="10"/>
                  </a:lnTo>
                  <a:lnTo>
                    <a:pt x="0" y="10"/>
                  </a:lnTo>
                  <a:lnTo>
                    <a:pt x="0" y="0"/>
                  </a:lnTo>
                  <a:lnTo>
                    <a:pt x="38" y="0"/>
                  </a:lnTo>
                  <a:lnTo>
                    <a:pt x="38" y="10"/>
                  </a:lnTo>
                  <a:lnTo>
                    <a:pt x="27" y="10"/>
                  </a:lnTo>
                  <a:lnTo>
                    <a:pt x="27" y="50"/>
                  </a:lnTo>
                  <a:lnTo>
                    <a:pt x="38" y="50"/>
                  </a:lnTo>
                  <a:lnTo>
                    <a:pt x="38"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1" name="Freeform 471"/>
            <p:cNvSpPr>
              <a:spLocks noEditPoints="1"/>
            </p:cNvSpPr>
            <p:nvPr/>
          </p:nvSpPr>
          <p:spPr bwMode="auto">
            <a:xfrm>
              <a:off x="10074276" y="3634403"/>
              <a:ext cx="84138" cy="96838"/>
            </a:xfrm>
            <a:custGeom>
              <a:avLst/>
              <a:gdLst>
                <a:gd name="T0" fmla="*/ 20 w 20"/>
                <a:gd name="T1" fmla="*/ 7 h 23"/>
                <a:gd name="T2" fmla="*/ 19 w 20"/>
                <a:gd name="T3" fmla="*/ 10 h 23"/>
                <a:gd name="T4" fmla="*/ 18 w 20"/>
                <a:gd name="T5" fmla="*/ 12 h 23"/>
                <a:gd name="T6" fmla="*/ 14 w 20"/>
                <a:gd name="T7" fmla="*/ 14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4"/>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4"/>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0"/>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2" name="Freeform 472"/>
            <p:cNvSpPr>
              <a:spLocks/>
            </p:cNvSpPr>
            <p:nvPr/>
          </p:nvSpPr>
          <p:spPr bwMode="auto">
            <a:xfrm>
              <a:off x="10171114" y="3629641"/>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19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19"/>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3" name="Freeform 473"/>
            <p:cNvSpPr>
              <a:spLocks/>
            </p:cNvSpPr>
            <p:nvPr/>
          </p:nvSpPr>
          <p:spPr bwMode="auto">
            <a:xfrm>
              <a:off x="10272714" y="3634403"/>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2"/>
                    <a:pt x="13" y="23"/>
                    <a:pt x="10" y="23"/>
                  </a:cubicBezTo>
                  <a:cubicBezTo>
                    <a:pt x="6" y="23"/>
                    <a:pt x="4" y="22"/>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4" name="Freeform 474"/>
            <p:cNvSpPr>
              <a:spLocks/>
            </p:cNvSpPr>
            <p:nvPr/>
          </p:nvSpPr>
          <p:spPr bwMode="auto">
            <a:xfrm>
              <a:off x="10382251" y="3634403"/>
              <a:ext cx="100013" cy="96838"/>
            </a:xfrm>
            <a:custGeom>
              <a:avLst/>
              <a:gdLst>
                <a:gd name="T0" fmla="*/ 63 w 63"/>
                <a:gd name="T1" fmla="*/ 61 h 61"/>
                <a:gd name="T2" fmla="*/ 47 w 63"/>
                <a:gd name="T3" fmla="*/ 61 h 61"/>
                <a:gd name="T4" fmla="*/ 47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1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7" y="61"/>
                  </a:lnTo>
                  <a:lnTo>
                    <a:pt x="47" y="18"/>
                  </a:lnTo>
                  <a:lnTo>
                    <a:pt x="37" y="45"/>
                  </a:lnTo>
                  <a:lnTo>
                    <a:pt x="26" y="45"/>
                  </a:lnTo>
                  <a:lnTo>
                    <a:pt x="16" y="18"/>
                  </a:lnTo>
                  <a:lnTo>
                    <a:pt x="16" y="61"/>
                  </a:lnTo>
                  <a:lnTo>
                    <a:pt x="0" y="61"/>
                  </a:lnTo>
                  <a:lnTo>
                    <a:pt x="0" y="0"/>
                  </a:lnTo>
                  <a:lnTo>
                    <a:pt x="18" y="0"/>
                  </a:lnTo>
                  <a:lnTo>
                    <a:pt x="31"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5" name="Freeform 475"/>
            <p:cNvSpPr>
              <a:spLocks/>
            </p:cNvSpPr>
            <p:nvPr/>
          </p:nvSpPr>
          <p:spPr bwMode="auto">
            <a:xfrm>
              <a:off x="9801226" y="3381991"/>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476"/>
            <p:cNvSpPr>
              <a:spLocks noEditPoints="1"/>
            </p:cNvSpPr>
            <p:nvPr/>
          </p:nvSpPr>
          <p:spPr bwMode="auto">
            <a:xfrm>
              <a:off x="9893301" y="3381991"/>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477"/>
            <p:cNvSpPr>
              <a:spLocks/>
            </p:cNvSpPr>
            <p:nvPr/>
          </p:nvSpPr>
          <p:spPr bwMode="auto">
            <a:xfrm>
              <a:off x="9998076" y="3381991"/>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78"/>
            <p:cNvSpPr>
              <a:spLocks/>
            </p:cNvSpPr>
            <p:nvPr/>
          </p:nvSpPr>
          <p:spPr bwMode="auto">
            <a:xfrm>
              <a:off x="10086976" y="3381991"/>
              <a:ext cx="76200" cy="100013"/>
            </a:xfrm>
            <a:custGeom>
              <a:avLst/>
              <a:gdLst>
                <a:gd name="T0" fmla="*/ 17 w 18"/>
                <a:gd name="T1" fmla="*/ 13 h 24"/>
                <a:gd name="T2" fmla="*/ 18 w 18"/>
                <a:gd name="T3" fmla="*/ 14 h 24"/>
                <a:gd name="T4" fmla="*/ 18 w 18"/>
                <a:gd name="T5" fmla="*/ 16 h 24"/>
                <a:gd name="T6" fmla="*/ 18 w 18"/>
                <a:gd name="T7" fmla="*/ 20 h 24"/>
                <a:gd name="T8" fmla="*/ 16 w 18"/>
                <a:gd name="T9" fmla="*/ 22 h 24"/>
                <a:gd name="T10" fmla="*/ 12 w 18"/>
                <a:gd name="T11" fmla="*/ 23 h 24"/>
                <a:gd name="T12" fmla="*/ 8 w 18"/>
                <a:gd name="T13" fmla="*/ 24 h 24"/>
                <a:gd name="T14" fmla="*/ 3 w 18"/>
                <a:gd name="T15" fmla="*/ 24 h 24"/>
                <a:gd name="T16" fmla="*/ 0 w 18"/>
                <a:gd name="T17" fmla="*/ 23 h 24"/>
                <a:gd name="T18" fmla="*/ 0 w 18"/>
                <a:gd name="T19" fmla="*/ 17 h 24"/>
                <a:gd name="T20" fmla="*/ 0 w 18"/>
                <a:gd name="T21" fmla="*/ 17 h 24"/>
                <a:gd name="T22" fmla="*/ 4 w 18"/>
                <a:gd name="T23" fmla="*/ 19 h 24"/>
                <a:gd name="T24" fmla="*/ 7 w 18"/>
                <a:gd name="T25" fmla="*/ 19 h 24"/>
                <a:gd name="T26" fmla="*/ 9 w 18"/>
                <a:gd name="T27" fmla="*/ 19 h 24"/>
                <a:gd name="T28" fmla="*/ 11 w 18"/>
                <a:gd name="T29" fmla="*/ 19 h 24"/>
                <a:gd name="T30" fmla="*/ 12 w 18"/>
                <a:gd name="T31" fmla="*/ 18 h 24"/>
                <a:gd name="T32" fmla="*/ 12 w 18"/>
                <a:gd name="T33" fmla="*/ 16 h 24"/>
                <a:gd name="T34" fmla="*/ 12 w 18"/>
                <a:gd name="T35" fmla="*/ 14 h 24"/>
                <a:gd name="T36" fmla="*/ 10 w 18"/>
                <a:gd name="T37" fmla="*/ 14 h 24"/>
                <a:gd name="T38" fmla="*/ 9 w 18"/>
                <a:gd name="T39" fmla="*/ 13 h 24"/>
                <a:gd name="T40" fmla="*/ 7 w 18"/>
                <a:gd name="T41" fmla="*/ 13 h 24"/>
                <a:gd name="T42" fmla="*/ 5 w 18"/>
                <a:gd name="T43" fmla="*/ 13 h 24"/>
                <a:gd name="T44" fmla="*/ 5 w 18"/>
                <a:gd name="T45" fmla="*/ 9 h 24"/>
                <a:gd name="T46" fmla="*/ 7 w 18"/>
                <a:gd name="T47" fmla="*/ 9 h 24"/>
                <a:gd name="T48" fmla="*/ 9 w 18"/>
                <a:gd name="T49" fmla="*/ 9 h 24"/>
                <a:gd name="T50" fmla="*/ 10 w 18"/>
                <a:gd name="T51" fmla="*/ 9 h 24"/>
                <a:gd name="T52" fmla="*/ 11 w 18"/>
                <a:gd name="T53" fmla="*/ 8 h 24"/>
                <a:gd name="T54" fmla="*/ 12 w 18"/>
                <a:gd name="T55" fmla="*/ 7 h 24"/>
                <a:gd name="T56" fmla="*/ 11 w 18"/>
                <a:gd name="T57" fmla="*/ 5 h 24"/>
                <a:gd name="T58" fmla="*/ 10 w 18"/>
                <a:gd name="T59" fmla="*/ 5 h 24"/>
                <a:gd name="T60" fmla="*/ 9 w 18"/>
                <a:gd name="T61" fmla="*/ 4 h 24"/>
                <a:gd name="T62" fmla="*/ 8 w 18"/>
                <a:gd name="T63" fmla="*/ 4 h 24"/>
                <a:gd name="T64" fmla="*/ 4 w 18"/>
                <a:gd name="T65" fmla="*/ 5 h 24"/>
                <a:gd name="T66" fmla="*/ 1 w 18"/>
                <a:gd name="T67" fmla="*/ 6 h 24"/>
                <a:gd name="T68" fmla="*/ 1 w 18"/>
                <a:gd name="T69" fmla="*/ 6 h 24"/>
                <a:gd name="T70" fmla="*/ 1 w 18"/>
                <a:gd name="T71" fmla="*/ 1 h 24"/>
                <a:gd name="T72" fmla="*/ 4 w 18"/>
                <a:gd name="T73" fmla="*/ 0 h 24"/>
                <a:gd name="T74" fmla="*/ 8 w 18"/>
                <a:gd name="T75" fmla="*/ 0 h 24"/>
                <a:gd name="T76" fmla="*/ 12 w 18"/>
                <a:gd name="T77" fmla="*/ 0 h 24"/>
                <a:gd name="T78" fmla="*/ 15 w 18"/>
                <a:gd name="T79" fmla="*/ 1 h 24"/>
                <a:gd name="T80" fmla="*/ 17 w 18"/>
                <a:gd name="T81" fmla="*/ 3 h 24"/>
                <a:gd name="T82" fmla="*/ 18 w 18"/>
                <a:gd name="T83" fmla="*/ 6 h 24"/>
                <a:gd name="T84" fmla="*/ 16 w 18"/>
                <a:gd name="T85" fmla="*/ 9 h 24"/>
                <a:gd name="T86" fmla="*/ 13 w 18"/>
                <a:gd name="T87" fmla="*/ 11 h 24"/>
                <a:gd name="T88" fmla="*/ 13 w 18"/>
                <a:gd name="T89" fmla="*/ 11 h 24"/>
                <a:gd name="T90" fmla="*/ 15 w 18"/>
                <a:gd name="T91" fmla="*/ 12 h 24"/>
                <a:gd name="T92" fmla="*/ 17 w 18"/>
                <a:gd name="T93"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 h="24">
                  <a:moveTo>
                    <a:pt x="17" y="13"/>
                  </a:moveTo>
                  <a:cubicBezTo>
                    <a:pt x="17" y="13"/>
                    <a:pt x="17" y="14"/>
                    <a:pt x="18" y="14"/>
                  </a:cubicBezTo>
                  <a:cubicBezTo>
                    <a:pt x="18" y="15"/>
                    <a:pt x="18" y="15"/>
                    <a:pt x="18" y="16"/>
                  </a:cubicBezTo>
                  <a:cubicBezTo>
                    <a:pt x="18" y="18"/>
                    <a:pt x="18" y="19"/>
                    <a:pt x="18" y="20"/>
                  </a:cubicBezTo>
                  <a:cubicBezTo>
                    <a:pt x="17" y="20"/>
                    <a:pt x="16" y="21"/>
                    <a:pt x="16" y="22"/>
                  </a:cubicBezTo>
                  <a:cubicBezTo>
                    <a:pt x="15" y="23"/>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0" y="17"/>
                    <a:pt x="0" y="17"/>
                    <a:pt x="0" y="17"/>
                  </a:cubicBezTo>
                  <a:cubicBezTo>
                    <a:pt x="1" y="18"/>
                    <a:pt x="2" y="18"/>
                    <a:pt x="4" y="19"/>
                  </a:cubicBezTo>
                  <a:cubicBezTo>
                    <a:pt x="5" y="19"/>
                    <a:pt x="6" y="19"/>
                    <a:pt x="7" y="19"/>
                  </a:cubicBezTo>
                  <a:cubicBezTo>
                    <a:pt x="8" y="19"/>
                    <a:pt x="8" y="19"/>
                    <a:pt x="9" y="19"/>
                  </a:cubicBezTo>
                  <a:cubicBezTo>
                    <a:pt x="10" y="19"/>
                    <a:pt x="10" y="19"/>
                    <a:pt x="11" y="19"/>
                  </a:cubicBezTo>
                  <a:cubicBezTo>
                    <a:pt x="11" y="18"/>
                    <a:pt x="12" y="18"/>
                    <a:pt x="12" y="18"/>
                  </a:cubicBezTo>
                  <a:cubicBezTo>
                    <a:pt x="12" y="17"/>
                    <a:pt x="12" y="17"/>
                    <a:pt x="12" y="16"/>
                  </a:cubicBezTo>
                  <a:cubicBezTo>
                    <a:pt x="12" y="15"/>
                    <a:pt x="12" y="15"/>
                    <a:pt x="12" y="14"/>
                  </a:cubicBezTo>
                  <a:cubicBezTo>
                    <a:pt x="11" y="14"/>
                    <a:pt x="11" y="14"/>
                    <a:pt x="10" y="14"/>
                  </a:cubicBezTo>
                  <a:cubicBezTo>
                    <a:pt x="10" y="14"/>
                    <a:pt x="9" y="13"/>
                    <a:pt x="9" y="13"/>
                  </a:cubicBezTo>
                  <a:cubicBezTo>
                    <a:pt x="8" y="13"/>
                    <a:pt x="7" y="13"/>
                    <a:pt x="7" y="13"/>
                  </a:cubicBezTo>
                  <a:cubicBezTo>
                    <a:pt x="5" y="13"/>
                    <a:pt x="5" y="13"/>
                    <a:pt x="5" y="13"/>
                  </a:cubicBezTo>
                  <a:cubicBezTo>
                    <a:pt x="5" y="9"/>
                    <a:pt x="5" y="9"/>
                    <a:pt x="5" y="9"/>
                  </a:cubicBezTo>
                  <a:cubicBezTo>
                    <a:pt x="7" y="9"/>
                    <a:pt x="7" y="9"/>
                    <a:pt x="7" y="9"/>
                  </a:cubicBezTo>
                  <a:cubicBezTo>
                    <a:pt x="7" y="9"/>
                    <a:pt x="8" y="9"/>
                    <a:pt x="9" y="9"/>
                  </a:cubicBezTo>
                  <a:cubicBezTo>
                    <a:pt x="9" y="9"/>
                    <a:pt x="10" y="9"/>
                    <a:pt x="10" y="9"/>
                  </a:cubicBezTo>
                  <a:cubicBezTo>
                    <a:pt x="11" y="9"/>
                    <a:pt x="11" y="8"/>
                    <a:pt x="11" y="8"/>
                  </a:cubicBezTo>
                  <a:cubicBezTo>
                    <a:pt x="12" y="8"/>
                    <a:pt x="12" y="7"/>
                    <a:pt x="12" y="7"/>
                  </a:cubicBezTo>
                  <a:cubicBezTo>
                    <a:pt x="12" y="6"/>
                    <a:pt x="12" y="6"/>
                    <a:pt x="11" y="5"/>
                  </a:cubicBezTo>
                  <a:cubicBezTo>
                    <a:pt x="11" y="5"/>
                    <a:pt x="11" y="5"/>
                    <a:pt x="10" y="5"/>
                  </a:cubicBezTo>
                  <a:cubicBezTo>
                    <a:pt x="10" y="5"/>
                    <a:pt x="10" y="4"/>
                    <a:pt x="9" y="4"/>
                  </a:cubicBezTo>
                  <a:cubicBezTo>
                    <a:pt x="8" y="4"/>
                    <a:pt x="8" y="4"/>
                    <a:pt x="8" y="4"/>
                  </a:cubicBezTo>
                  <a:cubicBezTo>
                    <a:pt x="7" y="4"/>
                    <a:pt x="6" y="4"/>
                    <a:pt x="4" y="5"/>
                  </a:cubicBezTo>
                  <a:cubicBezTo>
                    <a:pt x="3" y="5"/>
                    <a:pt x="2" y="6"/>
                    <a:pt x="1" y="6"/>
                  </a:cubicBezTo>
                  <a:cubicBezTo>
                    <a:pt x="1" y="6"/>
                    <a:pt x="1" y="6"/>
                    <a:pt x="1" y="6"/>
                  </a:cubicBezTo>
                  <a:cubicBezTo>
                    <a:pt x="1" y="1"/>
                    <a:pt x="1" y="1"/>
                    <a:pt x="1" y="1"/>
                  </a:cubicBezTo>
                  <a:cubicBezTo>
                    <a:pt x="1" y="1"/>
                    <a:pt x="3" y="1"/>
                    <a:pt x="4" y="0"/>
                  </a:cubicBezTo>
                  <a:cubicBezTo>
                    <a:pt x="5" y="0"/>
                    <a:pt x="7" y="0"/>
                    <a:pt x="8" y="0"/>
                  </a:cubicBezTo>
                  <a:cubicBezTo>
                    <a:pt x="10" y="0"/>
                    <a:pt x="11" y="0"/>
                    <a:pt x="12" y="0"/>
                  </a:cubicBezTo>
                  <a:cubicBezTo>
                    <a:pt x="13" y="0"/>
                    <a:pt x="14" y="1"/>
                    <a:pt x="15" y="1"/>
                  </a:cubicBezTo>
                  <a:cubicBezTo>
                    <a:pt x="16" y="2"/>
                    <a:pt x="17" y="2"/>
                    <a:pt x="17" y="3"/>
                  </a:cubicBezTo>
                  <a:cubicBezTo>
                    <a:pt x="17" y="4"/>
                    <a:pt x="18" y="5"/>
                    <a:pt x="18" y="6"/>
                  </a:cubicBezTo>
                  <a:cubicBezTo>
                    <a:pt x="18" y="7"/>
                    <a:pt x="17" y="8"/>
                    <a:pt x="16" y="9"/>
                  </a:cubicBezTo>
                  <a:cubicBezTo>
                    <a:pt x="16" y="10"/>
                    <a:pt x="15" y="11"/>
                    <a:pt x="13" y="11"/>
                  </a:cubicBezTo>
                  <a:cubicBezTo>
                    <a:pt x="13" y="11"/>
                    <a:pt x="13" y="11"/>
                    <a:pt x="13" y="11"/>
                  </a:cubicBezTo>
                  <a:cubicBezTo>
                    <a:pt x="14" y="11"/>
                    <a:pt x="14" y="11"/>
                    <a:pt x="15" y="12"/>
                  </a:cubicBezTo>
                  <a:cubicBezTo>
                    <a:pt x="15" y="12"/>
                    <a:pt x="16" y="12"/>
                    <a:pt x="17" y="1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479"/>
            <p:cNvSpPr>
              <a:spLocks/>
            </p:cNvSpPr>
            <p:nvPr/>
          </p:nvSpPr>
          <p:spPr bwMode="auto">
            <a:xfrm>
              <a:off x="10393491" y="2532297"/>
              <a:ext cx="1162050" cy="230188"/>
            </a:xfrm>
            <a:custGeom>
              <a:avLst/>
              <a:gdLst>
                <a:gd name="T0" fmla="*/ 11 w 732"/>
                <a:gd name="T1" fmla="*/ 145 h 145"/>
                <a:gd name="T2" fmla="*/ 0 w 732"/>
                <a:gd name="T3" fmla="*/ 145 h 145"/>
                <a:gd name="T4" fmla="*/ 0 w 732"/>
                <a:gd name="T5" fmla="*/ 0 h 145"/>
                <a:gd name="T6" fmla="*/ 732 w 732"/>
                <a:gd name="T7" fmla="*/ 0 h 145"/>
                <a:gd name="T8" fmla="*/ 732 w 732"/>
                <a:gd name="T9" fmla="*/ 10 h 145"/>
                <a:gd name="T10" fmla="*/ 11 w 732"/>
                <a:gd name="T11" fmla="*/ 10 h 145"/>
                <a:gd name="T12" fmla="*/ 11 w 732"/>
                <a:gd name="T13" fmla="*/ 145 h 145"/>
                <a:gd name="T14" fmla="*/ 11 w 732"/>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5">
                  <a:moveTo>
                    <a:pt x="11" y="145"/>
                  </a:moveTo>
                  <a:lnTo>
                    <a:pt x="0" y="145"/>
                  </a:lnTo>
                  <a:lnTo>
                    <a:pt x="0" y="0"/>
                  </a:lnTo>
                  <a:lnTo>
                    <a:pt x="732" y="0"/>
                  </a:lnTo>
                  <a:lnTo>
                    <a:pt x="732" y="10"/>
                  </a:lnTo>
                  <a:lnTo>
                    <a:pt x="11" y="10"/>
                  </a:lnTo>
                  <a:lnTo>
                    <a:pt x="11" y="145"/>
                  </a:lnTo>
                  <a:lnTo>
                    <a:pt x="11" y="145"/>
                  </a:ln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37" name="Group 436"/>
          <p:cNvGrpSpPr/>
          <p:nvPr/>
        </p:nvGrpSpPr>
        <p:grpSpPr>
          <a:xfrm>
            <a:off x="9132889" y="5248256"/>
            <a:ext cx="2503108" cy="1162050"/>
            <a:chOff x="9132889" y="5156816"/>
            <a:chExt cx="2503108" cy="1162050"/>
          </a:xfrm>
        </p:grpSpPr>
        <p:sp>
          <p:nvSpPr>
            <p:cNvPr id="231" name="Freeform 431"/>
            <p:cNvSpPr>
              <a:spLocks/>
            </p:cNvSpPr>
            <p:nvPr/>
          </p:nvSpPr>
          <p:spPr bwMode="auto">
            <a:xfrm>
              <a:off x="9132889" y="5291753"/>
              <a:ext cx="1677988" cy="836613"/>
            </a:xfrm>
            <a:custGeom>
              <a:avLst/>
              <a:gdLst>
                <a:gd name="T0" fmla="*/ 399 w 399"/>
                <a:gd name="T1" fmla="*/ 199 h 199"/>
                <a:gd name="T2" fmla="*/ 383 w 399"/>
                <a:gd name="T3" fmla="*/ 199 h 199"/>
                <a:gd name="T4" fmla="*/ 199 w 399"/>
                <a:gd name="T5" fmla="*/ 16 h 199"/>
                <a:gd name="T6" fmla="*/ 16 w 399"/>
                <a:gd name="T7" fmla="*/ 199 h 199"/>
                <a:gd name="T8" fmla="*/ 0 w 399"/>
                <a:gd name="T9" fmla="*/ 199 h 199"/>
                <a:gd name="T10" fmla="*/ 199 w 399"/>
                <a:gd name="T11" fmla="*/ 0 h 199"/>
                <a:gd name="T12" fmla="*/ 399 w 399"/>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399" h="199">
                  <a:moveTo>
                    <a:pt x="399" y="199"/>
                  </a:moveTo>
                  <a:cubicBezTo>
                    <a:pt x="383" y="199"/>
                    <a:pt x="383" y="199"/>
                    <a:pt x="383" y="199"/>
                  </a:cubicBezTo>
                  <a:cubicBezTo>
                    <a:pt x="383" y="98"/>
                    <a:pt x="301" y="16"/>
                    <a:pt x="199" y="16"/>
                  </a:cubicBezTo>
                  <a:cubicBezTo>
                    <a:pt x="98" y="16"/>
                    <a:pt x="16" y="98"/>
                    <a:pt x="16" y="199"/>
                  </a:cubicBezTo>
                  <a:cubicBezTo>
                    <a:pt x="0" y="199"/>
                    <a:pt x="0" y="199"/>
                    <a:pt x="0" y="199"/>
                  </a:cubicBezTo>
                  <a:cubicBezTo>
                    <a:pt x="0" y="89"/>
                    <a:pt x="89" y="0"/>
                    <a:pt x="199" y="0"/>
                  </a:cubicBezTo>
                  <a:cubicBezTo>
                    <a:pt x="309" y="0"/>
                    <a:pt x="399" y="89"/>
                    <a:pt x="399" y="199"/>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2" name="Freeform 432"/>
            <p:cNvSpPr>
              <a:spLocks/>
            </p:cNvSpPr>
            <p:nvPr/>
          </p:nvSpPr>
          <p:spPr bwMode="auto">
            <a:xfrm>
              <a:off x="9464676" y="6222028"/>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3" name="Freeform 433"/>
            <p:cNvSpPr>
              <a:spLocks noEditPoints="1"/>
            </p:cNvSpPr>
            <p:nvPr/>
          </p:nvSpPr>
          <p:spPr bwMode="auto">
            <a:xfrm>
              <a:off x="9544051" y="6217266"/>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4" name="Freeform 434"/>
            <p:cNvSpPr>
              <a:spLocks noEditPoints="1"/>
            </p:cNvSpPr>
            <p:nvPr/>
          </p:nvSpPr>
          <p:spPr bwMode="auto">
            <a:xfrm>
              <a:off x="9661526" y="6222028"/>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5" name="Freeform 435"/>
            <p:cNvSpPr>
              <a:spLocks/>
            </p:cNvSpPr>
            <p:nvPr/>
          </p:nvSpPr>
          <p:spPr bwMode="auto">
            <a:xfrm>
              <a:off x="9767889" y="6222028"/>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6 w 45"/>
                <a:gd name="T11" fmla="*/ 10 h 61"/>
                <a:gd name="T12" fmla="*/ 16 w 45"/>
                <a:gd name="T13" fmla="*/ 21 h 61"/>
                <a:gd name="T14" fmla="*/ 42 w 45"/>
                <a:gd name="T15" fmla="*/ 21 h 61"/>
                <a:gd name="T16" fmla="*/ 42 w 45"/>
                <a:gd name="T17" fmla="*/ 34 h 61"/>
                <a:gd name="T18" fmla="*/ 16 w 45"/>
                <a:gd name="T19" fmla="*/ 34 h 61"/>
                <a:gd name="T20" fmla="*/ 16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6" y="10"/>
                  </a:lnTo>
                  <a:lnTo>
                    <a:pt x="16" y="21"/>
                  </a:lnTo>
                  <a:lnTo>
                    <a:pt x="42" y="21"/>
                  </a:lnTo>
                  <a:lnTo>
                    <a:pt x="42" y="34"/>
                  </a:lnTo>
                  <a:lnTo>
                    <a:pt x="16" y="34"/>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6" name="Freeform 436"/>
            <p:cNvSpPr>
              <a:spLocks/>
            </p:cNvSpPr>
            <p:nvPr/>
          </p:nvSpPr>
          <p:spPr bwMode="auto">
            <a:xfrm>
              <a:off x="9859964" y="6222028"/>
              <a:ext cx="104775" cy="96838"/>
            </a:xfrm>
            <a:custGeom>
              <a:avLst/>
              <a:gdLst>
                <a:gd name="T0" fmla="*/ 66 w 66"/>
                <a:gd name="T1" fmla="*/ 61 h 61"/>
                <a:gd name="T2" fmla="*/ 50 w 66"/>
                <a:gd name="T3" fmla="*/ 61 h 61"/>
                <a:gd name="T4" fmla="*/ 50 w 66"/>
                <a:gd name="T5" fmla="*/ 18 h 61"/>
                <a:gd name="T6" fmla="*/ 40 w 66"/>
                <a:gd name="T7" fmla="*/ 45 h 61"/>
                <a:gd name="T8" fmla="*/ 27 w 66"/>
                <a:gd name="T9" fmla="*/ 45 h 61"/>
                <a:gd name="T10" fmla="*/ 16 w 66"/>
                <a:gd name="T11" fmla="*/ 18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7" y="45"/>
                  </a:lnTo>
                  <a:lnTo>
                    <a:pt x="16" y="18"/>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7" name="Freeform 437"/>
            <p:cNvSpPr>
              <a:spLocks/>
            </p:cNvSpPr>
            <p:nvPr/>
          </p:nvSpPr>
          <p:spPr bwMode="auto">
            <a:xfrm>
              <a:off x="10033001" y="6222028"/>
              <a:ext cx="58738" cy="96838"/>
            </a:xfrm>
            <a:custGeom>
              <a:avLst/>
              <a:gdLst>
                <a:gd name="T0" fmla="*/ 37 w 37"/>
                <a:gd name="T1" fmla="*/ 61 h 61"/>
                <a:gd name="T2" fmla="*/ 0 w 37"/>
                <a:gd name="T3" fmla="*/ 61 h 61"/>
                <a:gd name="T4" fmla="*/ 0 w 37"/>
                <a:gd name="T5" fmla="*/ 50 h 61"/>
                <a:gd name="T6" fmla="*/ 10 w 37"/>
                <a:gd name="T7" fmla="*/ 50 h 61"/>
                <a:gd name="T8" fmla="*/ 10 w 37"/>
                <a:gd name="T9" fmla="*/ 10 h 61"/>
                <a:gd name="T10" fmla="*/ 0 w 37"/>
                <a:gd name="T11" fmla="*/ 10 h 61"/>
                <a:gd name="T12" fmla="*/ 0 w 37"/>
                <a:gd name="T13" fmla="*/ 0 h 61"/>
                <a:gd name="T14" fmla="*/ 37 w 37"/>
                <a:gd name="T15" fmla="*/ 0 h 61"/>
                <a:gd name="T16" fmla="*/ 37 w 37"/>
                <a:gd name="T17" fmla="*/ 10 h 61"/>
                <a:gd name="T18" fmla="*/ 26 w 37"/>
                <a:gd name="T19" fmla="*/ 10 h 61"/>
                <a:gd name="T20" fmla="*/ 26 w 37"/>
                <a:gd name="T21" fmla="*/ 50 h 61"/>
                <a:gd name="T22" fmla="*/ 37 w 37"/>
                <a:gd name="T23" fmla="*/ 50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0"/>
                  </a:lnTo>
                  <a:lnTo>
                    <a:pt x="10" y="50"/>
                  </a:lnTo>
                  <a:lnTo>
                    <a:pt x="10" y="10"/>
                  </a:lnTo>
                  <a:lnTo>
                    <a:pt x="0" y="10"/>
                  </a:lnTo>
                  <a:lnTo>
                    <a:pt x="0" y="0"/>
                  </a:lnTo>
                  <a:lnTo>
                    <a:pt x="37" y="0"/>
                  </a:lnTo>
                  <a:lnTo>
                    <a:pt x="37" y="10"/>
                  </a:lnTo>
                  <a:lnTo>
                    <a:pt x="26" y="10"/>
                  </a:lnTo>
                  <a:lnTo>
                    <a:pt x="26" y="50"/>
                  </a:lnTo>
                  <a:lnTo>
                    <a:pt x="37" y="50"/>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8" name="Freeform 438"/>
            <p:cNvSpPr>
              <a:spLocks noEditPoints="1"/>
            </p:cNvSpPr>
            <p:nvPr/>
          </p:nvSpPr>
          <p:spPr bwMode="auto">
            <a:xfrm>
              <a:off x="10107614" y="6222028"/>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9" name="Freeform 439"/>
            <p:cNvSpPr>
              <a:spLocks/>
            </p:cNvSpPr>
            <p:nvPr/>
          </p:nvSpPr>
          <p:spPr bwMode="auto">
            <a:xfrm>
              <a:off x="10204451" y="6217266"/>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440"/>
            <p:cNvSpPr>
              <a:spLocks/>
            </p:cNvSpPr>
            <p:nvPr/>
          </p:nvSpPr>
          <p:spPr bwMode="auto">
            <a:xfrm>
              <a:off x="10306051" y="6222028"/>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1" name="Freeform 441"/>
            <p:cNvSpPr>
              <a:spLocks/>
            </p:cNvSpPr>
            <p:nvPr/>
          </p:nvSpPr>
          <p:spPr bwMode="auto">
            <a:xfrm>
              <a:off x="10415589" y="6222028"/>
              <a:ext cx="100013" cy="96838"/>
            </a:xfrm>
            <a:custGeom>
              <a:avLst/>
              <a:gdLst>
                <a:gd name="T0" fmla="*/ 63 w 63"/>
                <a:gd name="T1" fmla="*/ 61 h 61"/>
                <a:gd name="T2" fmla="*/ 48 w 63"/>
                <a:gd name="T3" fmla="*/ 61 h 61"/>
                <a:gd name="T4" fmla="*/ 48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8"/>
                  </a:lnTo>
                  <a:lnTo>
                    <a:pt x="37" y="45"/>
                  </a:lnTo>
                  <a:lnTo>
                    <a:pt x="26" y="45"/>
                  </a:lnTo>
                  <a:lnTo>
                    <a:pt x="16" y="18"/>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2" name="Freeform 442"/>
            <p:cNvSpPr>
              <a:spLocks/>
            </p:cNvSpPr>
            <p:nvPr/>
          </p:nvSpPr>
          <p:spPr bwMode="auto">
            <a:xfrm>
              <a:off x="9599614" y="5388591"/>
              <a:ext cx="1012825" cy="403225"/>
            </a:xfrm>
            <a:custGeom>
              <a:avLst/>
              <a:gdLst>
                <a:gd name="T0" fmla="*/ 228 w 241"/>
                <a:gd name="T1" fmla="*/ 96 h 96"/>
                <a:gd name="T2" fmla="*/ 88 w 241"/>
                <a:gd name="T3" fmla="*/ 16 h 96"/>
                <a:gd name="T4" fmla="*/ 8 w 241"/>
                <a:gd name="T5" fmla="*/ 37 h 96"/>
                <a:gd name="T6" fmla="*/ 0 w 241"/>
                <a:gd name="T7" fmla="*/ 23 h 96"/>
                <a:gd name="T8" fmla="*/ 88 w 241"/>
                <a:gd name="T9" fmla="*/ 0 h 96"/>
                <a:gd name="T10" fmla="*/ 241 w 241"/>
                <a:gd name="T11" fmla="*/ 88 h 96"/>
                <a:gd name="T12" fmla="*/ 228 w 241"/>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41" h="96">
                  <a:moveTo>
                    <a:pt x="228" y="96"/>
                  </a:moveTo>
                  <a:cubicBezTo>
                    <a:pt x="199" y="46"/>
                    <a:pt x="146" y="16"/>
                    <a:pt x="88" y="16"/>
                  </a:cubicBezTo>
                  <a:cubicBezTo>
                    <a:pt x="60" y="16"/>
                    <a:pt x="32" y="23"/>
                    <a:pt x="8" y="37"/>
                  </a:cubicBezTo>
                  <a:cubicBezTo>
                    <a:pt x="0" y="23"/>
                    <a:pt x="0" y="23"/>
                    <a:pt x="0" y="23"/>
                  </a:cubicBezTo>
                  <a:cubicBezTo>
                    <a:pt x="27" y="8"/>
                    <a:pt x="57" y="0"/>
                    <a:pt x="88" y="0"/>
                  </a:cubicBezTo>
                  <a:cubicBezTo>
                    <a:pt x="151" y="0"/>
                    <a:pt x="210" y="33"/>
                    <a:pt x="241" y="88"/>
                  </a:cubicBezTo>
                  <a:cubicBezTo>
                    <a:pt x="228" y="96"/>
                    <a:pt x="228" y="96"/>
                    <a:pt x="228" y="96"/>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3" name="Freeform 443"/>
            <p:cNvSpPr>
              <a:spLocks/>
            </p:cNvSpPr>
            <p:nvPr/>
          </p:nvSpPr>
          <p:spPr bwMode="auto">
            <a:xfrm>
              <a:off x="9326564" y="5485428"/>
              <a:ext cx="966788" cy="642938"/>
            </a:xfrm>
            <a:custGeom>
              <a:avLst/>
              <a:gdLst>
                <a:gd name="T0" fmla="*/ 16 w 230"/>
                <a:gd name="T1" fmla="*/ 153 h 153"/>
                <a:gd name="T2" fmla="*/ 0 w 230"/>
                <a:gd name="T3" fmla="*/ 153 h 153"/>
                <a:gd name="T4" fmla="*/ 153 w 230"/>
                <a:gd name="T5" fmla="*/ 0 h 153"/>
                <a:gd name="T6" fmla="*/ 230 w 230"/>
                <a:gd name="T7" fmla="*/ 20 h 153"/>
                <a:gd name="T8" fmla="*/ 222 w 230"/>
                <a:gd name="T9" fmla="*/ 34 h 153"/>
                <a:gd name="T10" fmla="*/ 153 w 230"/>
                <a:gd name="T11" fmla="*/ 16 h 153"/>
                <a:gd name="T12" fmla="*/ 16 w 230"/>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230" h="153">
                  <a:moveTo>
                    <a:pt x="16" y="153"/>
                  </a:moveTo>
                  <a:cubicBezTo>
                    <a:pt x="0" y="153"/>
                    <a:pt x="0" y="153"/>
                    <a:pt x="0" y="153"/>
                  </a:cubicBezTo>
                  <a:cubicBezTo>
                    <a:pt x="0" y="69"/>
                    <a:pt x="69" y="0"/>
                    <a:pt x="153" y="0"/>
                  </a:cubicBezTo>
                  <a:cubicBezTo>
                    <a:pt x="180" y="0"/>
                    <a:pt x="207" y="7"/>
                    <a:pt x="230" y="20"/>
                  </a:cubicBezTo>
                  <a:cubicBezTo>
                    <a:pt x="222" y="34"/>
                    <a:pt x="222" y="34"/>
                    <a:pt x="222" y="34"/>
                  </a:cubicBezTo>
                  <a:cubicBezTo>
                    <a:pt x="201" y="22"/>
                    <a:pt x="178" y="16"/>
                    <a:pt x="153" y="16"/>
                  </a:cubicBezTo>
                  <a:cubicBezTo>
                    <a:pt x="77" y="16"/>
                    <a:pt x="16" y="77"/>
                    <a:pt x="16" y="15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4" name="Freeform 444"/>
            <p:cNvSpPr>
              <a:spLocks/>
            </p:cNvSpPr>
            <p:nvPr/>
          </p:nvSpPr>
          <p:spPr bwMode="auto">
            <a:xfrm>
              <a:off x="9969501" y="5577503"/>
              <a:ext cx="550863" cy="550863"/>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8"/>
                    <a:pt x="64" y="16"/>
                    <a:pt x="0" y="16"/>
                  </a:cubicBezTo>
                  <a:cubicBezTo>
                    <a:pt x="0" y="0"/>
                    <a:pt x="0" y="0"/>
                    <a:pt x="0" y="0"/>
                  </a:cubicBezTo>
                  <a:cubicBezTo>
                    <a:pt x="73"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5" name="Freeform 445"/>
            <p:cNvSpPr>
              <a:spLocks/>
            </p:cNvSpPr>
            <p:nvPr/>
          </p:nvSpPr>
          <p:spPr bwMode="auto">
            <a:xfrm>
              <a:off x="9515476" y="5674341"/>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8"/>
                    <a:pt x="159" y="16"/>
                    <a:pt x="108" y="16"/>
                  </a:cubicBezTo>
                  <a:cubicBezTo>
                    <a:pt x="58" y="16"/>
                    <a:pt x="16" y="58"/>
                    <a:pt x="16" y="108"/>
                  </a:cubicBezTo>
                  <a:cubicBezTo>
                    <a:pt x="0" y="108"/>
                    <a:pt x="0" y="108"/>
                    <a:pt x="0" y="108"/>
                  </a:cubicBezTo>
                  <a:cubicBezTo>
                    <a:pt x="0" y="49"/>
                    <a:pt x="49" y="0"/>
                    <a:pt x="108" y="0"/>
                  </a:cubicBezTo>
                  <a:cubicBezTo>
                    <a:pt x="168" y="0"/>
                    <a:pt x="216" y="49"/>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6" name="Freeform 446"/>
            <p:cNvSpPr>
              <a:spLocks/>
            </p:cNvSpPr>
            <p:nvPr/>
          </p:nvSpPr>
          <p:spPr bwMode="auto">
            <a:xfrm>
              <a:off x="9645651" y="5804516"/>
              <a:ext cx="652463" cy="323850"/>
            </a:xfrm>
            <a:custGeom>
              <a:avLst/>
              <a:gdLst>
                <a:gd name="T0" fmla="*/ 155 w 155"/>
                <a:gd name="T1" fmla="*/ 77 h 77"/>
                <a:gd name="T2" fmla="*/ 77 w 155"/>
                <a:gd name="T3" fmla="*/ 0 h 77"/>
                <a:gd name="T4" fmla="*/ 0 w 155"/>
                <a:gd name="T5" fmla="*/ 77 h 77"/>
              </a:gdLst>
              <a:ahLst/>
              <a:cxnLst>
                <a:cxn ang="0">
                  <a:pos x="T0" y="T1"/>
                </a:cxn>
                <a:cxn ang="0">
                  <a:pos x="T2" y="T3"/>
                </a:cxn>
                <a:cxn ang="0">
                  <a:pos x="T4" y="T5"/>
                </a:cxn>
              </a:cxnLst>
              <a:rect l="0" t="0" r="r" b="b"/>
              <a:pathLst>
                <a:path w="155" h="77">
                  <a:moveTo>
                    <a:pt x="155" y="77"/>
                  </a:moveTo>
                  <a:cubicBezTo>
                    <a:pt x="155" y="35"/>
                    <a:pt x="120" y="0"/>
                    <a:pt x="77" y="0"/>
                  </a:cubicBezTo>
                  <a:cubicBezTo>
                    <a:pt x="35" y="0"/>
                    <a:pt x="0" y="35"/>
                    <a:pt x="0"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447"/>
            <p:cNvSpPr>
              <a:spLocks/>
            </p:cNvSpPr>
            <p:nvPr/>
          </p:nvSpPr>
          <p:spPr bwMode="auto">
            <a:xfrm>
              <a:off x="9801226" y="5969616"/>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448"/>
            <p:cNvSpPr>
              <a:spLocks noEditPoints="1"/>
            </p:cNvSpPr>
            <p:nvPr/>
          </p:nvSpPr>
          <p:spPr bwMode="auto">
            <a:xfrm>
              <a:off x="9893301" y="5969616"/>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449"/>
            <p:cNvSpPr>
              <a:spLocks/>
            </p:cNvSpPr>
            <p:nvPr/>
          </p:nvSpPr>
          <p:spPr bwMode="auto">
            <a:xfrm>
              <a:off x="9998076" y="5969616"/>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450"/>
            <p:cNvSpPr>
              <a:spLocks/>
            </p:cNvSpPr>
            <p:nvPr/>
          </p:nvSpPr>
          <p:spPr bwMode="auto">
            <a:xfrm>
              <a:off x="10086976" y="5969616"/>
              <a:ext cx="76200" cy="100013"/>
            </a:xfrm>
            <a:custGeom>
              <a:avLst/>
              <a:gdLst>
                <a:gd name="T0" fmla="*/ 18 w 18"/>
                <a:gd name="T1" fmla="*/ 16 h 24"/>
                <a:gd name="T2" fmla="*/ 18 w 18"/>
                <a:gd name="T3" fmla="*/ 19 h 24"/>
                <a:gd name="T4" fmla="*/ 16 w 18"/>
                <a:gd name="T5" fmla="*/ 22 h 24"/>
                <a:gd name="T6" fmla="*/ 12 w 18"/>
                <a:gd name="T7" fmla="*/ 23 h 24"/>
                <a:gd name="T8" fmla="*/ 8 w 18"/>
                <a:gd name="T9" fmla="*/ 24 h 24"/>
                <a:gd name="T10" fmla="*/ 3 w 18"/>
                <a:gd name="T11" fmla="*/ 24 h 24"/>
                <a:gd name="T12" fmla="*/ 0 w 18"/>
                <a:gd name="T13" fmla="*/ 23 h 24"/>
                <a:gd name="T14" fmla="*/ 0 w 18"/>
                <a:gd name="T15" fmla="*/ 17 h 24"/>
                <a:gd name="T16" fmla="*/ 1 w 18"/>
                <a:gd name="T17" fmla="*/ 17 h 24"/>
                <a:gd name="T18" fmla="*/ 4 w 18"/>
                <a:gd name="T19" fmla="*/ 19 h 24"/>
                <a:gd name="T20" fmla="*/ 7 w 18"/>
                <a:gd name="T21" fmla="*/ 19 h 24"/>
                <a:gd name="T22" fmla="*/ 9 w 18"/>
                <a:gd name="T23" fmla="*/ 19 h 24"/>
                <a:gd name="T24" fmla="*/ 11 w 18"/>
                <a:gd name="T25" fmla="*/ 18 h 24"/>
                <a:gd name="T26" fmla="*/ 12 w 18"/>
                <a:gd name="T27" fmla="*/ 17 h 24"/>
                <a:gd name="T28" fmla="*/ 12 w 18"/>
                <a:gd name="T29" fmla="*/ 16 h 24"/>
                <a:gd name="T30" fmla="*/ 12 w 18"/>
                <a:gd name="T31" fmla="*/ 14 h 24"/>
                <a:gd name="T32" fmla="*/ 11 w 18"/>
                <a:gd name="T33" fmla="*/ 13 h 24"/>
                <a:gd name="T34" fmla="*/ 9 w 18"/>
                <a:gd name="T35" fmla="*/ 13 h 24"/>
                <a:gd name="T36" fmla="*/ 7 w 18"/>
                <a:gd name="T37" fmla="*/ 13 h 24"/>
                <a:gd name="T38" fmla="*/ 4 w 18"/>
                <a:gd name="T39" fmla="*/ 13 h 24"/>
                <a:gd name="T40" fmla="*/ 2 w 18"/>
                <a:gd name="T41" fmla="*/ 13 h 24"/>
                <a:gd name="T42" fmla="*/ 1 w 18"/>
                <a:gd name="T43" fmla="*/ 13 h 24"/>
                <a:gd name="T44" fmla="*/ 1 w 18"/>
                <a:gd name="T45" fmla="*/ 0 h 24"/>
                <a:gd name="T46" fmla="*/ 18 w 18"/>
                <a:gd name="T47" fmla="*/ 0 h 24"/>
                <a:gd name="T48" fmla="*/ 18 w 18"/>
                <a:gd name="T49" fmla="*/ 5 h 24"/>
                <a:gd name="T50" fmla="*/ 7 w 18"/>
                <a:gd name="T51" fmla="*/ 5 h 24"/>
                <a:gd name="T52" fmla="*/ 7 w 18"/>
                <a:gd name="T53" fmla="*/ 8 h 24"/>
                <a:gd name="T54" fmla="*/ 8 w 18"/>
                <a:gd name="T55" fmla="*/ 8 h 24"/>
                <a:gd name="T56" fmla="*/ 9 w 18"/>
                <a:gd name="T57" fmla="*/ 8 h 24"/>
                <a:gd name="T58" fmla="*/ 13 w 18"/>
                <a:gd name="T59" fmla="*/ 9 h 24"/>
                <a:gd name="T60" fmla="*/ 15 w 18"/>
                <a:gd name="T61" fmla="*/ 10 h 24"/>
                <a:gd name="T62" fmla="*/ 18 w 18"/>
                <a:gd name="T63" fmla="*/ 12 h 24"/>
                <a:gd name="T64" fmla="*/ 18 w 18"/>
                <a:gd name="T6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24">
                  <a:moveTo>
                    <a:pt x="18" y="16"/>
                  </a:moveTo>
                  <a:cubicBezTo>
                    <a:pt x="18" y="17"/>
                    <a:pt x="18" y="18"/>
                    <a:pt x="18" y="19"/>
                  </a:cubicBezTo>
                  <a:cubicBezTo>
                    <a:pt x="17" y="20"/>
                    <a:pt x="17" y="21"/>
                    <a:pt x="16" y="22"/>
                  </a:cubicBezTo>
                  <a:cubicBezTo>
                    <a:pt x="15" y="22"/>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1" y="17"/>
                    <a:pt x="1" y="17"/>
                    <a:pt x="1" y="17"/>
                  </a:cubicBezTo>
                  <a:cubicBezTo>
                    <a:pt x="2" y="18"/>
                    <a:pt x="3" y="18"/>
                    <a:pt x="4" y="19"/>
                  </a:cubicBezTo>
                  <a:cubicBezTo>
                    <a:pt x="5" y="19"/>
                    <a:pt x="6" y="19"/>
                    <a:pt x="7" y="19"/>
                  </a:cubicBezTo>
                  <a:cubicBezTo>
                    <a:pt x="8" y="19"/>
                    <a:pt x="9" y="19"/>
                    <a:pt x="9" y="19"/>
                  </a:cubicBezTo>
                  <a:cubicBezTo>
                    <a:pt x="10" y="19"/>
                    <a:pt x="11" y="19"/>
                    <a:pt x="11" y="18"/>
                  </a:cubicBezTo>
                  <a:cubicBezTo>
                    <a:pt x="12" y="18"/>
                    <a:pt x="12" y="18"/>
                    <a:pt x="12" y="17"/>
                  </a:cubicBezTo>
                  <a:cubicBezTo>
                    <a:pt x="12" y="17"/>
                    <a:pt x="12" y="17"/>
                    <a:pt x="12" y="16"/>
                  </a:cubicBezTo>
                  <a:cubicBezTo>
                    <a:pt x="12" y="15"/>
                    <a:pt x="12" y="15"/>
                    <a:pt x="12" y="14"/>
                  </a:cubicBezTo>
                  <a:cubicBezTo>
                    <a:pt x="12" y="14"/>
                    <a:pt x="11" y="14"/>
                    <a:pt x="11" y="13"/>
                  </a:cubicBezTo>
                  <a:cubicBezTo>
                    <a:pt x="10" y="13"/>
                    <a:pt x="10" y="13"/>
                    <a:pt x="9" y="13"/>
                  </a:cubicBezTo>
                  <a:cubicBezTo>
                    <a:pt x="8" y="13"/>
                    <a:pt x="7" y="13"/>
                    <a:pt x="7" y="13"/>
                  </a:cubicBezTo>
                  <a:cubicBezTo>
                    <a:pt x="6" y="13"/>
                    <a:pt x="5" y="13"/>
                    <a:pt x="4" y="13"/>
                  </a:cubicBezTo>
                  <a:cubicBezTo>
                    <a:pt x="3" y="13"/>
                    <a:pt x="2" y="13"/>
                    <a:pt x="2" y="13"/>
                  </a:cubicBezTo>
                  <a:cubicBezTo>
                    <a:pt x="1" y="13"/>
                    <a:pt x="1" y="13"/>
                    <a:pt x="1" y="13"/>
                  </a:cubicBezTo>
                  <a:cubicBezTo>
                    <a:pt x="1" y="0"/>
                    <a:pt x="1" y="0"/>
                    <a:pt x="1" y="0"/>
                  </a:cubicBezTo>
                  <a:cubicBezTo>
                    <a:pt x="18" y="0"/>
                    <a:pt x="18" y="0"/>
                    <a:pt x="18" y="0"/>
                  </a:cubicBezTo>
                  <a:cubicBezTo>
                    <a:pt x="18" y="5"/>
                    <a:pt x="18" y="5"/>
                    <a:pt x="18" y="5"/>
                  </a:cubicBezTo>
                  <a:cubicBezTo>
                    <a:pt x="7" y="5"/>
                    <a:pt x="7" y="5"/>
                    <a:pt x="7" y="5"/>
                  </a:cubicBezTo>
                  <a:cubicBezTo>
                    <a:pt x="7" y="8"/>
                    <a:pt x="7" y="8"/>
                    <a:pt x="7" y="8"/>
                  </a:cubicBezTo>
                  <a:cubicBezTo>
                    <a:pt x="7" y="8"/>
                    <a:pt x="7" y="8"/>
                    <a:pt x="8" y="8"/>
                  </a:cubicBezTo>
                  <a:cubicBezTo>
                    <a:pt x="8" y="8"/>
                    <a:pt x="9" y="8"/>
                    <a:pt x="9" y="8"/>
                  </a:cubicBezTo>
                  <a:cubicBezTo>
                    <a:pt x="11" y="8"/>
                    <a:pt x="12" y="9"/>
                    <a:pt x="13" y="9"/>
                  </a:cubicBezTo>
                  <a:cubicBezTo>
                    <a:pt x="14" y="9"/>
                    <a:pt x="15" y="9"/>
                    <a:pt x="15" y="10"/>
                  </a:cubicBezTo>
                  <a:cubicBezTo>
                    <a:pt x="16" y="10"/>
                    <a:pt x="17" y="11"/>
                    <a:pt x="18" y="12"/>
                  </a:cubicBezTo>
                  <a:cubicBezTo>
                    <a:pt x="18" y="13"/>
                    <a:pt x="18" y="14"/>
                    <a:pt x="18" y="1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480"/>
            <p:cNvSpPr>
              <a:spLocks/>
            </p:cNvSpPr>
            <p:nvPr/>
          </p:nvSpPr>
          <p:spPr bwMode="auto">
            <a:xfrm>
              <a:off x="10473947" y="5156816"/>
              <a:ext cx="1162050" cy="231775"/>
            </a:xfrm>
            <a:custGeom>
              <a:avLst/>
              <a:gdLst>
                <a:gd name="T0" fmla="*/ 11 w 732"/>
                <a:gd name="T1" fmla="*/ 146 h 146"/>
                <a:gd name="T2" fmla="*/ 0 w 732"/>
                <a:gd name="T3" fmla="*/ 146 h 146"/>
                <a:gd name="T4" fmla="*/ 0 w 732"/>
                <a:gd name="T5" fmla="*/ 0 h 146"/>
                <a:gd name="T6" fmla="*/ 732 w 732"/>
                <a:gd name="T7" fmla="*/ 0 h 146"/>
                <a:gd name="T8" fmla="*/ 732 w 732"/>
                <a:gd name="T9" fmla="*/ 11 h 146"/>
                <a:gd name="T10" fmla="*/ 11 w 732"/>
                <a:gd name="T11" fmla="*/ 11 h 146"/>
                <a:gd name="T12" fmla="*/ 11 w 732"/>
                <a:gd name="T13" fmla="*/ 146 h 146"/>
                <a:gd name="T14" fmla="*/ 11 w 732"/>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6">
                  <a:moveTo>
                    <a:pt x="11" y="146"/>
                  </a:moveTo>
                  <a:lnTo>
                    <a:pt x="0" y="146"/>
                  </a:lnTo>
                  <a:lnTo>
                    <a:pt x="0" y="0"/>
                  </a:lnTo>
                  <a:lnTo>
                    <a:pt x="732" y="0"/>
                  </a:lnTo>
                  <a:lnTo>
                    <a:pt x="732" y="11"/>
                  </a:lnTo>
                  <a:lnTo>
                    <a:pt x="11" y="11"/>
                  </a:lnTo>
                  <a:lnTo>
                    <a:pt x="11" y="146"/>
                  </a:lnTo>
                  <a:lnTo>
                    <a:pt x="11" y="146"/>
                  </a:ln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2" name="Text Placeholder 2"/>
            <p:cNvSpPr txBox="1">
              <a:spLocks/>
            </p:cNvSpPr>
            <p:nvPr/>
          </p:nvSpPr>
          <p:spPr>
            <a:xfrm>
              <a:off x="10566385" y="5206733"/>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grpSp>
      <p:grpSp>
        <p:nvGrpSpPr>
          <p:cNvPr id="436" name="Group 435"/>
          <p:cNvGrpSpPr/>
          <p:nvPr/>
        </p:nvGrpSpPr>
        <p:grpSpPr>
          <a:xfrm>
            <a:off x="8401559" y="3803408"/>
            <a:ext cx="2358517" cy="1169480"/>
            <a:chOff x="8401559" y="3865099"/>
            <a:chExt cx="2358517" cy="1169480"/>
          </a:xfrm>
        </p:grpSpPr>
        <p:sp>
          <p:nvSpPr>
            <p:cNvPr id="225" name="Freeform 425"/>
            <p:cNvSpPr>
              <a:spLocks/>
            </p:cNvSpPr>
            <p:nvPr/>
          </p:nvSpPr>
          <p:spPr bwMode="auto">
            <a:xfrm>
              <a:off x="9178926" y="3996353"/>
              <a:ext cx="1262063" cy="841375"/>
            </a:xfrm>
            <a:custGeom>
              <a:avLst/>
              <a:gdLst>
                <a:gd name="T0" fmla="*/ 16 w 300"/>
                <a:gd name="T1" fmla="*/ 200 h 200"/>
                <a:gd name="T2" fmla="*/ 0 w 300"/>
                <a:gd name="T3" fmla="*/ 200 h 200"/>
                <a:gd name="T4" fmla="*/ 200 w 300"/>
                <a:gd name="T5" fmla="*/ 0 h 200"/>
                <a:gd name="T6" fmla="*/ 300 w 300"/>
                <a:gd name="T7" fmla="*/ 27 h 200"/>
                <a:gd name="T8" fmla="*/ 292 w 300"/>
                <a:gd name="T9" fmla="*/ 41 h 200"/>
                <a:gd name="T10" fmla="*/ 200 w 300"/>
                <a:gd name="T11" fmla="*/ 16 h 200"/>
                <a:gd name="T12" fmla="*/ 16 w 300"/>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16" y="200"/>
                  </a:moveTo>
                  <a:cubicBezTo>
                    <a:pt x="0" y="200"/>
                    <a:pt x="0" y="200"/>
                    <a:pt x="0" y="200"/>
                  </a:cubicBezTo>
                  <a:cubicBezTo>
                    <a:pt x="0" y="90"/>
                    <a:pt x="90" y="0"/>
                    <a:pt x="200" y="0"/>
                  </a:cubicBezTo>
                  <a:cubicBezTo>
                    <a:pt x="235" y="0"/>
                    <a:pt x="270" y="10"/>
                    <a:pt x="300" y="27"/>
                  </a:cubicBezTo>
                  <a:cubicBezTo>
                    <a:pt x="292" y="41"/>
                    <a:pt x="292" y="41"/>
                    <a:pt x="292" y="41"/>
                  </a:cubicBezTo>
                  <a:cubicBezTo>
                    <a:pt x="264" y="25"/>
                    <a:pt x="232" y="16"/>
                    <a:pt x="200" y="16"/>
                  </a:cubicBezTo>
                  <a:cubicBezTo>
                    <a:pt x="99" y="16"/>
                    <a:pt x="16" y="99"/>
                    <a:pt x="16" y="2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6" name="Freeform 426"/>
            <p:cNvSpPr>
              <a:spLocks/>
            </p:cNvSpPr>
            <p:nvPr/>
          </p:nvSpPr>
          <p:spPr bwMode="auto">
            <a:xfrm>
              <a:off x="9645651" y="4093191"/>
              <a:ext cx="1114425" cy="744538"/>
            </a:xfrm>
            <a:custGeom>
              <a:avLst/>
              <a:gdLst>
                <a:gd name="T0" fmla="*/ 265 w 265"/>
                <a:gd name="T1" fmla="*/ 177 h 177"/>
                <a:gd name="T2" fmla="*/ 249 w 265"/>
                <a:gd name="T3" fmla="*/ 177 h 177"/>
                <a:gd name="T4" fmla="*/ 89 w 265"/>
                <a:gd name="T5" fmla="*/ 16 h 177"/>
                <a:gd name="T6" fmla="*/ 9 w 265"/>
                <a:gd name="T7" fmla="*/ 38 h 177"/>
                <a:gd name="T8" fmla="*/ 0 w 265"/>
                <a:gd name="T9" fmla="*/ 24 h 177"/>
                <a:gd name="T10" fmla="*/ 89 w 265"/>
                <a:gd name="T11" fmla="*/ 0 h 177"/>
                <a:gd name="T12" fmla="*/ 265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265" y="177"/>
                  </a:moveTo>
                  <a:cubicBezTo>
                    <a:pt x="249" y="177"/>
                    <a:pt x="249" y="177"/>
                    <a:pt x="249" y="177"/>
                  </a:cubicBezTo>
                  <a:cubicBezTo>
                    <a:pt x="249" y="88"/>
                    <a:pt x="177" y="16"/>
                    <a:pt x="89" y="16"/>
                  </a:cubicBezTo>
                  <a:cubicBezTo>
                    <a:pt x="61" y="16"/>
                    <a:pt x="33" y="24"/>
                    <a:pt x="9" y="38"/>
                  </a:cubicBezTo>
                  <a:cubicBezTo>
                    <a:pt x="0" y="24"/>
                    <a:pt x="0" y="24"/>
                    <a:pt x="0" y="24"/>
                  </a:cubicBezTo>
                  <a:cubicBezTo>
                    <a:pt x="27" y="8"/>
                    <a:pt x="58" y="0"/>
                    <a:pt x="89" y="0"/>
                  </a:cubicBezTo>
                  <a:cubicBezTo>
                    <a:pt x="186" y="0"/>
                    <a:pt x="265" y="79"/>
                    <a:pt x="265"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7" name="Freeform 427"/>
            <p:cNvSpPr>
              <a:spLocks/>
            </p:cNvSpPr>
            <p:nvPr/>
          </p:nvSpPr>
          <p:spPr bwMode="auto">
            <a:xfrm>
              <a:off x="9372601" y="4188441"/>
              <a:ext cx="971550" cy="649288"/>
            </a:xfrm>
            <a:custGeom>
              <a:avLst/>
              <a:gdLst>
                <a:gd name="T0" fmla="*/ 16 w 231"/>
                <a:gd name="T1" fmla="*/ 154 h 154"/>
                <a:gd name="T2" fmla="*/ 0 w 231"/>
                <a:gd name="T3" fmla="*/ 154 h 154"/>
                <a:gd name="T4" fmla="*/ 154 w 231"/>
                <a:gd name="T5" fmla="*/ 0 h 154"/>
                <a:gd name="T6" fmla="*/ 231 w 231"/>
                <a:gd name="T7" fmla="*/ 21 h 154"/>
                <a:gd name="T8" fmla="*/ 223 w 231"/>
                <a:gd name="T9" fmla="*/ 34 h 154"/>
                <a:gd name="T10" fmla="*/ 154 w 231"/>
                <a:gd name="T11" fmla="*/ 16 h 154"/>
                <a:gd name="T12" fmla="*/ 16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16" y="154"/>
                  </a:moveTo>
                  <a:cubicBezTo>
                    <a:pt x="0" y="154"/>
                    <a:pt x="0" y="154"/>
                    <a:pt x="0" y="154"/>
                  </a:cubicBezTo>
                  <a:cubicBezTo>
                    <a:pt x="0" y="69"/>
                    <a:pt x="69" y="0"/>
                    <a:pt x="154" y="0"/>
                  </a:cubicBezTo>
                  <a:cubicBezTo>
                    <a:pt x="181" y="0"/>
                    <a:pt x="207" y="7"/>
                    <a:pt x="231" y="21"/>
                  </a:cubicBezTo>
                  <a:cubicBezTo>
                    <a:pt x="223" y="34"/>
                    <a:pt x="223" y="34"/>
                    <a:pt x="223" y="34"/>
                  </a:cubicBezTo>
                  <a:cubicBezTo>
                    <a:pt x="202" y="22"/>
                    <a:pt x="178" y="16"/>
                    <a:pt x="154" y="16"/>
                  </a:cubicBezTo>
                  <a:cubicBezTo>
                    <a:pt x="78" y="16"/>
                    <a:pt x="16" y="78"/>
                    <a:pt x="16" y="154"/>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8" name="Freeform 428"/>
            <p:cNvSpPr>
              <a:spLocks/>
            </p:cNvSpPr>
            <p:nvPr/>
          </p:nvSpPr>
          <p:spPr bwMode="auto">
            <a:xfrm>
              <a:off x="10020301" y="4285278"/>
              <a:ext cx="550863" cy="552450"/>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7"/>
                    <a:pt x="63" y="16"/>
                    <a:pt x="0" y="16"/>
                  </a:cubicBezTo>
                  <a:cubicBezTo>
                    <a:pt x="0" y="0"/>
                    <a:pt x="0" y="0"/>
                    <a:pt x="0" y="0"/>
                  </a:cubicBezTo>
                  <a:cubicBezTo>
                    <a:pt x="72"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9" name="Freeform 429"/>
            <p:cNvSpPr>
              <a:spLocks/>
            </p:cNvSpPr>
            <p:nvPr/>
          </p:nvSpPr>
          <p:spPr bwMode="auto">
            <a:xfrm>
              <a:off x="9566276" y="4382116"/>
              <a:ext cx="908050" cy="455613"/>
            </a:xfrm>
            <a:custGeom>
              <a:avLst/>
              <a:gdLst>
                <a:gd name="T0" fmla="*/ 216 w 216"/>
                <a:gd name="T1" fmla="*/ 108 h 108"/>
                <a:gd name="T2" fmla="*/ 200 w 216"/>
                <a:gd name="T3" fmla="*/ 108 h 108"/>
                <a:gd name="T4" fmla="*/ 108 w 216"/>
                <a:gd name="T5" fmla="*/ 16 h 108"/>
                <a:gd name="T6" fmla="*/ 61 w 216"/>
                <a:gd name="T7" fmla="*/ 28 h 108"/>
                <a:gd name="T8" fmla="*/ 16 w 216"/>
                <a:gd name="T9" fmla="*/ 108 h 108"/>
                <a:gd name="T10" fmla="*/ 0 w 216"/>
                <a:gd name="T11" fmla="*/ 108 h 108"/>
                <a:gd name="T12" fmla="*/ 53 w 216"/>
                <a:gd name="T13" fmla="*/ 15 h 108"/>
                <a:gd name="T14" fmla="*/ 108 w 216"/>
                <a:gd name="T15" fmla="*/ 0 h 108"/>
                <a:gd name="T16" fmla="*/ 216 w 21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08">
                  <a:moveTo>
                    <a:pt x="216" y="108"/>
                  </a:moveTo>
                  <a:cubicBezTo>
                    <a:pt x="200" y="108"/>
                    <a:pt x="200" y="108"/>
                    <a:pt x="200" y="108"/>
                  </a:cubicBezTo>
                  <a:cubicBezTo>
                    <a:pt x="200" y="57"/>
                    <a:pt x="159" y="16"/>
                    <a:pt x="108" y="16"/>
                  </a:cubicBezTo>
                  <a:cubicBezTo>
                    <a:pt x="91" y="16"/>
                    <a:pt x="75" y="20"/>
                    <a:pt x="61" y="28"/>
                  </a:cubicBezTo>
                  <a:cubicBezTo>
                    <a:pt x="33" y="45"/>
                    <a:pt x="16" y="75"/>
                    <a:pt x="16" y="108"/>
                  </a:cubicBezTo>
                  <a:cubicBezTo>
                    <a:pt x="0" y="108"/>
                    <a:pt x="0" y="108"/>
                    <a:pt x="0" y="108"/>
                  </a:cubicBezTo>
                  <a:cubicBezTo>
                    <a:pt x="0" y="70"/>
                    <a:pt x="20" y="34"/>
                    <a:pt x="53" y="15"/>
                  </a:cubicBezTo>
                  <a:cubicBezTo>
                    <a:pt x="70" y="5"/>
                    <a:pt x="89" y="0"/>
                    <a:pt x="108" y="0"/>
                  </a:cubicBezTo>
                  <a:cubicBezTo>
                    <a:pt x="167" y="0"/>
                    <a:pt x="216" y="48"/>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0" name="Freeform 430"/>
            <p:cNvSpPr>
              <a:spLocks/>
            </p:cNvSpPr>
            <p:nvPr/>
          </p:nvSpPr>
          <p:spPr bwMode="auto">
            <a:xfrm>
              <a:off x="9696451" y="4513878"/>
              <a:ext cx="647700" cy="323850"/>
            </a:xfrm>
            <a:custGeom>
              <a:avLst/>
              <a:gdLst>
                <a:gd name="T0" fmla="*/ 0 w 154"/>
                <a:gd name="T1" fmla="*/ 77 h 77"/>
                <a:gd name="T2" fmla="*/ 77 w 154"/>
                <a:gd name="T3" fmla="*/ 0 h 77"/>
                <a:gd name="T4" fmla="*/ 154 w 154"/>
                <a:gd name="T5" fmla="*/ 77 h 77"/>
              </a:gdLst>
              <a:ahLst/>
              <a:cxnLst>
                <a:cxn ang="0">
                  <a:pos x="T0" y="T1"/>
                </a:cxn>
                <a:cxn ang="0">
                  <a:pos x="T2" y="T3"/>
                </a:cxn>
                <a:cxn ang="0">
                  <a:pos x="T4" y="T5"/>
                </a:cxn>
              </a:cxnLst>
              <a:rect l="0" t="0" r="r" b="b"/>
              <a:pathLst>
                <a:path w="154" h="77">
                  <a:moveTo>
                    <a:pt x="0" y="77"/>
                  </a:moveTo>
                  <a:cubicBezTo>
                    <a:pt x="0" y="34"/>
                    <a:pt x="34" y="0"/>
                    <a:pt x="77" y="0"/>
                  </a:cubicBezTo>
                  <a:cubicBezTo>
                    <a:pt x="119" y="0"/>
                    <a:pt x="154" y="34"/>
                    <a:pt x="154"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451"/>
            <p:cNvSpPr>
              <a:spLocks/>
            </p:cNvSpPr>
            <p:nvPr/>
          </p:nvSpPr>
          <p:spPr bwMode="auto">
            <a:xfrm>
              <a:off x="9464676" y="4937741"/>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8 h 61"/>
                <a:gd name="T10" fmla="*/ 45 w 45"/>
                <a:gd name="T11" fmla="*/ 48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452"/>
            <p:cNvSpPr>
              <a:spLocks noEditPoints="1"/>
            </p:cNvSpPr>
            <p:nvPr/>
          </p:nvSpPr>
          <p:spPr bwMode="auto">
            <a:xfrm>
              <a:off x="9544051" y="4934566"/>
              <a:ext cx="101600" cy="100013"/>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453"/>
            <p:cNvSpPr>
              <a:spLocks noEditPoints="1"/>
            </p:cNvSpPr>
            <p:nvPr/>
          </p:nvSpPr>
          <p:spPr bwMode="auto">
            <a:xfrm>
              <a:off x="9661526" y="4937741"/>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454"/>
            <p:cNvSpPr>
              <a:spLocks/>
            </p:cNvSpPr>
            <p:nvPr/>
          </p:nvSpPr>
          <p:spPr bwMode="auto">
            <a:xfrm>
              <a:off x="9767889" y="4937741"/>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1 h 61"/>
                <a:gd name="T10" fmla="*/ 16 w 45"/>
                <a:gd name="T11" fmla="*/ 11 h 61"/>
                <a:gd name="T12" fmla="*/ 16 w 45"/>
                <a:gd name="T13" fmla="*/ 21 h 61"/>
                <a:gd name="T14" fmla="*/ 42 w 45"/>
                <a:gd name="T15" fmla="*/ 21 h 61"/>
                <a:gd name="T16" fmla="*/ 42 w 45"/>
                <a:gd name="T17" fmla="*/ 35 h 61"/>
                <a:gd name="T18" fmla="*/ 16 w 45"/>
                <a:gd name="T19" fmla="*/ 35 h 61"/>
                <a:gd name="T20" fmla="*/ 16 w 45"/>
                <a:gd name="T21" fmla="*/ 48 h 61"/>
                <a:gd name="T22" fmla="*/ 45 w 45"/>
                <a:gd name="T23" fmla="*/ 48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1"/>
                  </a:lnTo>
                  <a:lnTo>
                    <a:pt x="16" y="11"/>
                  </a:lnTo>
                  <a:lnTo>
                    <a:pt x="16" y="21"/>
                  </a:lnTo>
                  <a:lnTo>
                    <a:pt x="42" y="21"/>
                  </a:lnTo>
                  <a:lnTo>
                    <a:pt x="42" y="35"/>
                  </a:lnTo>
                  <a:lnTo>
                    <a:pt x="16" y="35"/>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455"/>
            <p:cNvSpPr>
              <a:spLocks/>
            </p:cNvSpPr>
            <p:nvPr/>
          </p:nvSpPr>
          <p:spPr bwMode="auto">
            <a:xfrm>
              <a:off x="9859964" y="4937741"/>
              <a:ext cx="104775" cy="96838"/>
            </a:xfrm>
            <a:custGeom>
              <a:avLst/>
              <a:gdLst>
                <a:gd name="T0" fmla="*/ 66 w 66"/>
                <a:gd name="T1" fmla="*/ 61 h 61"/>
                <a:gd name="T2" fmla="*/ 50 w 66"/>
                <a:gd name="T3" fmla="*/ 61 h 61"/>
                <a:gd name="T4" fmla="*/ 50 w 66"/>
                <a:gd name="T5" fmla="*/ 19 h 61"/>
                <a:gd name="T6" fmla="*/ 40 w 66"/>
                <a:gd name="T7" fmla="*/ 45 h 61"/>
                <a:gd name="T8" fmla="*/ 27 w 66"/>
                <a:gd name="T9" fmla="*/ 45 h 61"/>
                <a:gd name="T10" fmla="*/ 16 w 66"/>
                <a:gd name="T11" fmla="*/ 19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9"/>
                  </a:lnTo>
                  <a:lnTo>
                    <a:pt x="40" y="45"/>
                  </a:lnTo>
                  <a:lnTo>
                    <a:pt x="27" y="45"/>
                  </a:lnTo>
                  <a:lnTo>
                    <a:pt x="16" y="19"/>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456"/>
            <p:cNvSpPr>
              <a:spLocks/>
            </p:cNvSpPr>
            <p:nvPr/>
          </p:nvSpPr>
          <p:spPr bwMode="auto">
            <a:xfrm>
              <a:off x="10033001" y="4937741"/>
              <a:ext cx="58738" cy="96838"/>
            </a:xfrm>
            <a:custGeom>
              <a:avLst/>
              <a:gdLst>
                <a:gd name="T0" fmla="*/ 37 w 37"/>
                <a:gd name="T1" fmla="*/ 61 h 61"/>
                <a:gd name="T2" fmla="*/ 0 w 37"/>
                <a:gd name="T3" fmla="*/ 61 h 61"/>
                <a:gd name="T4" fmla="*/ 0 w 37"/>
                <a:gd name="T5" fmla="*/ 51 h 61"/>
                <a:gd name="T6" fmla="*/ 10 w 37"/>
                <a:gd name="T7" fmla="*/ 51 h 61"/>
                <a:gd name="T8" fmla="*/ 10 w 37"/>
                <a:gd name="T9" fmla="*/ 11 h 61"/>
                <a:gd name="T10" fmla="*/ 0 w 37"/>
                <a:gd name="T11" fmla="*/ 11 h 61"/>
                <a:gd name="T12" fmla="*/ 0 w 37"/>
                <a:gd name="T13" fmla="*/ 0 h 61"/>
                <a:gd name="T14" fmla="*/ 37 w 37"/>
                <a:gd name="T15" fmla="*/ 0 h 61"/>
                <a:gd name="T16" fmla="*/ 37 w 37"/>
                <a:gd name="T17" fmla="*/ 11 h 61"/>
                <a:gd name="T18" fmla="*/ 26 w 37"/>
                <a:gd name="T19" fmla="*/ 11 h 61"/>
                <a:gd name="T20" fmla="*/ 26 w 37"/>
                <a:gd name="T21" fmla="*/ 51 h 61"/>
                <a:gd name="T22" fmla="*/ 37 w 37"/>
                <a:gd name="T23" fmla="*/ 51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1"/>
                  </a:lnTo>
                  <a:lnTo>
                    <a:pt x="10" y="51"/>
                  </a:lnTo>
                  <a:lnTo>
                    <a:pt x="10" y="11"/>
                  </a:lnTo>
                  <a:lnTo>
                    <a:pt x="0" y="11"/>
                  </a:lnTo>
                  <a:lnTo>
                    <a:pt x="0" y="0"/>
                  </a:lnTo>
                  <a:lnTo>
                    <a:pt x="37" y="0"/>
                  </a:lnTo>
                  <a:lnTo>
                    <a:pt x="37" y="11"/>
                  </a:lnTo>
                  <a:lnTo>
                    <a:pt x="26" y="11"/>
                  </a:lnTo>
                  <a:lnTo>
                    <a:pt x="26" y="51"/>
                  </a:lnTo>
                  <a:lnTo>
                    <a:pt x="37" y="51"/>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Freeform 457"/>
            <p:cNvSpPr>
              <a:spLocks noEditPoints="1"/>
            </p:cNvSpPr>
            <p:nvPr/>
          </p:nvSpPr>
          <p:spPr bwMode="auto">
            <a:xfrm>
              <a:off x="10107614" y="4937741"/>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Freeform 458"/>
            <p:cNvSpPr>
              <a:spLocks/>
            </p:cNvSpPr>
            <p:nvPr/>
          </p:nvSpPr>
          <p:spPr bwMode="auto">
            <a:xfrm>
              <a:off x="10204451" y="4934566"/>
              <a:ext cx="84138" cy="100013"/>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9" name="Freeform 459"/>
            <p:cNvSpPr>
              <a:spLocks/>
            </p:cNvSpPr>
            <p:nvPr/>
          </p:nvSpPr>
          <p:spPr bwMode="auto">
            <a:xfrm>
              <a:off x="10306051" y="4937741"/>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0" name="Freeform 460"/>
            <p:cNvSpPr>
              <a:spLocks/>
            </p:cNvSpPr>
            <p:nvPr/>
          </p:nvSpPr>
          <p:spPr bwMode="auto">
            <a:xfrm>
              <a:off x="10415589" y="4937741"/>
              <a:ext cx="100013" cy="96838"/>
            </a:xfrm>
            <a:custGeom>
              <a:avLst/>
              <a:gdLst>
                <a:gd name="T0" fmla="*/ 63 w 63"/>
                <a:gd name="T1" fmla="*/ 61 h 61"/>
                <a:gd name="T2" fmla="*/ 48 w 63"/>
                <a:gd name="T3" fmla="*/ 61 h 61"/>
                <a:gd name="T4" fmla="*/ 48 w 63"/>
                <a:gd name="T5" fmla="*/ 19 h 61"/>
                <a:gd name="T6" fmla="*/ 37 w 63"/>
                <a:gd name="T7" fmla="*/ 45 h 61"/>
                <a:gd name="T8" fmla="*/ 26 w 63"/>
                <a:gd name="T9" fmla="*/ 45 h 61"/>
                <a:gd name="T10" fmla="*/ 16 w 63"/>
                <a:gd name="T11" fmla="*/ 19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9"/>
                  </a:lnTo>
                  <a:lnTo>
                    <a:pt x="37" y="45"/>
                  </a:lnTo>
                  <a:lnTo>
                    <a:pt x="26" y="45"/>
                  </a:lnTo>
                  <a:lnTo>
                    <a:pt x="16" y="19"/>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1" name="Freeform 461"/>
            <p:cNvSpPr>
              <a:spLocks/>
            </p:cNvSpPr>
            <p:nvPr/>
          </p:nvSpPr>
          <p:spPr bwMode="auto">
            <a:xfrm>
              <a:off x="9834564" y="4685328"/>
              <a:ext cx="76200" cy="101600"/>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462"/>
            <p:cNvSpPr>
              <a:spLocks noEditPoints="1"/>
            </p:cNvSpPr>
            <p:nvPr/>
          </p:nvSpPr>
          <p:spPr bwMode="auto">
            <a:xfrm>
              <a:off x="9926639" y="4685328"/>
              <a:ext cx="80963" cy="101600"/>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463"/>
            <p:cNvSpPr>
              <a:spLocks/>
            </p:cNvSpPr>
            <p:nvPr/>
          </p:nvSpPr>
          <p:spPr bwMode="auto">
            <a:xfrm>
              <a:off x="10033001" y="4685328"/>
              <a:ext cx="61913" cy="101600"/>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464"/>
            <p:cNvSpPr>
              <a:spLocks noEditPoints="1"/>
            </p:cNvSpPr>
            <p:nvPr/>
          </p:nvSpPr>
          <p:spPr bwMode="auto">
            <a:xfrm>
              <a:off x="10117139" y="4685328"/>
              <a:ext cx="84138" cy="101600"/>
            </a:xfrm>
            <a:custGeom>
              <a:avLst/>
              <a:gdLst>
                <a:gd name="T0" fmla="*/ 53 w 53"/>
                <a:gd name="T1" fmla="*/ 48 h 64"/>
                <a:gd name="T2" fmla="*/ 45 w 53"/>
                <a:gd name="T3" fmla="*/ 48 h 64"/>
                <a:gd name="T4" fmla="*/ 45 w 53"/>
                <a:gd name="T5" fmla="*/ 64 h 64"/>
                <a:gd name="T6" fmla="*/ 29 w 53"/>
                <a:gd name="T7" fmla="*/ 64 h 64"/>
                <a:gd name="T8" fmla="*/ 29 w 53"/>
                <a:gd name="T9" fmla="*/ 48 h 64"/>
                <a:gd name="T10" fmla="*/ 0 w 53"/>
                <a:gd name="T11" fmla="*/ 48 h 64"/>
                <a:gd name="T12" fmla="*/ 0 w 53"/>
                <a:gd name="T13" fmla="*/ 37 h 64"/>
                <a:gd name="T14" fmla="*/ 29 w 53"/>
                <a:gd name="T15" fmla="*/ 0 h 64"/>
                <a:gd name="T16" fmla="*/ 45 w 53"/>
                <a:gd name="T17" fmla="*/ 0 h 64"/>
                <a:gd name="T18" fmla="*/ 45 w 53"/>
                <a:gd name="T19" fmla="*/ 37 h 64"/>
                <a:gd name="T20" fmla="*/ 53 w 53"/>
                <a:gd name="T21" fmla="*/ 37 h 64"/>
                <a:gd name="T22" fmla="*/ 53 w 53"/>
                <a:gd name="T23" fmla="*/ 48 h 64"/>
                <a:gd name="T24" fmla="*/ 29 w 53"/>
                <a:gd name="T25" fmla="*/ 37 h 64"/>
                <a:gd name="T26" fmla="*/ 29 w 53"/>
                <a:gd name="T27" fmla="*/ 13 h 64"/>
                <a:gd name="T28" fmla="*/ 10 w 53"/>
                <a:gd name="T29" fmla="*/ 37 h 64"/>
                <a:gd name="T30" fmla="*/ 29 w 53"/>
                <a:gd name="T31" fmla="*/ 3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64">
                  <a:moveTo>
                    <a:pt x="53" y="48"/>
                  </a:moveTo>
                  <a:lnTo>
                    <a:pt x="45" y="48"/>
                  </a:lnTo>
                  <a:lnTo>
                    <a:pt x="45" y="64"/>
                  </a:lnTo>
                  <a:lnTo>
                    <a:pt x="29" y="64"/>
                  </a:lnTo>
                  <a:lnTo>
                    <a:pt x="29" y="48"/>
                  </a:lnTo>
                  <a:lnTo>
                    <a:pt x="0" y="48"/>
                  </a:lnTo>
                  <a:lnTo>
                    <a:pt x="0" y="37"/>
                  </a:lnTo>
                  <a:lnTo>
                    <a:pt x="29" y="0"/>
                  </a:lnTo>
                  <a:lnTo>
                    <a:pt x="45" y="0"/>
                  </a:lnTo>
                  <a:lnTo>
                    <a:pt x="45" y="37"/>
                  </a:lnTo>
                  <a:lnTo>
                    <a:pt x="53" y="37"/>
                  </a:lnTo>
                  <a:lnTo>
                    <a:pt x="53" y="48"/>
                  </a:lnTo>
                  <a:close/>
                  <a:moveTo>
                    <a:pt x="29" y="37"/>
                  </a:moveTo>
                  <a:lnTo>
                    <a:pt x="29" y="13"/>
                  </a:lnTo>
                  <a:lnTo>
                    <a:pt x="10" y="37"/>
                  </a:lnTo>
                  <a:lnTo>
                    <a:pt x="29"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481"/>
            <p:cNvSpPr>
              <a:spLocks/>
            </p:cNvSpPr>
            <p:nvPr/>
          </p:nvSpPr>
          <p:spPr bwMode="auto">
            <a:xfrm>
              <a:off x="8401559" y="3865099"/>
              <a:ext cx="1165225" cy="231775"/>
            </a:xfrm>
            <a:custGeom>
              <a:avLst/>
              <a:gdLst>
                <a:gd name="T0" fmla="*/ 734 w 734"/>
                <a:gd name="T1" fmla="*/ 146 h 146"/>
                <a:gd name="T2" fmla="*/ 724 w 734"/>
                <a:gd name="T3" fmla="*/ 146 h 146"/>
                <a:gd name="T4" fmla="*/ 724 w 734"/>
                <a:gd name="T5" fmla="*/ 11 h 146"/>
                <a:gd name="T6" fmla="*/ 0 w 734"/>
                <a:gd name="T7" fmla="*/ 11 h 146"/>
                <a:gd name="T8" fmla="*/ 0 w 734"/>
                <a:gd name="T9" fmla="*/ 0 h 146"/>
                <a:gd name="T10" fmla="*/ 734 w 734"/>
                <a:gd name="T11" fmla="*/ 0 h 146"/>
                <a:gd name="T12" fmla="*/ 734 w 734"/>
                <a:gd name="T13" fmla="*/ 146 h 146"/>
                <a:gd name="T14" fmla="*/ 734 w 734"/>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4" h="146">
                  <a:moveTo>
                    <a:pt x="734" y="146"/>
                  </a:moveTo>
                  <a:lnTo>
                    <a:pt x="724" y="146"/>
                  </a:lnTo>
                  <a:lnTo>
                    <a:pt x="724" y="11"/>
                  </a:lnTo>
                  <a:lnTo>
                    <a:pt x="0" y="11"/>
                  </a:lnTo>
                  <a:lnTo>
                    <a:pt x="0" y="0"/>
                  </a:lnTo>
                  <a:lnTo>
                    <a:pt x="734" y="0"/>
                  </a:lnTo>
                  <a:lnTo>
                    <a:pt x="734" y="146"/>
                  </a:lnTo>
                  <a:lnTo>
                    <a:pt x="734" y="14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3" name="Text Placeholder 2"/>
            <p:cNvSpPr txBox="1">
              <a:spLocks/>
            </p:cNvSpPr>
            <p:nvPr/>
          </p:nvSpPr>
          <p:spPr>
            <a:xfrm>
              <a:off x="8413289" y="393146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700" dirty="0"/>
                <a:t>Lorem ipsum dolor sit amet, consectetur adipiscing elit. </a:t>
              </a:r>
            </a:p>
          </p:txBody>
        </p:sp>
      </p:grpSp>
      <p:pic>
        <p:nvPicPr>
          <p:cNvPr id="428" name="Picture 42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4761247"/>
            <a:ext cx="394334" cy="222234"/>
          </a:xfrm>
          <a:prstGeom prst="rect">
            <a:avLst/>
          </a:prstGeom>
        </p:spPr>
      </p:pic>
      <p:sp>
        <p:nvSpPr>
          <p:cNvPr id="430" name="Text Placeholder 2"/>
          <p:cNvSpPr txBox="1">
            <a:spLocks/>
          </p:cNvSpPr>
          <p:nvPr/>
        </p:nvSpPr>
        <p:spPr>
          <a:xfrm>
            <a:off x="1863562" y="4668720"/>
            <a:ext cx="5152553" cy="307777"/>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a:t>
            </a:r>
          </a:p>
        </p:txBody>
      </p:sp>
      <p:pic>
        <p:nvPicPr>
          <p:cNvPr id="431" name="Picture 43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5302267"/>
            <a:ext cx="394334" cy="222234"/>
          </a:xfrm>
          <a:prstGeom prst="rect">
            <a:avLst/>
          </a:prstGeom>
        </p:spPr>
      </p:pic>
      <p:sp>
        <p:nvSpPr>
          <p:cNvPr id="432" name="Text Placeholder 2"/>
          <p:cNvSpPr txBox="1">
            <a:spLocks/>
          </p:cNvSpPr>
          <p:nvPr/>
        </p:nvSpPr>
        <p:spPr>
          <a:xfrm>
            <a:off x="1863562" y="5209740"/>
            <a:ext cx="5152553" cy="769441"/>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Nulla feugiat risus lorem, vel condimentum lectus vehicula at. </a:t>
            </a:r>
          </a:p>
        </p:txBody>
      </p:sp>
    </p:spTree>
    <p:extLst>
      <p:ext uri="{BB962C8B-B14F-4D97-AF65-F5344CB8AC3E}">
        <p14:creationId xmlns:p14="http://schemas.microsoft.com/office/powerpoint/2010/main" val="24882829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Click to insert title</a:t>
            </a:r>
          </a:p>
        </p:txBody>
      </p:sp>
      <p:sp>
        <p:nvSpPr>
          <p:cNvPr id="7" name="Text Placeholder 6"/>
          <p:cNvSpPr>
            <a:spLocks noGrp="1"/>
          </p:cNvSpPr>
          <p:nvPr>
            <p:ph type="body" sz="quarter" idx="10"/>
          </p:nvPr>
        </p:nvSpPr>
        <p:spPr>
          <a:xfrm>
            <a:off x="407987" y="1413990"/>
            <a:ext cx="6602413" cy="2091210"/>
          </a:xfrm>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400" dirty="0" err="1"/>
              <a:t>Curabitur</a:t>
            </a:r>
            <a:r>
              <a:rPr lang="en-US" sz="1400" dirty="0"/>
              <a:t> sit </a:t>
            </a:r>
            <a:r>
              <a:rPr lang="en-US" sz="1400" dirty="0" err="1"/>
              <a:t>amet</a:t>
            </a:r>
            <a:r>
              <a:rPr lang="en-US" sz="1400" dirty="0"/>
              <a:t> </a:t>
            </a:r>
            <a:r>
              <a:rPr lang="en-US" sz="1400" dirty="0" err="1"/>
              <a:t>est</a:t>
            </a:r>
            <a:r>
              <a:rPr lang="en-US" sz="1400" dirty="0"/>
              <a:t> </a:t>
            </a:r>
            <a:r>
              <a:rPr lang="en-US" sz="1400" dirty="0" err="1"/>
              <a:t>consequat</a:t>
            </a:r>
            <a:r>
              <a:rPr lang="en-US" sz="1400" dirty="0"/>
              <a:t> </a:t>
            </a:r>
            <a:r>
              <a:rPr lang="en-US" sz="1400" dirty="0" err="1"/>
              <a:t>molestie</a:t>
            </a:r>
            <a:r>
              <a:rPr lang="en-US" sz="1400" dirty="0"/>
              <a:t> </a:t>
            </a:r>
            <a:r>
              <a:rPr lang="en-US" sz="1400" dirty="0" err="1"/>
              <a:t>quis</a:t>
            </a:r>
            <a:r>
              <a:rPr lang="en-US" sz="1400" dirty="0"/>
              <a:t> a </a:t>
            </a:r>
          </a:p>
          <a:p>
            <a:pPr marL="225425" indent="-225425">
              <a:buClr>
                <a:schemeClr val="tx2"/>
              </a:buClr>
              <a:buFont typeface="Wingdings" panose="05000000000000000000" pitchFamily="2" charset="2"/>
              <a:buChar char="§"/>
            </a:pPr>
            <a:r>
              <a:rPr lang="en-US" sz="1400" dirty="0" err="1"/>
              <a:t>Sed</a:t>
            </a:r>
            <a:r>
              <a:rPr lang="en-US" sz="1400" dirty="0"/>
              <a:t> </a:t>
            </a:r>
            <a:r>
              <a:rPr lang="en-US" sz="1400" dirty="0" err="1"/>
              <a:t>commodo</a:t>
            </a:r>
            <a:r>
              <a:rPr lang="en-US" sz="1400" dirty="0"/>
              <a:t> </a:t>
            </a:r>
            <a:r>
              <a:rPr lang="en-US" sz="1400" dirty="0" err="1"/>
              <a:t>lectus</a:t>
            </a:r>
            <a:r>
              <a:rPr lang="en-US" sz="1400" dirty="0"/>
              <a:t> </a:t>
            </a:r>
            <a:r>
              <a:rPr lang="en-US" sz="1400" dirty="0" err="1"/>
              <a:t>sed</a:t>
            </a:r>
            <a:r>
              <a:rPr lang="en-US" sz="1400" dirty="0"/>
              <a:t> </a:t>
            </a:r>
            <a:r>
              <a:rPr lang="en-US" sz="1400" dirty="0" err="1"/>
              <a:t>neque</a:t>
            </a:r>
            <a:r>
              <a:rPr lang="en-US" sz="1400" dirty="0"/>
              <a:t> </a:t>
            </a:r>
            <a:r>
              <a:rPr lang="en-US" sz="1400" dirty="0" err="1"/>
              <a:t>auctor</a:t>
            </a:r>
            <a:r>
              <a:rPr lang="en-US" sz="1400" dirty="0"/>
              <a:t> </a:t>
            </a:r>
          </a:p>
        </p:txBody>
      </p:sp>
      <p:graphicFrame>
        <p:nvGraphicFramePr>
          <p:cNvPr id="286" name="Chart Placeholder 20">
            <a:extLst>
              <a:ext uri="{FF2B5EF4-FFF2-40B4-BE49-F238E27FC236}">
                <a16:creationId xmlns:a16="http://schemas.microsoft.com/office/drawing/2014/main" id="{EAF98D82-0D61-484B-81EA-C031402BA1C0}"/>
              </a:ext>
            </a:extLst>
          </p:cNvPr>
          <p:cNvGraphicFramePr>
            <a:graphicFrameLocks/>
          </p:cNvGraphicFramePr>
          <p:nvPr>
            <p:extLst/>
          </p:nvPr>
        </p:nvGraphicFramePr>
        <p:xfrm>
          <a:off x="407988" y="3505200"/>
          <a:ext cx="4926010" cy="28595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489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From an architects perspective</a:t>
            </a:r>
          </a:p>
        </p:txBody>
      </p:sp>
      <p:sp>
        <p:nvSpPr>
          <p:cNvPr id="3" name="Content Placeholder 2">
            <a:extLst>
              <a:ext uri="{FF2B5EF4-FFF2-40B4-BE49-F238E27FC236}">
                <a16:creationId xmlns:a16="http://schemas.microsoft.com/office/drawing/2014/main" id="{4024A438-478D-4828-9C03-3269020B93B1}"/>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11037940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4" name="Text Placeholder 3"/>
          <p:cNvSpPr>
            <a:spLocks noGrp="1"/>
          </p:cNvSpPr>
          <p:nvPr>
            <p:ph type="body" sz="quarter" idx="34"/>
          </p:nvPr>
        </p:nvSpPr>
        <p:spPr/>
        <p:txBody>
          <a:bodyPr/>
          <a:lstStyle/>
          <a:p>
            <a:r>
              <a:rPr lang="en-US" dirty="0"/>
              <a:t>Designation</a:t>
            </a:r>
          </a:p>
        </p:txBody>
      </p:sp>
      <p:sp>
        <p:nvSpPr>
          <p:cNvPr id="5" name="Text Placeholder 4"/>
          <p:cNvSpPr>
            <a:spLocks noGrp="1"/>
          </p:cNvSpPr>
          <p:nvPr>
            <p:ph type="body" sz="quarter" idx="35"/>
          </p:nvPr>
        </p:nvSpPr>
        <p:spPr/>
        <p:txBody>
          <a:bodyPr/>
          <a:lstStyle/>
          <a:p>
            <a:r>
              <a:rPr lang="pt-PT" dirty="0"/>
              <a:t>First name Last name </a:t>
            </a:r>
            <a:endParaRPr lang="en-US" dirty="0"/>
          </a:p>
        </p:txBody>
      </p:sp>
      <p:pic>
        <p:nvPicPr>
          <p:cNvPr id="17" name="Picture 16">
            <a:extLst>
              <a:ext uri="{FF2B5EF4-FFF2-40B4-BE49-F238E27FC236}">
                <a16:creationId xmlns:a16="http://schemas.microsoft.com/office/drawing/2014/main" id="{BBC6B32C-D462-4034-BF1F-AAA2222C84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29" name="Rectangle 28">
            <a:extLst>
              <a:ext uri="{FF2B5EF4-FFF2-40B4-BE49-F238E27FC236}">
                <a16:creationId xmlns:a16="http://schemas.microsoft.com/office/drawing/2014/main" id="{4DC6DE90-FB0F-4774-B533-4415E1BDD803}"/>
              </a:ext>
            </a:extLst>
          </p:cNvPr>
          <p:cNvSpPr/>
          <p:nvPr/>
        </p:nvSpPr>
        <p:spPr>
          <a:xfrm>
            <a:off x="5105400" y="1406432"/>
            <a:ext cx="3764963" cy="173646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0" name="Rectangle 29">
            <a:extLst>
              <a:ext uri="{FF2B5EF4-FFF2-40B4-BE49-F238E27FC236}">
                <a16:creationId xmlns:a16="http://schemas.microsoft.com/office/drawing/2014/main" id="{99EC5A94-649F-4527-BADE-33DE38D49E54}"/>
              </a:ext>
            </a:extLst>
          </p:cNvPr>
          <p:cNvSpPr/>
          <p:nvPr/>
        </p:nvSpPr>
        <p:spPr>
          <a:xfrm>
            <a:off x="5108784" y="3252229"/>
            <a:ext cx="3764963" cy="17364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31" name="Rectangle 30">
            <a:extLst>
              <a:ext uri="{FF2B5EF4-FFF2-40B4-BE49-F238E27FC236}">
                <a16:creationId xmlns:a16="http://schemas.microsoft.com/office/drawing/2014/main" id="{44E47C45-247A-4963-AB1A-CF4EE831D1D4}"/>
              </a:ext>
            </a:extLst>
          </p:cNvPr>
          <p:cNvSpPr/>
          <p:nvPr/>
        </p:nvSpPr>
        <p:spPr>
          <a:xfrm>
            <a:off x="8990214" y="1406431"/>
            <a:ext cx="2797920" cy="35781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4" name="Text Placeholder 3">
            <a:extLst>
              <a:ext uri="{FF2B5EF4-FFF2-40B4-BE49-F238E27FC236}">
                <a16:creationId xmlns:a16="http://schemas.microsoft.com/office/drawing/2014/main" id="{1ECD94BA-AD3F-4309-8C6F-E7497083CD6E}"/>
              </a:ext>
            </a:extLst>
          </p:cNvPr>
          <p:cNvSpPr txBox="1">
            <a:spLocks/>
          </p:cNvSpPr>
          <p:nvPr/>
        </p:nvSpPr>
        <p:spPr>
          <a:xfrm>
            <a:off x="525990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39" name="Text Placeholder 1"/>
          <p:cNvSpPr txBox="1">
            <a:spLocks/>
          </p:cNvSpPr>
          <p:nvPr/>
        </p:nvSpPr>
        <p:spPr>
          <a:xfrm>
            <a:off x="529884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15" name="Straight Connector 14"/>
          <p:cNvCxnSpPr/>
          <p:nvPr/>
        </p:nvCxnSpPr>
        <p:spPr>
          <a:xfrm>
            <a:off x="5275987" y="18178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4" name="Text Placeholder 3">
            <a:extLst>
              <a:ext uri="{FF2B5EF4-FFF2-40B4-BE49-F238E27FC236}">
                <a16:creationId xmlns:a16="http://schemas.microsoft.com/office/drawing/2014/main" id="{1ECD94BA-AD3F-4309-8C6F-E7497083CD6E}"/>
              </a:ext>
            </a:extLst>
          </p:cNvPr>
          <p:cNvSpPr txBox="1">
            <a:spLocks/>
          </p:cNvSpPr>
          <p:nvPr/>
        </p:nvSpPr>
        <p:spPr>
          <a:xfrm>
            <a:off x="5259904" y="33828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5" name="Text Placeholder 1"/>
          <p:cNvSpPr txBox="1">
            <a:spLocks/>
          </p:cNvSpPr>
          <p:nvPr/>
        </p:nvSpPr>
        <p:spPr>
          <a:xfrm>
            <a:off x="5298847" y="37612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46" name="Straight Connector 45"/>
          <p:cNvCxnSpPr/>
          <p:nvPr/>
        </p:nvCxnSpPr>
        <p:spPr>
          <a:xfrm>
            <a:off x="5275987" y="36847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7" name="Text Placeholder 3">
            <a:extLst>
              <a:ext uri="{FF2B5EF4-FFF2-40B4-BE49-F238E27FC236}">
                <a16:creationId xmlns:a16="http://schemas.microsoft.com/office/drawing/2014/main" id="{1ECD94BA-AD3F-4309-8C6F-E7497083CD6E}"/>
              </a:ext>
            </a:extLst>
          </p:cNvPr>
          <p:cNvSpPr txBox="1">
            <a:spLocks/>
          </p:cNvSpPr>
          <p:nvPr/>
        </p:nvSpPr>
        <p:spPr>
          <a:xfrm>
            <a:off x="908514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8" name="Text Placeholder 1"/>
          <p:cNvSpPr txBox="1">
            <a:spLocks/>
          </p:cNvSpPr>
          <p:nvPr/>
        </p:nvSpPr>
        <p:spPr>
          <a:xfrm>
            <a:off x="912408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Aft>
                <a:spcPts val="0"/>
              </a:spcAft>
            </a:pPr>
            <a:r>
              <a:rPr lang="en-US" sz="1200" dirty="0"/>
              <a:t>Proin iaculis egestas massa, in cursus nisi condimentum non. Orci varius natoque penatibus magnis dis parturient montes, nascetur ridiculus mus. Nulla feugiat risus lorem, vel condimentum lectus vehicula at. Maecenas vel turpis aliquet, tincidunt lacus eget, fringilla enim Ut et leo vitae elit rhoncus gravida. Morbi id sagittis dolor. Etiam accumsan euismod tempor dapibus. Donec quam tellus, varius sed egestas at, commodo ac odio. </a:t>
            </a:r>
          </a:p>
        </p:txBody>
      </p:sp>
      <p:cxnSp>
        <p:nvCxnSpPr>
          <p:cNvPr id="49" name="Straight Connector 48"/>
          <p:cNvCxnSpPr/>
          <p:nvPr/>
        </p:nvCxnSpPr>
        <p:spPr>
          <a:xfrm>
            <a:off x="9101227" y="1817860"/>
            <a:ext cx="2471648"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92830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602895" y="1634220"/>
            <a:ext cx="1452563" cy="1671637"/>
          </a:xfrm>
        </p:spPr>
      </p:sp>
      <p:sp>
        <p:nvSpPr>
          <p:cNvPr id="12" name="Picture Placeholder 11"/>
          <p:cNvSpPr>
            <a:spLocks noGrp="1"/>
          </p:cNvSpPr>
          <p:nvPr>
            <p:ph type="pic" sz="quarter" idx="11"/>
          </p:nvPr>
        </p:nvSpPr>
        <p:spPr>
          <a:xfrm>
            <a:off x="6433975" y="1634220"/>
            <a:ext cx="1452563" cy="1671637"/>
          </a:xfrm>
        </p:spPr>
      </p:sp>
      <p:sp>
        <p:nvSpPr>
          <p:cNvPr id="14" name="Picture Placeholder 13"/>
          <p:cNvSpPr>
            <a:spLocks noGrp="1"/>
          </p:cNvSpPr>
          <p:nvPr>
            <p:ph type="pic" sz="quarter" idx="12"/>
          </p:nvPr>
        </p:nvSpPr>
        <p:spPr>
          <a:xfrm>
            <a:off x="602895" y="4110260"/>
            <a:ext cx="1452563" cy="1671637"/>
          </a:xfrm>
        </p:spPr>
      </p:sp>
      <p:sp>
        <p:nvSpPr>
          <p:cNvPr id="15" name="Picture Placeholder 14"/>
          <p:cNvSpPr>
            <a:spLocks noGrp="1"/>
          </p:cNvSpPr>
          <p:nvPr>
            <p:ph type="pic" sz="quarter" idx="13"/>
          </p:nvPr>
        </p:nvSpPr>
        <p:spPr>
          <a:xfrm>
            <a:off x="6433975" y="4110260"/>
            <a:ext cx="1452563" cy="1671637"/>
          </a:xfrm>
        </p:spPr>
      </p:sp>
      <p:sp>
        <p:nvSpPr>
          <p:cNvPr id="13" name="Title 12">
            <a:extLst>
              <a:ext uri="{FF2B5EF4-FFF2-40B4-BE49-F238E27FC236}">
                <a16:creationId xmlns:a16="http://schemas.microsoft.com/office/drawing/2014/main" id="{7D67F00E-64D4-4F25-808C-DFA838438E12}"/>
              </a:ext>
            </a:extLst>
          </p:cNvPr>
          <p:cNvSpPr>
            <a:spLocks noGrp="1"/>
          </p:cNvSpPr>
          <p:nvPr>
            <p:ph type="title"/>
          </p:nvPr>
        </p:nvSpPr>
        <p:spPr/>
        <p:txBody>
          <a:bodyPr/>
          <a:lstStyle/>
          <a:p>
            <a:r>
              <a:rPr lang="en-US" dirty="0"/>
              <a:t>Click to insert title</a:t>
            </a:r>
            <a:endParaRPr lang="pt-PT" dirty="0"/>
          </a:p>
        </p:txBody>
      </p:sp>
      <p:sp>
        <p:nvSpPr>
          <p:cNvPr id="18" name="Text Placeholder 17">
            <a:extLst>
              <a:ext uri="{FF2B5EF4-FFF2-40B4-BE49-F238E27FC236}">
                <a16:creationId xmlns:a16="http://schemas.microsoft.com/office/drawing/2014/main" id="{9174A902-9E50-453A-9B77-E7A4A3EEB9F8}"/>
              </a:ext>
            </a:extLst>
          </p:cNvPr>
          <p:cNvSpPr>
            <a:spLocks noGrp="1"/>
          </p:cNvSpPr>
          <p:nvPr>
            <p:ph type="body" sz="quarter" idx="32"/>
          </p:nvPr>
        </p:nvSpPr>
        <p:spPr>
          <a:xfrm>
            <a:off x="2186348"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19" name="Text Placeholder 18">
            <a:extLst>
              <a:ext uri="{FF2B5EF4-FFF2-40B4-BE49-F238E27FC236}">
                <a16:creationId xmlns:a16="http://schemas.microsoft.com/office/drawing/2014/main" id="{EA1EAE22-96D4-49DE-8534-1506BC81013D}"/>
              </a:ext>
            </a:extLst>
          </p:cNvPr>
          <p:cNvSpPr>
            <a:spLocks noGrp="1"/>
          </p:cNvSpPr>
          <p:nvPr>
            <p:ph type="body" sz="quarter" idx="33"/>
          </p:nvPr>
        </p:nvSpPr>
        <p:spPr>
          <a:xfrm>
            <a:off x="8018823"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0" name="Text Placeholder 19">
            <a:extLst>
              <a:ext uri="{FF2B5EF4-FFF2-40B4-BE49-F238E27FC236}">
                <a16:creationId xmlns:a16="http://schemas.microsoft.com/office/drawing/2014/main" id="{0B31EF80-EA35-4F64-8528-BE1603C43CB9}"/>
              </a:ext>
            </a:extLst>
          </p:cNvPr>
          <p:cNvSpPr>
            <a:spLocks noGrp="1"/>
          </p:cNvSpPr>
          <p:nvPr>
            <p:ph type="body" sz="quarter" idx="34"/>
          </p:nvPr>
        </p:nvSpPr>
        <p:spPr>
          <a:xfrm>
            <a:off x="2186348"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1" name="Text Placeholder 20">
            <a:extLst>
              <a:ext uri="{FF2B5EF4-FFF2-40B4-BE49-F238E27FC236}">
                <a16:creationId xmlns:a16="http://schemas.microsoft.com/office/drawing/2014/main" id="{E4D687FA-B9EC-43B9-9A40-1F773D209C43}"/>
              </a:ext>
            </a:extLst>
          </p:cNvPr>
          <p:cNvSpPr>
            <a:spLocks noGrp="1"/>
          </p:cNvSpPr>
          <p:nvPr>
            <p:ph type="body" sz="quarter" idx="35"/>
          </p:nvPr>
        </p:nvSpPr>
        <p:spPr>
          <a:xfrm>
            <a:off x="8018823"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4" name="Retângulo 1">
            <a:extLst>
              <a:ext uri="{FF2B5EF4-FFF2-40B4-BE49-F238E27FC236}">
                <a16:creationId xmlns:a16="http://schemas.microsoft.com/office/drawing/2014/main" id="{241F2392-C435-4DDD-ABF5-A3A397441338}"/>
              </a:ext>
            </a:extLst>
          </p:cNvPr>
          <p:cNvSpPr/>
          <p:nvPr/>
        </p:nvSpPr>
        <p:spPr>
          <a:xfrm>
            <a:off x="458204" y="1440847"/>
            <a:ext cx="549333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Retângulo 1">
            <a:extLst>
              <a:ext uri="{FF2B5EF4-FFF2-40B4-BE49-F238E27FC236}">
                <a16:creationId xmlns:a16="http://schemas.microsoft.com/office/drawing/2014/main" id="{6AFA7B94-A8C4-443E-8BB2-95A5ACCB9FB8}"/>
              </a:ext>
            </a:extLst>
          </p:cNvPr>
          <p:cNvSpPr/>
          <p:nvPr/>
        </p:nvSpPr>
        <p:spPr>
          <a:xfrm>
            <a:off x="6148117" y="1440847"/>
            <a:ext cx="5614675"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Retângulo 1">
            <a:extLst>
              <a:ext uri="{FF2B5EF4-FFF2-40B4-BE49-F238E27FC236}">
                <a16:creationId xmlns:a16="http://schemas.microsoft.com/office/drawing/2014/main" id="{EE911138-91EC-403D-98A1-63E4D5AA2910}"/>
              </a:ext>
            </a:extLst>
          </p:cNvPr>
          <p:cNvSpPr/>
          <p:nvPr/>
        </p:nvSpPr>
        <p:spPr>
          <a:xfrm>
            <a:off x="458204" y="3949592"/>
            <a:ext cx="547211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 name="Retângulo 1">
            <a:extLst>
              <a:ext uri="{FF2B5EF4-FFF2-40B4-BE49-F238E27FC236}">
                <a16:creationId xmlns:a16="http://schemas.microsoft.com/office/drawing/2014/main" id="{7CD8975D-EC41-4A07-8774-E97D84272A37}"/>
              </a:ext>
            </a:extLst>
          </p:cNvPr>
          <p:cNvSpPr/>
          <p:nvPr/>
        </p:nvSpPr>
        <p:spPr>
          <a:xfrm>
            <a:off x="6148118" y="3949592"/>
            <a:ext cx="5614674"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318037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5" imgW="270" imgH="270" progId="TCLayout.ActiveDocument.1">
                  <p:embed/>
                </p:oleObj>
              </mc:Choice>
              <mc:Fallback>
                <p:oleObj name="think-cell Slide" r:id="rId5" imgW="270" imgH="270" progId="TCLayout.ActiveDocument.1">
                  <p:embed/>
                  <p:pic>
                    <p:nvPicPr>
                      <p:cNvPr id="828" name="Object 82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17" name="Groupe 209">
            <a:extLst>
              <a:ext uri="{FF2B5EF4-FFF2-40B4-BE49-F238E27FC236}">
                <a16:creationId xmlns:a16="http://schemas.microsoft.com/office/drawing/2014/main" id="{786BE81C-9891-4574-B272-932BCD30EDA2}"/>
              </a:ext>
            </a:extLst>
          </p:cNvPr>
          <p:cNvGrpSpPr/>
          <p:nvPr/>
        </p:nvGrpSpPr>
        <p:grpSpPr>
          <a:xfrm>
            <a:off x="4160838" y="3527743"/>
            <a:ext cx="1930400" cy="2001521"/>
            <a:chOff x="4008438" y="3248343"/>
            <a:chExt cx="1930400" cy="2001521"/>
          </a:xfrm>
          <a:solidFill>
            <a:schemeClr val="accent5"/>
          </a:solidFill>
        </p:grpSpPr>
        <p:grpSp>
          <p:nvGrpSpPr>
            <p:cNvPr id="1045" name="Groupe 208">
              <a:extLst>
                <a:ext uri="{FF2B5EF4-FFF2-40B4-BE49-F238E27FC236}">
                  <a16:creationId xmlns:a16="http://schemas.microsoft.com/office/drawing/2014/main" id="{75B47611-E967-4B6C-BCAD-4B4CBFA46C64}"/>
                </a:ext>
              </a:extLst>
            </p:cNvPr>
            <p:cNvGrpSpPr/>
            <p:nvPr/>
          </p:nvGrpSpPr>
          <p:grpSpPr>
            <a:xfrm>
              <a:off x="4008438" y="3248343"/>
              <a:ext cx="423863" cy="429896"/>
              <a:chOff x="4008438" y="3248343"/>
              <a:chExt cx="423863" cy="429896"/>
            </a:xfrm>
            <a:grpFill/>
          </p:grpSpPr>
          <p:sp>
            <p:nvSpPr>
              <p:cNvPr id="1048" name="Freeform 31">
                <a:extLst>
                  <a:ext uri="{FF2B5EF4-FFF2-40B4-BE49-F238E27FC236}">
                    <a16:creationId xmlns:a16="http://schemas.microsoft.com/office/drawing/2014/main" id="{225290C9-C93F-42E4-8264-1C7C629AB720}"/>
                  </a:ext>
                </a:extLst>
              </p:cNvPr>
              <p:cNvSpPr>
                <a:spLocks/>
              </p:cNvSpPr>
              <p:nvPr/>
            </p:nvSpPr>
            <p:spPr bwMode="auto">
              <a:xfrm>
                <a:off x="4132263" y="324834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lnTo>
                      <a:pt x="62" y="16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9" name="Freeform 35">
                <a:extLst>
                  <a:ext uri="{FF2B5EF4-FFF2-40B4-BE49-F238E27FC236}">
                    <a16:creationId xmlns:a16="http://schemas.microsoft.com/office/drawing/2014/main" id="{3458C387-B654-47D2-AE25-B159200E40B6}"/>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 ang="0">
                    <a:pos x="78" y="0"/>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lnTo>
                      <a:pt x="7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46" name="Freeform 37">
              <a:extLst>
                <a:ext uri="{FF2B5EF4-FFF2-40B4-BE49-F238E27FC236}">
                  <a16:creationId xmlns:a16="http://schemas.microsoft.com/office/drawing/2014/main" id="{81931CF6-2D8F-49CE-B904-A3EEF40394A7}"/>
                </a:ext>
              </a:extLst>
            </p:cNvPr>
            <p:cNvSpPr>
              <a:spLocks/>
            </p:cNvSpPr>
            <p:nvPr/>
          </p:nvSpPr>
          <p:spPr bwMode="auto">
            <a:xfrm>
              <a:off x="5375275" y="3352801"/>
              <a:ext cx="563563" cy="471488"/>
            </a:xfrm>
            <a:custGeom>
              <a:avLst/>
              <a:gdLst/>
              <a:ahLst/>
              <a:cxnLst>
                <a:cxn ang="0">
                  <a:pos x="216" y="63"/>
                </a:cxn>
                <a:cxn ang="0">
                  <a:pos x="86" y="4"/>
                </a:cxn>
                <a:cxn ang="0">
                  <a:pos x="39" y="14"/>
                </a:cxn>
                <a:cxn ang="0">
                  <a:pos x="51" y="49"/>
                </a:cxn>
                <a:cxn ang="0">
                  <a:pos x="7" y="57"/>
                </a:cxn>
                <a:cxn ang="0">
                  <a:pos x="0" y="71"/>
                </a:cxn>
                <a:cxn ang="0">
                  <a:pos x="2" y="77"/>
                </a:cxn>
                <a:cxn ang="0">
                  <a:pos x="9" y="78"/>
                </a:cxn>
                <a:cxn ang="0">
                  <a:pos x="16" y="91"/>
                </a:cxn>
                <a:cxn ang="0">
                  <a:pos x="23" y="97"/>
                </a:cxn>
                <a:cxn ang="0">
                  <a:pos x="30" y="110"/>
                </a:cxn>
                <a:cxn ang="0">
                  <a:pos x="33" y="117"/>
                </a:cxn>
                <a:cxn ang="0">
                  <a:pos x="44" y="129"/>
                </a:cxn>
                <a:cxn ang="0">
                  <a:pos x="46" y="139"/>
                </a:cxn>
                <a:cxn ang="0">
                  <a:pos x="51" y="148"/>
                </a:cxn>
                <a:cxn ang="0">
                  <a:pos x="58" y="148"/>
                </a:cxn>
                <a:cxn ang="0">
                  <a:pos x="70" y="158"/>
                </a:cxn>
                <a:cxn ang="0">
                  <a:pos x="73" y="165"/>
                </a:cxn>
                <a:cxn ang="0">
                  <a:pos x="79" y="179"/>
                </a:cxn>
                <a:cxn ang="0">
                  <a:pos x="75" y="188"/>
                </a:cxn>
                <a:cxn ang="0">
                  <a:pos x="80" y="204"/>
                </a:cxn>
                <a:cxn ang="0">
                  <a:pos x="93" y="217"/>
                </a:cxn>
                <a:cxn ang="0">
                  <a:pos x="101" y="223"/>
                </a:cxn>
                <a:cxn ang="0">
                  <a:pos x="110" y="230"/>
                </a:cxn>
                <a:cxn ang="0">
                  <a:pos x="113" y="233"/>
                </a:cxn>
                <a:cxn ang="0">
                  <a:pos x="120" y="254"/>
                </a:cxn>
                <a:cxn ang="0">
                  <a:pos x="138" y="275"/>
                </a:cxn>
                <a:cxn ang="0">
                  <a:pos x="150" y="284"/>
                </a:cxn>
                <a:cxn ang="0">
                  <a:pos x="157" y="280"/>
                </a:cxn>
                <a:cxn ang="0">
                  <a:pos x="162" y="264"/>
                </a:cxn>
                <a:cxn ang="0">
                  <a:pos x="192" y="275"/>
                </a:cxn>
                <a:cxn ang="0">
                  <a:pos x="238" y="256"/>
                </a:cxn>
                <a:cxn ang="0">
                  <a:pos x="351" y="171"/>
                </a:cxn>
                <a:cxn ang="0">
                  <a:pos x="294" y="171"/>
                </a:cxn>
                <a:cxn ang="0">
                  <a:pos x="287" y="144"/>
                </a:cxn>
                <a:cxn ang="0">
                  <a:pos x="284" y="143"/>
                </a:cxn>
                <a:cxn ang="0">
                  <a:pos x="284" y="139"/>
                </a:cxn>
                <a:cxn ang="0">
                  <a:pos x="275" y="136"/>
                </a:cxn>
                <a:cxn ang="0">
                  <a:pos x="270" y="131"/>
                </a:cxn>
                <a:cxn ang="0">
                  <a:pos x="259" y="111"/>
                </a:cxn>
                <a:cxn ang="0">
                  <a:pos x="258" y="103"/>
                </a:cxn>
                <a:cxn ang="0">
                  <a:pos x="252" y="97"/>
                </a:cxn>
                <a:cxn ang="0">
                  <a:pos x="244" y="85"/>
                </a:cxn>
                <a:cxn ang="0">
                  <a:pos x="247" y="85"/>
                </a:cxn>
                <a:cxn ang="0">
                  <a:pos x="237" y="82"/>
                </a:cxn>
                <a:cxn ang="0">
                  <a:pos x="230" y="68"/>
                </a:cxn>
                <a:cxn ang="0">
                  <a:pos x="228" y="64"/>
                </a:cxn>
              </a:cxnLst>
              <a:rect l="0" t="0" r="r" b="b"/>
              <a:pathLst>
                <a:path w="355" h="297">
                  <a:moveTo>
                    <a:pt x="228" y="64"/>
                  </a:moveTo>
                  <a:lnTo>
                    <a:pt x="216" y="68"/>
                  </a:lnTo>
                  <a:lnTo>
                    <a:pt x="216" y="63"/>
                  </a:lnTo>
                  <a:lnTo>
                    <a:pt x="200" y="57"/>
                  </a:lnTo>
                  <a:lnTo>
                    <a:pt x="166" y="56"/>
                  </a:lnTo>
                  <a:lnTo>
                    <a:pt x="86" y="4"/>
                  </a:lnTo>
                  <a:lnTo>
                    <a:pt x="70" y="0"/>
                  </a:lnTo>
                  <a:lnTo>
                    <a:pt x="63" y="5"/>
                  </a:lnTo>
                  <a:lnTo>
                    <a:pt x="39" y="14"/>
                  </a:lnTo>
                  <a:lnTo>
                    <a:pt x="58" y="35"/>
                  </a:lnTo>
                  <a:lnTo>
                    <a:pt x="51" y="44"/>
                  </a:lnTo>
                  <a:lnTo>
                    <a:pt x="51" y="49"/>
                  </a:lnTo>
                  <a:lnTo>
                    <a:pt x="37" y="49"/>
                  </a:lnTo>
                  <a:lnTo>
                    <a:pt x="25" y="63"/>
                  </a:lnTo>
                  <a:lnTo>
                    <a:pt x="7" y="57"/>
                  </a:lnTo>
                  <a:lnTo>
                    <a:pt x="0" y="57"/>
                  </a:lnTo>
                  <a:lnTo>
                    <a:pt x="0" y="64"/>
                  </a:lnTo>
                  <a:lnTo>
                    <a:pt x="0" y="71"/>
                  </a:lnTo>
                  <a:lnTo>
                    <a:pt x="0" y="75"/>
                  </a:lnTo>
                  <a:lnTo>
                    <a:pt x="0" y="77"/>
                  </a:lnTo>
                  <a:lnTo>
                    <a:pt x="2" y="77"/>
                  </a:lnTo>
                  <a:lnTo>
                    <a:pt x="2" y="78"/>
                  </a:lnTo>
                  <a:lnTo>
                    <a:pt x="6" y="77"/>
                  </a:lnTo>
                  <a:lnTo>
                    <a:pt x="9" y="78"/>
                  </a:lnTo>
                  <a:lnTo>
                    <a:pt x="9" y="78"/>
                  </a:lnTo>
                  <a:lnTo>
                    <a:pt x="16" y="89"/>
                  </a:lnTo>
                  <a:lnTo>
                    <a:pt x="16" y="91"/>
                  </a:lnTo>
                  <a:lnTo>
                    <a:pt x="20" y="91"/>
                  </a:lnTo>
                  <a:lnTo>
                    <a:pt x="20" y="94"/>
                  </a:lnTo>
                  <a:lnTo>
                    <a:pt x="23" y="97"/>
                  </a:lnTo>
                  <a:lnTo>
                    <a:pt x="25" y="97"/>
                  </a:lnTo>
                  <a:lnTo>
                    <a:pt x="28" y="108"/>
                  </a:lnTo>
                  <a:lnTo>
                    <a:pt x="30" y="110"/>
                  </a:lnTo>
                  <a:lnTo>
                    <a:pt x="30" y="113"/>
                  </a:lnTo>
                  <a:lnTo>
                    <a:pt x="33" y="113"/>
                  </a:lnTo>
                  <a:lnTo>
                    <a:pt x="33" y="117"/>
                  </a:lnTo>
                  <a:lnTo>
                    <a:pt x="37" y="120"/>
                  </a:lnTo>
                  <a:lnTo>
                    <a:pt x="40" y="120"/>
                  </a:lnTo>
                  <a:lnTo>
                    <a:pt x="44" y="129"/>
                  </a:lnTo>
                  <a:lnTo>
                    <a:pt x="46" y="132"/>
                  </a:lnTo>
                  <a:lnTo>
                    <a:pt x="47" y="137"/>
                  </a:lnTo>
                  <a:lnTo>
                    <a:pt x="46" y="139"/>
                  </a:lnTo>
                  <a:lnTo>
                    <a:pt x="46" y="143"/>
                  </a:lnTo>
                  <a:lnTo>
                    <a:pt x="47" y="143"/>
                  </a:lnTo>
                  <a:lnTo>
                    <a:pt x="51" y="148"/>
                  </a:lnTo>
                  <a:lnTo>
                    <a:pt x="51" y="148"/>
                  </a:lnTo>
                  <a:lnTo>
                    <a:pt x="54" y="144"/>
                  </a:lnTo>
                  <a:lnTo>
                    <a:pt x="58" y="148"/>
                  </a:lnTo>
                  <a:lnTo>
                    <a:pt x="63" y="150"/>
                  </a:lnTo>
                  <a:lnTo>
                    <a:pt x="68" y="155"/>
                  </a:lnTo>
                  <a:lnTo>
                    <a:pt x="70" y="158"/>
                  </a:lnTo>
                  <a:lnTo>
                    <a:pt x="70" y="160"/>
                  </a:lnTo>
                  <a:lnTo>
                    <a:pt x="70" y="162"/>
                  </a:lnTo>
                  <a:lnTo>
                    <a:pt x="73" y="165"/>
                  </a:lnTo>
                  <a:lnTo>
                    <a:pt x="75" y="171"/>
                  </a:lnTo>
                  <a:lnTo>
                    <a:pt x="79" y="172"/>
                  </a:lnTo>
                  <a:lnTo>
                    <a:pt x="79" y="179"/>
                  </a:lnTo>
                  <a:lnTo>
                    <a:pt x="79" y="181"/>
                  </a:lnTo>
                  <a:lnTo>
                    <a:pt x="79" y="188"/>
                  </a:lnTo>
                  <a:lnTo>
                    <a:pt x="75" y="188"/>
                  </a:lnTo>
                  <a:lnTo>
                    <a:pt x="79" y="190"/>
                  </a:lnTo>
                  <a:lnTo>
                    <a:pt x="79" y="197"/>
                  </a:lnTo>
                  <a:lnTo>
                    <a:pt x="80" y="204"/>
                  </a:lnTo>
                  <a:lnTo>
                    <a:pt x="82" y="207"/>
                  </a:lnTo>
                  <a:lnTo>
                    <a:pt x="84" y="207"/>
                  </a:lnTo>
                  <a:lnTo>
                    <a:pt x="93" y="217"/>
                  </a:lnTo>
                  <a:lnTo>
                    <a:pt x="96" y="217"/>
                  </a:lnTo>
                  <a:lnTo>
                    <a:pt x="98" y="219"/>
                  </a:lnTo>
                  <a:lnTo>
                    <a:pt x="101" y="223"/>
                  </a:lnTo>
                  <a:lnTo>
                    <a:pt x="101" y="223"/>
                  </a:lnTo>
                  <a:lnTo>
                    <a:pt x="110" y="226"/>
                  </a:lnTo>
                  <a:lnTo>
                    <a:pt x="110" y="230"/>
                  </a:lnTo>
                  <a:lnTo>
                    <a:pt x="112" y="230"/>
                  </a:lnTo>
                  <a:lnTo>
                    <a:pt x="112" y="233"/>
                  </a:lnTo>
                  <a:lnTo>
                    <a:pt x="113" y="233"/>
                  </a:lnTo>
                  <a:lnTo>
                    <a:pt x="119" y="247"/>
                  </a:lnTo>
                  <a:lnTo>
                    <a:pt x="120" y="250"/>
                  </a:lnTo>
                  <a:lnTo>
                    <a:pt x="120" y="254"/>
                  </a:lnTo>
                  <a:lnTo>
                    <a:pt x="134" y="266"/>
                  </a:lnTo>
                  <a:lnTo>
                    <a:pt x="136" y="266"/>
                  </a:lnTo>
                  <a:lnTo>
                    <a:pt x="138" y="275"/>
                  </a:lnTo>
                  <a:lnTo>
                    <a:pt x="143" y="277"/>
                  </a:lnTo>
                  <a:lnTo>
                    <a:pt x="146" y="284"/>
                  </a:lnTo>
                  <a:lnTo>
                    <a:pt x="150" y="284"/>
                  </a:lnTo>
                  <a:lnTo>
                    <a:pt x="152" y="287"/>
                  </a:lnTo>
                  <a:lnTo>
                    <a:pt x="155" y="284"/>
                  </a:lnTo>
                  <a:lnTo>
                    <a:pt x="157" y="280"/>
                  </a:lnTo>
                  <a:lnTo>
                    <a:pt x="157" y="275"/>
                  </a:lnTo>
                  <a:lnTo>
                    <a:pt x="157" y="266"/>
                  </a:lnTo>
                  <a:lnTo>
                    <a:pt x="162" y="264"/>
                  </a:lnTo>
                  <a:lnTo>
                    <a:pt x="167" y="268"/>
                  </a:lnTo>
                  <a:lnTo>
                    <a:pt x="178" y="268"/>
                  </a:lnTo>
                  <a:lnTo>
                    <a:pt x="192" y="275"/>
                  </a:lnTo>
                  <a:lnTo>
                    <a:pt x="207" y="280"/>
                  </a:lnTo>
                  <a:lnTo>
                    <a:pt x="207" y="297"/>
                  </a:lnTo>
                  <a:lnTo>
                    <a:pt x="238" y="256"/>
                  </a:lnTo>
                  <a:lnTo>
                    <a:pt x="353" y="221"/>
                  </a:lnTo>
                  <a:lnTo>
                    <a:pt x="355" y="184"/>
                  </a:lnTo>
                  <a:lnTo>
                    <a:pt x="351" y="171"/>
                  </a:lnTo>
                  <a:lnTo>
                    <a:pt x="351" y="171"/>
                  </a:lnTo>
                  <a:lnTo>
                    <a:pt x="346" y="176"/>
                  </a:lnTo>
                  <a:lnTo>
                    <a:pt x="294" y="171"/>
                  </a:lnTo>
                  <a:lnTo>
                    <a:pt x="292" y="157"/>
                  </a:lnTo>
                  <a:lnTo>
                    <a:pt x="287" y="151"/>
                  </a:lnTo>
                  <a:lnTo>
                    <a:pt x="287" y="144"/>
                  </a:lnTo>
                  <a:lnTo>
                    <a:pt x="287" y="144"/>
                  </a:lnTo>
                  <a:lnTo>
                    <a:pt x="287" y="144"/>
                  </a:lnTo>
                  <a:lnTo>
                    <a:pt x="284" y="143"/>
                  </a:lnTo>
                  <a:lnTo>
                    <a:pt x="284" y="139"/>
                  </a:lnTo>
                  <a:lnTo>
                    <a:pt x="287" y="139"/>
                  </a:lnTo>
                  <a:lnTo>
                    <a:pt x="284" y="139"/>
                  </a:lnTo>
                  <a:lnTo>
                    <a:pt x="284" y="139"/>
                  </a:lnTo>
                  <a:lnTo>
                    <a:pt x="280" y="139"/>
                  </a:lnTo>
                  <a:lnTo>
                    <a:pt x="275" y="136"/>
                  </a:lnTo>
                  <a:lnTo>
                    <a:pt x="275" y="134"/>
                  </a:lnTo>
                  <a:lnTo>
                    <a:pt x="273" y="134"/>
                  </a:lnTo>
                  <a:lnTo>
                    <a:pt x="270" y="131"/>
                  </a:lnTo>
                  <a:lnTo>
                    <a:pt x="270" y="125"/>
                  </a:lnTo>
                  <a:lnTo>
                    <a:pt x="261" y="117"/>
                  </a:lnTo>
                  <a:lnTo>
                    <a:pt x="259" y="111"/>
                  </a:lnTo>
                  <a:lnTo>
                    <a:pt x="261" y="111"/>
                  </a:lnTo>
                  <a:lnTo>
                    <a:pt x="261" y="110"/>
                  </a:lnTo>
                  <a:lnTo>
                    <a:pt x="258" y="103"/>
                  </a:lnTo>
                  <a:lnTo>
                    <a:pt x="258" y="99"/>
                  </a:lnTo>
                  <a:lnTo>
                    <a:pt x="256" y="97"/>
                  </a:lnTo>
                  <a:lnTo>
                    <a:pt x="252" y="97"/>
                  </a:lnTo>
                  <a:lnTo>
                    <a:pt x="249" y="89"/>
                  </a:lnTo>
                  <a:lnTo>
                    <a:pt x="247" y="89"/>
                  </a:lnTo>
                  <a:lnTo>
                    <a:pt x="244" y="85"/>
                  </a:lnTo>
                  <a:lnTo>
                    <a:pt x="244" y="85"/>
                  </a:lnTo>
                  <a:lnTo>
                    <a:pt x="245" y="84"/>
                  </a:lnTo>
                  <a:lnTo>
                    <a:pt x="247" y="85"/>
                  </a:lnTo>
                  <a:lnTo>
                    <a:pt x="245" y="84"/>
                  </a:lnTo>
                  <a:lnTo>
                    <a:pt x="242" y="82"/>
                  </a:lnTo>
                  <a:lnTo>
                    <a:pt x="237" y="82"/>
                  </a:lnTo>
                  <a:lnTo>
                    <a:pt x="233" y="71"/>
                  </a:lnTo>
                  <a:lnTo>
                    <a:pt x="230" y="68"/>
                  </a:lnTo>
                  <a:lnTo>
                    <a:pt x="230" y="68"/>
                  </a:lnTo>
                  <a:lnTo>
                    <a:pt x="230" y="64"/>
                  </a:lnTo>
                  <a:lnTo>
                    <a:pt x="228" y="66"/>
                  </a:lnTo>
                  <a:lnTo>
                    <a:pt x="228" y="64"/>
                  </a:lnTo>
                  <a:lnTo>
                    <a:pt x="228" y="64"/>
                  </a:lnTo>
                  <a:lnTo>
                    <a:pt x="228"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7" name="Freeform 38">
              <a:extLst>
                <a:ext uri="{FF2B5EF4-FFF2-40B4-BE49-F238E27FC236}">
                  <a16:creationId xmlns:a16="http://schemas.microsoft.com/office/drawing/2014/main" id="{0212AE07-CBE7-4D0A-AEA7-5EDFA14AC979}"/>
                </a:ext>
              </a:extLst>
            </p:cNvPr>
            <p:cNvSpPr>
              <a:spLocks noEditPoints="1"/>
            </p:cNvSpPr>
            <p:nvPr/>
          </p:nvSpPr>
          <p:spPr bwMode="auto">
            <a:xfrm>
              <a:off x="4879975" y="4879976"/>
              <a:ext cx="441325" cy="369888"/>
            </a:xfrm>
            <a:custGeom>
              <a:avLst/>
              <a:gdLst/>
              <a:ahLst/>
              <a:cxnLst>
                <a:cxn ang="0">
                  <a:pos x="7" y="111"/>
                </a:cxn>
                <a:cxn ang="0">
                  <a:pos x="15" y="113"/>
                </a:cxn>
                <a:cxn ang="0">
                  <a:pos x="33" y="121"/>
                </a:cxn>
                <a:cxn ang="0">
                  <a:pos x="43" y="123"/>
                </a:cxn>
                <a:cxn ang="0">
                  <a:pos x="50" y="113"/>
                </a:cxn>
                <a:cxn ang="0">
                  <a:pos x="71" y="54"/>
                </a:cxn>
                <a:cxn ang="0">
                  <a:pos x="74" y="83"/>
                </a:cxn>
                <a:cxn ang="0">
                  <a:pos x="92" y="80"/>
                </a:cxn>
                <a:cxn ang="0">
                  <a:pos x="109" y="69"/>
                </a:cxn>
                <a:cxn ang="0">
                  <a:pos x="128" y="61"/>
                </a:cxn>
                <a:cxn ang="0">
                  <a:pos x="146" y="66"/>
                </a:cxn>
                <a:cxn ang="0">
                  <a:pos x="160" y="62"/>
                </a:cxn>
                <a:cxn ang="0">
                  <a:pos x="160" y="52"/>
                </a:cxn>
                <a:cxn ang="0">
                  <a:pos x="172" y="43"/>
                </a:cxn>
                <a:cxn ang="0">
                  <a:pos x="179" y="38"/>
                </a:cxn>
                <a:cxn ang="0">
                  <a:pos x="186" y="22"/>
                </a:cxn>
                <a:cxn ang="0">
                  <a:pos x="194" y="17"/>
                </a:cxn>
                <a:cxn ang="0">
                  <a:pos x="206" y="12"/>
                </a:cxn>
                <a:cxn ang="0">
                  <a:pos x="215" y="3"/>
                </a:cxn>
                <a:cxn ang="0">
                  <a:pos x="231" y="0"/>
                </a:cxn>
                <a:cxn ang="0">
                  <a:pos x="241" y="3"/>
                </a:cxn>
                <a:cxn ang="0">
                  <a:pos x="260" y="12"/>
                </a:cxn>
                <a:cxn ang="0">
                  <a:pos x="264" y="31"/>
                </a:cxn>
                <a:cxn ang="0">
                  <a:pos x="264" y="62"/>
                </a:cxn>
                <a:cxn ang="0">
                  <a:pos x="250" y="66"/>
                </a:cxn>
                <a:cxn ang="0">
                  <a:pos x="246" y="85"/>
                </a:cxn>
                <a:cxn ang="0">
                  <a:pos x="264" y="85"/>
                </a:cxn>
                <a:cxn ang="0">
                  <a:pos x="278" y="83"/>
                </a:cxn>
                <a:cxn ang="0">
                  <a:pos x="274" y="99"/>
                </a:cxn>
                <a:cxn ang="0">
                  <a:pos x="264" y="121"/>
                </a:cxn>
                <a:cxn ang="0">
                  <a:pos x="250" y="130"/>
                </a:cxn>
                <a:cxn ang="0">
                  <a:pos x="241" y="142"/>
                </a:cxn>
                <a:cxn ang="0">
                  <a:pos x="220" y="170"/>
                </a:cxn>
                <a:cxn ang="0">
                  <a:pos x="194" y="193"/>
                </a:cxn>
                <a:cxn ang="0">
                  <a:pos x="175" y="210"/>
                </a:cxn>
                <a:cxn ang="0">
                  <a:pos x="160" y="212"/>
                </a:cxn>
                <a:cxn ang="0">
                  <a:pos x="149" y="221"/>
                </a:cxn>
                <a:cxn ang="0">
                  <a:pos x="137" y="224"/>
                </a:cxn>
                <a:cxn ang="0">
                  <a:pos x="111" y="221"/>
                </a:cxn>
                <a:cxn ang="0">
                  <a:pos x="92" y="221"/>
                </a:cxn>
                <a:cxn ang="0">
                  <a:pos x="87" y="226"/>
                </a:cxn>
                <a:cxn ang="0">
                  <a:pos x="67" y="226"/>
                </a:cxn>
                <a:cxn ang="0">
                  <a:pos x="55" y="233"/>
                </a:cxn>
                <a:cxn ang="0">
                  <a:pos x="40" y="226"/>
                </a:cxn>
                <a:cxn ang="0">
                  <a:pos x="31" y="221"/>
                </a:cxn>
                <a:cxn ang="0">
                  <a:pos x="27" y="219"/>
                </a:cxn>
                <a:cxn ang="0">
                  <a:pos x="19" y="198"/>
                </a:cxn>
                <a:cxn ang="0">
                  <a:pos x="27" y="191"/>
                </a:cxn>
                <a:cxn ang="0">
                  <a:pos x="22" y="165"/>
                </a:cxn>
                <a:cxn ang="0">
                  <a:pos x="8" y="125"/>
                </a:cxn>
                <a:cxn ang="0">
                  <a:pos x="0" y="114"/>
                </a:cxn>
                <a:cxn ang="0">
                  <a:pos x="191" y="156"/>
                </a:cxn>
                <a:cxn ang="0">
                  <a:pos x="201" y="146"/>
                </a:cxn>
                <a:cxn ang="0">
                  <a:pos x="213" y="141"/>
                </a:cxn>
                <a:cxn ang="0">
                  <a:pos x="219" y="128"/>
                </a:cxn>
                <a:cxn ang="0">
                  <a:pos x="205" y="120"/>
                </a:cxn>
                <a:cxn ang="0">
                  <a:pos x="196" y="121"/>
                </a:cxn>
                <a:cxn ang="0">
                  <a:pos x="179" y="135"/>
                </a:cxn>
                <a:cxn ang="0">
                  <a:pos x="182" y="149"/>
                </a:cxn>
              </a:cxnLst>
              <a:rect l="0" t="0" r="r" b="b"/>
              <a:pathLst>
                <a:path w="278" h="233">
                  <a:moveTo>
                    <a:pt x="0" y="114"/>
                  </a:moveTo>
                  <a:lnTo>
                    <a:pt x="5" y="114"/>
                  </a:lnTo>
                  <a:lnTo>
                    <a:pt x="7" y="113"/>
                  </a:lnTo>
                  <a:lnTo>
                    <a:pt x="7" y="111"/>
                  </a:lnTo>
                  <a:lnTo>
                    <a:pt x="7" y="111"/>
                  </a:lnTo>
                  <a:lnTo>
                    <a:pt x="8" y="107"/>
                  </a:lnTo>
                  <a:lnTo>
                    <a:pt x="12" y="106"/>
                  </a:lnTo>
                  <a:lnTo>
                    <a:pt x="14" y="111"/>
                  </a:lnTo>
                  <a:lnTo>
                    <a:pt x="17" y="111"/>
                  </a:lnTo>
                  <a:lnTo>
                    <a:pt x="15" y="113"/>
                  </a:lnTo>
                  <a:lnTo>
                    <a:pt x="19" y="118"/>
                  </a:lnTo>
                  <a:lnTo>
                    <a:pt x="24" y="120"/>
                  </a:lnTo>
                  <a:lnTo>
                    <a:pt x="27" y="121"/>
                  </a:lnTo>
                  <a:lnTo>
                    <a:pt x="29" y="121"/>
                  </a:lnTo>
                  <a:lnTo>
                    <a:pt x="33" y="121"/>
                  </a:lnTo>
                  <a:lnTo>
                    <a:pt x="34" y="121"/>
                  </a:lnTo>
                  <a:lnTo>
                    <a:pt x="36" y="120"/>
                  </a:lnTo>
                  <a:lnTo>
                    <a:pt x="40" y="120"/>
                  </a:lnTo>
                  <a:lnTo>
                    <a:pt x="41" y="123"/>
                  </a:lnTo>
                  <a:lnTo>
                    <a:pt x="43" y="123"/>
                  </a:lnTo>
                  <a:lnTo>
                    <a:pt x="45" y="123"/>
                  </a:lnTo>
                  <a:lnTo>
                    <a:pt x="45" y="120"/>
                  </a:lnTo>
                  <a:lnTo>
                    <a:pt x="47" y="118"/>
                  </a:lnTo>
                  <a:lnTo>
                    <a:pt x="50" y="116"/>
                  </a:lnTo>
                  <a:lnTo>
                    <a:pt x="50" y="113"/>
                  </a:lnTo>
                  <a:lnTo>
                    <a:pt x="55" y="111"/>
                  </a:lnTo>
                  <a:lnTo>
                    <a:pt x="61" y="111"/>
                  </a:lnTo>
                  <a:lnTo>
                    <a:pt x="62" y="111"/>
                  </a:lnTo>
                  <a:lnTo>
                    <a:pt x="64" y="50"/>
                  </a:lnTo>
                  <a:lnTo>
                    <a:pt x="71" y="54"/>
                  </a:lnTo>
                  <a:lnTo>
                    <a:pt x="73" y="61"/>
                  </a:lnTo>
                  <a:lnTo>
                    <a:pt x="76" y="69"/>
                  </a:lnTo>
                  <a:lnTo>
                    <a:pt x="76" y="73"/>
                  </a:lnTo>
                  <a:lnTo>
                    <a:pt x="74" y="80"/>
                  </a:lnTo>
                  <a:lnTo>
                    <a:pt x="74" y="83"/>
                  </a:lnTo>
                  <a:lnTo>
                    <a:pt x="78" y="80"/>
                  </a:lnTo>
                  <a:lnTo>
                    <a:pt x="81" y="83"/>
                  </a:lnTo>
                  <a:lnTo>
                    <a:pt x="87" y="80"/>
                  </a:lnTo>
                  <a:lnTo>
                    <a:pt x="88" y="83"/>
                  </a:lnTo>
                  <a:lnTo>
                    <a:pt x="92" y="80"/>
                  </a:lnTo>
                  <a:lnTo>
                    <a:pt x="95" y="80"/>
                  </a:lnTo>
                  <a:lnTo>
                    <a:pt x="99" y="76"/>
                  </a:lnTo>
                  <a:lnTo>
                    <a:pt x="100" y="74"/>
                  </a:lnTo>
                  <a:lnTo>
                    <a:pt x="106" y="73"/>
                  </a:lnTo>
                  <a:lnTo>
                    <a:pt x="109" y="69"/>
                  </a:lnTo>
                  <a:lnTo>
                    <a:pt x="111" y="61"/>
                  </a:lnTo>
                  <a:lnTo>
                    <a:pt x="116" y="57"/>
                  </a:lnTo>
                  <a:lnTo>
                    <a:pt x="120" y="57"/>
                  </a:lnTo>
                  <a:lnTo>
                    <a:pt x="127" y="57"/>
                  </a:lnTo>
                  <a:lnTo>
                    <a:pt x="128" y="61"/>
                  </a:lnTo>
                  <a:lnTo>
                    <a:pt x="128" y="61"/>
                  </a:lnTo>
                  <a:lnTo>
                    <a:pt x="137" y="66"/>
                  </a:lnTo>
                  <a:lnTo>
                    <a:pt x="140" y="66"/>
                  </a:lnTo>
                  <a:lnTo>
                    <a:pt x="142" y="66"/>
                  </a:lnTo>
                  <a:lnTo>
                    <a:pt x="146" y="66"/>
                  </a:lnTo>
                  <a:lnTo>
                    <a:pt x="149" y="66"/>
                  </a:lnTo>
                  <a:lnTo>
                    <a:pt x="153" y="62"/>
                  </a:lnTo>
                  <a:lnTo>
                    <a:pt x="154" y="66"/>
                  </a:lnTo>
                  <a:lnTo>
                    <a:pt x="156" y="66"/>
                  </a:lnTo>
                  <a:lnTo>
                    <a:pt x="160" y="62"/>
                  </a:lnTo>
                  <a:lnTo>
                    <a:pt x="160" y="62"/>
                  </a:lnTo>
                  <a:lnTo>
                    <a:pt x="160" y="61"/>
                  </a:lnTo>
                  <a:lnTo>
                    <a:pt x="160" y="57"/>
                  </a:lnTo>
                  <a:lnTo>
                    <a:pt x="160" y="54"/>
                  </a:lnTo>
                  <a:lnTo>
                    <a:pt x="160" y="52"/>
                  </a:lnTo>
                  <a:lnTo>
                    <a:pt x="163" y="48"/>
                  </a:lnTo>
                  <a:lnTo>
                    <a:pt x="165" y="47"/>
                  </a:lnTo>
                  <a:lnTo>
                    <a:pt x="168" y="47"/>
                  </a:lnTo>
                  <a:lnTo>
                    <a:pt x="170" y="45"/>
                  </a:lnTo>
                  <a:lnTo>
                    <a:pt x="172" y="43"/>
                  </a:lnTo>
                  <a:lnTo>
                    <a:pt x="172" y="43"/>
                  </a:lnTo>
                  <a:lnTo>
                    <a:pt x="173" y="41"/>
                  </a:lnTo>
                  <a:lnTo>
                    <a:pt x="175" y="38"/>
                  </a:lnTo>
                  <a:lnTo>
                    <a:pt x="179" y="38"/>
                  </a:lnTo>
                  <a:lnTo>
                    <a:pt x="179" y="38"/>
                  </a:lnTo>
                  <a:lnTo>
                    <a:pt x="182" y="38"/>
                  </a:lnTo>
                  <a:lnTo>
                    <a:pt x="182" y="34"/>
                  </a:lnTo>
                  <a:lnTo>
                    <a:pt x="179" y="31"/>
                  </a:lnTo>
                  <a:lnTo>
                    <a:pt x="182" y="29"/>
                  </a:lnTo>
                  <a:lnTo>
                    <a:pt x="186" y="22"/>
                  </a:lnTo>
                  <a:lnTo>
                    <a:pt x="187" y="21"/>
                  </a:lnTo>
                  <a:lnTo>
                    <a:pt x="191" y="21"/>
                  </a:lnTo>
                  <a:lnTo>
                    <a:pt x="191" y="19"/>
                  </a:lnTo>
                  <a:lnTo>
                    <a:pt x="193" y="19"/>
                  </a:lnTo>
                  <a:lnTo>
                    <a:pt x="194" y="17"/>
                  </a:lnTo>
                  <a:lnTo>
                    <a:pt x="196" y="15"/>
                  </a:lnTo>
                  <a:lnTo>
                    <a:pt x="198" y="14"/>
                  </a:lnTo>
                  <a:lnTo>
                    <a:pt x="201" y="12"/>
                  </a:lnTo>
                  <a:lnTo>
                    <a:pt x="205" y="12"/>
                  </a:lnTo>
                  <a:lnTo>
                    <a:pt x="206" y="12"/>
                  </a:lnTo>
                  <a:lnTo>
                    <a:pt x="208" y="12"/>
                  </a:lnTo>
                  <a:lnTo>
                    <a:pt x="210" y="12"/>
                  </a:lnTo>
                  <a:lnTo>
                    <a:pt x="213" y="8"/>
                  </a:lnTo>
                  <a:lnTo>
                    <a:pt x="215" y="8"/>
                  </a:lnTo>
                  <a:lnTo>
                    <a:pt x="215" y="3"/>
                  </a:lnTo>
                  <a:lnTo>
                    <a:pt x="215" y="3"/>
                  </a:lnTo>
                  <a:lnTo>
                    <a:pt x="219" y="1"/>
                  </a:lnTo>
                  <a:lnTo>
                    <a:pt x="220" y="1"/>
                  </a:lnTo>
                  <a:lnTo>
                    <a:pt x="222" y="1"/>
                  </a:lnTo>
                  <a:lnTo>
                    <a:pt x="231" y="0"/>
                  </a:lnTo>
                  <a:lnTo>
                    <a:pt x="234" y="0"/>
                  </a:lnTo>
                  <a:lnTo>
                    <a:pt x="236" y="3"/>
                  </a:lnTo>
                  <a:lnTo>
                    <a:pt x="238" y="3"/>
                  </a:lnTo>
                  <a:lnTo>
                    <a:pt x="241" y="3"/>
                  </a:lnTo>
                  <a:lnTo>
                    <a:pt x="241" y="3"/>
                  </a:lnTo>
                  <a:lnTo>
                    <a:pt x="245" y="3"/>
                  </a:lnTo>
                  <a:lnTo>
                    <a:pt x="250" y="3"/>
                  </a:lnTo>
                  <a:lnTo>
                    <a:pt x="255" y="3"/>
                  </a:lnTo>
                  <a:lnTo>
                    <a:pt x="259" y="8"/>
                  </a:lnTo>
                  <a:lnTo>
                    <a:pt x="260" y="12"/>
                  </a:lnTo>
                  <a:lnTo>
                    <a:pt x="260" y="15"/>
                  </a:lnTo>
                  <a:lnTo>
                    <a:pt x="264" y="21"/>
                  </a:lnTo>
                  <a:lnTo>
                    <a:pt x="264" y="29"/>
                  </a:lnTo>
                  <a:lnTo>
                    <a:pt x="264" y="29"/>
                  </a:lnTo>
                  <a:lnTo>
                    <a:pt x="264" y="31"/>
                  </a:lnTo>
                  <a:lnTo>
                    <a:pt x="264" y="34"/>
                  </a:lnTo>
                  <a:lnTo>
                    <a:pt x="264" y="40"/>
                  </a:lnTo>
                  <a:lnTo>
                    <a:pt x="264" y="54"/>
                  </a:lnTo>
                  <a:lnTo>
                    <a:pt x="264" y="57"/>
                  </a:lnTo>
                  <a:lnTo>
                    <a:pt x="264" y="62"/>
                  </a:lnTo>
                  <a:lnTo>
                    <a:pt x="264" y="69"/>
                  </a:lnTo>
                  <a:lnTo>
                    <a:pt x="260" y="67"/>
                  </a:lnTo>
                  <a:lnTo>
                    <a:pt x="259" y="66"/>
                  </a:lnTo>
                  <a:lnTo>
                    <a:pt x="253" y="62"/>
                  </a:lnTo>
                  <a:lnTo>
                    <a:pt x="250" y="66"/>
                  </a:lnTo>
                  <a:lnTo>
                    <a:pt x="250" y="67"/>
                  </a:lnTo>
                  <a:lnTo>
                    <a:pt x="245" y="76"/>
                  </a:lnTo>
                  <a:lnTo>
                    <a:pt x="243" y="80"/>
                  </a:lnTo>
                  <a:lnTo>
                    <a:pt x="245" y="80"/>
                  </a:lnTo>
                  <a:lnTo>
                    <a:pt x="246" y="85"/>
                  </a:lnTo>
                  <a:lnTo>
                    <a:pt x="250" y="88"/>
                  </a:lnTo>
                  <a:lnTo>
                    <a:pt x="255" y="90"/>
                  </a:lnTo>
                  <a:lnTo>
                    <a:pt x="260" y="90"/>
                  </a:lnTo>
                  <a:lnTo>
                    <a:pt x="264" y="88"/>
                  </a:lnTo>
                  <a:lnTo>
                    <a:pt x="264" y="85"/>
                  </a:lnTo>
                  <a:lnTo>
                    <a:pt x="264" y="85"/>
                  </a:lnTo>
                  <a:lnTo>
                    <a:pt x="266" y="83"/>
                  </a:lnTo>
                  <a:lnTo>
                    <a:pt x="269" y="83"/>
                  </a:lnTo>
                  <a:lnTo>
                    <a:pt x="274" y="83"/>
                  </a:lnTo>
                  <a:lnTo>
                    <a:pt x="278" y="83"/>
                  </a:lnTo>
                  <a:lnTo>
                    <a:pt x="278" y="85"/>
                  </a:lnTo>
                  <a:lnTo>
                    <a:pt x="276" y="88"/>
                  </a:lnTo>
                  <a:lnTo>
                    <a:pt x="278" y="88"/>
                  </a:lnTo>
                  <a:lnTo>
                    <a:pt x="274" y="94"/>
                  </a:lnTo>
                  <a:lnTo>
                    <a:pt x="274" y="99"/>
                  </a:lnTo>
                  <a:lnTo>
                    <a:pt x="272" y="104"/>
                  </a:lnTo>
                  <a:lnTo>
                    <a:pt x="269" y="111"/>
                  </a:lnTo>
                  <a:lnTo>
                    <a:pt x="269" y="113"/>
                  </a:lnTo>
                  <a:lnTo>
                    <a:pt x="266" y="116"/>
                  </a:lnTo>
                  <a:lnTo>
                    <a:pt x="264" y="121"/>
                  </a:lnTo>
                  <a:lnTo>
                    <a:pt x="260" y="121"/>
                  </a:lnTo>
                  <a:lnTo>
                    <a:pt x="260" y="123"/>
                  </a:lnTo>
                  <a:lnTo>
                    <a:pt x="257" y="125"/>
                  </a:lnTo>
                  <a:lnTo>
                    <a:pt x="255" y="127"/>
                  </a:lnTo>
                  <a:lnTo>
                    <a:pt x="250" y="130"/>
                  </a:lnTo>
                  <a:lnTo>
                    <a:pt x="250" y="134"/>
                  </a:lnTo>
                  <a:lnTo>
                    <a:pt x="245" y="137"/>
                  </a:lnTo>
                  <a:lnTo>
                    <a:pt x="245" y="139"/>
                  </a:lnTo>
                  <a:lnTo>
                    <a:pt x="243" y="142"/>
                  </a:lnTo>
                  <a:lnTo>
                    <a:pt x="241" y="142"/>
                  </a:lnTo>
                  <a:lnTo>
                    <a:pt x="238" y="147"/>
                  </a:lnTo>
                  <a:lnTo>
                    <a:pt x="231" y="158"/>
                  </a:lnTo>
                  <a:lnTo>
                    <a:pt x="226" y="165"/>
                  </a:lnTo>
                  <a:lnTo>
                    <a:pt x="224" y="168"/>
                  </a:lnTo>
                  <a:lnTo>
                    <a:pt x="220" y="170"/>
                  </a:lnTo>
                  <a:lnTo>
                    <a:pt x="219" y="175"/>
                  </a:lnTo>
                  <a:lnTo>
                    <a:pt x="215" y="175"/>
                  </a:lnTo>
                  <a:lnTo>
                    <a:pt x="215" y="175"/>
                  </a:lnTo>
                  <a:lnTo>
                    <a:pt x="198" y="193"/>
                  </a:lnTo>
                  <a:lnTo>
                    <a:pt x="194" y="193"/>
                  </a:lnTo>
                  <a:lnTo>
                    <a:pt x="196" y="194"/>
                  </a:lnTo>
                  <a:lnTo>
                    <a:pt x="193" y="198"/>
                  </a:lnTo>
                  <a:lnTo>
                    <a:pt x="182" y="207"/>
                  </a:lnTo>
                  <a:lnTo>
                    <a:pt x="179" y="207"/>
                  </a:lnTo>
                  <a:lnTo>
                    <a:pt x="175" y="210"/>
                  </a:lnTo>
                  <a:lnTo>
                    <a:pt x="175" y="210"/>
                  </a:lnTo>
                  <a:lnTo>
                    <a:pt x="168" y="212"/>
                  </a:lnTo>
                  <a:lnTo>
                    <a:pt x="163" y="214"/>
                  </a:lnTo>
                  <a:lnTo>
                    <a:pt x="160" y="214"/>
                  </a:lnTo>
                  <a:lnTo>
                    <a:pt x="160" y="212"/>
                  </a:lnTo>
                  <a:lnTo>
                    <a:pt x="154" y="214"/>
                  </a:lnTo>
                  <a:lnTo>
                    <a:pt x="149" y="214"/>
                  </a:lnTo>
                  <a:lnTo>
                    <a:pt x="147" y="217"/>
                  </a:lnTo>
                  <a:lnTo>
                    <a:pt x="149" y="221"/>
                  </a:lnTo>
                  <a:lnTo>
                    <a:pt x="149" y="221"/>
                  </a:lnTo>
                  <a:lnTo>
                    <a:pt x="144" y="221"/>
                  </a:lnTo>
                  <a:lnTo>
                    <a:pt x="140" y="219"/>
                  </a:lnTo>
                  <a:lnTo>
                    <a:pt x="137" y="219"/>
                  </a:lnTo>
                  <a:lnTo>
                    <a:pt x="133" y="222"/>
                  </a:lnTo>
                  <a:lnTo>
                    <a:pt x="137" y="224"/>
                  </a:lnTo>
                  <a:lnTo>
                    <a:pt x="133" y="224"/>
                  </a:lnTo>
                  <a:lnTo>
                    <a:pt x="127" y="222"/>
                  </a:lnTo>
                  <a:lnTo>
                    <a:pt x="125" y="221"/>
                  </a:lnTo>
                  <a:lnTo>
                    <a:pt x="116" y="219"/>
                  </a:lnTo>
                  <a:lnTo>
                    <a:pt x="111" y="221"/>
                  </a:lnTo>
                  <a:lnTo>
                    <a:pt x="111" y="221"/>
                  </a:lnTo>
                  <a:lnTo>
                    <a:pt x="109" y="222"/>
                  </a:lnTo>
                  <a:lnTo>
                    <a:pt x="106" y="221"/>
                  </a:lnTo>
                  <a:lnTo>
                    <a:pt x="95" y="221"/>
                  </a:lnTo>
                  <a:lnTo>
                    <a:pt x="92" y="221"/>
                  </a:lnTo>
                  <a:lnTo>
                    <a:pt x="92" y="224"/>
                  </a:lnTo>
                  <a:lnTo>
                    <a:pt x="90" y="224"/>
                  </a:lnTo>
                  <a:lnTo>
                    <a:pt x="87" y="224"/>
                  </a:lnTo>
                  <a:lnTo>
                    <a:pt x="87" y="226"/>
                  </a:lnTo>
                  <a:lnTo>
                    <a:pt x="87" y="226"/>
                  </a:lnTo>
                  <a:lnTo>
                    <a:pt x="81" y="226"/>
                  </a:lnTo>
                  <a:lnTo>
                    <a:pt x="78" y="229"/>
                  </a:lnTo>
                  <a:lnTo>
                    <a:pt x="73" y="226"/>
                  </a:lnTo>
                  <a:lnTo>
                    <a:pt x="69" y="226"/>
                  </a:lnTo>
                  <a:lnTo>
                    <a:pt x="67" y="226"/>
                  </a:lnTo>
                  <a:lnTo>
                    <a:pt x="64" y="226"/>
                  </a:lnTo>
                  <a:lnTo>
                    <a:pt x="61" y="233"/>
                  </a:lnTo>
                  <a:lnTo>
                    <a:pt x="59" y="233"/>
                  </a:lnTo>
                  <a:lnTo>
                    <a:pt x="55" y="233"/>
                  </a:lnTo>
                  <a:lnTo>
                    <a:pt x="55" y="233"/>
                  </a:lnTo>
                  <a:lnTo>
                    <a:pt x="54" y="233"/>
                  </a:lnTo>
                  <a:lnTo>
                    <a:pt x="45" y="229"/>
                  </a:lnTo>
                  <a:lnTo>
                    <a:pt x="43" y="233"/>
                  </a:lnTo>
                  <a:lnTo>
                    <a:pt x="43" y="226"/>
                  </a:lnTo>
                  <a:lnTo>
                    <a:pt x="40" y="226"/>
                  </a:lnTo>
                  <a:lnTo>
                    <a:pt x="36" y="226"/>
                  </a:lnTo>
                  <a:lnTo>
                    <a:pt x="34" y="226"/>
                  </a:lnTo>
                  <a:lnTo>
                    <a:pt x="36" y="226"/>
                  </a:lnTo>
                  <a:lnTo>
                    <a:pt x="34" y="222"/>
                  </a:lnTo>
                  <a:lnTo>
                    <a:pt x="31" y="221"/>
                  </a:lnTo>
                  <a:lnTo>
                    <a:pt x="27" y="224"/>
                  </a:lnTo>
                  <a:lnTo>
                    <a:pt x="27" y="226"/>
                  </a:lnTo>
                  <a:lnTo>
                    <a:pt x="27" y="226"/>
                  </a:lnTo>
                  <a:lnTo>
                    <a:pt x="27" y="221"/>
                  </a:lnTo>
                  <a:lnTo>
                    <a:pt x="27" y="219"/>
                  </a:lnTo>
                  <a:lnTo>
                    <a:pt x="27" y="214"/>
                  </a:lnTo>
                  <a:lnTo>
                    <a:pt x="29" y="210"/>
                  </a:lnTo>
                  <a:lnTo>
                    <a:pt x="27" y="203"/>
                  </a:lnTo>
                  <a:lnTo>
                    <a:pt x="24" y="203"/>
                  </a:lnTo>
                  <a:lnTo>
                    <a:pt x="19" y="198"/>
                  </a:lnTo>
                  <a:lnTo>
                    <a:pt x="19" y="193"/>
                  </a:lnTo>
                  <a:lnTo>
                    <a:pt x="22" y="191"/>
                  </a:lnTo>
                  <a:lnTo>
                    <a:pt x="24" y="193"/>
                  </a:lnTo>
                  <a:lnTo>
                    <a:pt x="24" y="193"/>
                  </a:lnTo>
                  <a:lnTo>
                    <a:pt x="27" y="191"/>
                  </a:lnTo>
                  <a:lnTo>
                    <a:pt x="27" y="186"/>
                  </a:lnTo>
                  <a:lnTo>
                    <a:pt x="27" y="181"/>
                  </a:lnTo>
                  <a:lnTo>
                    <a:pt x="27" y="179"/>
                  </a:lnTo>
                  <a:lnTo>
                    <a:pt x="22" y="170"/>
                  </a:lnTo>
                  <a:lnTo>
                    <a:pt x="22" y="165"/>
                  </a:lnTo>
                  <a:lnTo>
                    <a:pt x="17" y="161"/>
                  </a:lnTo>
                  <a:lnTo>
                    <a:pt x="15" y="149"/>
                  </a:lnTo>
                  <a:lnTo>
                    <a:pt x="12" y="141"/>
                  </a:lnTo>
                  <a:lnTo>
                    <a:pt x="12" y="135"/>
                  </a:lnTo>
                  <a:lnTo>
                    <a:pt x="8" y="125"/>
                  </a:lnTo>
                  <a:lnTo>
                    <a:pt x="1" y="121"/>
                  </a:lnTo>
                  <a:lnTo>
                    <a:pt x="1" y="114"/>
                  </a:lnTo>
                  <a:lnTo>
                    <a:pt x="0" y="114"/>
                  </a:lnTo>
                  <a:lnTo>
                    <a:pt x="0" y="114"/>
                  </a:lnTo>
                  <a:lnTo>
                    <a:pt x="0" y="114"/>
                  </a:lnTo>
                  <a:lnTo>
                    <a:pt x="0" y="114"/>
                  </a:lnTo>
                  <a:close/>
                  <a:moveTo>
                    <a:pt x="182" y="149"/>
                  </a:moveTo>
                  <a:lnTo>
                    <a:pt x="187" y="151"/>
                  </a:lnTo>
                  <a:lnTo>
                    <a:pt x="187" y="153"/>
                  </a:lnTo>
                  <a:lnTo>
                    <a:pt x="191" y="156"/>
                  </a:lnTo>
                  <a:lnTo>
                    <a:pt x="194" y="153"/>
                  </a:lnTo>
                  <a:lnTo>
                    <a:pt x="196" y="153"/>
                  </a:lnTo>
                  <a:lnTo>
                    <a:pt x="196" y="151"/>
                  </a:lnTo>
                  <a:lnTo>
                    <a:pt x="198" y="147"/>
                  </a:lnTo>
                  <a:lnTo>
                    <a:pt x="201" y="146"/>
                  </a:lnTo>
                  <a:lnTo>
                    <a:pt x="205" y="146"/>
                  </a:lnTo>
                  <a:lnTo>
                    <a:pt x="206" y="144"/>
                  </a:lnTo>
                  <a:lnTo>
                    <a:pt x="210" y="146"/>
                  </a:lnTo>
                  <a:lnTo>
                    <a:pt x="213" y="142"/>
                  </a:lnTo>
                  <a:lnTo>
                    <a:pt x="213" y="141"/>
                  </a:lnTo>
                  <a:lnTo>
                    <a:pt x="210" y="139"/>
                  </a:lnTo>
                  <a:lnTo>
                    <a:pt x="210" y="137"/>
                  </a:lnTo>
                  <a:lnTo>
                    <a:pt x="213" y="135"/>
                  </a:lnTo>
                  <a:lnTo>
                    <a:pt x="219" y="134"/>
                  </a:lnTo>
                  <a:lnTo>
                    <a:pt x="219" y="128"/>
                  </a:lnTo>
                  <a:lnTo>
                    <a:pt x="213" y="121"/>
                  </a:lnTo>
                  <a:lnTo>
                    <a:pt x="210" y="120"/>
                  </a:lnTo>
                  <a:lnTo>
                    <a:pt x="208" y="120"/>
                  </a:lnTo>
                  <a:lnTo>
                    <a:pt x="206" y="118"/>
                  </a:lnTo>
                  <a:lnTo>
                    <a:pt x="205" y="120"/>
                  </a:lnTo>
                  <a:lnTo>
                    <a:pt x="203" y="118"/>
                  </a:lnTo>
                  <a:lnTo>
                    <a:pt x="200" y="118"/>
                  </a:lnTo>
                  <a:lnTo>
                    <a:pt x="200" y="120"/>
                  </a:lnTo>
                  <a:lnTo>
                    <a:pt x="198" y="120"/>
                  </a:lnTo>
                  <a:lnTo>
                    <a:pt x="196" y="121"/>
                  </a:lnTo>
                  <a:lnTo>
                    <a:pt x="191" y="123"/>
                  </a:lnTo>
                  <a:lnTo>
                    <a:pt x="187" y="127"/>
                  </a:lnTo>
                  <a:lnTo>
                    <a:pt x="186" y="130"/>
                  </a:lnTo>
                  <a:lnTo>
                    <a:pt x="179" y="134"/>
                  </a:lnTo>
                  <a:lnTo>
                    <a:pt x="179" y="135"/>
                  </a:lnTo>
                  <a:lnTo>
                    <a:pt x="179" y="139"/>
                  </a:lnTo>
                  <a:lnTo>
                    <a:pt x="182" y="141"/>
                  </a:lnTo>
                  <a:lnTo>
                    <a:pt x="182" y="142"/>
                  </a:lnTo>
                  <a:lnTo>
                    <a:pt x="182" y="146"/>
                  </a:lnTo>
                  <a:lnTo>
                    <a:pt x="182" y="149"/>
                  </a:lnTo>
                  <a:lnTo>
                    <a:pt x="182" y="149"/>
                  </a:lnTo>
                  <a:lnTo>
                    <a:pt x="18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8" name="Groupe 210">
            <a:extLst>
              <a:ext uri="{FF2B5EF4-FFF2-40B4-BE49-F238E27FC236}">
                <a16:creationId xmlns:a16="http://schemas.microsoft.com/office/drawing/2014/main" id="{4B3E6BFF-F364-4438-AA1B-1052735E145D}"/>
              </a:ext>
            </a:extLst>
          </p:cNvPr>
          <p:cNvGrpSpPr/>
          <p:nvPr/>
        </p:nvGrpSpPr>
        <p:grpSpPr>
          <a:xfrm>
            <a:off x="149225" y="1090613"/>
            <a:ext cx="3492501" cy="2743200"/>
            <a:chOff x="-3175" y="811213"/>
            <a:chExt cx="3492501" cy="2743200"/>
          </a:xfrm>
          <a:solidFill>
            <a:schemeClr val="accent2"/>
          </a:solidFill>
        </p:grpSpPr>
        <p:sp>
          <p:nvSpPr>
            <p:cNvPr id="1042" name="Freeform 39">
              <a:extLst>
                <a:ext uri="{FF2B5EF4-FFF2-40B4-BE49-F238E27FC236}">
                  <a16:creationId xmlns:a16="http://schemas.microsoft.com/office/drawing/2014/main" id="{C2DE8D50-ABC9-4B93-A92B-8A4C31C8C45D}"/>
                </a:ext>
              </a:extLst>
            </p:cNvPr>
            <p:cNvSpPr>
              <a:spLocks noEditPoints="1"/>
            </p:cNvSpPr>
            <p:nvPr/>
          </p:nvSpPr>
          <p:spPr bwMode="auto">
            <a:xfrm>
              <a:off x="1141413" y="811213"/>
              <a:ext cx="2347913" cy="2190750"/>
            </a:xfrm>
            <a:custGeom>
              <a:avLst/>
              <a:gdLst/>
              <a:ahLst/>
              <a:cxnLst>
                <a:cxn ang="0">
                  <a:pos x="1067" y="99"/>
                </a:cxn>
                <a:cxn ang="0">
                  <a:pos x="1128" y="201"/>
                </a:cxn>
                <a:cxn ang="0">
                  <a:pos x="1093" y="269"/>
                </a:cxn>
                <a:cxn ang="0">
                  <a:pos x="1185" y="146"/>
                </a:cxn>
                <a:cxn ang="0">
                  <a:pos x="1170" y="90"/>
                </a:cxn>
                <a:cxn ang="0">
                  <a:pos x="1284" y="3"/>
                </a:cxn>
                <a:cxn ang="0">
                  <a:pos x="1425" y="121"/>
                </a:cxn>
                <a:cxn ang="0">
                  <a:pos x="1258" y="236"/>
                </a:cxn>
                <a:cxn ang="0">
                  <a:pos x="1123" y="349"/>
                </a:cxn>
                <a:cxn ang="0">
                  <a:pos x="1128" y="368"/>
                </a:cxn>
                <a:cxn ang="0">
                  <a:pos x="973" y="241"/>
                </a:cxn>
                <a:cxn ang="0">
                  <a:pos x="914" y="189"/>
                </a:cxn>
                <a:cxn ang="0">
                  <a:pos x="1079" y="422"/>
                </a:cxn>
                <a:cxn ang="0">
                  <a:pos x="984" y="293"/>
                </a:cxn>
                <a:cxn ang="0">
                  <a:pos x="939" y="283"/>
                </a:cxn>
                <a:cxn ang="0">
                  <a:pos x="628" y="231"/>
                </a:cxn>
                <a:cxn ang="0">
                  <a:pos x="919" y="340"/>
                </a:cxn>
                <a:cxn ang="0">
                  <a:pos x="888" y="320"/>
                </a:cxn>
                <a:cxn ang="0">
                  <a:pos x="650" y="255"/>
                </a:cxn>
                <a:cxn ang="0">
                  <a:pos x="765" y="292"/>
                </a:cxn>
                <a:cxn ang="0">
                  <a:pos x="539" y="299"/>
                </a:cxn>
                <a:cxn ang="0">
                  <a:pos x="784" y="424"/>
                </a:cxn>
                <a:cxn ang="0">
                  <a:pos x="855" y="445"/>
                </a:cxn>
                <a:cxn ang="0">
                  <a:pos x="867" y="492"/>
                </a:cxn>
                <a:cxn ang="0">
                  <a:pos x="1018" y="662"/>
                </a:cxn>
                <a:cxn ang="0">
                  <a:pos x="1071" y="686"/>
                </a:cxn>
                <a:cxn ang="0">
                  <a:pos x="758" y="533"/>
                </a:cxn>
                <a:cxn ang="0">
                  <a:pos x="683" y="440"/>
                </a:cxn>
                <a:cxn ang="0">
                  <a:pos x="553" y="478"/>
                </a:cxn>
                <a:cxn ang="0">
                  <a:pos x="685" y="584"/>
                </a:cxn>
                <a:cxn ang="0">
                  <a:pos x="767" y="582"/>
                </a:cxn>
                <a:cxn ang="0">
                  <a:pos x="1020" y="775"/>
                </a:cxn>
                <a:cxn ang="0">
                  <a:pos x="1039" y="608"/>
                </a:cxn>
                <a:cxn ang="0">
                  <a:pos x="992" y="467"/>
                </a:cxn>
                <a:cxn ang="0">
                  <a:pos x="1048" y="525"/>
                </a:cxn>
                <a:cxn ang="0">
                  <a:pos x="1156" y="573"/>
                </a:cxn>
                <a:cxn ang="0">
                  <a:pos x="1187" y="662"/>
                </a:cxn>
                <a:cxn ang="0">
                  <a:pos x="1220" y="746"/>
                </a:cxn>
                <a:cxn ang="0">
                  <a:pos x="1185" y="766"/>
                </a:cxn>
                <a:cxn ang="0">
                  <a:pos x="1156" y="876"/>
                </a:cxn>
                <a:cxn ang="0">
                  <a:pos x="928" y="796"/>
                </a:cxn>
                <a:cxn ang="0">
                  <a:pos x="1060" y="965"/>
                </a:cxn>
                <a:cxn ang="0">
                  <a:pos x="883" y="1031"/>
                </a:cxn>
                <a:cxn ang="0">
                  <a:pos x="1201" y="1199"/>
                </a:cxn>
                <a:cxn ang="0">
                  <a:pos x="1234" y="1290"/>
                </a:cxn>
                <a:cxn ang="0">
                  <a:pos x="1224" y="1219"/>
                </a:cxn>
                <a:cxn ang="0">
                  <a:pos x="1140" y="1309"/>
                </a:cxn>
                <a:cxn ang="0">
                  <a:pos x="94" y="1062"/>
                </a:cxn>
                <a:cxn ang="0">
                  <a:pos x="42" y="1027"/>
                </a:cxn>
                <a:cxn ang="0">
                  <a:pos x="136" y="1102"/>
                </a:cxn>
                <a:cxn ang="0">
                  <a:pos x="112" y="961"/>
                </a:cxn>
                <a:cxn ang="0">
                  <a:pos x="301" y="471"/>
                </a:cxn>
                <a:cxn ang="0">
                  <a:pos x="548" y="603"/>
                </a:cxn>
                <a:cxn ang="0">
                  <a:pos x="713" y="634"/>
                </a:cxn>
                <a:cxn ang="0">
                  <a:pos x="808" y="577"/>
                </a:cxn>
                <a:cxn ang="0">
                  <a:pos x="899" y="674"/>
                </a:cxn>
                <a:cxn ang="0">
                  <a:pos x="883" y="720"/>
                </a:cxn>
                <a:cxn ang="0">
                  <a:pos x="704" y="883"/>
                </a:cxn>
                <a:cxn ang="0">
                  <a:pos x="921" y="1052"/>
                </a:cxn>
                <a:cxn ang="0">
                  <a:pos x="1093" y="991"/>
                </a:cxn>
                <a:cxn ang="0">
                  <a:pos x="1187" y="1090"/>
                </a:cxn>
                <a:cxn ang="0">
                  <a:pos x="1074" y="1199"/>
                </a:cxn>
                <a:cxn ang="0">
                  <a:pos x="1065" y="1312"/>
                </a:cxn>
              </a:cxnLst>
              <a:rect l="0" t="0" r="r" b="b"/>
              <a:pathLst>
                <a:path w="1479" h="1380">
                  <a:moveTo>
                    <a:pt x="1071" y="241"/>
                  </a:moveTo>
                  <a:lnTo>
                    <a:pt x="1071" y="240"/>
                  </a:lnTo>
                  <a:lnTo>
                    <a:pt x="1074" y="236"/>
                  </a:lnTo>
                  <a:lnTo>
                    <a:pt x="1079" y="231"/>
                  </a:lnTo>
                  <a:lnTo>
                    <a:pt x="1083" y="222"/>
                  </a:lnTo>
                  <a:lnTo>
                    <a:pt x="1085" y="219"/>
                  </a:lnTo>
                  <a:lnTo>
                    <a:pt x="1085" y="224"/>
                  </a:lnTo>
                  <a:lnTo>
                    <a:pt x="1083" y="227"/>
                  </a:lnTo>
                  <a:lnTo>
                    <a:pt x="1083" y="231"/>
                  </a:lnTo>
                  <a:lnTo>
                    <a:pt x="1086" y="231"/>
                  </a:lnTo>
                  <a:lnTo>
                    <a:pt x="1090" y="227"/>
                  </a:lnTo>
                  <a:lnTo>
                    <a:pt x="1093" y="224"/>
                  </a:lnTo>
                  <a:lnTo>
                    <a:pt x="1091" y="222"/>
                  </a:lnTo>
                  <a:lnTo>
                    <a:pt x="1088" y="219"/>
                  </a:lnTo>
                  <a:lnTo>
                    <a:pt x="1088" y="219"/>
                  </a:lnTo>
                  <a:lnTo>
                    <a:pt x="1093" y="219"/>
                  </a:lnTo>
                  <a:lnTo>
                    <a:pt x="1093" y="214"/>
                  </a:lnTo>
                  <a:lnTo>
                    <a:pt x="1091" y="212"/>
                  </a:lnTo>
                  <a:lnTo>
                    <a:pt x="1091" y="208"/>
                  </a:lnTo>
                  <a:lnTo>
                    <a:pt x="1097" y="205"/>
                  </a:lnTo>
                  <a:lnTo>
                    <a:pt x="1097" y="200"/>
                  </a:lnTo>
                  <a:lnTo>
                    <a:pt x="1102" y="200"/>
                  </a:lnTo>
                  <a:lnTo>
                    <a:pt x="1102" y="196"/>
                  </a:lnTo>
                  <a:lnTo>
                    <a:pt x="1102" y="200"/>
                  </a:lnTo>
                  <a:lnTo>
                    <a:pt x="1102" y="200"/>
                  </a:lnTo>
                  <a:lnTo>
                    <a:pt x="1100" y="200"/>
                  </a:lnTo>
                  <a:lnTo>
                    <a:pt x="1097" y="208"/>
                  </a:lnTo>
                  <a:lnTo>
                    <a:pt x="1093" y="210"/>
                  </a:lnTo>
                  <a:lnTo>
                    <a:pt x="1093" y="215"/>
                  </a:lnTo>
                  <a:lnTo>
                    <a:pt x="1097" y="219"/>
                  </a:lnTo>
                  <a:lnTo>
                    <a:pt x="1097" y="222"/>
                  </a:lnTo>
                  <a:lnTo>
                    <a:pt x="1097" y="219"/>
                  </a:lnTo>
                  <a:lnTo>
                    <a:pt x="1102" y="215"/>
                  </a:lnTo>
                  <a:lnTo>
                    <a:pt x="1107" y="210"/>
                  </a:lnTo>
                  <a:lnTo>
                    <a:pt x="1109" y="205"/>
                  </a:lnTo>
                  <a:lnTo>
                    <a:pt x="1109" y="201"/>
                  </a:lnTo>
                  <a:lnTo>
                    <a:pt x="1112" y="196"/>
                  </a:lnTo>
                  <a:lnTo>
                    <a:pt x="1114" y="196"/>
                  </a:lnTo>
                  <a:lnTo>
                    <a:pt x="1114" y="200"/>
                  </a:lnTo>
                  <a:lnTo>
                    <a:pt x="1114" y="200"/>
                  </a:lnTo>
                  <a:lnTo>
                    <a:pt x="1114" y="203"/>
                  </a:lnTo>
                  <a:lnTo>
                    <a:pt x="1116" y="203"/>
                  </a:lnTo>
                  <a:lnTo>
                    <a:pt x="1119" y="200"/>
                  </a:lnTo>
                  <a:lnTo>
                    <a:pt x="1123" y="200"/>
                  </a:lnTo>
                  <a:lnTo>
                    <a:pt x="1128" y="200"/>
                  </a:lnTo>
                  <a:lnTo>
                    <a:pt x="1133" y="196"/>
                  </a:lnTo>
                  <a:lnTo>
                    <a:pt x="1137" y="196"/>
                  </a:lnTo>
                  <a:lnTo>
                    <a:pt x="1138" y="194"/>
                  </a:lnTo>
                  <a:lnTo>
                    <a:pt x="1142" y="194"/>
                  </a:lnTo>
                  <a:lnTo>
                    <a:pt x="1144" y="191"/>
                  </a:lnTo>
                  <a:lnTo>
                    <a:pt x="1144" y="187"/>
                  </a:lnTo>
                  <a:lnTo>
                    <a:pt x="1144" y="186"/>
                  </a:lnTo>
                  <a:lnTo>
                    <a:pt x="1142" y="182"/>
                  </a:lnTo>
                  <a:lnTo>
                    <a:pt x="1144" y="179"/>
                  </a:lnTo>
                  <a:lnTo>
                    <a:pt x="1144" y="172"/>
                  </a:lnTo>
                  <a:lnTo>
                    <a:pt x="1142" y="172"/>
                  </a:lnTo>
                  <a:lnTo>
                    <a:pt x="1140" y="177"/>
                  </a:lnTo>
                  <a:lnTo>
                    <a:pt x="1135" y="180"/>
                  </a:lnTo>
                  <a:lnTo>
                    <a:pt x="1133" y="180"/>
                  </a:lnTo>
                  <a:lnTo>
                    <a:pt x="1133" y="177"/>
                  </a:lnTo>
                  <a:lnTo>
                    <a:pt x="1137" y="174"/>
                  </a:lnTo>
                  <a:lnTo>
                    <a:pt x="1140" y="172"/>
                  </a:lnTo>
                  <a:lnTo>
                    <a:pt x="1140" y="168"/>
                  </a:lnTo>
                  <a:lnTo>
                    <a:pt x="1137" y="167"/>
                  </a:lnTo>
                  <a:lnTo>
                    <a:pt x="1135" y="165"/>
                  </a:lnTo>
                  <a:lnTo>
                    <a:pt x="1133" y="165"/>
                  </a:lnTo>
                  <a:lnTo>
                    <a:pt x="1131" y="165"/>
                  </a:lnTo>
                  <a:lnTo>
                    <a:pt x="1131" y="168"/>
                  </a:lnTo>
                  <a:lnTo>
                    <a:pt x="1128" y="167"/>
                  </a:lnTo>
                  <a:lnTo>
                    <a:pt x="1124" y="167"/>
                  </a:lnTo>
                  <a:lnTo>
                    <a:pt x="1124" y="168"/>
                  </a:lnTo>
                  <a:lnTo>
                    <a:pt x="1121" y="168"/>
                  </a:lnTo>
                  <a:lnTo>
                    <a:pt x="1123" y="167"/>
                  </a:lnTo>
                  <a:lnTo>
                    <a:pt x="1130" y="163"/>
                  </a:lnTo>
                  <a:lnTo>
                    <a:pt x="1133" y="160"/>
                  </a:lnTo>
                  <a:lnTo>
                    <a:pt x="1138" y="154"/>
                  </a:lnTo>
                  <a:lnTo>
                    <a:pt x="1140" y="154"/>
                  </a:lnTo>
                  <a:lnTo>
                    <a:pt x="1145" y="146"/>
                  </a:lnTo>
                  <a:lnTo>
                    <a:pt x="1147" y="140"/>
                  </a:lnTo>
                  <a:lnTo>
                    <a:pt x="1145" y="140"/>
                  </a:lnTo>
                  <a:lnTo>
                    <a:pt x="1142" y="140"/>
                  </a:lnTo>
                  <a:lnTo>
                    <a:pt x="1140" y="144"/>
                  </a:lnTo>
                  <a:lnTo>
                    <a:pt x="1138" y="140"/>
                  </a:lnTo>
                  <a:lnTo>
                    <a:pt x="1140" y="137"/>
                  </a:lnTo>
                  <a:lnTo>
                    <a:pt x="1142" y="137"/>
                  </a:lnTo>
                  <a:lnTo>
                    <a:pt x="1145" y="137"/>
                  </a:lnTo>
                  <a:lnTo>
                    <a:pt x="1147" y="137"/>
                  </a:lnTo>
                  <a:lnTo>
                    <a:pt x="1147" y="132"/>
                  </a:lnTo>
                  <a:lnTo>
                    <a:pt x="1151" y="128"/>
                  </a:lnTo>
                  <a:lnTo>
                    <a:pt x="1151" y="125"/>
                  </a:lnTo>
                  <a:lnTo>
                    <a:pt x="1147" y="123"/>
                  </a:lnTo>
                  <a:lnTo>
                    <a:pt x="1147" y="121"/>
                  </a:lnTo>
                  <a:lnTo>
                    <a:pt x="1145" y="121"/>
                  </a:lnTo>
                  <a:lnTo>
                    <a:pt x="1142" y="121"/>
                  </a:lnTo>
                  <a:lnTo>
                    <a:pt x="1138" y="128"/>
                  </a:lnTo>
                  <a:lnTo>
                    <a:pt x="1138" y="134"/>
                  </a:lnTo>
                  <a:lnTo>
                    <a:pt x="1140" y="135"/>
                  </a:lnTo>
                  <a:lnTo>
                    <a:pt x="1137" y="137"/>
                  </a:lnTo>
                  <a:lnTo>
                    <a:pt x="1135" y="137"/>
                  </a:lnTo>
                  <a:lnTo>
                    <a:pt x="1135" y="137"/>
                  </a:lnTo>
                  <a:lnTo>
                    <a:pt x="1135" y="137"/>
                  </a:lnTo>
                  <a:lnTo>
                    <a:pt x="1133" y="135"/>
                  </a:lnTo>
                  <a:lnTo>
                    <a:pt x="1133" y="132"/>
                  </a:lnTo>
                  <a:lnTo>
                    <a:pt x="1137" y="127"/>
                  </a:lnTo>
                  <a:lnTo>
                    <a:pt x="1135" y="123"/>
                  </a:lnTo>
                  <a:lnTo>
                    <a:pt x="1137" y="121"/>
                  </a:lnTo>
                  <a:lnTo>
                    <a:pt x="1138" y="121"/>
                  </a:lnTo>
                  <a:lnTo>
                    <a:pt x="1140" y="121"/>
                  </a:lnTo>
                  <a:lnTo>
                    <a:pt x="1138" y="118"/>
                  </a:lnTo>
                  <a:lnTo>
                    <a:pt x="1137" y="113"/>
                  </a:lnTo>
                  <a:lnTo>
                    <a:pt x="1133" y="113"/>
                  </a:lnTo>
                  <a:lnTo>
                    <a:pt x="1130" y="113"/>
                  </a:lnTo>
                  <a:lnTo>
                    <a:pt x="1128" y="118"/>
                  </a:lnTo>
                  <a:lnTo>
                    <a:pt x="1128" y="114"/>
                  </a:lnTo>
                  <a:lnTo>
                    <a:pt x="1128" y="113"/>
                  </a:lnTo>
                  <a:lnTo>
                    <a:pt x="1128" y="109"/>
                  </a:lnTo>
                  <a:lnTo>
                    <a:pt x="1124" y="106"/>
                  </a:lnTo>
                  <a:lnTo>
                    <a:pt x="1124" y="97"/>
                  </a:lnTo>
                  <a:lnTo>
                    <a:pt x="1124" y="92"/>
                  </a:lnTo>
                  <a:lnTo>
                    <a:pt x="1128" y="87"/>
                  </a:lnTo>
                  <a:lnTo>
                    <a:pt x="1128" y="81"/>
                  </a:lnTo>
                  <a:lnTo>
                    <a:pt x="1128" y="80"/>
                  </a:lnTo>
                  <a:lnTo>
                    <a:pt x="1130" y="73"/>
                  </a:lnTo>
                  <a:lnTo>
                    <a:pt x="1130" y="67"/>
                  </a:lnTo>
                  <a:lnTo>
                    <a:pt x="1128" y="64"/>
                  </a:lnTo>
                  <a:lnTo>
                    <a:pt x="1128" y="62"/>
                  </a:lnTo>
                  <a:lnTo>
                    <a:pt x="1123" y="59"/>
                  </a:lnTo>
                  <a:lnTo>
                    <a:pt x="1121" y="55"/>
                  </a:lnTo>
                  <a:lnTo>
                    <a:pt x="1116" y="54"/>
                  </a:lnTo>
                  <a:lnTo>
                    <a:pt x="1114" y="54"/>
                  </a:lnTo>
                  <a:lnTo>
                    <a:pt x="1114" y="57"/>
                  </a:lnTo>
                  <a:lnTo>
                    <a:pt x="1114" y="57"/>
                  </a:lnTo>
                  <a:lnTo>
                    <a:pt x="1109" y="54"/>
                  </a:lnTo>
                  <a:lnTo>
                    <a:pt x="1105" y="54"/>
                  </a:lnTo>
                  <a:lnTo>
                    <a:pt x="1105" y="57"/>
                  </a:lnTo>
                  <a:lnTo>
                    <a:pt x="1102" y="62"/>
                  </a:lnTo>
                  <a:lnTo>
                    <a:pt x="1105" y="62"/>
                  </a:lnTo>
                  <a:lnTo>
                    <a:pt x="1109" y="62"/>
                  </a:lnTo>
                  <a:lnTo>
                    <a:pt x="1111" y="62"/>
                  </a:lnTo>
                  <a:lnTo>
                    <a:pt x="1116" y="64"/>
                  </a:lnTo>
                  <a:lnTo>
                    <a:pt x="1118" y="66"/>
                  </a:lnTo>
                  <a:lnTo>
                    <a:pt x="1119" y="67"/>
                  </a:lnTo>
                  <a:lnTo>
                    <a:pt x="1119" y="69"/>
                  </a:lnTo>
                  <a:lnTo>
                    <a:pt x="1114" y="74"/>
                  </a:lnTo>
                  <a:lnTo>
                    <a:pt x="1112" y="74"/>
                  </a:lnTo>
                  <a:lnTo>
                    <a:pt x="1109" y="73"/>
                  </a:lnTo>
                  <a:lnTo>
                    <a:pt x="1105" y="73"/>
                  </a:lnTo>
                  <a:lnTo>
                    <a:pt x="1102" y="71"/>
                  </a:lnTo>
                  <a:lnTo>
                    <a:pt x="1105" y="74"/>
                  </a:lnTo>
                  <a:lnTo>
                    <a:pt x="1105" y="74"/>
                  </a:lnTo>
                  <a:lnTo>
                    <a:pt x="1102" y="78"/>
                  </a:lnTo>
                  <a:lnTo>
                    <a:pt x="1102" y="80"/>
                  </a:lnTo>
                  <a:lnTo>
                    <a:pt x="1097" y="74"/>
                  </a:lnTo>
                  <a:lnTo>
                    <a:pt x="1091" y="76"/>
                  </a:lnTo>
                  <a:lnTo>
                    <a:pt x="1090" y="81"/>
                  </a:lnTo>
                  <a:lnTo>
                    <a:pt x="1086" y="81"/>
                  </a:lnTo>
                  <a:lnTo>
                    <a:pt x="1088" y="87"/>
                  </a:lnTo>
                  <a:lnTo>
                    <a:pt x="1090" y="87"/>
                  </a:lnTo>
                  <a:lnTo>
                    <a:pt x="1091" y="90"/>
                  </a:lnTo>
                  <a:lnTo>
                    <a:pt x="1093" y="92"/>
                  </a:lnTo>
                  <a:lnTo>
                    <a:pt x="1093" y="94"/>
                  </a:lnTo>
                  <a:lnTo>
                    <a:pt x="1093" y="94"/>
                  </a:lnTo>
                  <a:lnTo>
                    <a:pt x="1091" y="95"/>
                  </a:lnTo>
                  <a:lnTo>
                    <a:pt x="1093" y="99"/>
                  </a:lnTo>
                  <a:lnTo>
                    <a:pt x="1093" y="100"/>
                  </a:lnTo>
                  <a:lnTo>
                    <a:pt x="1091" y="100"/>
                  </a:lnTo>
                  <a:lnTo>
                    <a:pt x="1088" y="99"/>
                  </a:lnTo>
                  <a:lnTo>
                    <a:pt x="1085" y="97"/>
                  </a:lnTo>
                  <a:lnTo>
                    <a:pt x="1083" y="95"/>
                  </a:lnTo>
                  <a:lnTo>
                    <a:pt x="1079" y="95"/>
                  </a:lnTo>
                  <a:lnTo>
                    <a:pt x="1078" y="97"/>
                  </a:lnTo>
                  <a:lnTo>
                    <a:pt x="1078" y="99"/>
                  </a:lnTo>
                  <a:lnTo>
                    <a:pt x="1078" y="102"/>
                  </a:lnTo>
                  <a:lnTo>
                    <a:pt x="1078" y="106"/>
                  </a:lnTo>
                  <a:lnTo>
                    <a:pt x="1074" y="104"/>
                  </a:lnTo>
                  <a:lnTo>
                    <a:pt x="1074" y="102"/>
                  </a:lnTo>
                  <a:lnTo>
                    <a:pt x="1071" y="100"/>
                  </a:lnTo>
                  <a:lnTo>
                    <a:pt x="1069" y="99"/>
                  </a:lnTo>
                  <a:lnTo>
                    <a:pt x="1067" y="99"/>
                  </a:lnTo>
                  <a:lnTo>
                    <a:pt x="1065" y="97"/>
                  </a:lnTo>
                  <a:lnTo>
                    <a:pt x="1064" y="95"/>
                  </a:lnTo>
                  <a:lnTo>
                    <a:pt x="1062" y="99"/>
                  </a:lnTo>
                  <a:lnTo>
                    <a:pt x="1064" y="102"/>
                  </a:lnTo>
                  <a:lnTo>
                    <a:pt x="1064" y="106"/>
                  </a:lnTo>
                  <a:lnTo>
                    <a:pt x="1065" y="109"/>
                  </a:lnTo>
                  <a:lnTo>
                    <a:pt x="1067" y="113"/>
                  </a:lnTo>
                  <a:lnTo>
                    <a:pt x="1071" y="113"/>
                  </a:lnTo>
                  <a:lnTo>
                    <a:pt x="1074" y="114"/>
                  </a:lnTo>
                  <a:lnTo>
                    <a:pt x="1071" y="114"/>
                  </a:lnTo>
                  <a:lnTo>
                    <a:pt x="1069" y="114"/>
                  </a:lnTo>
                  <a:lnTo>
                    <a:pt x="1071" y="118"/>
                  </a:lnTo>
                  <a:lnTo>
                    <a:pt x="1074" y="121"/>
                  </a:lnTo>
                  <a:lnTo>
                    <a:pt x="1078" y="123"/>
                  </a:lnTo>
                  <a:lnTo>
                    <a:pt x="1083" y="121"/>
                  </a:lnTo>
                  <a:lnTo>
                    <a:pt x="1083" y="121"/>
                  </a:lnTo>
                  <a:lnTo>
                    <a:pt x="1085" y="121"/>
                  </a:lnTo>
                  <a:lnTo>
                    <a:pt x="1085" y="123"/>
                  </a:lnTo>
                  <a:lnTo>
                    <a:pt x="1083" y="125"/>
                  </a:lnTo>
                  <a:lnTo>
                    <a:pt x="1079" y="130"/>
                  </a:lnTo>
                  <a:lnTo>
                    <a:pt x="1078" y="130"/>
                  </a:lnTo>
                  <a:lnTo>
                    <a:pt x="1074" y="127"/>
                  </a:lnTo>
                  <a:lnTo>
                    <a:pt x="1065" y="125"/>
                  </a:lnTo>
                  <a:lnTo>
                    <a:pt x="1062" y="121"/>
                  </a:lnTo>
                  <a:lnTo>
                    <a:pt x="1058" y="118"/>
                  </a:lnTo>
                  <a:lnTo>
                    <a:pt x="1058" y="118"/>
                  </a:lnTo>
                  <a:lnTo>
                    <a:pt x="1057" y="118"/>
                  </a:lnTo>
                  <a:lnTo>
                    <a:pt x="1055" y="121"/>
                  </a:lnTo>
                  <a:lnTo>
                    <a:pt x="1055" y="123"/>
                  </a:lnTo>
                  <a:lnTo>
                    <a:pt x="1055" y="125"/>
                  </a:lnTo>
                  <a:lnTo>
                    <a:pt x="1055" y="130"/>
                  </a:lnTo>
                  <a:lnTo>
                    <a:pt x="1055" y="132"/>
                  </a:lnTo>
                  <a:lnTo>
                    <a:pt x="1052" y="130"/>
                  </a:lnTo>
                  <a:lnTo>
                    <a:pt x="1052" y="135"/>
                  </a:lnTo>
                  <a:lnTo>
                    <a:pt x="1048" y="137"/>
                  </a:lnTo>
                  <a:lnTo>
                    <a:pt x="1048" y="144"/>
                  </a:lnTo>
                  <a:lnTo>
                    <a:pt x="1052" y="144"/>
                  </a:lnTo>
                  <a:lnTo>
                    <a:pt x="1057" y="144"/>
                  </a:lnTo>
                  <a:lnTo>
                    <a:pt x="1060" y="146"/>
                  </a:lnTo>
                  <a:lnTo>
                    <a:pt x="1064" y="146"/>
                  </a:lnTo>
                  <a:lnTo>
                    <a:pt x="1064" y="149"/>
                  </a:lnTo>
                  <a:lnTo>
                    <a:pt x="1060" y="149"/>
                  </a:lnTo>
                  <a:lnTo>
                    <a:pt x="1057" y="149"/>
                  </a:lnTo>
                  <a:lnTo>
                    <a:pt x="1052" y="149"/>
                  </a:lnTo>
                  <a:lnTo>
                    <a:pt x="1052" y="146"/>
                  </a:lnTo>
                  <a:lnTo>
                    <a:pt x="1048" y="149"/>
                  </a:lnTo>
                  <a:lnTo>
                    <a:pt x="1043" y="153"/>
                  </a:lnTo>
                  <a:lnTo>
                    <a:pt x="1043" y="156"/>
                  </a:lnTo>
                  <a:lnTo>
                    <a:pt x="1043" y="158"/>
                  </a:lnTo>
                  <a:lnTo>
                    <a:pt x="1043" y="160"/>
                  </a:lnTo>
                  <a:lnTo>
                    <a:pt x="1041" y="160"/>
                  </a:lnTo>
                  <a:lnTo>
                    <a:pt x="1041" y="163"/>
                  </a:lnTo>
                  <a:lnTo>
                    <a:pt x="1043" y="167"/>
                  </a:lnTo>
                  <a:lnTo>
                    <a:pt x="1046" y="165"/>
                  </a:lnTo>
                  <a:lnTo>
                    <a:pt x="1048" y="165"/>
                  </a:lnTo>
                  <a:lnTo>
                    <a:pt x="1052" y="160"/>
                  </a:lnTo>
                  <a:lnTo>
                    <a:pt x="1055" y="163"/>
                  </a:lnTo>
                  <a:lnTo>
                    <a:pt x="1055" y="167"/>
                  </a:lnTo>
                  <a:lnTo>
                    <a:pt x="1052" y="167"/>
                  </a:lnTo>
                  <a:lnTo>
                    <a:pt x="1048" y="168"/>
                  </a:lnTo>
                  <a:lnTo>
                    <a:pt x="1048" y="172"/>
                  </a:lnTo>
                  <a:lnTo>
                    <a:pt x="1052" y="172"/>
                  </a:lnTo>
                  <a:lnTo>
                    <a:pt x="1055" y="168"/>
                  </a:lnTo>
                  <a:lnTo>
                    <a:pt x="1057" y="168"/>
                  </a:lnTo>
                  <a:lnTo>
                    <a:pt x="1060" y="167"/>
                  </a:lnTo>
                  <a:lnTo>
                    <a:pt x="1060" y="168"/>
                  </a:lnTo>
                  <a:lnTo>
                    <a:pt x="1058" y="168"/>
                  </a:lnTo>
                  <a:lnTo>
                    <a:pt x="1060" y="172"/>
                  </a:lnTo>
                  <a:lnTo>
                    <a:pt x="1065" y="172"/>
                  </a:lnTo>
                  <a:lnTo>
                    <a:pt x="1067" y="172"/>
                  </a:lnTo>
                  <a:lnTo>
                    <a:pt x="1064" y="172"/>
                  </a:lnTo>
                  <a:lnTo>
                    <a:pt x="1064" y="177"/>
                  </a:lnTo>
                  <a:lnTo>
                    <a:pt x="1067" y="177"/>
                  </a:lnTo>
                  <a:lnTo>
                    <a:pt x="1071" y="177"/>
                  </a:lnTo>
                  <a:lnTo>
                    <a:pt x="1074" y="177"/>
                  </a:lnTo>
                  <a:lnTo>
                    <a:pt x="1083" y="180"/>
                  </a:lnTo>
                  <a:lnTo>
                    <a:pt x="1083" y="180"/>
                  </a:lnTo>
                  <a:lnTo>
                    <a:pt x="1074" y="180"/>
                  </a:lnTo>
                  <a:lnTo>
                    <a:pt x="1071" y="182"/>
                  </a:lnTo>
                  <a:lnTo>
                    <a:pt x="1069" y="179"/>
                  </a:lnTo>
                  <a:lnTo>
                    <a:pt x="1064" y="180"/>
                  </a:lnTo>
                  <a:lnTo>
                    <a:pt x="1064" y="182"/>
                  </a:lnTo>
                  <a:lnTo>
                    <a:pt x="1069" y="184"/>
                  </a:lnTo>
                  <a:lnTo>
                    <a:pt x="1074" y="186"/>
                  </a:lnTo>
                  <a:lnTo>
                    <a:pt x="1083" y="186"/>
                  </a:lnTo>
                  <a:lnTo>
                    <a:pt x="1083" y="187"/>
                  </a:lnTo>
                  <a:lnTo>
                    <a:pt x="1078" y="187"/>
                  </a:lnTo>
                  <a:lnTo>
                    <a:pt x="1074" y="187"/>
                  </a:lnTo>
                  <a:lnTo>
                    <a:pt x="1067" y="186"/>
                  </a:lnTo>
                  <a:lnTo>
                    <a:pt x="1064" y="186"/>
                  </a:lnTo>
                  <a:lnTo>
                    <a:pt x="1060" y="184"/>
                  </a:lnTo>
                  <a:lnTo>
                    <a:pt x="1057" y="182"/>
                  </a:lnTo>
                  <a:lnTo>
                    <a:pt x="1052" y="177"/>
                  </a:lnTo>
                  <a:lnTo>
                    <a:pt x="1052" y="179"/>
                  </a:lnTo>
                  <a:lnTo>
                    <a:pt x="1048" y="182"/>
                  </a:lnTo>
                  <a:lnTo>
                    <a:pt x="1043" y="182"/>
                  </a:lnTo>
                  <a:lnTo>
                    <a:pt x="1041" y="184"/>
                  </a:lnTo>
                  <a:lnTo>
                    <a:pt x="1041" y="191"/>
                  </a:lnTo>
                  <a:lnTo>
                    <a:pt x="1043" y="194"/>
                  </a:lnTo>
                  <a:lnTo>
                    <a:pt x="1043" y="196"/>
                  </a:lnTo>
                  <a:lnTo>
                    <a:pt x="1043" y="200"/>
                  </a:lnTo>
                  <a:lnTo>
                    <a:pt x="1041" y="194"/>
                  </a:lnTo>
                  <a:lnTo>
                    <a:pt x="1039" y="194"/>
                  </a:lnTo>
                  <a:lnTo>
                    <a:pt x="1036" y="200"/>
                  </a:lnTo>
                  <a:lnTo>
                    <a:pt x="1038" y="205"/>
                  </a:lnTo>
                  <a:lnTo>
                    <a:pt x="1039" y="205"/>
                  </a:lnTo>
                  <a:lnTo>
                    <a:pt x="1041" y="205"/>
                  </a:lnTo>
                  <a:lnTo>
                    <a:pt x="1043" y="205"/>
                  </a:lnTo>
                  <a:lnTo>
                    <a:pt x="1043" y="208"/>
                  </a:lnTo>
                  <a:lnTo>
                    <a:pt x="1048" y="210"/>
                  </a:lnTo>
                  <a:lnTo>
                    <a:pt x="1043" y="210"/>
                  </a:lnTo>
                  <a:lnTo>
                    <a:pt x="1043" y="212"/>
                  </a:lnTo>
                  <a:lnTo>
                    <a:pt x="1039" y="208"/>
                  </a:lnTo>
                  <a:lnTo>
                    <a:pt x="1036" y="208"/>
                  </a:lnTo>
                  <a:lnTo>
                    <a:pt x="1034" y="215"/>
                  </a:lnTo>
                  <a:lnTo>
                    <a:pt x="1036" y="217"/>
                  </a:lnTo>
                  <a:lnTo>
                    <a:pt x="1039" y="215"/>
                  </a:lnTo>
                  <a:lnTo>
                    <a:pt x="1038" y="219"/>
                  </a:lnTo>
                  <a:lnTo>
                    <a:pt x="1038" y="227"/>
                  </a:lnTo>
                  <a:lnTo>
                    <a:pt x="1039" y="224"/>
                  </a:lnTo>
                  <a:lnTo>
                    <a:pt x="1043" y="224"/>
                  </a:lnTo>
                  <a:lnTo>
                    <a:pt x="1043" y="231"/>
                  </a:lnTo>
                  <a:lnTo>
                    <a:pt x="1048" y="231"/>
                  </a:lnTo>
                  <a:lnTo>
                    <a:pt x="1055" y="236"/>
                  </a:lnTo>
                  <a:lnTo>
                    <a:pt x="1057" y="234"/>
                  </a:lnTo>
                  <a:lnTo>
                    <a:pt x="1057" y="231"/>
                  </a:lnTo>
                  <a:lnTo>
                    <a:pt x="1057" y="227"/>
                  </a:lnTo>
                  <a:lnTo>
                    <a:pt x="1062" y="231"/>
                  </a:lnTo>
                  <a:lnTo>
                    <a:pt x="1062" y="231"/>
                  </a:lnTo>
                  <a:lnTo>
                    <a:pt x="1062" y="234"/>
                  </a:lnTo>
                  <a:lnTo>
                    <a:pt x="1062" y="238"/>
                  </a:lnTo>
                  <a:lnTo>
                    <a:pt x="1064" y="238"/>
                  </a:lnTo>
                  <a:lnTo>
                    <a:pt x="1067" y="231"/>
                  </a:lnTo>
                  <a:lnTo>
                    <a:pt x="1067" y="224"/>
                  </a:lnTo>
                  <a:lnTo>
                    <a:pt x="1069" y="219"/>
                  </a:lnTo>
                  <a:lnTo>
                    <a:pt x="1071" y="214"/>
                  </a:lnTo>
                  <a:lnTo>
                    <a:pt x="1074" y="210"/>
                  </a:lnTo>
                  <a:lnTo>
                    <a:pt x="1074" y="215"/>
                  </a:lnTo>
                  <a:lnTo>
                    <a:pt x="1069" y="222"/>
                  </a:lnTo>
                  <a:lnTo>
                    <a:pt x="1069" y="227"/>
                  </a:lnTo>
                  <a:lnTo>
                    <a:pt x="1071" y="227"/>
                  </a:lnTo>
                  <a:lnTo>
                    <a:pt x="1069" y="234"/>
                  </a:lnTo>
                  <a:lnTo>
                    <a:pt x="1071" y="238"/>
                  </a:lnTo>
                  <a:lnTo>
                    <a:pt x="1069" y="241"/>
                  </a:lnTo>
                  <a:lnTo>
                    <a:pt x="1071" y="241"/>
                  </a:lnTo>
                  <a:lnTo>
                    <a:pt x="1071" y="241"/>
                  </a:lnTo>
                  <a:lnTo>
                    <a:pt x="1071" y="241"/>
                  </a:lnTo>
                  <a:lnTo>
                    <a:pt x="1071" y="241"/>
                  </a:lnTo>
                  <a:close/>
                  <a:moveTo>
                    <a:pt x="1078" y="90"/>
                  </a:moveTo>
                  <a:lnTo>
                    <a:pt x="1079" y="90"/>
                  </a:lnTo>
                  <a:lnTo>
                    <a:pt x="1083" y="90"/>
                  </a:lnTo>
                  <a:lnTo>
                    <a:pt x="1083" y="90"/>
                  </a:lnTo>
                  <a:lnTo>
                    <a:pt x="1086" y="90"/>
                  </a:lnTo>
                  <a:lnTo>
                    <a:pt x="1086" y="94"/>
                  </a:lnTo>
                  <a:lnTo>
                    <a:pt x="1085" y="94"/>
                  </a:lnTo>
                  <a:lnTo>
                    <a:pt x="1083" y="92"/>
                  </a:lnTo>
                  <a:lnTo>
                    <a:pt x="1079" y="92"/>
                  </a:lnTo>
                  <a:lnTo>
                    <a:pt x="1078" y="90"/>
                  </a:lnTo>
                  <a:lnTo>
                    <a:pt x="1078" y="90"/>
                  </a:lnTo>
                  <a:lnTo>
                    <a:pt x="1078" y="90"/>
                  </a:lnTo>
                  <a:lnTo>
                    <a:pt x="1078" y="90"/>
                  </a:lnTo>
                  <a:close/>
                  <a:moveTo>
                    <a:pt x="1083" y="240"/>
                  </a:moveTo>
                  <a:lnTo>
                    <a:pt x="1083" y="238"/>
                  </a:lnTo>
                  <a:lnTo>
                    <a:pt x="1083" y="234"/>
                  </a:lnTo>
                  <a:lnTo>
                    <a:pt x="1083" y="233"/>
                  </a:lnTo>
                  <a:lnTo>
                    <a:pt x="1086" y="231"/>
                  </a:lnTo>
                  <a:lnTo>
                    <a:pt x="1086" y="233"/>
                  </a:lnTo>
                  <a:lnTo>
                    <a:pt x="1086" y="234"/>
                  </a:lnTo>
                  <a:lnTo>
                    <a:pt x="1085" y="236"/>
                  </a:lnTo>
                  <a:lnTo>
                    <a:pt x="1083" y="240"/>
                  </a:lnTo>
                  <a:lnTo>
                    <a:pt x="1083" y="240"/>
                  </a:lnTo>
                  <a:lnTo>
                    <a:pt x="1083" y="240"/>
                  </a:lnTo>
                  <a:lnTo>
                    <a:pt x="1083" y="240"/>
                  </a:lnTo>
                  <a:lnTo>
                    <a:pt x="1083" y="240"/>
                  </a:lnTo>
                  <a:close/>
                  <a:moveTo>
                    <a:pt x="1116" y="208"/>
                  </a:moveTo>
                  <a:lnTo>
                    <a:pt x="1121" y="201"/>
                  </a:lnTo>
                  <a:lnTo>
                    <a:pt x="1123" y="201"/>
                  </a:lnTo>
                  <a:lnTo>
                    <a:pt x="1124" y="200"/>
                  </a:lnTo>
                  <a:lnTo>
                    <a:pt x="1128" y="201"/>
                  </a:lnTo>
                  <a:lnTo>
                    <a:pt x="1131" y="205"/>
                  </a:lnTo>
                  <a:lnTo>
                    <a:pt x="1130" y="208"/>
                  </a:lnTo>
                  <a:lnTo>
                    <a:pt x="1128" y="208"/>
                  </a:lnTo>
                  <a:lnTo>
                    <a:pt x="1124" y="210"/>
                  </a:lnTo>
                  <a:lnTo>
                    <a:pt x="1119" y="210"/>
                  </a:lnTo>
                  <a:lnTo>
                    <a:pt x="1118" y="210"/>
                  </a:lnTo>
                  <a:lnTo>
                    <a:pt x="1116" y="208"/>
                  </a:lnTo>
                  <a:lnTo>
                    <a:pt x="1116" y="208"/>
                  </a:lnTo>
                  <a:lnTo>
                    <a:pt x="1116" y="208"/>
                  </a:lnTo>
                  <a:lnTo>
                    <a:pt x="1116" y="208"/>
                  </a:lnTo>
                  <a:close/>
                  <a:moveTo>
                    <a:pt x="1373" y="5"/>
                  </a:moveTo>
                  <a:lnTo>
                    <a:pt x="1375" y="3"/>
                  </a:lnTo>
                  <a:lnTo>
                    <a:pt x="1376" y="3"/>
                  </a:lnTo>
                  <a:lnTo>
                    <a:pt x="1378" y="5"/>
                  </a:lnTo>
                  <a:lnTo>
                    <a:pt x="1375" y="8"/>
                  </a:lnTo>
                  <a:lnTo>
                    <a:pt x="1373" y="5"/>
                  </a:lnTo>
                  <a:lnTo>
                    <a:pt x="1373" y="5"/>
                  </a:lnTo>
                  <a:lnTo>
                    <a:pt x="1373" y="5"/>
                  </a:lnTo>
                  <a:lnTo>
                    <a:pt x="1373" y="5"/>
                  </a:lnTo>
                  <a:close/>
                  <a:moveTo>
                    <a:pt x="1250" y="248"/>
                  </a:moveTo>
                  <a:lnTo>
                    <a:pt x="1248" y="250"/>
                  </a:lnTo>
                  <a:lnTo>
                    <a:pt x="1250" y="250"/>
                  </a:lnTo>
                  <a:lnTo>
                    <a:pt x="1251" y="250"/>
                  </a:lnTo>
                  <a:lnTo>
                    <a:pt x="1251" y="250"/>
                  </a:lnTo>
                  <a:lnTo>
                    <a:pt x="1251" y="248"/>
                  </a:lnTo>
                  <a:lnTo>
                    <a:pt x="1251" y="248"/>
                  </a:lnTo>
                  <a:lnTo>
                    <a:pt x="1250" y="248"/>
                  </a:lnTo>
                  <a:lnTo>
                    <a:pt x="1250" y="248"/>
                  </a:lnTo>
                  <a:lnTo>
                    <a:pt x="1250" y="248"/>
                  </a:lnTo>
                  <a:lnTo>
                    <a:pt x="1250" y="248"/>
                  </a:lnTo>
                  <a:close/>
                  <a:moveTo>
                    <a:pt x="1187" y="287"/>
                  </a:moveTo>
                  <a:lnTo>
                    <a:pt x="1189" y="287"/>
                  </a:lnTo>
                  <a:lnTo>
                    <a:pt x="1192" y="287"/>
                  </a:lnTo>
                  <a:lnTo>
                    <a:pt x="1191" y="287"/>
                  </a:lnTo>
                  <a:lnTo>
                    <a:pt x="1187" y="287"/>
                  </a:lnTo>
                  <a:lnTo>
                    <a:pt x="1187" y="287"/>
                  </a:lnTo>
                  <a:lnTo>
                    <a:pt x="1187" y="287"/>
                  </a:lnTo>
                  <a:lnTo>
                    <a:pt x="1187" y="287"/>
                  </a:lnTo>
                  <a:close/>
                  <a:moveTo>
                    <a:pt x="1102" y="283"/>
                  </a:moveTo>
                  <a:lnTo>
                    <a:pt x="1100" y="281"/>
                  </a:lnTo>
                  <a:lnTo>
                    <a:pt x="1100" y="278"/>
                  </a:lnTo>
                  <a:lnTo>
                    <a:pt x="1102" y="278"/>
                  </a:lnTo>
                  <a:lnTo>
                    <a:pt x="1105" y="278"/>
                  </a:lnTo>
                  <a:lnTo>
                    <a:pt x="1105" y="281"/>
                  </a:lnTo>
                  <a:lnTo>
                    <a:pt x="1102" y="283"/>
                  </a:lnTo>
                  <a:lnTo>
                    <a:pt x="1102" y="283"/>
                  </a:lnTo>
                  <a:lnTo>
                    <a:pt x="1102" y="283"/>
                  </a:lnTo>
                  <a:lnTo>
                    <a:pt x="1102" y="283"/>
                  </a:lnTo>
                  <a:lnTo>
                    <a:pt x="1102" y="283"/>
                  </a:lnTo>
                  <a:close/>
                  <a:moveTo>
                    <a:pt x="1078" y="337"/>
                  </a:moveTo>
                  <a:lnTo>
                    <a:pt x="1078" y="335"/>
                  </a:lnTo>
                  <a:lnTo>
                    <a:pt x="1078" y="332"/>
                  </a:lnTo>
                  <a:lnTo>
                    <a:pt x="1074" y="327"/>
                  </a:lnTo>
                  <a:lnTo>
                    <a:pt x="1074" y="327"/>
                  </a:lnTo>
                  <a:lnTo>
                    <a:pt x="1074" y="327"/>
                  </a:lnTo>
                  <a:lnTo>
                    <a:pt x="1071" y="332"/>
                  </a:lnTo>
                  <a:lnTo>
                    <a:pt x="1074" y="337"/>
                  </a:lnTo>
                  <a:lnTo>
                    <a:pt x="1074" y="340"/>
                  </a:lnTo>
                  <a:lnTo>
                    <a:pt x="1074" y="342"/>
                  </a:lnTo>
                  <a:lnTo>
                    <a:pt x="1074" y="342"/>
                  </a:lnTo>
                  <a:lnTo>
                    <a:pt x="1071" y="340"/>
                  </a:lnTo>
                  <a:lnTo>
                    <a:pt x="1064" y="340"/>
                  </a:lnTo>
                  <a:lnTo>
                    <a:pt x="1064" y="340"/>
                  </a:lnTo>
                  <a:lnTo>
                    <a:pt x="1062" y="337"/>
                  </a:lnTo>
                  <a:lnTo>
                    <a:pt x="1057" y="335"/>
                  </a:lnTo>
                  <a:lnTo>
                    <a:pt x="1055" y="337"/>
                  </a:lnTo>
                  <a:lnTo>
                    <a:pt x="1055" y="335"/>
                  </a:lnTo>
                  <a:lnTo>
                    <a:pt x="1055" y="333"/>
                  </a:lnTo>
                  <a:lnTo>
                    <a:pt x="1052" y="333"/>
                  </a:lnTo>
                  <a:lnTo>
                    <a:pt x="1052" y="332"/>
                  </a:lnTo>
                  <a:lnTo>
                    <a:pt x="1052" y="328"/>
                  </a:lnTo>
                  <a:lnTo>
                    <a:pt x="1055" y="328"/>
                  </a:lnTo>
                  <a:lnTo>
                    <a:pt x="1055" y="327"/>
                  </a:lnTo>
                  <a:lnTo>
                    <a:pt x="1055" y="323"/>
                  </a:lnTo>
                  <a:lnTo>
                    <a:pt x="1055" y="318"/>
                  </a:lnTo>
                  <a:lnTo>
                    <a:pt x="1052" y="318"/>
                  </a:lnTo>
                  <a:lnTo>
                    <a:pt x="1052" y="320"/>
                  </a:lnTo>
                  <a:lnTo>
                    <a:pt x="1055" y="321"/>
                  </a:lnTo>
                  <a:lnTo>
                    <a:pt x="1055" y="325"/>
                  </a:lnTo>
                  <a:lnTo>
                    <a:pt x="1052" y="327"/>
                  </a:lnTo>
                  <a:lnTo>
                    <a:pt x="1052" y="327"/>
                  </a:lnTo>
                  <a:lnTo>
                    <a:pt x="1048" y="327"/>
                  </a:lnTo>
                  <a:lnTo>
                    <a:pt x="1048" y="328"/>
                  </a:lnTo>
                  <a:lnTo>
                    <a:pt x="1052" y="328"/>
                  </a:lnTo>
                  <a:lnTo>
                    <a:pt x="1048" y="333"/>
                  </a:lnTo>
                  <a:lnTo>
                    <a:pt x="1046" y="332"/>
                  </a:lnTo>
                  <a:lnTo>
                    <a:pt x="1043" y="328"/>
                  </a:lnTo>
                  <a:lnTo>
                    <a:pt x="1043" y="327"/>
                  </a:lnTo>
                  <a:lnTo>
                    <a:pt x="1043" y="325"/>
                  </a:lnTo>
                  <a:lnTo>
                    <a:pt x="1046" y="320"/>
                  </a:lnTo>
                  <a:lnTo>
                    <a:pt x="1043" y="318"/>
                  </a:lnTo>
                  <a:lnTo>
                    <a:pt x="1046" y="318"/>
                  </a:lnTo>
                  <a:lnTo>
                    <a:pt x="1043" y="318"/>
                  </a:lnTo>
                  <a:lnTo>
                    <a:pt x="1043" y="321"/>
                  </a:lnTo>
                  <a:lnTo>
                    <a:pt x="1041" y="323"/>
                  </a:lnTo>
                  <a:lnTo>
                    <a:pt x="1041" y="325"/>
                  </a:lnTo>
                  <a:lnTo>
                    <a:pt x="1041" y="328"/>
                  </a:lnTo>
                  <a:lnTo>
                    <a:pt x="1038" y="328"/>
                  </a:lnTo>
                  <a:lnTo>
                    <a:pt x="1036" y="327"/>
                  </a:lnTo>
                  <a:lnTo>
                    <a:pt x="1034" y="327"/>
                  </a:lnTo>
                  <a:lnTo>
                    <a:pt x="1032" y="325"/>
                  </a:lnTo>
                  <a:lnTo>
                    <a:pt x="1034" y="321"/>
                  </a:lnTo>
                  <a:lnTo>
                    <a:pt x="1034" y="318"/>
                  </a:lnTo>
                  <a:lnTo>
                    <a:pt x="1036" y="318"/>
                  </a:lnTo>
                  <a:lnTo>
                    <a:pt x="1036" y="313"/>
                  </a:lnTo>
                  <a:lnTo>
                    <a:pt x="1039" y="306"/>
                  </a:lnTo>
                  <a:lnTo>
                    <a:pt x="1038" y="309"/>
                  </a:lnTo>
                  <a:lnTo>
                    <a:pt x="1034" y="309"/>
                  </a:lnTo>
                  <a:lnTo>
                    <a:pt x="1032" y="314"/>
                  </a:lnTo>
                  <a:lnTo>
                    <a:pt x="1032" y="320"/>
                  </a:lnTo>
                  <a:lnTo>
                    <a:pt x="1032" y="323"/>
                  </a:lnTo>
                  <a:lnTo>
                    <a:pt x="1029" y="321"/>
                  </a:lnTo>
                  <a:lnTo>
                    <a:pt x="1032" y="318"/>
                  </a:lnTo>
                  <a:lnTo>
                    <a:pt x="1032" y="318"/>
                  </a:lnTo>
                  <a:lnTo>
                    <a:pt x="1032" y="318"/>
                  </a:lnTo>
                  <a:lnTo>
                    <a:pt x="1029" y="321"/>
                  </a:lnTo>
                  <a:lnTo>
                    <a:pt x="1024" y="321"/>
                  </a:lnTo>
                  <a:lnTo>
                    <a:pt x="1024" y="320"/>
                  </a:lnTo>
                  <a:lnTo>
                    <a:pt x="1024" y="314"/>
                  </a:lnTo>
                  <a:lnTo>
                    <a:pt x="1024" y="313"/>
                  </a:lnTo>
                  <a:lnTo>
                    <a:pt x="1024" y="311"/>
                  </a:lnTo>
                  <a:lnTo>
                    <a:pt x="1029" y="309"/>
                  </a:lnTo>
                  <a:lnTo>
                    <a:pt x="1029" y="306"/>
                  </a:lnTo>
                  <a:lnTo>
                    <a:pt x="1029" y="306"/>
                  </a:lnTo>
                  <a:lnTo>
                    <a:pt x="1029" y="302"/>
                  </a:lnTo>
                  <a:lnTo>
                    <a:pt x="1032" y="300"/>
                  </a:lnTo>
                  <a:lnTo>
                    <a:pt x="1034" y="299"/>
                  </a:lnTo>
                  <a:lnTo>
                    <a:pt x="1036" y="299"/>
                  </a:lnTo>
                  <a:lnTo>
                    <a:pt x="1041" y="297"/>
                  </a:lnTo>
                  <a:lnTo>
                    <a:pt x="1043" y="295"/>
                  </a:lnTo>
                  <a:lnTo>
                    <a:pt x="1043" y="293"/>
                  </a:lnTo>
                  <a:lnTo>
                    <a:pt x="1048" y="293"/>
                  </a:lnTo>
                  <a:lnTo>
                    <a:pt x="1048" y="292"/>
                  </a:lnTo>
                  <a:lnTo>
                    <a:pt x="1048" y="290"/>
                  </a:lnTo>
                  <a:lnTo>
                    <a:pt x="1052" y="290"/>
                  </a:lnTo>
                  <a:lnTo>
                    <a:pt x="1055" y="292"/>
                  </a:lnTo>
                  <a:lnTo>
                    <a:pt x="1062" y="292"/>
                  </a:lnTo>
                  <a:lnTo>
                    <a:pt x="1064" y="290"/>
                  </a:lnTo>
                  <a:lnTo>
                    <a:pt x="1067" y="292"/>
                  </a:lnTo>
                  <a:lnTo>
                    <a:pt x="1067" y="295"/>
                  </a:lnTo>
                  <a:lnTo>
                    <a:pt x="1071" y="295"/>
                  </a:lnTo>
                  <a:lnTo>
                    <a:pt x="1071" y="292"/>
                  </a:lnTo>
                  <a:lnTo>
                    <a:pt x="1071" y="292"/>
                  </a:lnTo>
                  <a:lnTo>
                    <a:pt x="1074" y="295"/>
                  </a:lnTo>
                  <a:lnTo>
                    <a:pt x="1078" y="293"/>
                  </a:lnTo>
                  <a:lnTo>
                    <a:pt x="1079" y="295"/>
                  </a:lnTo>
                  <a:lnTo>
                    <a:pt x="1083" y="293"/>
                  </a:lnTo>
                  <a:lnTo>
                    <a:pt x="1079" y="292"/>
                  </a:lnTo>
                  <a:lnTo>
                    <a:pt x="1078" y="292"/>
                  </a:lnTo>
                  <a:lnTo>
                    <a:pt x="1074" y="290"/>
                  </a:lnTo>
                  <a:lnTo>
                    <a:pt x="1074" y="290"/>
                  </a:lnTo>
                  <a:lnTo>
                    <a:pt x="1074" y="288"/>
                  </a:lnTo>
                  <a:lnTo>
                    <a:pt x="1078" y="287"/>
                  </a:lnTo>
                  <a:lnTo>
                    <a:pt x="1078" y="287"/>
                  </a:lnTo>
                  <a:lnTo>
                    <a:pt x="1074" y="283"/>
                  </a:lnTo>
                  <a:lnTo>
                    <a:pt x="1074" y="283"/>
                  </a:lnTo>
                  <a:lnTo>
                    <a:pt x="1078" y="283"/>
                  </a:lnTo>
                  <a:lnTo>
                    <a:pt x="1078" y="281"/>
                  </a:lnTo>
                  <a:lnTo>
                    <a:pt x="1074" y="281"/>
                  </a:lnTo>
                  <a:lnTo>
                    <a:pt x="1074" y="281"/>
                  </a:lnTo>
                  <a:lnTo>
                    <a:pt x="1071" y="281"/>
                  </a:lnTo>
                  <a:lnTo>
                    <a:pt x="1071" y="281"/>
                  </a:lnTo>
                  <a:lnTo>
                    <a:pt x="1071" y="278"/>
                  </a:lnTo>
                  <a:lnTo>
                    <a:pt x="1074" y="276"/>
                  </a:lnTo>
                  <a:lnTo>
                    <a:pt x="1074" y="274"/>
                  </a:lnTo>
                  <a:lnTo>
                    <a:pt x="1071" y="274"/>
                  </a:lnTo>
                  <a:lnTo>
                    <a:pt x="1071" y="271"/>
                  </a:lnTo>
                  <a:lnTo>
                    <a:pt x="1071" y="266"/>
                  </a:lnTo>
                  <a:lnTo>
                    <a:pt x="1071" y="264"/>
                  </a:lnTo>
                  <a:lnTo>
                    <a:pt x="1071" y="260"/>
                  </a:lnTo>
                  <a:lnTo>
                    <a:pt x="1071" y="259"/>
                  </a:lnTo>
                  <a:lnTo>
                    <a:pt x="1074" y="259"/>
                  </a:lnTo>
                  <a:lnTo>
                    <a:pt x="1078" y="259"/>
                  </a:lnTo>
                  <a:lnTo>
                    <a:pt x="1079" y="259"/>
                  </a:lnTo>
                  <a:lnTo>
                    <a:pt x="1083" y="255"/>
                  </a:lnTo>
                  <a:lnTo>
                    <a:pt x="1086" y="259"/>
                  </a:lnTo>
                  <a:lnTo>
                    <a:pt x="1090" y="259"/>
                  </a:lnTo>
                  <a:lnTo>
                    <a:pt x="1093" y="262"/>
                  </a:lnTo>
                  <a:lnTo>
                    <a:pt x="1093" y="269"/>
                  </a:lnTo>
                  <a:lnTo>
                    <a:pt x="1093" y="278"/>
                  </a:lnTo>
                  <a:lnTo>
                    <a:pt x="1093" y="283"/>
                  </a:lnTo>
                  <a:lnTo>
                    <a:pt x="1093" y="283"/>
                  </a:lnTo>
                  <a:lnTo>
                    <a:pt x="1097" y="283"/>
                  </a:lnTo>
                  <a:lnTo>
                    <a:pt x="1102" y="287"/>
                  </a:lnTo>
                  <a:lnTo>
                    <a:pt x="1105" y="290"/>
                  </a:lnTo>
                  <a:lnTo>
                    <a:pt x="1107" y="292"/>
                  </a:lnTo>
                  <a:lnTo>
                    <a:pt x="1107" y="288"/>
                  </a:lnTo>
                  <a:lnTo>
                    <a:pt x="1114" y="288"/>
                  </a:lnTo>
                  <a:lnTo>
                    <a:pt x="1119" y="293"/>
                  </a:lnTo>
                  <a:lnTo>
                    <a:pt x="1121" y="292"/>
                  </a:lnTo>
                  <a:lnTo>
                    <a:pt x="1118" y="290"/>
                  </a:lnTo>
                  <a:lnTo>
                    <a:pt x="1121" y="287"/>
                  </a:lnTo>
                  <a:lnTo>
                    <a:pt x="1124" y="287"/>
                  </a:lnTo>
                  <a:lnTo>
                    <a:pt x="1128" y="281"/>
                  </a:lnTo>
                  <a:lnTo>
                    <a:pt x="1135" y="276"/>
                  </a:lnTo>
                  <a:lnTo>
                    <a:pt x="1142" y="271"/>
                  </a:lnTo>
                  <a:lnTo>
                    <a:pt x="1142" y="267"/>
                  </a:lnTo>
                  <a:lnTo>
                    <a:pt x="1144" y="266"/>
                  </a:lnTo>
                  <a:lnTo>
                    <a:pt x="1142" y="266"/>
                  </a:lnTo>
                  <a:lnTo>
                    <a:pt x="1138" y="267"/>
                  </a:lnTo>
                  <a:lnTo>
                    <a:pt x="1138" y="269"/>
                  </a:lnTo>
                  <a:lnTo>
                    <a:pt x="1133" y="276"/>
                  </a:lnTo>
                  <a:lnTo>
                    <a:pt x="1128" y="278"/>
                  </a:lnTo>
                  <a:lnTo>
                    <a:pt x="1128" y="278"/>
                  </a:lnTo>
                  <a:lnTo>
                    <a:pt x="1124" y="283"/>
                  </a:lnTo>
                  <a:lnTo>
                    <a:pt x="1119" y="287"/>
                  </a:lnTo>
                  <a:lnTo>
                    <a:pt x="1118" y="283"/>
                  </a:lnTo>
                  <a:lnTo>
                    <a:pt x="1116" y="283"/>
                  </a:lnTo>
                  <a:lnTo>
                    <a:pt x="1114" y="287"/>
                  </a:lnTo>
                  <a:lnTo>
                    <a:pt x="1111" y="287"/>
                  </a:lnTo>
                  <a:lnTo>
                    <a:pt x="1105" y="281"/>
                  </a:lnTo>
                  <a:lnTo>
                    <a:pt x="1105" y="281"/>
                  </a:lnTo>
                  <a:lnTo>
                    <a:pt x="1109" y="278"/>
                  </a:lnTo>
                  <a:lnTo>
                    <a:pt x="1112" y="276"/>
                  </a:lnTo>
                  <a:lnTo>
                    <a:pt x="1112" y="273"/>
                  </a:lnTo>
                  <a:lnTo>
                    <a:pt x="1109" y="276"/>
                  </a:lnTo>
                  <a:lnTo>
                    <a:pt x="1107" y="278"/>
                  </a:lnTo>
                  <a:lnTo>
                    <a:pt x="1105" y="278"/>
                  </a:lnTo>
                  <a:lnTo>
                    <a:pt x="1102" y="274"/>
                  </a:lnTo>
                  <a:lnTo>
                    <a:pt x="1102" y="273"/>
                  </a:lnTo>
                  <a:lnTo>
                    <a:pt x="1105" y="273"/>
                  </a:lnTo>
                  <a:lnTo>
                    <a:pt x="1107" y="271"/>
                  </a:lnTo>
                  <a:lnTo>
                    <a:pt x="1107" y="269"/>
                  </a:lnTo>
                  <a:lnTo>
                    <a:pt x="1105" y="269"/>
                  </a:lnTo>
                  <a:lnTo>
                    <a:pt x="1105" y="267"/>
                  </a:lnTo>
                  <a:lnTo>
                    <a:pt x="1107" y="266"/>
                  </a:lnTo>
                  <a:lnTo>
                    <a:pt x="1109" y="267"/>
                  </a:lnTo>
                  <a:lnTo>
                    <a:pt x="1112" y="267"/>
                  </a:lnTo>
                  <a:lnTo>
                    <a:pt x="1112" y="266"/>
                  </a:lnTo>
                  <a:lnTo>
                    <a:pt x="1109" y="266"/>
                  </a:lnTo>
                  <a:lnTo>
                    <a:pt x="1107" y="264"/>
                  </a:lnTo>
                  <a:lnTo>
                    <a:pt x="1105" y="266"/>
                  </a:lnTo>
                  <a:lnTo>
                    <a:pt x="1102" y="266"/>
                  </a:lnTo>
                  <a:lnTo>
                    <a:pt x="1102" y="262"/>
                  </a:lnTo>
                  <a:lnTo>
                    <a:pt x="1102" y="260"/>
                  </a:lnTo>
                  <a:lnTo>
                    <a:pt x="1105" y="260"/>
                  </a:lnTo>
                  <a:lnTo>
                    <a:pt x="1107" y="259"/>
                  </a:lnTo>
                  <a:lnTo>
                    <a:pt x="1112" y="259"/>
                  </a:lnTo>
                  <a:lnTo>
                    <a:pt x="1116" y="260"/>
                  </a:lnTo>
                  <a:lnTo>
                    <a:pt x="1118" y="259"/>
                  </a:lnTo>
                  <a:lnTo>
                    <a:pt x="1114" y="259"/>
                  </a:lnTo>
                  <a:lnTo>
                    <a:pt x="1112" y="259"/>
                  </a:lnTo>
                  <a:lnTo>
                    <a:pt x="1116" y="255"/>
                  </a:lnTo>
                  <a:lnTo>
                    <a:pt x="1119" y="255"/>
                  </a:lnTo>
                  <a:lnTo>
                    <a:pt x="1119" y="254"/>
                  </a:lnTo>
                  <a:lnTo>
                    <a:pt x="1118" y="254"/>
                  </a:lnTo>
                  <a:lnTo>
                    <a:pt x="1118" y="250"/>
                  </a:lnTo>
                  <a:lnTo>
                    <a:pt x="1119" y="248"/>
                  </a:lnTo>
                  <a:lnTo>
                    <a:pt x="1123" y="247"/>
                  </a:lnTo>
                  <a:lnTo>
                    <a:pt x="1121" y="245"/>
                  </a:lnTo>
                  <a:lnTo>
                    <a:pt x="1124" y="238"/>
                  </a:lnTo>
                  <a:lnTo>
                    <a:pt x="1128" y="236"/>
                  </a:lnTo>
                  <a:lnTo>
                    <a:pt x="1128" y="233"/>
                  </a:lnTo>
                  <a:lnTo>
                    <a:pt x="1124" y="234"/>
                  </a:lnTo>
                  <a:lnTo>
                    <a:pt x="1121" y="240"/>
                  </a:lnTo>
                  <a:lnTo>
                    <a:pt x="1118" y="248"/>
                  </a:lnTo>
                  <a:lnTo>
                    <a:pt x="1112" y="250"/>
                  </a:lnTo>
                  <a:lnTo>
                    <a:pt x="1107" y="255"/>
                  </a:lnTo>
                  <a:lnTo>
                    <a:pt x="1105" y="255"/>
                  </a:lnTo>
                  <a:lnTo>
                    <a:pt x="1102" y="255"/>
                  </a:lnTo>
                  <a:lnTo>
                    <a:pt x="1102" y="254"/>
                  </a:lnTo>
                  <a:lnTo>
                    <a:pt x="1102" y="250"/>
                  </a:lnTo>
                  <a:lnTo>
                    <a:pt x="1105" y="248"/>
                  </a:lnTo>
                  <a:lnTo>
                    <a:pt x="1105" y="245"/>
                  </a:lnTo>
                  <a:lnTo>
                    <a:pt x="1102" y="248"/>
                  </a:lnTo>
                  <a:lnTo>
                    <a:pt x="1097" y="248"/>
                  </a:lnTo>
                  <a:lnTo>
                    <a:pt x="1097" y="250"/>
                  </a:lnTo>
                  <a:lnTo>
                    <a:pt x="1093" y="250"/>
                  </a:lnTo>
                  <a:lnTo>
                    <a:pt x="1090" y="250"/>
                  </a:lnTo>
                  <a:lnTo>
                    <a:pt x="1085" y="248"/>
                  </a:lnTo>
                  <a:lnTo>
                    <a:pt x="1088" y="247"/>
                  </a:lnTo>
                  <a:lnTo>
                    <a:pt x="1091" y="245"/>
                  </a:lnTo>
                  <a:lnTo>
                    <a:pt x="1090" y="243"/>
                  </a:lnTo>
                  <a:lnTo>
                    <a:pt x="1088" y="243"/>
                  </a:lnTo>
                  <a:lnTo>
                    <a:pt x="1088" y="240"/>
                  </a:lnTo>
                  <a:lnTo>
                    <a:pt x="1093" y="236"/>
                  </a:lnTo>
                  <a:lnTo>
                    <a:pt x="1093" y="233"/>
                  </a:lnTo>
                  <a:lnTo>
                    <a:pt x="1097" y="231"/>
                  </a:lnTo>
                  <a:lnTo>
                    <a:pt x="1100" y="231"/>
                  </a:lnTo>
                  <a:lnTo>
                    <a:pt x="1102" y="231"/>
                  </a:lnTo>
                  <a:lnTo>
                    <a:pt x="1102" y="224"/>
                  </a:lnTo>
                  <a:lnTo>
                    <a:pt x="1105" y="222"/>
                  </a:lnTo>
                  <a:lnTo>
                    <a:pt x="1111" y="215"/>
                  </a:lnTo>
                  <a:lnTo>
                    <a:pt x="1112" y="217"/>
                  </a:lnTo>
                  <a:lnTo>
                    <a:pt x="1119" y="215"/>
                  </a:lnTo>
                  <a:lnTo>
                    <a:pt x="1124" y="217"/>
                  </a:lnTo>
                  <a:lnTo>
                    <a:pt x="1128" y="215"/>
                  </a:lnTo>
                  <a:lnTo>
                    <a:pt x="1130" y="215"/>
                  </a:lnTo>
                  <a:lnTo>
                    <a:pt x="1133" y="212"/>
                  </a:lnTo>
                  <a:lnTo>
                    <a:pt x="1135" y="212"/>
                  </a:lnTo>
                  <a:lnTo>
                    <a:pt x="1137" y="214"/>
                  </a:lnTo>
                  <a:lnTo>
                    <a:pt x="1140" y="217"/>
                  </a:lnTo>
                  <a:lnTo>
                    <a:pt x="1144" y="219"/>
                  </a:lnTo>
                  <a:lnTo>
                    <a:pt x="1151" y="224"/>
                  </a:lnTo>
                  <a:lnTo>
                    <a:pt x="1151" y="224"/>
                  </a:lnTo>
                  <a:lnTo>
                    <a:pt x="1152" y="227"/>
                  </a:lnTo>
                  <a:lnTo>
                    <a:pt x="1156" y="227"/>
                  </a:lnTo>
                  <a:lnTo>
                    <a:pt x="1159" y="234"/>
                  </a:lnTo>
                  <a:lnTo>
                    <a:pt x="1159" y="231"/>
                  </a:lnTo>
                  <a:lnTo>
                    <a:pt x="1163" y="231"/>
                  </a:lnTo>
                  <a:lnTo>
                    <a:pt x="1163" y="227"/>
                  </a:lnTo>
                  <a:lnTo>
                    <a:pt x="1158" y="227"/>
                  </a:lnTo>
                  <a:lnTo>
                    <a:pt x="1156" y="227"/>
                  </a:lnTo>
                  <a:lnTo>
                    <a:pt x="1156" y="224"/>
                  </a:lnTo>
                  <a:lnTo>
                    <a:pt x="1159" y="224"/>
                  </a:lnTo>
                  <a:lnTo>
                    <a:pt x="1166" y="224"/>
                  </a:lnTo>
                  <a:lnTo>
                    <a:pt x="1170" y="224"/>
                  </a:lnTo>
                  <a:lnTo>
                    <a:pt x="1170" y="224"/>
                  </a:lnTo>
                  <a:lnTo>
                    <a:pt x="1170" y="219"/>
                  </a:lnTo>
                  <a:lnTo>
                    <a:pt x="1173" y="215"/>
                  </a:lnTo>
                  <a:lnTo>
                    <a:pt x="1173" y="214"/>
                  </a:lnTo>
                  <a:lnTo>
                    <a:pt x="1170" y="215"/>
                  </a:lnTo>
                  <a:lnTo>
                    <a:pt x="1170" y="217"/>
                  </a:lnTo>
                  <a:lnTo>
                    <a:pt x="1168" y="219"/>
                  </a:lnTo>
                  <a:lnTo>
                    <a:pt x="1164" y="222"/>
                  </a:lnTo>
                  <a:lnTo>
                    <a:pt x="1158" y="219"/>
                  </a:lnTo>
                  <a:lnTo>
                    <a:pt x="1152" y="219"/>
                  </a:lnTo>
                  <a:lnTo>
                    <a:pt x="1151" y="217"/>
                  </a:lnTo>
                  <a:lnTo>
                    <a:pt x="1147" y="215"/>
                  </a:lnTo>
                  <a:lnTo>
                    <a:pt x="1144" y="215"/>
                  </a:lnTo>
                  <a:lnTo>
                    <a:pt x="1140" y="208"/>
                  </a:lnTo>
                  <a:lnTo>
                    <a:pt x="1140" y="201"/>
                  </a:lnTo>
                  <a:lnTo>
                    <a:pt x="1142" y="200"/>
                  </a:lnTo>
                  <a:lnTo>
                    <a:pt x="1145" y="201"/>
                  </a:lnTo>
                  <a:lnTo>
                    <a:pt x="1145" y="205"/>
                  </a:lnTo>
                  <a:lnTo>
                    <a:pt x="1147" y="208"/>
                  </a:lnTo>
                  <a:lnTo>
                    <a:pt x="1151" y="203"/>
                  </a:lnTo>
                  <a:lnTo>
                    <a:pt x="1151" y="200"/>
                  </a:lnTo>
                  <a:lnTo>
                    <a:pt x="1147" y="200"/>
                  </a:lnTo>
                  <a:lnTo>
                    <a:pt x="1147" y="200"/>
                  </a:lnTo>
                  <a:lnTo>
                    <a:pt x="1147" y="196"/>
                  </a:lnTo>
                  <a:lnTo>
                    <a:pt x="1151" y="191"/>
                  </a:lnTo>
                  <a:lnTo>
                    <a:pt x="1151" y="186"/>
                  </a:lnTo>
                  <a:lnTo>
                    <a:pt x="1151" y="180"/>
                  </a:lnTo>
                  <a:lnTo>
                    <a:pt x="1151" y="172"/>
                  </a:lnTo>
                  <a:lnTo>
                    <a:pt x="1147" y="167"/>
                  </a:lnTo>
                  <a:lnTo>
                    <a:pt x="1147" y="165"/>
                  </a:lnTo>
                  <a:lnTo>
                    <a:pt x="1145" y="160"/>
                  </a:lnTo>
                  <a:lnTo>
                    <a:pt x="1147" y="160"/>
                  </a:lnTo>
                  <a:lnTo>
                    <a:pt x="1147" y="158"/>
                  </a:lnTo>
                  <a:lnTo>
                    <a:pt x="1151" y="158"/>
                  </a:lnTo>
                  <a:lnTo>
                    <a:pt x="1151" y="160"/>
                  </a:lnTo>
                  <a:lnTo>
                    <a:pt x="1156" y="160"/>
                  </a:lnTo>
                  <a:lnTo>
                    <a:pt x="1156" y="165"/>
                  </a:lnTo>
                  <a:lnTo>
                    <a:pt x="1158" y="163"/>
                  </a:lnTo>
                  <a:lnTo>
                    <a:pt x="1158" y="160"/>
                  </a:lnTo>
                  <a:lnTo>
                    <a:pt x="1156" y="156"/>
                  </a:lnTo>
                  <a:lnTo>
                    <a:pt x="1152" y="156"/>
                  </a:lnTo>
                  <a:lnTo>
                    <a:pt x="1151" y="153"/>
                  </a:lnTo>
                  <a:lnTo>
                    <a:pt x="1151" y="151"/>
                  </a:lnTo>
                  <a:lnTo>
                    <a:pt x="1151" y="146"/>
                  </a:lnTo>
                  <a:lnTo>
                    <a:pt x="1161" y="135"/>
                  </a:lnTo>
                  <a:lnTo>
                    <a:pt x="1166" y="134"/>
                  </a:lnTo>
                  <a:lnTo>
                    <a:pt x="1170" y="135"/>
                  </a:lnTo>
                  <a:lnTo>
                    <a:pt x="1170" y="137"/>
                  </a:lnTo>
                  <a:lnTo>
                    <a:pt x="1175" y="140"/>
                  </a:lnTo>
                  <a:lnTo>
                    <a:pt x="1178" y="140"/>
                  </a:lnTo>
                  <a:lnTo>
                    <a:pt x="1185" y="146"/>
                  </a:lnTo>
                  <a:lnTo>
                    <a:pt x="1185" y="149"/>
                  </a:lnTo>
                  <a:lnTo>
                    <a:pt x="1189" y="154"/>
                  </a:lnTo>
                  <a:lnTo>
                    <a:pt x="1191" y="163"/>
                  </a:lnTo>
                  <a:lnTo>
                    <a:pt x="1191" y="168"/>
                  </a:lnTo>
                  <a:lnTo>
                    <a:pt x="1192" y="174"/>
                  </a:lnTo>
                  <a:lnTo>
                    <a:pt x="1194" y="177"/>
                  </a:lnTo>
                  <a:lnTo>
                    <a:pt x="1196" y="177"/>
                  </a:lnTo>
                  <a:lnTo>
                    <a:pt x="1197" y="177"/>
                  </a:lnTo>
                  <a:lnTo>
                    <a:pt x="1201" y="179"/>
                  </a:lnTo>
                  <a:lnTo>
                    <a:pt x="1201" y="182"/>
                  </a:lnTo>
                  <a:lnTo>
                    <a:pt x="1201" y="180"/>
                  </a:lnTo>
                  <a:lnTo>
                    <a:pt x="1204" y="179"/>
                  </a:lnTo>
                  <a:lnTo>
                    <a:pt x="1206" y="179"/>
                  </a:lnTo>
                  <a:lnTo>
                    <a:pt x="1204" y="177"/>
                  </a:lnTo>
                  <a:lnTo>
                    <a:pt x="1201" y="177"/>
                  </a:lnTo>
                  <a:lnTo>
                    <a:pt x="1197" y="174"/>
                  </a:lnTo>
                  <a:lnTo>
                    <a:pt x="1196" y="172"/>
                  </a:lnTo>
                  <a:lnTo>
                    <a:pt x="1196" y="168"/>
                  </a:lnTo>
                  <a:lnTo>
                    <a:pt x="1197" y="167"/>
                  </a:lnTo>
                  <a:lnTo>
                    <a:pt x="1197" y="165"/>
                  </a:lnTo>
                  <a:lnTo>
                    <a:pt x="1197" y="151"/>
                  </a:lnTo>
                  <a:lnTo>
                    <a:pt x="1197" y="149"/>
                  </a:lnTo>
                  <a:lnTo>
                    <a:pt x="1197" y="144"/>
                  </a:lnTo>
                  <a:lnTo>
                    <a:pt x="1204" y="144"/>
                  </a:lnTo>
                  <a:lnTo>
                    <a:pt x="1206" y="146"/>
                  </a:lnTo>
                  <a:lnTo>
                    <a:pt x="1211" y="149"/>
                  </a:lnTo>
                  <a:lnTo>
                    <a:pt x="1217" y="149"/>
                  </a:lnTo>
                  <a:lnTo>
                    <a:pt x="1220" y="149"/>
                  </a:lnTo>
                  <a:lnTo>
                    <a:pt x="1229" y="149"/>
                  </a:lnTo>
                  <a:lnTo>
                    <a:pt x="1232" y="146"/>
                  </a:lnTo>
                  <a:lnTo>
                    <a:pt x="1236" y="149"/>
                  </a:lnTo>
                  <a:lnTo>
                    <a:pt x="1239" y="149"/>
                  </a:lnTo>
                  <a:lnTo>
                    <a:pt x="1246" y="151"/>
                  </a:lnTo>
                  <a:lnTo>
                    <a:pt x="1250" y="153"/>
                  </a:lnTo>
                  <a:lnTo>
                    <a:pt x="1251" y="151"/>
                  </a:lnTo>
                  <a:lnTo>
                    <a:pt x="1251" y="149"/>
                  </a:lnTo>
                  <a:lnTo>
                    <a:pt x="1250" y="149"/>
                  </a:lnTo>
                  <a:lnTo>
                    <a:pt x="1246" y="149"/>
                  </a:lnTo>
                  <a:lnTo>
                    <a:pt x="1239" y="146"/>
                  </a:lnTo>
                  <a:lnTo>
                    <a:pt x="1239" y="144"/>
                  </a:lnTo>
                  <a:lnTo>
                    <a:pt x="1239" y="144"/>
                  </a:lnTo>
                  <a:lnTo>
                    <a:pt x="1241" y="144"/>
                  </a:lnTo>
                  <a:lnTo>
                    <a:pt x="1246" y="140"/>
                  </a:lnTo>
                  <a:lnTo>
                    <a:pt x="1258" y="140"/>
                  </a:lnTo>
                  <a:lnTo>
                    <a:pt x="1265" y="140"/>
                  </a:lnTo>
                  <a:lnTo>
                    <a:pt x="1272" y="140"/>
                  </a:lnTo>
                  <a:lnTo>
                    <a:pt x="1277" y="144"/>
                  </a:lnTo>
                  <a:lnTo>
                    <a:pt x="1279" y="144"/>
                  </a:lnTo>
                  <a:lnTo>
                    <a:pt x="1283" y="144"/>
                  </a:lnTo>
                  <a:lnTo>
                    <a:pt x="1283" y="140"/>
                  </a:lnTo>
                  <a:lnTo>
                    <a:pt x="1279" y="140"/>
                  </a:lnTo>
                  <a:lnTo>
                    <a:pt x="1277" y="140"/>
                  </a:lnTo>
                  <a:lnTo>
                    <a:pt x="1277" y="137"/>
                  </a:lnTo>
                  <a:lnTo>
                    <a:pt x="1274" y="137"/>
                  </a:lnTo>
                  <a:lnTo>
                    <a:pt x="1269" y="137"/>
                  </a:lnTo>
                  <a:lnTo>
                    <a:pt x="1267" y="135"/>
                  </a:lnTo>
                  <a:lnTo>
                    <a:pt x="1257" y="135"/>
                  </a:lnTo>
                  <a:lnTo>
                    <a:pt x="1257" y="134"/>
                  </a:lnTo>
                  <a:lnTo>
                    <a:pt x="1258" y="132"/>
                  </a:lnTo>
                  <a:lnTo>
                    <a:pt x="1262" y="128"/>
                  </a:lnTo>
                  <a:lnTo>
                    <a:pt x="1265" y="127"/>
                  </a:lnTo>
                  <a:lnTo>
                    <a:pt x="1269" y="123"/>
                  </a:lnTo>
                  <a:lnTo>
                    <a:pt x="1270" y="121"/>
                  </a:lnTo>
                  <a:lnTo>
                    <a:pt x="1279" y="113"/>
                  </a:lnTo>
                  <a:lnTo>
                    <a:pt x="1284" y="113"/>
                  </a:lnTo>
                  <a:lnTo>
                    <a:pt x="1293" y="109"/>
                  </a:lnTo>
                  <a:lnTo>
                    <a:pt x="1293" y="107"/>
                  </a:lnTo>
                  <a:lnTo>
                    <a:pt x="1283" y="113"/>
                  </a:lnTo>
                  <a:lnTo>
                    <a:pt x="1277" y="113"/>
                  </a:lnTo>
                  <a:lnTo>
                    <a:pt x="1267" y="118"/>
                  </a:lnTo>
                  <a:lnTo>
                    <a:pt x="1267" y="123"/>
                  </a:lnTo>
                  <a:lnTo>
                    <a:pt x="1265" y="123"/>
                  </a:lnTo>
                  <a:lnTo>
                    <a:pt x="1265" y="118"/>
                  </a:lnTo>
                  <a:lnTo>
                    <a:pt x="1263" y="118"/>
                  </a:lnTo>
                  <a:lnTo>
                    <a:pt x="1260" y="121"/>
                  </a:lnTo>
                  <a:lnTo>
                    <a:pt x="1257" y="123"/>
                  </a:lnTo>
                  <a:lnTo>
                    <a:pt x="1255" y="128"/>
                  </a:lnTo>
                  <a:lnTo>
                    <a:pt x="1255" y="128"/>
                  </a:lnTo>
                  <a:lnTo>
                    <a:pt x="1255" y="130"/>
                  </a:lnTo>
                  <a:lnTo>
                    <a:pt x="1251" y="135"/>
                  </a:lnTo>
                  <a:lnTo>
                    <a:pt x="1246" y="135"/>
                  </a:lnTo>
                  <a:lnTo>
                    <a:pt x="1234" y="140"/>
                  </a:lnTo>
                  <a:lnTo>
                    <a:pt x="1232" y="140"/>
                  </a:lnTo>
                  <a:lnTo>
                    <a:pt x="1229" y="140"/>
                  </a:lnTo>
                  <a:lnTo>
                    <a:pt x="1218" y="140"/>
                  </a:lnTo>
                  <a:lnTo>
                    <a:pt x="1213" y="137"/>
                  </a:lnTo>
                  <a:lnTo>
                    <a:pt x="1210" y="137"/>
                  </a:lnTo>
                  <a:lnTo>
                    <a:pt x="1204" y="137"/>
                  </a:lnTo>
                  <a:lnTo>
                    <a:pt x="1204" y="134"/>
                  </a:lnTo>
                  <a:lnTo>
                    <a:pt x="1210" y="128"/>
                  </a:lnTo>
                  <a:lnTo>
                    <a:pt x="1213" y="128"/>
                  </a:lnTo>
                  <a:lnTo>
                    <a:pt x="1217" y="128"/>
                  </a:lnTo>
                  <a:lnTo>
                    <a:pt x="1224" y="127"/>
                  </a:lnTo>
                  <a:lnTo>
                    <a:pt x="1227" y="123"/>
                  </a:lnTo>
                  <a:lnTo>
                    <a:pt x="1224" y="123"/>
                  </a:lnTo>
                  <a:lnTo>
                    <a:pt x="1220" y="125"/>
                  </a:lnTo>
                  <a:lnTo>
                    <a:pt x="1215" y="125"/>
                  </a:lnTo>
                  <a:lnTo>
                    <a:pt x="1211" y="127"/>
                  </a:lnTo>
                  <a:lnTo>
                    <a:pt x="1210" y="125"/>
                  </a:lnTo>
                  <a:lnTo>
                    <a:pt x="1210" y="123"/>
                  </a:lnTo>
                  <a:lnTo>
                    <a:pt x="1211" y="121"/>
                  </a:lnTo>
                  <a:lnTo>
                    <a:pt x="1210" y="121"/>
                  </a:lnTo>
                  <a:lnTo>
                    <a:pt x="1204" y="121"/>
                  </a:lnTo>
                  <a:lnTo>
                    <a:pt x="1204" y="127"/>
                  </a:lnTo>
                  <a:lnTo>
                    <a:pt x="1197" y="132"/>
                  </a:lnTo>
                  <a:lnTo>
                    <a:pt x="1194" y="132"/>
                  </a:lnTo>
                  <a:lnTo>
                    <a:pt x="1185" y="130"/>
                  </a:lnTo>
                  <a:lnTo>
                    <a:pt x="1178" y="130"/>
                  </a:lnTo>
                  <a:lnTo>
                    <a:pt x="1175" y="127"/>
                  </a:lnTo>
                  <a:lnTo>
                    <a:pt x="1175" y="123"/>
                  </a:lnTo>
                  <a:lnTo>
                    <a:pt x="1173" y="123"/>
                  </a:lnTo>
                  <a:lnTo>
                    <a:pt x="1170" y="121"/>
                  </a:lnTo>
                  <a:lnTo>
                    <a:pt x="1170" y="118"/>
                  </a:lnTo>
                  <a:lnTo>
                    <a:pt x="1170" y="118"/>
                  </a:lnTo>
                  <a:lnTo>
                    <a:pt x="1175" y="113"/>
                  </a:lnTo>
                  <a:lnTo>
                    <a:pt x="1178" y="109"/>
                  </a:lnTo>
                  <a:lnTo>
                    <a:pt x="1182" y="106"/>
                  </a:lnTo>
                  <a:lnTo>
                    <a:pt x="1187" y="104"/>
                  </a:lnTo>
                  <a:lnTo>
                    <a:pt x="1189" y="100"/>
                  </a:lnTo>
                  <a:lnTo>
                    <a:pt x="1192" y="102"/>
                  </a:lnTo>
                  <a:lnTo>
                    <a:pt x="1197" y="102"/>
                  </a:lnTo>
                  <a:lnTo>
                    <a:pt x="1201" y="100"/>
                  </a:lnTo>
                  <a:lnTo>
                    <a:pt x="1204" y="102"/>
                  </a:lnTo>
                  <a:lnTo>
                    <a:pt x="1211" y="106"/>
                  </a:lnTo>
                  <a:lnTo>
                    <a:pt x="1217" y="106"/>
                  </a:lnTo>
                  <a:lnTo>
                    <a:pt x="1220" y="107"/>
                  </a:lnTo>
                  <a:lnTo>
                    <a:pt x="1224" y="106"/>
                  </a:lnTo>
                  <a:lnTo>
                    <a:pt x="1227" y="104"/>
                  </a:lnTo>
                  <a:lnTo>
                    <a:pt x="1224" y="102"/>
                  </a:lnTo>
                  <a:lnTo>
                    <a:pt x="1217" y="104"/>
                  </a:lnTo>
                  <a:lnTo>
                    <a:pt x="1210" y="102"/>
                  </a:lnTo>
                  <a:lnTo>
                    <a:pt x="1204" y="99"/>
                  </a:lnTo>
                  <a:lnTo>
                    <a:pt x="1201" y="99"/>
                  </a:lnTo>
                  <a:lnTo>
                    <a:pt x="1194" y="100"/>
                  </a:lnTo>
                  <a:lnTo>
                    <a:pt x="1187" y="99"/>
                  </a:lnTo>
                  <a:lnTo>
                    <a:pt x="1185" y="99"/>
                  </a:lnTo>
                  <a:lnTo>
                    <a:pt x="1184" y="100"/>
                  </a:lnTo>
                  <a:lnTo>
                    <a:pt x="1182" y="104"/>
                  </a:lnTo>
                  <a:lnTo>
                    <a:pt x="1175" y="109"/>
                  </a:lnTo>
                  <a:lnTo>
                    <a:pt x="1168" y="109"/>
                  </a:lnTo>
                  <a:lnTo>
                    <a:pt x="1164" y="118"/>
                  </a:lnTo>
                  <a:lnTo>
                    <a:pt x="1163" y="118"/>
                  </a:lnTo>
                  <a:lnTo>
                    <a:pt x="1159" y="114"/>
                  </a:lnTo>
                  <a:lnTo>
                    <a:pt x="1156" y="109"/>
                  </a:lnTo>
                  <a:lnTo>
                    <a:pt x="1152" y="109"/>
                  </a:lnTo>
                  <a:lnTo>
                    <a:pt x="1151" y="107"/>
                  </a:lnTo>
                  <a:lnTo>
                    <a:pt x="1151" y="102"/>
                  </a:lnTo>
                  <a:lnTo>
                    <a:pt x="1151" y="97"/>
                  </a:lnTo>
                  <a:lnTo>
                    <a:pt x="1147" y="95"/>
                  </a:lnTo>
                  <a:lnTo>
                    <a:pt x="1147" y="92"/>
                  </a:lnTo>
                  <a:lnTo>
                    <a:pt x="1151" y="90"/>
                  </a:lnTo>
                  <a:lnTo>
                    <a:pt x="1152" y="90"/>
                  </a:lnTo>
                  <a:lnTo>
                    <a:pt x="1156" y="90"/>
                  </a:lnTo>
                  <a:lnTo>
                    <a:pt x="1158" y="92"/>
                  </a:lnTo>
                  <a:lnTo>
                    <a:pt x="1168" y="90"/>
                  </a:lnTo>
                  <a:lnTo>
                    <a:pt x="1173" y="95"/>
                  </a:lnTo>
                  <a:lnTo>
                    <a:pt x="1175" y="95"/>
                  </a:lnTo>
                  <a:lnTo>
                    <a:pt x="1178" y="95"/>
                  </a:lnTo>
                  <a:lnTo>
                    <a:pt x="1182" y="95"/>
                  </a:lnTo>
                  <a:lnTo>
                    <a:pt x="1185" y="94"/>
                  </a:lnTo>
                  <a:lnTo>
                    <a:pt x="1189" y="95"/>
                  </a:lnTo>
                  <a:lnTo>
                    <a:pt x="1191" y="94"/>
                  </a:lnTo>
                  <a:lnTo>
                    <a:pt x="1194" y="94"/>
                  </a:lnTo>
                  <a:lnTo>
                    <a:pt x="1196" y="92"/>
                  </a:lnTo>
                  <a:lnTo>
                    <a:pt x="1201" y="90"/>
                  </a:lnTo>
                  <a:lnTo>
                    <a:pt x="1210" y="90"/>
                  </a:lnTo>
                  <a:lnTo>
                    <a:pt x="1210" y="87"/>
                  </a:lnTo>
                  <a:lnTo>
                    <a:pt x="1210" y="87"/>
                  </a:lnTo>
                  <a:lnTo>
                    <a:pt x="1206" y="87"/>
                  </a:lnTo>
                  <a:lnTo>
                    <a:pt x="1204" y="87"/>
                  </a:lnTo>
                  <a:lnTo>
                    <a:pt x="1204" y="90"/>
                  </a:lnTo>
                  <a:lnTo>
                    <a:pt x="1197" y="90"/>
                  </a:lnTo>
                  <a:lnTo>
                    <a:pt x="1192" y="90"/>
                  </a:lnTo>
                  <a:lnTo>
                    <a:pt x="1187" y="92"/>
                  </a:lnTo>
                  <a:lnTo>
                    <a:pt x="1184" y="92"/>
                  </a:lnTo>
                  <a:lnTo>
                    <a:pt x="1178" y="92"/>
                  </a:lnTo>
                  <a:lnTo>
                    <a:pt x="1178" y="92"/>
                  </a:lnTo>
                  <a:lnTo>
                    <a:pt x="1175" y="92"/>
                  </a:lnTo>
                  <a:lnTo>
                    <a:pt x="1170" y="90"/>
                  </a:lnTo>
                  <a:lnTo>
                    <a:pt x="1170" y="90"/>
                  </a:lnTo>
                  <a:lnTo>
                    <a:pt x="1168" y="87"/>
                  </a:lnTo>
                  <a:lnTo>
                    <a:pt x="1163" y="87"/>
                  </a:lnTo>
                  <a:lnTo>
                    <a:pt x="1158" y="87"/>
                  </a:lnTo>
                  <a:lnTo>
                    <a:pt x="1156" y="87"/>
                  </a:lnTo>
                  <a:lnTo>
                    <a:pt x="1151" y="87"/>
                  </a:lnTo>
                  <a:lnTo>
                    <a:pt x="1151" y="81"/>
                  </a:lnTo>
                  <a:lnTo>
                    <a:pt x="1151" y="81"/>
                  </a:lnTo>
                  <a:lnTo>
                    <a:pt x="1151" y="76"/>
                  </a:lnTo>
                  <a:lnTo>
                    <a:pt x="1152" y="74"/>
                  </a:lnTo>
                  <a:lnTo>
                    <a:pt x="1156" y="74"/>
                  </a:lnTo>
                  <a:lnTo>
                    <a:pt x="1158" y="78"/>
                  </a:lnTo>
                  <a:lnTo>
                    <a:pt x="1163" y="78"/>
                  </a:lnTo>
                  <a:lnTo>
                    <a:pt x="1164" y="76"/>
                  </a:lnTo>
                  <a:lnTo>
                    <a:pt x="1163" y="74"/>
                  </a:lnTo>
                  <a:lnTo>
                    <a:pt x="1159" y="74"/>
                  </a:lnTo>
                  <a:lnTo>
                    <a:pt x="1156" y="71"/>
                  </a:lnTo>
                  <a:lnTo>
                    <a:pt x="1158" y="69"/>
                  </a:lnTo>
                  <a:lnTo>
                    <a:pt x="1163" y="69"/>
                  </a:lnTo>
                  <a:lnTo>
                    <a:pt x="1168" y="66"/>
                  </a:lnTo>
                  <a:lnTo>
                    <a:pt x="1173" y="66"/>
                  </a:lnTo>
                  <a:lnTo>
                    <a:pt x="1175" y="64"/>
                  </a:lnTo>
                  <a:lnTo>
                    <a:pt x="1178" y="64"/>
                  </a:lnTo>
                  <a:lnTo>
                    <a:pt x="1182" y="64"/>
                  </a:lnTo>
                  <a:lnTo>
                    <a:pt x="1184" y="64"/>
                  </a:lnTo>
                  <a:lnTo>
                    <a:pt x="1184" y="62"/>
                  </a:lnTo>
                  <a:lnTo>
                    <a:pt x="1182" y="62"/>
                  </a:lnTo>
                  <a:lnTo>
                    <a:pt x="1175" y="62"/>
                  </a:lnTo>
                  <a:lnTo>
                    <a:pt x="1170" y="62"/>
                  </a:lnTo>
                  <a:lnTo>
                    <a:pt x="1164" y="64"/>
                  </a:lnTo>
                  <a:lnTo>
                    <a:pt x="1161" y="64"/>
                  </a:lnTo>
                  <a:lnTo>
                    <a:pt x="1159" y="66"/>
                  </a:lnTo>
                  <a:lnTo>
                    <a:pt x="1156" y="66"/>
                  </a:lnTo>
                  <a:lnTo>
                    <a:pt x="1156" y="64"/>
                  </a:lnTo>
                  <a:lnTo>
                    <a:pt x="1156" y="62"/>
                  </a:lnTo>
                  <a:lnTo>
                    <a:pt x="1159" y="59"/>
                  </a:lnTo>
                  <a:lnTo>
                    <a:pt x="1164" y="57"/>
                  </a:lnTo>
                  <a:lnTo>
                    <a:pt x="1170" y="55"/>
                  </a:lnTo>
                  <a:lnTo>
                    <a:pt x="1173" y="54"/>
                  </a:lnTo>
                  <a:lnTo>
                    <a:pt x="1168" y="54"/>
                  </a:lnTo>
                  <a:lnTo>
                    <a:pt x="1168" y="50"/>
                  </a:lnTo>
                  <a:lnTo>
                    <a:pt x="1168" y="47"/>
                  </a:lnTo>
                  <a:lnTo>
                    <a:pt x="1166" y="48"/>
                  </a:lnTo>
                  <a:lnTo>
                    <a:pt x="1164" y="50"/>
                  </a:lnTo>
                  <a:lnTo>
                    <a:pt x="1163" y="54"/>
                  </a:lnTo>
                  <a:lnTo>
                    <a:pt x="1163" y="50"/>
                  </a:lnTo>
                  <a:lnTo>
                    <a:pt x="1161" y="50"/>
                  </a:lnTo>
                  <a:lnTo>
                    <a:pt x="1159" y="50"/>
                  </a:lnTo>
                  <a:lnTo>
                    <a:pt x="1156" y="50"/>
                  </a:lnTo>
                  <a:lnTo>
                    <a:pt x="1156" y="55"/>
                  </a:lnTo>
                  <a:lnTo>
                    <a:pt x="1156" y="57"/>
                  </a:lnTo>
                  <a:lnTo>
                    <a:pt x="1151" y="59"/>
                  </a:lnTo>
                  <a:lnTo>
                    <a:pt x="1151" y="55"/>
                  </a:lnTo>
                  <a:lnTo>
                    <a:pt x="1151" y="50"/>
                  </a:lnTo>
                  <a:lnTo>
                    <a:pt x="1147" y="50"/>
                  </a:lnTo>
                  <a:lnTo>
                    <a:pt x="1147" y="48"/>
                  </a:lnTo>
                  <a:lnTo>
                    <a:pt x="1147" y="47"/>
                  </a:lnTo>
                  <a:lnTo>
                    <a:pt x="1151" y="48"/>
                  </a:lnTo>
                  <a:lnTo>
                    <a:pt x="1151" y="43"/>
                  </a:lnTo>
                  <a:lnTo>
                    <a:pt x="1156" y="43"/>
                  </a:lnTo>
                  <a:lnTo>
                    <a:pt x="1158" y="43"/>
                  </a:lnTo>
                  <a:lnTo>
                    <a:pt x="1159" y="40"/>
                  </a:lnTo>
                  <a:lnTo>
                    <a:pt x="1164" y="36"/>
                  </a:lnTo>
                  <a:lnTo>
                    <a:pt x="1166" y="40"/>
                  </a:lnTo>
                  <a:lnTo>
                    <a:pt x="1170" y="34"/>
                  </a:lnTo>
                  <a:lnTo>
                    <a:pt x="1178" y="34"/>
                  </a:lnTo>
                  <a:lnTo>
                    <a:pt x="1182" y="34"/>
                  </a:lnTo>
                  <a:lnTo>
                    <a:pt x="1182" y="34"/>
                  </a:lnTo>
                  <a:lnTo>
                    <a:pt x="1184" y="36"/>
                  </a:lnTo>
                  <a:lnTo>
                    <a:pt x="1182" y="40"/>
                  </a:lnTo>
                  <a:lnTo>
                    <a:pt x="1182" y="47"/>
                  </a:lnTo>
                  <a:lnTo>
                    <a:pt x="1184" y="47"/>
                  </a:lnTo>
                  <a:lnTo>
                    <a:pt x="1185" y="40"/>
                  </a:lnTo>
                  <a:lnTo>
                    <a:pt x="1189" y="40"/>
                  </a:lnTo>
                  <a:lnTo>
                    <a:pt x="1189" y="40"/>
                  </a:lnTo>
                  <a:lnTo>
                    <a:pt x="1189" y="41"/>
                  </a:lnTo>
                  <a:lnTo>
                    <a:pt x="1189" y="45"/>
                  </a:lnTo>
                  <a:lnTo>
                    <a:pt x="1191" y="43"/>
                  </a:lnTo>
                  <a:lnTo>
                    <a:pt x="1191" y="40"/>
                  </a:lnTo>
                  <a:lnTo>
                    <a:pt x="1192" y="40"/>
                  </a:lnTo>
                  <a:lnTo>
                    <a:pt x="1191" y="36"/>
                  </a:lnTo>
                  <a:lnTo>
                    <a:pt x="1192" y="31"/>
                  </a:lnTo>
                  <a:lnTo>
                    <a:pt x="1194" y="31"/>
                  </a:lnTo>
                  <a:lnTo>
                    <a:pt x="1197" y="27"/>
                  </a:lnTo>
                  <a:lnTo>
                    <a:pt x="1201" y="27"/>
                  </a:lnTo>
                  <a:lnTo>
                    <a:pt x="1201" y="31"/>
                  </a:lnTo>
                  <a:lnTo>
                    <a:pt x="1201" y="34"/>
                  </a:lnTo>
                  <a:lnTo>
                    <a:pt x="1204" y="36"/>
                  </a:lnTo>
                  <a:lnTo>
                    <a:pt x="1204" y="41"/>
                  </a:lnTo>
                  <a:lnTo>
                    <a:pt x="1204" y="43"/>
                  </a:lnTo>
                  <a:lnTo>
                    <a:pt x="1204" y="47"/>
                  </a:lnTo>
                  <a:lnTo>
                    <a:pt x="1204" y="50"/>
                  </a:lnTo>
                  <a:lnTo>
                    <a:pt x="1206" y="50"/>
                  </a:lnTo>
                  <a:lnTo>
                    <a:pt x="1210" y="50"/>
                  </a:lnTo>
                  <a:lnTo>
                    <a:pt x="1206" y="47"/>
                  </a:lnTo>
                  <a:lnTo>
                    <a:pt x="1206" y="43"/>
                  </a:lnTo>
                  <a:lnTo>
                    <a:pt x="1210" y="41"/>
                  </a:lnTo>
                  <a:lnTo>
                    <a:pt x="1211" y="36"/>
                  </a:lnTo>
                  <a:lnTo>
                    <a:pt x="1213" y="36"/>
                  </a:lnTo>
                  <a:lnTo>
                    <a:pt x="1217" y="41"/>
                  </a:lnTo>
                  <a:lnTo>
                    <a:pt x="1217" y="45"/>
                  </a:lnTo>
                  <a:lnTo>
                    <a:pt x="1215" y="50"/>
                  </a:lnTo>
                  <a:lnTo>
                    <a:pt x="1218" y="50"/>
                  </a:lnTo>
                  <a:lnTo>
                    <a:pt x="1218" y="54"/>
                  </a:lnTo>
                  <a:lnTo>
                    <a:pt x="1220" y="50"/>
                  </a:lnTo>
                  <a:lnTo>
                    <a:pt x="1220" y="47"/>
                  </a:lnTo>
                  <a:lnTo>
                    <a:pt x="1220" y="47"/>
                  </a:lnTo>
                  <a:lnTo>
                    <a:pt x="1224" y="45"/>
                  </a:lnTo>
                  <a:lnTo>
                    <a:pt x="1224" y="47"/>
                  </a:lnTo>
                  <a:lnTo>
                    <a:pt x="1224" y="48"/>
                  </a:lnTo>
                  <a:lnTo>
                    <a:pt x="1224" y="50"/>
                  </a:lnTo>
                  <a:lnTo>
                    <a:pt x="1224" y="54"/>
                  </a:lnTo>
                  <a:lnTo>
                    <a:pt x="1229" y="50"/>
                  </a:lnTo>
                  <a:lnTo>
                    <a:pt x="1229" y="50"/>
                  </a:lnTo>
                  <a:lnTo>
                    <a:pt x="1229" y="54"/>
                  </a:lnTo>
                  <a:lnTo>
                    <a:pt x="1232" y="50"/>
                  </a:lnTo>
                  <a:lnTo>
                    <a:pt x="1232" y="48"/>
                  </a:lnTo>
                  <a:lnTo>
                    <a:pt x="1229" y="43"/>
                  </a:lnTo>
                  <a:lnTo>
                    <a:pt x="1227" y="43"/>
                  </a:lnTo>
                  <a:lnTo>
                    <a:pt x="1224" y="40"/>
                  </a:lnTo>
                  <a:lnTo>
                    <a:pt x="1224" y="36"/>
                  </a:lnTo>
                  <a:lnTo>
                    <a:pt x="1220" y="34"/>
                  </a:lnTo>
                  <a:lnTo>
                    <a:pt x="1220" y="31"/>
                  </a:lnTo>
                  <a:lnTo>
                    <a:pt x="1218" y="31"/>
                  </a:lnTo>
                  <a:lnTo>
                    <a:pt x="1220" y="26"/>
                  </a:lnTo>
                  <a:lnTo>
                    <a:pt x="1224" y="26"/>
                  </a:lnTo>
                  <a:lnTo>
                    <a:pt x="1224" y="27"/>
                  </a:lnTo>
                  <a:lnTo>
                    <a:pt x="1229" y="27"/>
                  </a:lnTo>
                  <a:lnTo>
                    <a:pt x="1232" y="27"/>
                  </a:lnTo>
                  <a:lnTo>
                    <a:pt x="1232" y="27"/>
                  </a:lnTo>
                  <a:lnTo>
                    <a:pt x="1232" y="20"/>
                  </a:lnTo>
                  <a:lnTo>
                    <a:pt x="1232" y="17"/>
                  </a:lnTo>
                  <a:lnTo>
                    <a:pt x="1232" y="14"/>
                  </a:lnTo>
                  <a:lnTo>
                    <a:pt x="1236" y="14"/>
                  </a:lnTo>
                  <a:lnTo>
                    <a:pt x="1237" y="14"/>
                  </a:lnTo>
                  <a:lnTo>
                    <a:pt x="1244" y="15"/>
                  </a:lnTo>
                  <a:lnTo>
                    <a:pt x="1246" y="17"/>
                  </a:lnTo>
                  <a:lnTo>
                    <a:pt x="1246" y="19"/>
                  </a:lnTo>
                  <a:lnTo>
                    <a:pt x="1244" y="22"/>
                  </a:lnTo>
                  <a:lnTo>
                    <a:pt x="1244" y="24"/>
                  </a:lnTo>
                  <a:lnTo>
                    <a:pt x="1251" y="26"/>
                  </a:lnTo>
                  <a:lnTo>
                    <a:pt x="1251" y="27"/>
                  </a:lnTo>
                  <a:lnTo>
                    <a:pt x="1250" y="34"/>
                  </a:lnTo>
                  <a:lnTo>
                    <a:pt x="1251" y="40"/>
                  </a:lnTo>
                  <a:lnTo>
                    <a:pt x="1251" y="40"/>
                  </a:lnTo>
                  <a:lnTo>
                    <a:pt x="1255" y="34"/>
                  </a:lnTo>
                  <a:lnTo>
                    <a:pt x="1255" y="34"/>
                  </a:lnTo>
                  <a:lnTo>
                    <a:pt x="1257" y="40"/>
                  </a:lnTo>
                  <a:lnTo>
                    <a:pt x="1257" y="40"/>
                  </a:lnTo>
                  <a:lnTo>
                    <a:pt x="1260" y="40"/>
                  </a:lnTo>
                  <a:lnTo>
                    <a:pt x="1262" y="36"/>
                  </a:lnTo>
                  <a:lnTo>
                    <a:pt x="1265" y="34"/>
                  </a:lnTo>
                  <a:lnTo>
                    <a:pt x="1267" y="31"/>
                  </a:lnTo>
                  <a:lnTo>
                    <a:pt x="1263" y="27"/>
                  </a:lnTo>
                  <a:lnTo>
                    <a:pt x="1267" y="24"/>
                  </a:lnTo>
                  <a:lnTo>
                    <a:pt x="1269" y="24"/>
                  </a:lnTo>
                  <a:lnTo>
                    <a:pt x="1270" y="26"/>
                  </a:lnTo>
                  <a:lnTo>
                    <a:pt x="1277" y="26"/>
                  </a:lnTo>
                  <a:lnTo>
                    <a:pt x="1274" y="22"/>
                  </a:lnTo>
                  <a:lnTo>
                    <a:pt x="1270" y="19"/>
                  </a:lnTo>
                  <a:lnTo>
                    <a:pt x="1270" y="14"/>
                  </a:lnTo>
                  <a:lnTo>
                    <a:pt x="1270" y="12"/>
                  </a:lnTo>
                  <a:lnTo>
                    <a:pt x="1272" y="8"/>
                  </a:lnTo>
                  <a:lnTo>
                    <a:pt x="1274" y="8"/>
                  </a:lnTo>
                  <a:lnTo>
                    <a:pt x="1279" y="12"/>
                  </a:lnTo>
                  <a:lnTo>
                    <a:pt x="1279" y="17"/>
                  </a:lnTo>
                  <a:lnTo>
                    <a:pt x="1283" y="22"/>
                  </a:lnTo>
                  <a:lnTo>
                    <a:pt x="1283" y="26"/>
                  </a:lnTo>
                  <a:lnTo>
                    <a:pt x="1283" y="27"/>
                  </a:lnTo>
                  <a:lnTo>
                    <a:pt x="1283" y="31"/>
                  </a:lnTo>
                  <a:lnTo>
                    <a:pt x="1284" y="34"/>
                  </a:lnTo>
                  <a:lnTo>
                    <a:pt x="1286" y="34"/>
                  </a:lnTo>
                  <a:lnTo>
                    <a:pt x="1286" y="31"/>
                  </a:lnTo>
                  <a:lnTo>
                    <a:pt x="1286" y="27"/>
                  </a:lnTo>
                  <a:lnTo>
                    <a:pt x="1286" y="24"/>
                  </a:lnTo>
                  <a:lnTo>
                    <a:pt x="1284" y="19"/>
                  </a:lnTo>
                  <a:lnTo>
                    <a:pt x="1284" y="12"/>
                  </a:lnTo>
                  <a:lnTo>
                    <a:pt x="1284" y="5"/>
                  </a:lnTo>
                  <a:lnTo>
                    <a:pt x="1284" y="3"/>
                  </a:lnTo>
                  <a:lnTo>
                    <a:pt x="1288" y="3"/>
                  </a:lnTo>
                  <a:lnTo>
                    <a:pt x="1291" y="5"/>
                  </a:lnTo>
                  <a:lnTo>
                    <a:pt x="1293" y="5"/>
                  </a:lnTo>
                  <a:lnTo>
                    <a:pt x="1295" y="8"/>
                  </a:lnTo>
                  <a:lnTo>
                    <a:pt x="1295" y="12"/>
                  </a:lnTo>
                  <a:lnTo>
                    <a:pt x="1297" y="15"/>
                  </a:lnTo>
                  <a:lnTo>
                    <a:pt x="1297" y="19"/>
                  </a:lnTo>
                  <a:lnTo>
                    <a:pt x="1297" y="26"/>
                  </a:lnTo>
                  <a:lnTo>
                    <a:pt x="1298" y="26"/>
                  </a:lnTo>
                  <a:lnTo>
                    <a:pt x="1298" y="22"/>
                  </a:lnTo>
                  <a:lnTo>
                    <a:pt x="1300" y="20"/>
                  </a:lnTo>
                  <a:lnTo>
                    <a:pt x="1302" y="20"/>
                  </a:lnTo>
                  <a:lnTo>
                    <a:pt x="1305" y="27"/>
                  </a:lnTo>
                  <a:lnTo>
                    <a:pt x="1307" y="26"/>
                  </a:lnTo>
                  <a:lnTo>
                    <a:pt x="1309" y="26"/>
                  </a:lnTo>
                  <a:lnTo>
                    <a:pt x="1309" y="24"/>
                  </a:lnTo>
                  <a:lnTo>
                    <a:pt x="1307" y="22"/>
                  </a:lnTo>
                  <a:lnTo>
                    <a:pt x="1305" y="19"/>
                  </a:lnTo>
                  <a:lnTo>
                    <a:pt x="1305" y="17"/>
                  </a:lnTo>
                  <a:lnTo>
                    <a:pt x="1305" y="15"/>
                  </a:lnTo>
                  <a:lnTo>
                    <a:pt x="1302" y="12"/>
                  </a:lnTo>
                  <a:lnTo>
                    <a:pt x="1302" y="12"/>
                  </a:lnTo>
                  <a:lnTo>
                    <a:pt x="1302" y="8"/>
                  </a:lnTo>
                  <a:lnTo>
                    <a:pt x="1305" y="8"/>
                  </a:lnTo>
                  <a:lnTo>
                    <a:pt x="1305" y="8"/>
                  </a:lnTo>
                  <a:lnTo>
                    <a:pt x="1302" y="5"/>
                  </a:lnTo>
                  <a:lnTo>
                    <a:pt x="1300" y="3"/>
                  </a:lnTo>
                  <a:lnTo>
                    <a:pt x="1302" y="3"/>
                  </a:lnTo>
                  <a:lnTo>
                    <a:pt x="1305" y="3"/>
                  </a:lnTo>
                  <a:lnTo>
                    <a:pt x="1307" y="0"/>
                  </a:lnTo>
                  <a:lnTo>
                    <a:pt x="1316" y="0"/>
                  </a:lnTo>
                  <a:lnTo>
                    <a:pt x="1316" y="3"/>
                  </a:lnTo>
                  <a:lnTo>
                    <a:pt x="1316" y="5"/>
                  </a:lnTo>
                  <a:lnTo>
                    <a:pt x="1314" y="8"/>
                  </a:lnTo>
                  <a:lnTo>
                    <a:pt x="1316" y="12"/>
                  </a:lnTo>
                  <a:lnTo>
                    <a:pt x="1317" y="12"/>
                  </a:lnTo>
                  <a:lnTo>
                    <a:pt x="1319" y="5"/>
                  </a:lnTo>
                  <a:lnTo>
                    <a:pt x="1321" y="5"/>
                  </a:lnTo>
                  <a:lnTo>
                    <a:pt x="1323" y="8"/>
                  </a:lnTo>
                  <a:lnTo>
                    <a:pt x="1321" y="12"/>
                  </a:lnTo>
                  <a:lnTo>
                    <a:pt x="1323" y="12"/>
                  </a:lnTo>
                  <a:lnTo>
                    <a:pt x="1324" y="12"/>
                  </a:lnTo>
                  <a:lnTo>
                    <a:pt x="1324" y="12"/>
                  </a:lnTo>
                  <a:lnTo>
                    <a:pt x="1330" y="8"/>
                  </a:lnTo>
                  <a:lnTo>
                    <a:pt x="1330" y="8"/>
                  </a:lnTo>
                  <a:lnTo>
                    <a:pt x="1330" y="12"/>
                  </a:lnTo>
                  <a:lnTo>
                    <a:pt x="1328" y="15"/>
                  </a:lnTo>
                  <a:lnTo>
                    <a:pt x="1330" y="20"/>
                  </a:lnTo>
                  <a:lnTo>
                    <a:pt x="1328" y="24"/>
                  </a:lnTo>
                  <a:lnTo>
                    <a:pt x="1330" y="26"/>
                  </a:lnTo>
                  <a:lnTo>
                    <a:pt x="1333" y="24"/>
                  </a:lnTo>
                  <a:lnTo>
                    <a:pt x="1336" y="26"/>
                  </a:lnTo>
                  <a:lnTo>
                    <a:pt x="1336" y="24"/>
                  </a:lnTo>
                  <a:lnTo>
                    <a:pt x="1336" y="19"/>
                  </a:lnTo>
                  <a:lnTo>
                    <a:pt x="1340" y="12"/>
                  </a:lnTo>
                  <a:lnTo>
                    <a:pt x="1336" y="5"/>
                  </a:lnTo>
                  <a:lnTo>
                    <a:pt x="1338" y="0"/>
                  </a:lnTo>
                  <a:lnTo>
                    <a:pt x="1340" y="0"/>
                  </a:lnTo>
                  <a:lnTo>
                    <a:pt x="1342" y="0"/>
                  </a:lnTo>
                  <a:lnTo>
                    <a:pt x="1345" y="0"/>
                  </a:lnTo>
                  <a:lnTo>
                    <a:pt x="1347" y="3"/>
                  </a:lnTo>
                  <a:lnTo>
                    <a:pt x="1352" y="0"/>
                  </a:lnTo>
                  <a:lnTo>
                    <a:pt x="1356" y="0"/>
                  </a:lnTo>
                  <a:lnTo>
                    <a:pt x="1359" y="3"/>
                  </a:lnTo>
                  <a:lnTo>
                    <a:pt x="1361" y="5"/>
                  </a:lnTo>
                  <a:lnTo>
                    <a:pt x="1366" y="3"/>
                  </a:lnTo>
                  <a:lnTo>
                    <a:pt x="1369" y="8"/>
                  </a:lnTo>
                  <a:lnTo>
                    <a:pt x="1371" y="12"/>
                  </a:lnTo>
                  <a:lnTo>
                    <a:pt x="1373" y="12"/>
                  </a:lnTo>
                  <a:lnTo>
                    <a:pt x="1373" y="15"/>
                  </a:lnTo>
                  <a:lnTo>
                    <a:pt x="1371" y="20"/>
                  </a:lnTo>
                  <a:lnTo>
                    <a:pt x="1371" y="22"/>
                  </a:lnTo>
                  <a:lnTo>
                    <a:pt x="1375" y="20"/>
                  </a:lnTo>
                  <a:lnTo>
                    <a:pt x="1378" y="17"/>
                  </a:lnTo>
                  <a:lnTo>
                    <a:pt x="1382" y="14"/>
                  </a:lnTo>
                  <a:lnTo>
                    <a:pt x="1387" y="12"/>
                  </a:lnTo>
                  <a:lnTo>
                    <a:pt x="1389" y="12"/>
                  </a:lnTo>
                  <a:lnTo>
                    <a:pt x="1392" y="12"/>
                  </a:lnTo>
                  <a:lnTo>
                    <a:pt x="1397" y="12"/>
                  </a:lnTo>
                  <a:lnTo>
                    <a:pt x="1397" y="15"/>
                  </a:lnTo>
                  <a:lnTo>
                    <a:pt x="1392" y="19"/>
                  </a:lnTo>
                  <a:lnTo>
                    <a:pt x="1396" y="22"/>
                  </a:lnTo>
                  <a:lnTo>
                    <a:pt x="1397" y="20"/>
                  </a:lnTo>
                  <a:lnTo>
                    <a:pt x="1397" y="17"/>
                  </a:lnTo>
                  <a:lnTo>
                    <a:pt x="1401" y="15"/>
                  </a:lnTo>
                  <a:lnTo>
                    <a:pt x="1404" y="14"/>
                  </a:lnTo>
                  <a:lnTo>
                    <a:pt x="1409" y="15"/>
                  </a:lnTo>
                  <a:lnTo>
                    <a:pt x="1416" y="17"/>
                  </a:lnTo>
                  <a:lnTo>
                    <a:pt x="1418" y="19"/>
                  </a:lnTo>
                  <a:lnTo>
                    <a:pt x="1416" y="22"/>
                  </a:lnTo>
                  <a:lnTo>
                    <a:pt x="1415" y="22"/>
                  </a:lnTo>
                  <a:lnTo>
                    <a:pt x="1415" y="24"/>
                  </a:lnTo>
                  <a:lnTo>
                    <a:pt x="1413" y="27"/>
                  </a:lnTo>
                  <a:lnTo>
                    <a:pt x="1415" y="27"/>
                  </a:lnTo>
                  <a:lnTo>
                    <a:pt x="1416" y="27"/>
                  </a:lnTo>
                  <a:lnTo>
                    <a:pt x="1420" y="26"/>
                  </a:lnTo>
                  <a:lnTo>
                    <a:pt x="1420" y="27"/>
                  </a:lnTo>
                  <a:lnTo>
                    <a:pt x="1423" y="31"/>
                  </a:lnTo>
                  <a:lnTo>
                    <a:pt x="1425" y="27"/>
                  </a:lnTo>
                  <a:lnTo>
                    <a:pt x="1429" y="27"/>
                  </a:lnTo>
                  <a:lnTo>
                    <a:pt x="1429" y="27"/>
                  </a:lnTo>
                  <a:lnTo>
                    <a:pt x="1429" y="31"/>
                  </a:lnTo>
                  <a:lnTo>
                    <a:pt x="1429" y="34"/>
                  </a:lnTo>
                  <a:lnTo>
                    <a:pt x="1432" y="34"/>
                  </a:lnTo>
                  <a:lnTo>
                    <a:pt x="1432" y="31"/>
                  </a:lnTo>
                  <a:lnTo>
                    <a:pt x="1436" y="31"/>
                  </a:lnTo>
                  <a:lnTo>
                    <a:pt x="1437" y="31"/>
                  </a:lnTo>
                  <a:lnTo>
                    <a:pt x="1437" y="34"/>
                  </a:lnTo>
                  <a:lnTo>
                    <a:pt x="1444" y="36"/>
                  </a:lnTo>
                  <a:lnTo>
                    <a:pt x="1448" y="36"/>
                  </a:lnTo>
                  <a:lnTo>
                    <a:pt x="1449" y="40"/>
                  </a:lnTo>
                  <a:lnTo>
                    <a:pt x="1448" y="40"/>
                  </a:lnTo>
                  <a:lnTo>
                    <a:pt x="1441" y="43"/>
                  </a:lnTo>
                  <a:lnTo>
                    <a:pt x="1437" y="47"/>
                  </a:lnTo>
                  <a:lnTo>
                    <a:pt x="1432" y="48"/>
                  </a:lnTo>
                  <a:lnTo>
                    <a:pt x="1429" y="50"/>
                  </a:lnTo>
                  <a:lnTo>
                    <a:pt x="1427" y="50"/>
                  </a:lnTo>
                  <a:lnTo>
                    <a:pt x="1423" y="50"/>
                  </a:lnTo>
                  <a:lnTo>
                    <a:pt x="1422" y="50"/>
                  </a:lnTo>
                  <a:lnTo>
                    <a:pt x="1416" y="54"/>
                  </a:lnTo>
                  <a:lnTo>
                    <a:pt x="1425" y="54"/>
                  </a:lnTo>
                  <a:lnTo>
                    <a:pt x="1432" y="54"/>
                  </a:lnTo>
                  <a:lnTo>
                    <a:pt x="1432" y="55"/>
                  </a:lnTo>
                  <a:lnTo>
                    <a:pt x="1436" y="55"/>
                  </a:lnTo>
                  <a:lnTo>
                    <a:pt x="1437" y="50"/>
                  </a:lnTo>
                  <a:lnTo>
                    <a:pt x="1441" y="50"/>
                  </a:lnTo>
                  <a:lnTo>
                    <a:pt x="1442" y="50"/>
                  </a:lnTo>
                  <a:lnTo>
                    <a:pt x="1444" y="47"/>
                  </a:lnTo>
                  <a:lnTo>
                    <a:pt x="1449" y="45"/>
                  </a:lnTo>
                  <a:lnTo>
                    <a:pt x="1451" y="45"/>
                  </a:lnTo>
                  <a:lnTo>
                    <a:pt x="1455" y="47"/>
                  </a:lnTo>
                  <a:lnTo>
                    <a:pt x="1451" y="50"/>
                  </a:lnTo>
                  <a:lnTo>
                    <a:pt x="1455" y="54"/>
                  </a:lnTo>
                  <a:lnTo>
                    <a:pt x="1455" y="50"/>
                  </a:lnTo>
                  <a:lnTo>
                    <a:pt x="1456" y="48"/>
                  </a:lnTo>
                  <a:lnTo>
                    <a:pt x="1460" y="45"/>
                  </a:lnTo>
                  <a:lnTo>
                    <a:pt x="1463" y="47"/>
                  </a:lnTo>
                  <a:lnTo>
                    <a:pt x="1460" y="50"/>
                  </a:lnTo>
                  <a:lnTo>
                    <a:pt x="1460" y="50"/>
                  </a:lnTo>
                  <a:lnTo>
                    <a:pt x="1460" y="55"/>
                  </a:lnTo>
                  <a:lnTo>
                    <a:pt x="1460" y="57"/>
                  </a:lnTo>
                  <a:lnTo>
                    <a:pt x="1463" y="55"/>
                  </a:lnTo>
                  <a:lnTo>
                    <a:pt x="1463" y="54"/>
                  </a:lnTo>
                  <a:lnTo>
                    <a:pt x="1463" y="50"/>
                  </a:lnTo>
                  <a:lnTo>
                    <a:pt x="1469" y="50"/>
                  </a:lnTo>
                  <a:lnTo>
                    <a:pt x="1470" y="50"/>
                  </a:lnTo>
                  <a:lnTo>
                    <a:pt x="1469" y="59"/>
                  </a:lnTo>
                  <a:lnTo>
                    <a:pt x="1467" y="59"/>
                  </a:lnTo>
                  <a:lnTo>
                    <a:pt x="1469" y="59"/>
                  </a:lnTo>
                  <a:lnTo>
                    <a:pt x="1470" y="62"/>
                  </a:lnTo>
                  <a:lnTo>
                    <a:pt x="1469" y="67"/>
                  </a:lnTo>
                  <a:lnTo>
                    <a:pt x="1465" y="69"/>
                  </a:lnTo>
                  <a:lnTo>
                    <a:pt x="1465" y="73"/>
                  </a:lnTo>
                  <a:lnTo>
                    <a:pt x="1460" y="78"/>
                  </a:lnTo>
                  <a:lnTo>
                    <a:pt x="1463" y="80"/>
                  </a:lnTo>
                  <a:lnTo>
                    <a:pt x="1465" y="78"/>
                  </a:lnTo>
                  <a:lnTo>
                    <a:pt x="1467" y="74"/>
                  </a:lnTo>
                  <a:lnTo>
                    <a:pt x="1470" y="74"/>
                  </a:lnTo>
                  <a:lnTo>
                    <a:pt x="1470" y="73"/>
                  </a:lnTo>
                  <a:lnTo>
                    <a:pt x="1474" y="73"/>
                  </a:lnTo>
                  <a:lnTo>
                    <a:pt x="1477" y="76"/>
                  </a:lnTo>
                  <a:lnTo>
                    <a:pt x="1479" y="81"/>
                  </a:lnTo>
                  <a:lnTo>
                    <a:pt x="1479" y="87"/>
                  </a:lnTo>
                  <a:lnTo>
                    <a:pt x="1479" y="94"/>
                  </a:lnTo>
                  <a:lnTo>
                    <a:pt x="1474" y="100"/>
                  </a:lnTo>
                  <a:lnTo>
                    <a:pt x="1467" y="104"/>
                  </a:lnTo>
                  <a:lnTo>
                    <a:pt x="1465" y="106"/>
                  </a:lnTo>
                  <a:lnTo>
                    <a:pt x="1463" y="106"/>
                  </a:lnTo>
                  <a:lnTo>
                    <a:pt x="1460" y="107"/>
                  </a:lnTo>
                  <a:lnTo>
                    <a:pt x="1460" y="109"/>
                  </a:lnTo>
                  <a:lnTo>
                    <a:pt x="1456" y="109"/>
                  </a:lnTo>
                  <a:lnTo>
                    <a:pt x="1448" y="114"/>
                  </a:lnTo>
                  <a:lnTo>
                    <a:pt x="1444" y="118"/>
                  </a:lnTo>
                  <a:lnTo>
                    <a:pt x="1441" y="118"/>
                  </a:lnTo>
                  <a:lnTo>
                    <a:pt x="1436" y="121"/>
                  </a:lnTo>
                  <a:lnTo>
                    <a:pt x="1432" y="121"/>
                  </a:lnTo>
                  <a:lnTo>
                    <a:pt x="1429" y="118"/>
                  </a:lnTo>
                  <a:lnTo>
                    <a:pt x="1427" y="121"/>
                  </a:lnTo>
                  <a:lnTo>
                    <a:pt x="1425" y="121"/>
                  </a:lnTo>
                  <a:lnTo>
                    <a:pt x="1422" y="121"/>
                  </a:lnTo>
                  <a:lnTo>
                    <a:pt x="1416" y="118"/>
                  </a:lnTo>
                  <a:lnTo>
                    <a:pt x="1411" y="118"/>
                  </a:lnTo>
                  <a:lnTo>
                    <a:pt x="1411" y="121"/>
                  </a:lnTo>
                  <a:lnTo>
                    <a:pt x="1416" y="121"/>
                  </a:lnTo>
                  <a:lnTo>
                    <a:pt x="1418" y="121"/>
                  </a:lnTo>
                  <a:lnTo>
                    <a:pt x="1415" y="123"/>
                  </a:lnTo>
                  <a:lnTo>
                    <a:pt x="1411" y="121"/>
                  </a:lnTo>
                  <a:lnTo>
                    <a:pt x="1409" y="121"/>
                  </a:lnTo>
                  <a:lnTo>
                    <a:pt x="1406" y="121"/>
                  </a:lnTo>
                  <a:lnTo>
                    <a:pt x="1401" y="121"/>
                  </a:lnTo>
                  <a:lnTo>
                    <a:pt x="1399" y="118"/>
                  </a:lnTo>
                  <a:lnTo>
                    <a:pt x="1397" y="118"/>
                  </a:lnTo>
                  <a:lnTo>
                    <a:pt x="1396" y="118"/>
                  </a:lnTo>
                  <a:lnTo>
                    <a:pt x="1389" y="113"/>
                  </a:lnTo>
                  <a:lnTo>
                    <a:pt x="1387" y="109"/>
                  </a:lnTo>
                  <a:lnTo>
                    <a:pt x="1387" y="113"/>
                  </a:lnTo>
                  <a:lnTo>
                    <a:pt x="1390" y="118"/>
                  </a:lnTo>
                  <a:lnTo>
                    <a:pt x="1390" y="118"/>
                  </a:lnTo>
                  <a:lnTo>
                    <a:pt x="1389" y="118"/>
                  </a:lnTo>
                  <a:lnTo>
                    <a:pt x="1383" y="118"/>
                  </a:lnTo>
                  <a:lnTo>
                    <a:pt x="1387" y="121"/>
                  </a:lnTo>
                  <a:lnTo>
                    <a:pt x="1397" y="121"/>
                  </a:lnTo>
                  <a:lnTo>
                    <a:pt x="1404" y="123"/>
                  </a:lnTo>
                  <a:lnTo>
                    <a:pt x="1406" y="125"/>
                  </a:lnTo>
                  <a:lnTo>
                    <a:pt x="1401" y="127"/>
                  </a:lnTo>
                  <a:lnTo>
                    <a:pt x="1387" y="134"/>
                  </a:lnTo>
                  <a:lnTo>
                    <a:pt x="1378" y="135"/>
                  </a:lnTo>
                  <a:lnTo>
                    <a:pt x="1375" y="135"/>
                  </a:lnTo>
                  <a:lnTo>
                    <a:pt x="1369" y="137"/>
                  </a:lnTo>
                  <a:lnTo>
                    <a:pt x="1364" y="135"/>
                  </a:lnTo>
                  <a:lnTo>
                    <a:pt x="1364" y="134"/>
                  </a:lnTo>
                  <a:lnTo>
                    <a:pt x="1361" y="135"/>
                  </a:lnTo>
                  <a:lnTo>
                    <a:pt x="1359" y="134"/>
                  </a:lnTo>
                  <a:lnTo>
                    <a:pt x="1356" y="135"/>
                  </a:lnTo>
                  <a:lnTo>
                    <a:pt x="1354" y="137"/>
                  </a:lnTo>
                  <a:lnTo>
                    <a:pt x="1356" y="137"/>
                  </a:lnTo>
                  <a:lnTo>
                    <a:pt x="1359" y="140"/>
                  </a:lnTo>
                  <a:lnTo>
                    <a:pt x="1361" y="137"/>
                  </a:lnTo>
                  <a:lnTo>
                    <a:pt x="1371" y="137"/>
                  </a:lnTo>
                  <a:lnTo>
                    <a:pt x="1376" y="137"/>
                  </a:lnTo>
                  <a:lnTo>
                    <a:pt x="1389" y="137"/>
                  </a:lnTo>
                  <a:lnTo>
                    <a:pt x="1397" y="137"/>
                  </a:lnTo>
                  <a:lnTo>
                    <a:pt x="1401" y="132"/>
                  </a:lnTo>
                  <a:lnTo>
                    <a:pt x="1406" y="130"/>
                  </a:lnTo>
                  <a:lnTo>
                    <a:pt x="1409" y="132"/>
                  </a:lnTo>
                  <a:lnTo>
                    <a:pt x="1413" y="132"/>
                  </a:lnTo>
                  <a:lnTo>
                    <a:pt x="1418" y="132"/>
                  </a:lnTo>
                  <a:lnTo>
                    <a:pt x="1416" y="137"/>
                  </a:lnTo>
                  <a:lnTo>
                    <a:pt x="1413" y="140"/>
                  </a:lnTo>
                  <a:lnTo>
                    <a:pt x="1409" y="144"/>
                  </a:lnTo>
                  <a:lnTo>
                    <a:pt x="1406" y="144"/>
                  </a:lnTo>
                  <a:lnTo>
                    <a:pt x="1399" y="146"/>
                  </a:lnTo>
                  <a:lnTo>
                    <a:pt x="1397" y="149"/>
                  </a:lnTo>
                  <a:lnTo>
                    <a:pt x="1394" y="149"/>
                  </a:lnTo>
                  <a:lnTo>
                    <a:pt x="1390" y="154"/>
                  </a:lnTo>
                  <a:lnTo>
                    <a:pt x="1387" y="156"/>
                  </a:lnTo>
                  <a:lnTo>
                    <a:pt x="1382" y="156"/>
                  </a:lnTo>
                  <a:lnTo>
                    <a:pt x="1378" y="158"/>
                  </a:lnTo>
                  <a:lnTo>
                    <a:pt x="1376" y="158"/>
                  </a:lnTo>
                  <a:lnTo>
                    <a:pt x="1373" y="160"/>
                  </a:lnTo>
                  <a:lnTo>
                    <a:pt x="1366" y="160"/>
                  </a:lnTo>
                  <a:lnTo>
                    <a:pt x="1364" y="165"/>
                  </a:lnTo>
                  <a:lnTo>
                    <a:pt x="1359" y="167"/>
                  </a:lnTo>
                  <a:lnTo>
                    <a:pt x="1356" y="168"/>
                  </a:lnTo>
                  <a:lnTo>
                    <a:pt x="1352" y="168"/>
                  </a:lnTo>
                  <a:lnTo>
                    <a:pt x="1347" y="168"/>
                  </a:lnTo>
                  <a:lnTo>
                    <a:pt x="1347" y="168"/>
                  </a:lnTo>
                  <a:lnTo>
                    <a:pt x="1345" y="172"/>
                  </a:lnTo>
                  <a:lnTo>
                    <a:pt x="1345" y="174"/>
                  </a:lnTo>
                  <a:lnTo>
                    <a:pt x="1342" y="177"/>
                  </a:lnTo>
                  <a:lnTo>
                    <a:pt x="1340" y="180"/>
                  </a:lnTo>
                  <a:lnTo>
                    <a:pt x="1333" y="180"/>
                  </a:lnTo>
                  <a:lnTo>
                    <a:pt x="1328" y="182"/>
                  </a:lnTo>
                  <a:lnTo>
                    <a:pt x="1328" y="180"/>
                  </a:lnTo>
                  <a:lnTo>
                    <a:pt x="1324" y="179"/>
                  </a:lnTo>
                  <a:lnTo>
                    <a:pt x="1328" y="177"/>
                  </a:lnTo>
                  <a:lnTo>
                    <a:pt x="1328" y="174"/>
                  </a:lnTo>
                  <a:lnTo>
                    <a:pt x="1324" y="172"/>
                  </a:lnTo>
                  <a:lnTo>
                    <a:pt x="1324" y="177"/>
                  </a:lnTo>
                  <a:lnTo>
                    <a:pt x="1324" y="179"/>
                  </a:lnTo>
                  <a:lnTo>
                    <a:pt x="1324" y="180"/>
                  </a:lnTo>
                  <a:lnTo>
                    <a:pt x="1328" y="184"/>
                  </a:lnTo>
                  <a:lnTo>
                    <a:pt x="1328" y="187"/>
                  </a:lnTo>
                  <a:lnTo>
                    <a:pt x="1324" y="191"/>
                  </a:lnTo>
                  <a:lnTo>
                    <a:pt x="1323" y="191"/>
                  </a:lnTo>
                  <a:lnTo>
                    <a:pt x="1319" y="187"/>
                  </a:lnTo>
                  <a:lnTo>
                    <a:pt x="1317" y="189"/>
                  </a:lnTo>
                  <a:lnTo>
                    <a:pt x="1310" y="187"/>
                  </a:lnTo>
                  <a:lnTo>
                    <a:pt x="1309" y="189"/>
                  </a:lnTo>
                  <a:lnTo>
                    <a:pt x="1307" y="189"/>
                  </a:lnTo>
                  <a:lnTo>
                    <a:pt x="1307" y="186"/>
                  </a:lnTo>
                  <a:lnTo>
                    <a:pt x="1305" y="184"/>
                  </a:lnTo>
                  <a:lnTo>
                    <a:pt x="1305" y="187"/>
                  </a:lnTo>
                  <a:lnTo>
                    <a:pt x="1302" y="187"/>
                  </a:lnTo>
                  <a:lnTo>
                    <a:pt x="1302" y="191"/>
                  </a:lnTo>
                  <a:lnTo>
                    <a:pt x="1307" y="191"/>
                  </a:lnTo>
                  <a:lnTo>
                    <a:pt x="1316" y="191"/>
                  </a:lnTo>
                  <a:lnTo>
                    <a:pt x="1319" y="194"/>
                  </a:lnTo>
                  <a:lnTo>
                    <a:pt x="1317" y="196"/>
                  </a:lnTo>
                  <a:lnTo>
                    <a:pt x="1314" y="200"/>
                  </a:lnTo>
                  <a:lnTo>
                    <a:pt x="1309" y="200"/>
                  </a:lnTo>
                  <a:lnTo>
                    <a:pt x="1305" y="200"/>
                  </a:lnTo>
                  <a:lnTo>
                    <a:pt x="1305" y="200"/>
                  </a:lnTo>
                  <a:lnTo>
                    <a:pt x="1305" y="201"/>
                  </a:lnTo>
                  <a:lnTo>
                    <a:pt x="1307" y="200"/>
                  </a:lnTo>
                  <a:lnTo>
                    <a:pt x="1309" y="201"/>
                  </a:lnTo>
                  <a:lnTo>
                    <a:pt x="1309" y="205"/>
                  </a:lnTo>
                  <a:lnTo>
                    <a:pt x="1305" y="210"/>
                  </a:lnTo>
                  <a:lnTo>
                    <a:pt x="1300" y="210"/>
                  </a:lnTo>
                  <a:lnTo>
                    <a:pt x="1290" y="210"/>
                  </a:lnTo>
                  <a:lnTo>
                    <a:pt x="1290" y="208"/>
                  </a:lnTo>
                  <a:lnTo>
                    <a:pt x="1286" y="208"/>
                  </a:lnTo>
                  <a:lnTo>
                    <a:pt x="1284" y="208"/>
                  </a:lnTo>
                  <a:lnTo>
                    <a:pt x="1284" y="200"/>
                  </a:lnTo>
                  <a:lnTo>
                    <a:pt x="1279" y="200"/>
                  </a:lnTo>
                  <a:lnTo>
                    <a:pt x="1279" y="200"/>
                  </a:lnTo>
                  <a:lnTo>
                    <a:pt x="1279" y="196"/>
                  </a:lnTo>
                  <a:lnTo>
                    <a:pt x="1277" y="194"/>
                  </a:lnTo>
                  <a:lnTo>
                    <a:pt x="1274" y="194"/>
                  </a:lnTo>
                  <a:lnTo>
                    <a:pt x="1272" y="194"/>
                  </a:lnTo>
                  <a:lnTo>
                    <a:pt x="1267" y="194"/>
                  </a:lnTo>
                  <a:lnTo>
                    <a:pt x="1265" y="196"/>
                  </a:lnTo>
                  <a:lnTo>
                    <a:pt x="1269" y="196"/>
                  </a:lnTo>
                  <a:lnTo>
                    <a:pt x="1270" y="196"/>
                  </a:lnTo>
                  <a:lnTo>
                    <a:pt x="1272" y="196"/>
                  </a:lnTo>
                  <a:lnTo>
                    <a:pt x="1279" y="203"/>
                  </a:lnTo>
                  <a:lnTo>
                    <a:pt x="1279" y="214"/>
                  </a:lnTo>
                  <a:lnTo>
                    <a:pt x="1279" y="215"/>
                  </a:lnTo>
                  <a:lnTo>
                    <a:pt x="1274" y="214"/>
                  </a:lnTo>
                  <a:lnTo>
                    <a:pt x="1272" y="212"/>
                  </a:lnTo>
                  <a:lnTo>
                    <a:pt x="1270" y="212"/>
                  </a:lnTo>
                  <a:lnTo>
                    <a:pt x="1270" y="215"/>
                  </a:lnTo>
                  <a:lnTo>
                    <a:pt x="1269" y="215"/>
                  </a:lnTo>
                  <a:lnTo>
                    <a:pt x="1265" y="212"/>
                  </a:lnTo>
                  <a:lnTo>
                    <a:pt x="1262" y="212"/>
                  </a:lnTo>
                  <a:lnTo>
                    <a:pt x="1260" y="215"/>
                  </a:lnTo>
                  <a:lnTo>
                    <a:pt x="1258" y="215"/>
                  </a:lnTo>
                  <a:lnTo>
                    <a:pt x="1257" y="212"/>
                  </a:lnTo>
                  <a:lnTo>
                    <a:pt x="1255" y="212"/>
                  </a:lnTo>
                  <a:lnTo>
                    <a:pt x="1251" y="208"/>
                  </a:lnTo>
                  <a:lnTo>
                    <a:pt x="1250" y="208"/>
                  </a:lnTo>
                  <a:lnTo>
                    <a:pt x="1250" y="205"/>
                  </a:lnTo>
                  <a:lnTo>
                    <a:pt x="1246" y="203"/>
                  </a:lnTo>
                  <a:lnTo>
                    <a:pt x="1241" y="203"/>
                  </a:lnTo>
                  <a:lnTo>
                    <a:pt x="1239" y="200"/>
                  </a:lnTo>
                  <a:lnTo>
                    <a:pt x="1237" y="201"/>
                  </a:lnTo>
                  <a:lnTo>
                    <a:pt x="1239" y="205"/>
                  </a:lnTo>
                  <a:lnTo>
                    <a:pt x="1243" y="208"/>
                  </a:lnTo>
                  <a:lnTo>
                    <a:pt x="1246" y="208"/>
                  </a:lnTo>
                  <a:lnTo>
                    <a:pt x="1251" y="214"/>
                  </a:lnTo>
                  <a:lnTo>
                    <a:pt x="1250" y="217"/>
                  </a:lnTo>
                  <a:lnTo>
                    <a:pt x="1239" y="214"/>
                  </a:lnTo>
                  <a:lnTo>
                    <a:pt x="1236" y="212"/>
                  </a:lnTo>
                  <a:lnTo>
                    <a:pt x="1236" y="208"/>
                  </a:lnTo>
                  <a:lnTo>
                    <a:pt x="1234" y="205"/>
                  </a:lnTo>
                  <a:lnTo>
                    <a:pt x="1232" y="208"/>
                  </a:lnTo>
                  <a:lnTo>
                    <a:pt x="1234" y="208"/>
                  </a:lnTo>
                  <a:lnTo>
                    <a:pt x="1232" y="212"/>
                  </a:lnTo>
                  <a:lnTo>
                    <a:pt x="1229" y="210"/>
                  </a:lnTo>
                  <a:lnTo>
                    <a:pt x="1229" y="208"/>
                  </a:lnTo>
                  <a:lnTo>
                    <a:pt x="1224" y="210"/>
                  </a:lnTo>
                  <a:lnTo>
                    <a:pt x="1224" y="212"/>
                  </a:lnTo>
                  <a:lnTo>
                    <a:pt x="1229" y="214"/>
                  </a:lnTo>
                  <a:lnTo>
                    <a:pt x="1229" y="217"/>
                  </a:lnTo>
                  <a:lnTo>
                    <a:pt x="1232" y="217"/>
                  </a:lnTo>
                  <a:lnTo>
                    <a:pt x="1232" y="215"/>
                  </a:lnTo>
                  <a:lnTo>
                    <a:pt x="1236" y="215"/>
                  </a:lnTo>
                  <a:lnTo>
                    <a:pt x="1237" y="219"/>
                  </a:lnTo>
                  <a:lnTo>
                    <a:pt x="1243" y="219"/>
                  </a:lnTo>
                  <a:lnTo>
                    <a:pt x="1244" y="222"/>
                  </a:lnTo>
                  <a:lnTo>
                    <a:pt x="1248" y="222"/>
                  </a:lnTo>
                  <a:lnTo>
                    <a:pt x="1250" y="222"/>
                  </a:lnTo>
                  <a:lnTo>
                    <a:pt x="1258" y="224"/>
                  </a:lnTo>
                  <a:lnTo>
                    <a:pt x="1260" y="224"/>
                  </a:lnTo>
                  <a:lnTo>
                    <a:pt x="1257" y="227"/>
                  </a:lnTo>
                  <a:lnTo>
                    <a:pt x="1258" y="231"/>
                  </a:lnTo>
                  <a:lnTo>
                    <a:pt x="1258" y="233"/>
                  </a:lnTo>
                  <a:lnTo>
                    <a:pt x="1258" y="236"/>
                  </a:lnTo>
                  <a:lnTo>
                    <a:pt x="1257" y="238"/>
                  </a:lnTo>
                  <a:lnTo>
                    <a:pt x="1255" y="238"/>
                  </a:lnTo>
                  <a:lnTo>
                    <a:pt x="1255" y="234"/>
                  </a:lnTo>
                  <a:lnTo>
                    <a:pt x="1250" y="234"/>
                  </a:lnTo>
                  <a:lnTo>
                    <a:pt x="1244" y="231"/>
                  </a:lnTo>
                  <a:lnTo>
                    <a:pt x="1243" y="227"/>
                  </a:lnTo>
                  <a:lnTo>
                    <a:pt x="1244" y="224"/>
                  </a:lnTo>
                  <a:lnTo>
                    <a:pt x="1243" y="222"/>
                  </a:lnTo>
                  <a:lnTo>
                    <a:pt x="1236" y="222"/>
                  </a:lnTo>
                  <a:lnTo>
                    <a:pt x="1229" y="219"/>
                  </a:lnTo>
                  <a:lnTo>
                    <a:pt x="1227" y="219"/>
                  </a:lnTo>
                  <a:lnTo>
                    <a:pt x="1224" y="219"/>
                  </a:lnTo>
                  <a:lnTo>
                    <a:pt x="1224" y="219"/>
                  </a:lnTo>
                  <a:lnTo>
                    <a:pt x="1227" y="222"/>
                  </a:lnTo>
                  <a:lnTo>
                    <a:pt x="1234" y="222"/>
                  </a:lnTo>
                  <a:lnTo>
                    <a:pt x="1241" y="224"/>
                  </a:lnTo>
                  <a:lnTo>
                    <a:pt x="1241" y="227"/>
                  </a:lnTo>
                  <a:lnTo>
                    <a:pt x="1239" y="227"/>
                  </a:lnTo>
                  <a:lnTo>
                    <a:pt x="1236" y="227"/>
                  </a:lnTo>
                  <a:lnTo>
                    <a:pt x="1229" y="227"/>
                  </a:lnTo>
                  <a:lnTo>
                    <a:pt x="1224" y="227"/>
                  </a:lnTo>
                  <a:lnTo>
                    <a:pt x="1224" y="224"/>
                  </a:lnTo>
                  <a:lnTo>
                    <a:pt x="1224" y="224"/>
                  </a:lnTo>
                  <a:lnTo>
                    <a:pt x="1217" y="224"/>
                  </a:lnTo>
                  <a:lnTo>
                    <a:pt x="1215" y="222"/>
                  </a:lnTo>
                  <a:lnTo>
                    <a:pt x="1215" y="224"/>
                  </a:lnTo>
                  <a:lnTo>
                    <a:pt x="1220" y="227"/>
                  </a:lnTo>
                  <a:lnTo>
                    <a:pt x="1220" y="227"/>
                  </a:lnTo>
                  <a:lnTo>
                    <a:pt x="1220" y="231"/>
                  </a:lnTo>
                  <a:lnTo>
                    <a:pt x="1224" y="231"/>
                  </a:lnTo>
                  <a:lnTo>
                    <a:pt x="1224" y="231"/>
                  </a:lnTo>
                  <a:lnTo>
                    <a:pt x="1224" y="231"/>
                  </a:lnTo>
                  <a:lnTo>
                    <a:pt x="1229" y="231"/>
                  </a:lnTo>
                  <a:lnTo>
                    <a:pt x="1229" y="227"/>
                  </a:lnTo>
                  <a:lnTo>
                    <a:pt x="1229" y="231"/>
                  </a:lnTo>
                  <a:lnTo>
                    <a:pt x="1232" y="227"/>
                  </a:lnTo>
                  <a:lnTo>
                    <a:pt x="1236" y="231"/>
                  </a:lnTo>
                  <a:lnTo>
                    <a:pt x="1241" y="234"/>
                  </a:lnTo>
                  <a:lnTo>
                    <a:pt x="1241" y="236"/>
                  </a:lnTo>
                  <a:lnTo>
                    <a:pt x="1236" y="236"/>
                  </a:lnTo>
                  <a:lnTo>
                    <a:pt x="1232" y="238"/>
                  </a:lnTo>
                  <a:lnTo>
                    <a:pt x="1232" y="240"/>
                  </a:lnTo>
                  <a:lnTo>
                    <a:pt x="1236" y="238"/>
                  </a:lnTo>
                  <a:lnTo>
                    <a:pt x="1239" y="238"/>
                  </a:lnTo>
                  <a:lnTo>
                    <a:pt x="1241" y="238"/>
                  </a:lnTo>
                  <a:lnTo>
                    <a:pt x="1244" y="241"/>
                  </a:lnTo>
                  <a:lnTo>
                    <a:pt x="1248" y="243"/>
                  </a:lnTo>
                  <a:lnTo>
                    <a:pt x="1248" y="247"/>
                  </a:lnTo>
                  <a:lnTo>
                    <a:pt x="1244" y="254"/>
                  </a:lnTo>
                  <a:lnTo>
                    <a:pt x="1243" y="259"/>
                  </a:lnTo>
                  <a:lnTo>
                    <a:pt x="1241" y="259"/>
                  </a:lnTo>
                  <a:lnTo>
                    <a:pt x="1236" y="260"/>
                  </a:lnTo>
                  <a:lnTo>
                    <a:pt x="1234" y="260"/>
                  </a:lnTo>
                  <a:lnTo>
                    <a:pt x="1232" y="260"/>
                  </a:lnTo>
                  <a:lnTo>
                    <a:pt x="1229" y="259"/>
                  </a:lnTo>
                  <a:lnTo>
                    <a:pt x="1229" y="259"/>
                  </a:lnTo>
                  <a:lnTo>
                    <a:pt x="1224" y="255"/>
                  </a:lnTo>
                  <a:lnTo>
                    <a:pt x="1220" y="255"/>
                  </a:lnTo>
                  <a:lnTo>
                    <a:pt x="1220" y="259"/>
                  </a:lnTo>
                  <a:lnTo>
                    <a:pt x="1227" y="259"/>
                  </a:lnTo>
                  <a:lnTo>
                    <a:pt x="1227" y="260"/>
                  </a:lnTo>
                  <a:lnTo>
                    <a:pt x="1229" y="260"/>
                  </a:lnTo>
                  <a:lnTo>
                    <a:pt x="1232" y="264"/>
                  </a:lnTo>
                  <a:lnTo>
                    <a:pt x="1232" y="269"/>
                  </a:lnTo>
                  <a:lnTo>
                    <a:pt x="1232" y="271"/>
                  </a:lnTo>
                  <a:lnTo>
                    <a:pt x="1229" y="271"/>
                  </a:lnTo>
                  <a:lnTo>
                    <a:pt x="1227" y="274"/>
                  </a:lnTo>
                  <a:lnTo>
                    <a:pt x="1224" y="274"/>
                  </a:lnTo>
                  <a:lnTo>
                    <a:pt x="1218" y="271"/>
                  </a:lnTo>
                  <a:lnTo>
                    <a:pt x="1215" y="271"/>
                  </a:lnTo>
                  <a:lnTo>
                    <a:pt x="1213" y="269"/>
                  </a:lnTo>
                  <a:lnTo>
                    <a:pt x="1210" y="269"/>
                  </a:lnTo>
                  <a:lnTo>
                    <a:pt x="1210" y="271"/>
                  </a:lnTo>
                  <a:lnTo>
                    <a:pt x="1210" y="273"/>
                  </a:lnTo>
                  <a:lnTo>
                    <a:pt x="1218" y="278"/>
                  </a:lnTo>
                  <a:lnTo>
                    <a:pt x="1224" y="278"/>
                  </a:lnTo>
                  <a:lnTo>
                    <a:pt x="1224" y="281"/>
                  </a:lnTo>
                  <a:lnTo>
                    <a:pt x="1220" y="281"/>
                  </a:lnTo>
                  <a:lnTo>
                    <a:pt x="1217" y="287"/>
                  </a:lnTo>
                  <a:lnTo>
                    <a:pt x="1215" y="287"/>
                  </a:lnTo>
                  <a:lnTo>
                    <a:pt x="1211" y="281"/>
                  </a:lnTo>
                  <a:lnTo>
                    <a:pt x="1210" y="281"/>
                  </a:lnTo>
                  <a:lnTo>
                    <a:pt x="1204" y="287"/>
                  </a:lnTo>
                  <a:lnTo>
                    <a:pt x="1201" y="287"/>
                  </a:lnTo>
                  <a:lnTo>
                    <a:pt x="1197" y="281"/>
                  </a:lnTo>
                  <a:lnTo>
                    <a:pt x="1192" y="281"/>
                  </a:lnTo>
                  <a:lnTo>
                    <a:pt x="1187" y="281"/>
                  </a:lnTo>
                  <a:lnTo>
                    <a:pt x="1185" y="288"/>
                  </a:lnTo>
                  <a:lnTo>
                    <a:pt x="1182" y="292"/>
                  </a:lnTo>
                  <a:lnTo>
                    <a:pt x="1185" y="290"/>
                  </a:lnTo>
                  <a:lnTo>
                    <a:pt x="1187" y="292"/>
                  </a:lnTo>
                  <a:lnTo>
                    <a:pt x="1187" y="295"/>
                  </a:lnTo>
                  <a:lnTo>
                    <a:pt x="1182" y="299"/>
                  </a:lnTo>
                  <a:lnTo>
                    <a:pt x="1182" y="302"/>
                  </a:lnTo>
                  <a:lnTo>
                    <a:pt x="1178" y="304"/>
                  </a:lnTo>
                  <a:lnTo>
                    <a:pt x="1178" y="302"/>
                  </a:lnTo>
                  <a:lnTo>
                    <a:pt x="1175" y="304"/>
                  </a:lnTo>
                  <a:lnTo>
                    <a:pt x="1175" y="306"/>
                  </a:lnTo>
                  <a:lnTo>
                    <a:pt x="1173" y="306"/>
                  </a:lnTo>
                  <a:lnTo>
                    <a:pt x="1170" y="306"/>
                  </a:lnTo>
                  <a:lnTo>
                    <a:pt x="1170" y="306"/>
                  </a:lnTo>
                  <a:lnTo>
                    <a:pt x="1170" y="306"/>
                  </a:lnTo>
                  <a:lnTo>
                    <a:pt x="1168" y="306"/>
                  </a:lnTo>
                  <a:lnTo>
                    <a:pt x="1166" y="311"/>
                  </a:lnTo>
                  <a:lnTo>
                    <a:pt x="1163" y="313"/>
                  </a:lnTo>
                  <a:lnTo>
                    <a:pt x="1156" y="309"/>
                  </a:lnTo>
                  <a:lnTo>
                    <a:pt x="1151" y="309"/>
                  </a:lnTo>
                  <a:lnTo>
                    <a:pt x="1151" y="309"/>
                  </a:lnTo>
                  <a:lnTo>
                    <a:pt x="1147" y="309"/>
                  </a:lnTo>
                  <a:lnTo>
                    <a:pt x="1138" y="300"/>
                  </a:lnTo>
                  <a:lnTo>
                    <a:pt x="1137" y="292"/>
                  </a:lnTo>
                  <a:lnTo>
                    <a:pt x="1140" y="290"/>
                  </a:lnTo>
                  <a:lnTo>
                    <a:pt x="1140" y="288"/>
                  </a:lnTo>
                  <a:lnTo>
                    <a:pt x="1138" y="287"/>
                  </a:lnTo>
                  <a:lnTo>
                    <a:pt x="1140" y="283"/>
                  </a:lnTo>
                  <a:lnTo>
                    <a:pt x="1137" y="287"/>
                  </a:lnTo>
                  <a:lnTo>
                    <a:pt x="1137" y="290"/>
                  </a:lnTo>
                  <a:lnTo>
                    <a:pt x="1135" y="295"/>
                  </a:lnTo>
                  <a:lnTo>
                    <a:pt x="1133" y="297"/>
                  </a:lnTo>
                  <a:lnTo>
                    <a:pt x="1137" y="302"/>
                  </a:lnTo>
                  <a:lnTo>
                    <a:pt x="1135" y="304"/>
                  </a:lnTo>
                  <a:lnTo>
                    <a:pt x="1133" y="304"/>
                  </a:lnTo>
                  <a:lnTo>
                    <a:pt x="1128" y="304"/>
                  </a:lnTo>
                  <a:lnTo>
                    <a:pt x="1128" y="304"/>
                  </a:lnTo>
                  <a:lnTo>
                    <a:pt x="1124" y="304"/>
                  </a:lnTo>
                  <a:lnTo>
                    <a:pt x="1128" y="306"/>
                  </a:lnTo>
                  <a:lnTo>
                    <a:pt x="1128" y="311"/>
                  </a:lnTo>
                  <a:lnTo>
                    <a:pt x="1128" y="311"/>
                  </a:lnTo>
                  <a:lnTo>
                    <a:pt x="1131" y="306"/>
                  </a:lnTo>
                  <a:lnTo>
                    <a:pt x="1135" y="306"/>
                  </a:lnTo>
                  <a:lnTo>
                    <a:pt x="1135" y="306"/>
                  </a:lnTo>
                  <a:lnTo>
                    <a:pt x="1138" y="306"/>
                  </a:lnTo>
                  <a:lnTo>
                    <a:pt x="1142" y="306"/>
                  </a:lnTo>
                  <a:lnTo>
                    <a:pt x="1145" y="311"/>
                  </a:lnTo>
                  <a:lnTo>
                    <a:pt x="1144" y="314"/>
                  </a:lnTo>
                  <a:lnTo>
                    <a:pt x="1147" y="311"/>
                  </a:lnTo>
                  <a:lnTo>
                    <a:pt x="1152" y="309"/>
                  </a:lnTo>
                  <a:lnTo>
                    <a:pt x="1158" y="311"/>
                  </a:lnTo>
                  <a:lnTo>
                    <a:pt x="1158" y="314"/>
                  </a:lnTo>
                  <a:lnTo>
                    <a:pt x="1156" y="318"/>
                  </a:lnTo>
                  <a:lnTo>
                    <a:pt x="1156" y="323"/>
                  </a:lnTo>
                  <a:lnTo>
                    <a:pt x="1152" y="323"/>
                  </a:lnTo>
                  <a:lnTo>
                    <a:pt x="1151" y="327"/>
                  </a:lnTo>
                  <a:lnTo>
                    <a:pt x="1152" y="327"/>
                  </a:lnTo>
                  <a:lnTo>
                    <a:pt x="1156" y="327"/>
                  </a:lnTo>
                  <a:lnTo>
                    <a:pt x="1156" y="328"/>
                  </a:lnTo>
                  <a:lnTo>
                    <a:pt x="1151" y="332"/>
                  </a:lnTo>
                  <a:lnTo>
                    <a:pt x="1156" y="332"/>
                  </a:lnTo>
                  <a:lnTo>
                    <a:pt x="1156" y="328"/>
                  </a:lnTo>
                  <a:lnTo>
                    <a:pt x="1161" y="327"/>
                  </a:lnTo>
                  <a:lnTo>
                    <a:pt x="1163" y="327"/>
                  </a:lnTo>
                  <a:lnTo>
                    <a:pt x="1164" y="327"/>
                  </a:lnTo>
                  <a:lnTo>
                    <a:pt x="1166" y="327"/>
                  </a:lnTo>
                  <a:lnTo>
                    <a:pt x="1166" y="328"/>
                  </a:lnTo>
                  <a:lnTo>
                    <a:pt x="1166" y="333"/>
                  </a:lnTo>
                  <a:lnTo>
                    <a:pt x="1166" y="337"/>
                  </a:lnTo>
                  <a:lnTo>
                    <a:pt x="1161" y="344"/>
                  </a:lnTo>
                  <a:lnTo>
                    <a:pt x="1158" y="344"/>
                  </a:lnTo>
                  <a:lnTo>
                    <a:pt x="1156" y="347"/>
                  </a:lnTo>
                  <a:lnTo>
                    <a:pt x="1152" y="351"/>
                  </a:lnTo>
                  <a:lnTo>
                    <a:pt x="1151" y="354"/>
                  </a:lnTo>
                  <a:lnTo>
                    <a:pt x="1147" y="353"/>
                  </a:lnTo>
                  <a:lnTo>
                    <a:pt x="1151" y="347"/>
                  </a:lnTo>
                  <a:lnTo>
                    <a:pt x="1151" y="344"/>
                  </a:lnTo>
                  <a:lnTo>
                    <a:pt x="1151" y="344"/>
                  </a:lnTo>
                  <a:lnTo>
                    <a:pt x="1147" y="344"/>
                  </a:lnTo>
                  <a:lnTo>
                    <a:pt x="1145" y="349"/>
                  </a:lnTo>
                  <a:lnTo>
                    <a:pt x="1142" y="351"/>
                  </a:lnTo>
                  <a:lnTo>
                    <a:pt x="1137" y="354"/>
                  </a:lnTo>
                  <a:lnTo>
                    <a:pt x="1137" y="354"/>
                  </a:lnTo>
                  <a:lnTo>
                    <a:pt x="1133" y="354"/>
                  </a:lnTo>
                  <a:lnTo>
                    <a:pt x="1128" y="358"/>
                  </a:lnTo>
                  <a:lnTo>
                    <a:pt x="1124" y="358"/>
                  </a:lnTo>
                  <a:lnTo>
                    <a:pt x="1123" y="360"/>
                  </a:lnTo>
                  <a:lnTo>
                    <a:pt x="1119" y="360"/>
                  </a:lnTo>
                  <a:lnTo>
                    <a:pt x="1119" y="356"/>
                  </a:lnTo>
                  <a:lnTo>
                    <a:pt x="1118" y="354"/>
                  </a:lnTo>
                  <a:lnTo>
                    <a:pt x="1121" y="353"/>
                  </a:lnTo>
                  <a:lnTo>
                    <a:pt x="1123" y="349"/>
                  </a:lnTo>
                  <a:lnTo>
                    <a:pt x="1123" y="346"/>
                  </a:lnTo>
                  <a:lnTo>
                    <a:pt x="1119" y="340"/>
                  </a:lnTo>
                  <a:lnTo>
                    <a:pt x="1116" y="344"/>
                  </a:lnTo>
                  <a:lnTo>
                    <a:pt x="1112" y="342"/>
                  </a:lnTo>
                  <a:lnTo>
                    <a:pt x="1111" y="340"/>
                  </a:lnTo>
                  <a:lnTo>
                    <a:pt x="1112" y="337"/>
                  </a:lnTo>
                  <a:lnTo>
                    <a:pt x="1116" y="335"/>
                  </a:lnTo>
                  <a:lnTo>
                    <a:pt x="1114" y="335"/>
                  </a:lnTo>
                  <a:lnTo>
                    <a:pt x="1111" y="333"/>
                  </a:lnTo>
                  <a:lnTo>
                    <a:pt x="1109" y="328"/>
                  </a:lnTo>
                  <a:lnTo>
                    <a:pt x="1111" y="327"/>
                  </a:lnTo>
                  <a:lnTo>
                    <a:pt x="1111" y="323"/>
                  </a:lnTo>
                  <a:lnTo>
                    <a:pt x="1109" y="320"/>
                  </a:lnTo>
                  <a:lnTo>
                    <a:pt x="1109" y="323"/>
                  </a:lnTo>
                  <a:lnTo>
                    <a:pt x="1105" y="328"/>
                  </a:lnTo>
                  <a:lnTo>
                    <a:pt x="1109" y="335"/>
                  </a:lnTo>
                  <a:lnTo>
                    <a:pt x="1109" y="337"/>
                  </a:lnTo>
                  <a:lnTo>
                    <a:pt x="1107" y="337"/>
                  </a:lnTo>
                  <a:lnTo>
                    <a:pt x="1107" y="342"/>
                  </a:lnTo>
                  <a:lnTo>
                    <a:pt x="1105" y="344"/>
                  </a:lnTo>
                  <a:lnTo>
                    <a:pt x="1102" y="342"/>
                  </a:lnTo>
                  <a:lnTo>
                    <a:pt x="1100" y="342"/>
                  </a:lnTo>
                  <a:lnTo>
                    <a:pt x="1097" y="340"/>
                  </a:lnTo>
                  <a:lnTo>
                    <a:pt x="1097" y="340"/>
                  </a:lnTo>
                  <a:lnTo>
                    <a:pt x="1100" y="333"/>
                  </a:lnTo>
                  <a:lnTo>
                    <a:pt x="1097" y="328"/>
                  </a:lnTo>
                  <a:lnTo>
                    <a:pt x="1100" y="327"/>
                  </a:lnTo>
                  <a:lnTo>
                    <a:pt x="1102" y="323"/>
                  </a:lnTo>
                  <a:lnTo>
                    <a:pt x="1097" y="323"/>
                  </a:lnTo>
                  <a:lnTo>
                    <a:pt x="1097" y="327"/>
                  </a:lnTo>
                  <a:lnTo>
                    <a:pt x="1097" y="332"/>
                  </a:lnTo>
                  <a:lnTo>
                    <a:pt x="1097" y="335"/>
                  </a:lnTo>
                  <a:lnTo>
                    <a:pt x="1093" y="340"/>
                  </a:lnTo>
                  <a:lnTo>
                    <a:pt x="1091" y="340"/>
                  </a:lnTo>
                  <a:lnTo>
                    <a:pt x="1088" y="337"/>
                  </a:lnTo>
                  <a:lnTo>
                    <a:pt x="1088" y="335"/>
                  </a:lnTo>
                  <a:lnTo>
                    <a:pt x="1086" y="335"/>
                  </a:lnTo>
                  <a:lnTo>
                    <a:pt x="1086" y="332"/>
                  </a:lnTo>
                  <a:lnTo>
                    <a:pt x="1088" y="328"/>
                  </a:lnTo>
                  <a:lnTo>
                    <a:pt x="1090" y="327"/>
                  </a:lnTo>
                  <a:lnTo>
                    <a:pt x="1088" y="323"/>
                  </a:lnTo>
                  <a:lnTo>
                    <a:pt x="1086" y="323"/>
                  </a:lnTo>
                  <a:lnTo>
                    <a:pt x="1086" y="325"/>
                  </a:lnTo>
                  <a:lnTo>
                    <a:pt x="1086" y="328"/>
                  </a:lnTo>
                  <a:lnTo>
                    <a:pt x="1085" y="328"/>
                  </a:lnTo>
                  <a:lnTo>
                    <a:pt x="1083" y="333"/>
                  </a:lnTo>
                  <a:lnTo>
                    <a:pt x="1083" y="335"/>
                  </a:lnTo>
                  <a:lnTo>
                    <a:pt x="1079" y="335"/>
                  </a:lnTo>
                  <a:lnTo>
                    <a:pt x="1079" y="335"/>
                  </a:lnTo>
                  <a:lnTo>
                    <a:pt x="1078" y="337"/>
                  </a:lnTo>
                  <a:lnTo>
                    <a:pt x="1078" y="337"/>
                  </a:lnTo>
                  <a:lnTo>
                    <a:pt x="1078" y="337"/>
                  </a:lnTo>
                  <a:lnTo>
                    <a:pt x="1078" y="337"/>
                  </a:lnTo>
                  <a:close/>
                  <a:moveTo>
                    <a:pt x="1170" y="843"/>
                  </a:moveTo>
                  <a:lnTo>
                    <a:pt x="1170" y="850"/>
                  </a:lnTo>
                  <a:lnTo>
                    <a:pt x="1168" y="853"/>
                  </a:lnTo>
                  <a:lnTo>
                    <a:pt x="1170" y="857"/>
                  </a:lnTo>
                  <a:lnTo>
                    <a:pt x="1170" y="855"/>
                  </a:lnTo>
                  <a:lnTo>
                    <a:pt x="1170" y="852"/>
                  </a:lnTo>
                  <a:lnTo>
                    <a:pt x="1170" y="848"/>
                  </a:lnTo>
                  <a:lnTo>
                    <a:pt x="1170" y="845"/>
                  </a:lnTo>
                  <a:lnTo>
                    <a:pt x="1170" y="843"/>
                  </a:lnTo>
                  <a:lnTo>
                    <a:pt x="1170" y="843"/>
                  </a:lnTo>
                  <a:lnTo>
                    <a:pt x="1170" y="843"/>
                  </a:lnTo>
                  <a:lnTo>
                    <a:pt x="1170" y="843"/>
                  </a:lnTo>
                  <a:close/>
                  <a:moveTo>
                    <a:pt x="1166" y="826"/>
                  </a:moveTo>
                  <a:lnTo>
                    <a:pt x="1164" y="824"/>
                  </a:lnTo>
                  <a:lnTo>
                    <a:pt x="1166" y="822"/>
                  </a:lnTo>
                  <a:lnTo>
                    <a:pt x="1168" y="824"/>
                  </a:lnTo>
                  <a:lnTo>
                    <a:pt x="1168" y="826"/>
                  </a:lnTo>
                  <a:lnTo>
                    <a:pt x="1166" y="826"/>
                  </a:lnTo>
                  <a:lnTo>
                    <a:pt x="1166" y="826"/>
                  </a:lnTo>
                  <a:lnTo>
                    <a:pt x="1166" y="826"/>
                  </a:lnTo>
                  <a:lnTo>
                    <a:pt x="1166" y="826"/>
                  </a:lnTo>
                  <a:close/>
                  <a:moveTo>
                    <a:pt x="1161" y="815"/>
                  </a:moveTo>
                  <a:lnTo>
                    <a:pt x="1163" y="812"/>
                  </a:lnTo>
                  <a:lnTo>
                    <a:pt x="1166" y="812"/>
                  </a:lnTo>
                  <a:lnTo>
                    <a:pt x="1166" y="812"/>
                  </a:lnTo>
                  <a:lnTo>
                    <a:pt x="1164" y="815"/>
                  </a:lnTo>
                  <a:lnTo>
                    <a:pt x="1163" y="815"/>
                  </a:lnTo>
                  <a:lnTo>
                    <a:pt x="1161" y="815"/>
                  </a:lnTo>
                  <a:lnTo>
                    <a:pt x="1161" y="815"/>
                  </a:lnTo>
                  <a:lnTo>
                    <a:pt x="1161" y="815"/>
                  </a:lnTo>
                  <a:lnTo>
                    <a:pt x="1161" y="815"/>
                  </a:lnTo>
                  <a:close/>
                  <a:moveTo>
                    <a:pt x="1133" y="560"/>
                  </a:moveTo>
                  <a:lnTo>
                    <a:pt x="1133" y="556"/>
                  </a:lnTo>
                  <a:lnTo>
                    <a:pt x="1135" y="556"/>
                  </a:lnTo>
                  <a:lnTo>
                    <a:pt x="1135" y="560"/>
                  </a:lnTo>
                  <a:lnTo>
                    <a:pt x="1133" y="560"/>
                  </a:lnTo>
                  <a:lnTo>
                    <a:pt x="1133" y="560"/>
                  </a:lnTo>
                  <a:lnTo>
                    <a:pt x="1133" y="560"/>
                  </a:lnTo>
                  <a:lnTo>
                    <a:pt x="1133" y="560"/>
                  </a:lnTo>
                  <a:close/>
                  <a:moveTo>
                    <a:pt x="1138" y="561"/>
                  </a:moveTo>
                  <a:lnTo>
                    <a:pt x="1138" y="560"/>
                  </a:lnTo>
                  <a:lnTo>
                    <a:pt x="1138" y="556"/>
                  </a:lnTo>
                  <a:lnTo>
                    <a:pt x="1140" y="556"/>
                  </a:lnTo>
                  <a:lnTo>
                    <a:pt x="1142" y="560"/>
                  </a:lnTo>
                  <a:lnTo>
                    <a:pt x="1140" y="561"/>
                  </a:lnTo>
                  <a:lnTo>
                    <a:pt x="1138" y="561"/>
                  </a:lnTo>
                  <a:lnTo>
                    <a:pt x="1138" y="561"/>
                  </a:lnTo>
                  <a:lnTo>
                    <a:pt x="1138" y="561"/>
                  </a:lnTo>
                  <a:lnTo>
                    <a:pt x="1138" y="561"/>
                  </a:lnTo>
                  <a:close/>
                  <a:moveTo>
                    <a:pt x="1133" y="570"/>
                  </a:moveTo>
                  <a:lnTo>
                    <a:pt x="1131" y="568"/>
                  </a:lnTo>
                  <a:lnTo>
                    <a:pt x="1131" y="566"/>
                  </a:lnTo>
                  <a:lnTo>
                    <a:pt x="1131" y="565"/>
                  </a:lnTo>
                  <a:lnTo>
                    <a:pt x="1133" y="561"/>
                  </a:lnTo>
                  <a:lnTo>
                    <a:pt x="1135" y="565"/>
                  </a:lnTo>
                  <a:lnTo>
                    <a:pt x="1137" y="565"/>
                  </a:lnTo>
                  <a:lnTo>
                    <a:pt x="1138" y="565"/>
                  </a:lnTo>
                  <a:lnTo>
                    <a:pt x="1135" y="566"/>
                  </a:lnTo>
                  <a:lnTo>
                    <a:pt x="1133" y="570"/>
                  </a:lnTo>
                  <a:lnTo>
                    <a:pt x="1133" y="570"/>
                  </a:lnTo>
                  <a:lnTo>
                    <a:pt x="1133" y="570"/>
                  </a:lnTo>
                  <a:lnTo>
                    <a:pt x="1133" y="570"/>
                  </a:lnTo>
                  <a:lnTo>
                    <a:pt x="1133" y="570"/>
                  </a:lnTo>
                  <a:close/>
                  <a:moveTo>
                    <a:pt x="1184" y="646"/>
                  </a:moveTo>
                  <a:lnTo>
                    <a:pt x="1185" y="646"/>
                  </a:lnTo>
                  <a:lnTo>
                    <a:pt x="1189" y="646"/>
                  </a:lnTo>
                  <a:lnTo>
                    <a:pt x="1187" y="646"/>
                  </a:lnTo>
                  <a:lnTo>
                    <a:pt x="1185" y="646"/>
                  </a:lnTo>
                  <a:lnTo>
                    <a:pt x="1184" y="646"/>
                  </a:lnTo>
                  <a:lnTo>
                    <a:pt x="1184" y="646"/>
                  </a:lnTo>
                  <a:lnTo>
                    <a:pt x="1184" y="646"/>
                  </a:lnTo>
                  <a:lnTo>
                    <a:pt x="1184" y="646"/>
                  </a:lnTo>
                  <a:close/>
                  <a:moveTo>
                    <a:pt x="1178" y="646"/>
                  </a:moveTo>
                  <a:lnTo>
                    <a:pt x="1178" y="643"/>
                  </a:lnTo>
                  <a:lnTo>
                    <a:pt x="1182" y="643"/>
                  </a:lnTo>
                  <a:lnTo>
                    <a:pt x="1182" y="643"/>
                  </a:lnTo>
                  <a:lnTo>
                    <a:pt x="1184" y="643"/>
                  </a:lnTo>
                  <a:lnTo>
                    <a:pt x="1182" y="646"/>
                  </a:lnTo>
                  <a:lnTo>
                    <a:pt x="1178" y="646"/>
                  </a:lnTo>
                  <a:lnTo>
                    <a:pt x="1178" y="646"/>
                  </a:lnTo>
                  <a:lnTo>
                    <a:pt x="1178" y="646"/>
                  </a:lnTo>
                  <a:lnTo>
                    <a:pt x="1178" y="646"/>
                  </a:lnTo>
                  <a:lnTo>
                    <a:pt x="1178" y="646"/>
                  </a:lnTo>
                  <a:close/>
                  <a:moveTo>
                    <a:pt x="1168" y="681"/>
                  </a:moveTo>
                  <a:lnTo>
                    <a:pt x="1170" y="683"/>
                  </a:lnTo>
                  <a:lnTo>
                    <a:pt x="1173" y="681"/>
                  </a:lnTo>
                  <a:lnTo>
                    <a:pt x="1170" y="681"/>
                  </a:lnTo>
                  <a:lnTo>
                    <a:pt x="1168" y="681"/>
                  </a:lnTo>
                  <a:lnTo>
                    <a:pt x="1168" y="681"/>
                  </a:lnTo>
                  <a:lnTo>
                    <a:pt x="1168" y="681"/>
                  </a:lnTo>
                  <a:lnTo>
                    <a:pt x="1168" y="681"/>
                  </a:lnTo>
                  <a:close/>
                  <a:moveTo>
                    <a:pt x="1182" y="697"/>
                  </a:moveTo>
                  <a:lnTo>
                    <a:pt x="1185" y="699"/>
                  </a:lnTo>
                  <a:lnTo>
                    <a:pt x="1187" y="697"/>
                  </a:lnTo>
                  <a:lnTo>
                    <a:pt x="1185" y="697"/>
                  </a:lnTo>
                  <a:lnTo>
                    <a:pt x="1184" y="697"/>
                  </a:lnTo>
                  <a:lnTo>
                    <a:pt x="1184" y="697"/>
                  </a:lnTo>
                  <a:lnTo>
                    <a:pt x="1182" y="697"/>
                  </a:lnTo>
                  <a:lnTo>
                    <a:pt x="1182" y="697"/>
                  </a:lnTo>
                  <a:lnTo>
                    <a:pt x="1182" y="697"/>
                  </a:lnTo>
                  <a:lnTo>
                    <a:pt x="1182" y="697"/>
                  </a:lnTo>
                  <a:close/>
                  <a:moveTo>
                    <a:pt x="1210" y="721"/>
                  </a:moveTo>
                  <a:lnTo>
                    <a:pt x="1210" y="720"/>
                  </a:lnTo>
                  <a:lnTo>
                    <a:pt x="1210" y="718"/>
                  </a:lnTo>
                  <a:lnTo>
                    <a:pt x="1211" y="720"/>
                  </a:lnTo>
                  <a:lnTo>
                    <a:pt x="1211" y="721"/>
                  </a:lnTo>
                  <a:lnTo>
                    <a:pt x="1210" y="721"/>
                  </a:lnTo>
                  <a:lnTo>
                    <a:pt x="1210" y="721"/>
                  </a:lnTo>
                  <a:lnTo>
                    <a:pt x="1210" y="721"/>
                  </a:lnTo>
                  <a:lnTo>
                    <a:pt x="1210" y="721"/>
                  </a:lnTo>
                  <a:lnTo>
                    <a:pt x="1210" y="721"/>
                  </a:lnTo>
                  <a:close/>
                  <a:moveTo>
                    <a:pt x="1220" y="739"/>
                  </a:moveTo>
                  <a:lnTo>
                    <a:pt x="1220" y="735"/>
                  </a:lnTo>
                  <a:lnTo>
                    <a:pt x="1224" y="733"/>
                  </a:lnTo>
                  <a:lnTo>
                    <a:pt x="1227" y="733"/>
                  </a:lnTo>
                  <a:lnTo>
                    <a:pt x="1229" y="733"/>
                  </a:lnTo>
                  <a:lnTo>
                    <a:pt x="1224" y="737"/>
                  </a:lnTo>
                  <a:lnTo>
                    <a:pt x="1224" y="739"/>
                  </a:lnTo>
                  <a:lnTo>
                    <a:pt x="1224" y="739"/>
                  </a:lnTo>
                  <a:lnTo>
                    <a:pt x="1220" y="739"/>
                  </a:lnTo>
                  <a:lnTo>
                    <a:pt x="1220" y="739"/>
                  </a:lnTo>
                  <a:lnTo>
                    <a:pt x="1220" y="739"/>
                  </a:lnTo>
                  <a:lnTo>
                    <a:pt x="1220" y="739"/>
                  </a:lnTo>
                  <a:close/>
                  <a:moveTo>
                    <a:pt x="1128" y="373"/>
                  </a:moveTo>
                  <a:lnTo>
                    <a:pt x="1128" y="368"/>
                  </a:lnTo>
                  <a:lnTo>
                    <a:pt x="1128" y="368"/>
                  </a:lnTo>
                  <a:lnTo>
                    <a:pt x="1131" y="365"/>
                  </a:lnTo>
                  <a:lnTo>
                    <a:pt x="1138" y="360"/>
                  </a:lnTo>
                  <a:lnTo>
                    <a:pt x="1142" y="360"/>
                  </a:lnTo>
                  <a:lnTo>
                    <a:pt x="1140" y="365"/>
                  </a:lnTo>
                  <a:lnTo>
                    <a:pt x="1135" y="368"/>
                  </a:lnTo>
                  <a:lnTo>
                    <a:pt x="1133" y="370"/>
                  </a:lnTo>
                  <a:lnTo>
                    <a:pt x="1135" y="372"/>
                  </a:lnTo>
                  <a:lnTo>
                    <a:pt x="1135" y="373"/>
                  </a:lnTo>
                  <a:lnTo>
                    <a:pt x="1133" y="373"/>
                  </a:lnTo>
                  <a:lnTo>
                    <a:pt x="1131" y="370"/>
                  </a:lnTo>
                  <a:lnTo>
                    <a:pt x="1130" y="372"/>
                  </a:lnTo>
                  <a:lnTo>
                    <a:pt x="1128" y="373"/>
                  </a:lnTo>
                  <a:lnTo>
                    <a:pt x="1128" y="373"/>
                  </a:lnTo>
                  <a:lnTo>
                    <a:pt x="1128" y="373"/>
                  </a:lnTo>
                  <a:lnTo>
                    <a:pt x="1128" y="373"/>
                  </a:lnTo>
                  <a:lnTo>
                    <a:pt x="1128" y="373"/>
                  </a:lnTo>
                  <a:close/>
                  <a:moveTo>
                    <a:pt x="1111" y="358"/>
                  </a:moveTo>
                  <a:lnTo>
                    <a:pt x="1111" y="358"/>
                  </a:lnTo>
                  <a:lnTo>
                    <a:pt x="1112" y="360"/>
                  </a:lnTo>
                  <a:lnTo>
                    <a:pt x="1114" y="360"/>
                  </a:lnTo>
                  <a:lnTo>
                    <a:pt x="1116" y="358"/>
                  </a:lnTo>
                  <a:lnTo>
                    <a:pt x="1114" y="356"/>
                  </a:lnTo>
                  <a:lnTo>
                    <a:pt x="1111" y="358"/>
                  </a:lnTo>
                  <a:lnTo>
                    <a:pt x="1111" y="358"/>
                  </a:lnTo>
                  <a:lnTo>
                    <a:pt x="1111" y="358"/>
                  </a:lnTo>
                  <a:lnTo>
                    <a:pt x="1111" y="358"/>
                  </a:lnTo>
                  <a:close/>
                  <a:moveTo>
                    <a:pt x="1020" y="318"/>
                  </a:moveTo>
                  <a:lnTo>
                    <a:pt x="1015" y="314"/>
                  </a:lnTo>
                  <a:lnTo>
                    <a:pt x="1015" y="311"/>
                  </a:lnTo>
                  <a:lnTo>
                    <a:pt x="1015" y="306"/>
                  </a:lnTo>
                  <a:lnTo>
                    <a:pt x="1013" y="304"/>
                  </a:lnTo>
                  <a:lnTo>
                    <a:pt x="1013" y="300"/>
                  </a:lnTo>
                  <a:lnTo>
                    <a:pt x="1013" y="299"/>
                  </a:lnTo>
                  <a:lnTo>
                    <a:pt x="1017" y="297"/>
                  </a:lnTo>
                  <a:lnTo>
                    <a:pt x="1020" y="300"/>
                  </a:lnTo>
                  <a:lnTo>
                    <a:pt x="1024" y="304"/>
                  </a:lnTo>
                  <a:lnTo>
                    <a:pt x="1020" y="309"/>
                  </a:lnTo>
                  <a:lnTo>
                    <a:pt x="1020" y="311"/>
                  </a:lnTo>
                  <a:lnTo>
                    <a:pt x="1020" y="313"/>
                  </a:lnTo>
                  <a:lnTo>
                    <a:pt x="1020" y="318"/>
                  </a:lnTo>
                  <a:lnTo>
                    <a:pt x="1020" y="318"/>
                  </a:lnTo>
                  <a:lnTo>
                    <a:pt x="1020" y="318"/>
                  </a:lnTo>
                  <a:lnTo>
                    <a:pt x="1020" y="318"/>
                  </a:lnTo>
                  <a:lnTo>
                    <a:pt x="1020" y="318"/>
                  </a:lnTo>
                  <a:close/>
                  <a:moveTo>
                    <a:pt x="1018" y="127"/>
                  </a:moveTo>
                  <a:lnTo>
                    <a:pt x="1020" y="123"/>
                  </a:lnTo>
                  <a:lnTo>
                    <a:pt x="1024" y="118"/>
                  </a:lnTo>
                  <a:lnTo>
                    <a:pt x="1024" y="114"/>
                  </a:lnTo>
                  <a:lnTo>
                    <a:pt x="1029" y="113"/>
                  </a:lnTo>
                  <a:lnTo>
                    <a:pt x="1032" y="109"/>
                  </a:lnTo>
                  <a:lnTo>
                    <a:pt x="1029" y="106"/>
                  </a:lnTo>
                  <a:lnTo>
                    <a:pt x="1025" y="106"/>
                  </a:lnTo>
                  <a:lnTo>
                    <a:pt x="1024" y="106"/>
                  </a:lnTo>
                  <a:lnTo>
                    <a:pt x="1024" y="102"/>
                  </a:lnTo>
                  <a:lnTo>
                    <a:pt x="1024" y="102"/>
                  </a:lnTo>
                  <a:lnTo>
                    <a:pt x="1020" y="106"/>
                  </a:lnTo>
                  <a:lnTo>
                    <a:pt x="1015" y="107"/>
                  </a:lnTo>
                  <a:lnTo>
                    <a:pt x="1013" y="109"/>
                  </a:lnTo>
                  <a:lnTo>
                    <a:pt x="1012" y="113"/>
                  </a:lnTo>
                  <a:lnTo>
                    <a:pt x="1012" y="113"/>
                  </a:lnTo>
                  <a:lnTo>
                    <a:pt x="1015" y="114"/>
                  </a:lnTo>
                  <a:lnTo>
                    <a:pt x="1018" y="113"/>
                  </a:lnTo>
                  <a:lnTo>
                    <a:pt x="1018" y="118"/>
                  </a:lnTo>
                  <a:lnTo>
                    <a:pt x="1015" y="121"/>
                  </a:lnTo>
                  <a:lnTo>
                    <a:pt x="1015" y="123"/>
                  </a:lnTo>
                  <a:lnTo>
                    <a:pt x="1017" y="123"/>
                  </a:lnTo>
                  <a:lnTo>
                    <a:pt x="1018" y="127"/>
                  </a:lnTo>
                  <a:lnTo>
                    <a:pt x="1018" y="127"/>
                  </a:lnTo>
                  <a:lnTo>
                    <a:pt x="1018" y="127"/>
                  </a:lnTo>
                  <a:lnTo>
                    <a:pt x="1018" y="127"/>
                  </a:lnTo>
                  <a:close/>
                  <a:moveTo>
                    <a:pt x="975" y="231"/>
                  </a:moveTo>
                  <a:lnTo>
                    <a:pt x="975" y="227"/>
                  </a:lnTo>
                  <a:lnTo>
                    <a:pt x="975" y="224"/>
                  </a:lnTo>
                  <a:lnTo>
                    <a:pt x="975" y="222"/>
                  </a:lnTo>
                  <a:lnTo>
                    <a:pt x="975" y="217"/>
                  </a:lnTo>
                  <a:lnTo>
                    <a:pt x="970" y="215"/>
                  </a:lnTo>
                  <a:lnTo>
                    <a:pt x="973" y="214"/>
                  </a:lnTo>
                  <a:lnTo>
                    <a:pt x="973" y="210"/>
                  </a:lnTo>
                  <a:lnTo>
                    <a:pt x="979" y="212"/>
                  </a:lnTo>
                  <a:lnTo>
                    <a:pt x="980" y="214"/>
                  </a:lnTo>
                  <a:lnTo>
                    <a:pt x="982" y="215"/>
                  </a:lnTo>
                  <a:lnTo>
                    <a:pt x="982" y="212"/>
                  </a:lnTo>
                  <a:lnTo>
                    <a:pt x="979" y="208"/>
                  </a:lnTo>
                  <a:lnTo>
                    <a:pt x="975" y="203"/>
                  </a:lnTo>
                  <a:lnTo>
                    <a:pt x="975" y="201"/>
                  </a:lnTo>
                  <a:lnTo>
                    <a:pt x="979" y="201"/>
                  </a:lnTo>
                  <a:lnTo>
                    <a:pt x="975" y="200"/>
                  </a:lnTo>
                  <a:lnTo>
                    <a:pt x="979" y="196"/>
                  </a:lnTo>
                  <a:lnTo>
                    <a:pt x="979" y="191"/>
                  </a:lnTo>
                  <a:lnTo>
                    <a:pt x="980" y="186"/>
                  </a:lnTo>
                  <a:lnTo>
                    <a:pt x="982" y="186"/>
                  </a:lnTo>
                  <a:lnTo>
                    <a:pt x="985" y="184"/>
                  </a:lnTo>
                  <a:lnTo>
                    <a:pt x="985" y="179"/>
                  </a:lnTo>
                  <a:lnTo>
                    <a:pt x="987" y="177"/>
                  </a:lnTo>
                  <a:lnTo>
                    <a:pt x="992" y="174"/>
                  </a:lnTo>
                  <a:lnTo>
                    <a:pt x="996" y="174"/>
                  </a:lnTo>
                  <a:lnTo>
                    <a:pt x="998" y="179"/>
                  </a:lnTo>
                  <a:lnTo>
                    <a:pt x="1001" y="182"/>
                  </a:lnTo>
                  <a:lnTo>
                    <a:pt x="1001" y="186"/>
                  </a:lnTo>
                  <a:lnTo>
                    <a:pt x="1001" y="187"/>
                  </a:lnTo>
                  <a:lnTo>
                    <a:pt x="1003" y="189"/>
                  </a:lnTo>
                  <a:lnTo>
                    <a:pt x="1003" y="193"/>
                  </a:lnTo>
                  <a:lnTo>
                    <a:pt x="1005" y="194"/>
                  </a:lnTo>
                  <a:lnTo>
                    <a:pt x="1005" y="196"/>
                  </a:lnTo>
                  <a:lnTo>
                    <a:pt x="1006" y="200"/>
                  </a:lnTo>
                  <a:lnTo>
                    <a:pt x="1010" y="200"/>
                  </a:lnTo>
                  <a:lnTo>
                    <a:pt x="1010" y="200"/>
                  </a:lnTo>
                  <a:lnTo>
                    <a:pt x="1012" y="203"/>
                  </a:lnTo>
                  <a:lnTo>
                    <a:pt x="1013" y="210"/>
                  </a:lnTo>
                  <a:lnTo>
                    <a:pt x="1010" y="214"/>
                  </a:lnTo>
                  <a:lnTo>
                    <a:pt x="1008" y="215"/>
                  </a:lnTo>
                  <a:lnTo>
                    <a:pt x="1005" y="215"/>
                  </a:lnTo>
                  <a:lnTo>
                    <a:pt x="1003" y="215"/>
                  </a:lnTo>
                  <a:lnTo>
                    <a:pt x="1005" y="217"/>
                  </a:lnTo>
                  <a:lnTo>
                    <a:pt x="1006" y="217"/>
                  </a:lnTo>
                  <a:lnTo>
                    <a:pt x="1006" y="224"/>
                  </a:lnTo>
                  <a:lnTo>
                    <a:pt x="1006" y="227"/>
                  </a:lnTo>
                  <a:lnTo>
                    <a:pt x="1001" y="231"/>
                  </a:lnTo>
                  <a:lnTo>
                    <a:pt x="998" y="231"/>
                  </a:lnTo>
                  <a:lnTo>
                    <a:pt x="998" y="231"/>
                  </a:lnTo>
                  <a:lnTo>
                    <a:pt x="998" y="227"/>
                  </a:lnTo>
                  <a:lnTo>
                    <a:pt x="996" y="227"/>
                  </a:lnTo>
                  <a:lnTo>
                    <a:pt x="992" y="231"/>
                  </a:lnTo>
                  <a:lnTo>
                    <a:pt x="989" y="227"/>
                  </a:lnTo>
                  <a:lnTo>
                    <a:pt x="984" y="231"/>
                  </a:lnTo>
                  <a:lnTo>
                    <a:pt x="980" y="231"/>
                  </a:lnTo>
                  <a:lnTo>
                    <a:pt x="980" y="227"/>
                  </a:lnTo>
                  <a:lnTo>
                    <a:pt x="979" y="227"/>
                  </a:lnTo>
                  <a:lnTo>
                    <a:pt x="979" y="227"/>
                  </a:lnTo>
                  <a:lnTo>
                    <a:pt x="975" y="231"/>
                  </a:lnTo>
                  <a:lnTo>
                    <a:pt x="975" y="231"/>
                  </a:lnTo>
                  <a:lnTo>
                    <a:pt x="975" y="231"/>
                  </a:lnTo>
                  <a:lnTo>
                    <a:pt x="975" y="231"/>
                  </a:lnTo>
                  <a:close/>
                  <a:moveTo>
                    <a:pt x="1013" y="224"/>
                  </a:moveTo>
                  <a:lnTo>
                    <a:pt x="1015" y="224"/>
                  </a:lnTo>
                  <a:lnTo>
                    <a:pt x="1015" y="222"/>
                  </a:lnTo>
                  <a:lnTo>
                    <a:pt x="1015" y="215"/>
                  </a:lnTo>
                  <a:lnTo>
                    <a:pt x="1013" y="215"/>
                  </a:lnTo>
                  <a:lnTo>
                    <a:pt x="1012" y="219"/>
                  </a:lnTo>
                  <a:lnTo>
                    <a:pt x="1012" y="222"/>
                  </a:lnTo>
                  <a:lnTo>
                    <a:pt x="1013" y="224"/>
                  </a:lnTo>
                  <a:lnTo>
                    <a:pt x="1013" y="224"/>
                  </a:lnTo>
                  <a:lnTo>
                    <a:pt x="1013" y="224"/>
                  </a:lnTo>
                  <a:lnTo>
                    <a:pt x="1013" y="224"/>
                  </a:lnTo>
                  <a:close/>
                  <a:moveTo>
                    <a:pt x="1025" y="276"/>
                  </a:moveTo>
                  <a:lnTo>
                    <a:pt x="1025" y="278"/>
                  </a:lnTo>
                  <a:lnTo>
                    <a:pt x="1029" y="281"/>
                  </a:lnTo>
                  <a:lnTo>
                    <a:pt x="1032" y="281"/>
                  </a:lnTo>
                  <a:lnTo>
                    <a:pt x="1036" y="281"/>
                  </a:lnTo>
                  <a:lnTo>
                    <a:pt x="1039" y="274"/>
                  </a:lnTo>
                  <a:lnTo>
                    <a:pt x="1039" y="273"/>
                  </a:lnTo>
                  <a:lnTo>
                    <a:pt x="1038" y="271"/>
                  </a:lnTo>
                  <a:lnTo>
                    <a:pt x="1039" y="269"/>
                  </a:lnTo>
                  <a:lnTo>
                    <a:pt x="1038" y="267"/>
                  </a:lnTo>
                  <a:lnTo>
                    <a:pt x="1034" y="267"/>
                  </a:lnTo>
                  <a:lnTo>
                    <a:pt x="1032" y="262"/>
                  </a:lnTo>
                  <a:lnTo>
                    <a:pt x="1029" y="262"/>
                  </a:lnTo>
                  <a:lnTo>
                    <a:pt x="1025" y="266"/>
                  </a:lnTo>
                  <a:lnTo>
                    <a:pt x="1025" y="269"/>
                  </a:lnTo>
                  <a:lnTo>
                    <a:pt x="1024" y="273"/>
                  </a:lnTo>
                  <a:lnTo>
                    <a:pt x="1025" y="276"/>
                  </a:lnTo>
                  <a:lnTo>
                    <a:pt x="1025" y="276"/>
                  </a:lnTo>
                  <a:lnTo>
                    <a:pt x="1025" y="276"/>
                  </a:lnTo>
                  <a:lnTo>
                    <a:pt x="1025" y="276"/>
                  </a:lnTo>
                  <a:close/>
                  <a:moveTo>
                    <a:pt x="1020" y="278"/>
                  </a:moveTo>
                  <a:lnTo>
                    <a:pt x="1020" y="278"/>
                  </a:lnTo>
                  <a:lnTo>
                    <a:pt x="1020" y="281"/>
                  </a:lnTo>
                  <a:lnTo>
                    <a:pt x="1024" y="283"/>
                  </a:lnTo>
                  <a:lnTo>
                    <a:pt x="1024" y="281"/>
                  </a:lnTo>
                  <a:lnTo>
                    <a:pt x="1024" y="281"/>
                  </a:lnTo>
                  <a:lnTo>
                    <a:pt x="1024" y="278"/>
                  </a:lnTo>
                  <a:lnTo>
                    <a:pt x="1024" y="278"/>
                  </a:lnTo>
                  <a:lnTo>
                    <a:pt x="1020" y="278"/>
                  </a:lnTo>
                  <a:lnTo>
                    <a:pt x="1020" y="278"/>
                  </a:lnTo>
                  <a:lnTo>
                    <a:pt x="1020" y="278"/>
                  </a:lnTo>
                  <a:lnTo>
                    <a:pt x="1020" y="278"/>
                  </a:lnTo>
                  <a:close/>
                  <a:moveTo>
                    <a:pt x="970" y="250"/>
                  </a:moveTo>
                  <a:lnTo>
                    <a:pt x="970" y="247"/>
                  </a:lnTo>
                  <a:lnTo>
                    <a:pt x="973" y="241"/>
                  </a:lnTo>
                  <a:lnTo>
                    <a:pt x="975" y="238"/>
                  </a:lnTo>
                  <a:lnTo>
                    <a:pt x="979" y="238"/>
                  </a:lnTo>
                  <a:lnTo>
                    <a:pt x="980" y="238"/>
                  </a:lnTo>
                  <a:lnTo>
                    <a:pt x="984" y="238"/>
                  </a:lnTo>
                  <a:lnTo>
                    <a:pt x="985" y="238"/>
                  </a:lnTo>
                  <a:lnTo>
                    <a:pt x="989" y="238"/>
                  </a:lnTo>
                  <a:lnTo>
                    <a:pt x="989" y="240"/>
                  </a:lnTo>
                  <a:lnTo>
                    <a:pt x="992" y="241"/>
                  </a:lnTo>
                  <a:lnTo>
                    <a:pt x="992" y="240"/>
                  </a:lnTo>
                  <a:lnTo>
                    <a:pt x="996" y="241"/>
                  </a:lnTo>
                  <a:lnTo>
                    <a:pt x="998" y="241"/>
                  </a:lnTo>
                  <a:lnTo>
                    <a:pt x="1001" y="247"/>
                  </a:lnTo>
                  <a:lnTo>
                    <a:pt x="1003" y="247"/>
                  </a:lnTo>
                  <a:lnTo>
                    <a:pt x="1001" y="248"/>
                  </a:lnTo>
                  <a:lnTo>
                    <a:pt x="1003" y="250"/>
                  </a:lnTo>
                  <a:lnTo>
                    <a:pt x="1005" y="250"/>
                  </a:lnTo>
                  <a:lnTo>
                    <a:pt x="1008" y="248"/>
                  </a:lnTo>
                  <a:lnTo>
                    <a:pt x="1010" y="250"/>
                  </a:lnTo>
                  <a:lnTo>
                    <a:pt x="1012" y="254"/>
                  </a:lnTo>
                  <a:lnTo>
                    <a:pt x="1012" y="255"/>
                  </a:lnTo>
                  <a:lnTo>
                    <a:pt x="1013" y="255"/>
                  </a:lnTo>
                  <a:lnTo>
                    <a:pt x="1012" y="259"/>
                  </a:lnTo>
                  <a:lnTo>
                    <a:pt x="1006" y="259"/>
                  </a:lnTo>
                  <a:lnTo>
                    <a:pt x="1003" y="260"/>
                  </a:lnTo>
                  <a:lnTo>
                    <a:pt x="1001" y="262"/>
                  </a:lnTo>
                  <a:lnTo>
                    <a:pt x="996" y="259"/>
                  </a:lnTo>
                  <a:lnTo>
                    <a:pt x="991" y="259"/>
                  </a:lnTo>
                  <a:lnTo>
                    <a:pt x="985" y="255"/>
                  </a:lnTo>
                  <a:lnTo>
                    <a:pt x="982" y="255"/>
                  </a:lnTo>
                  <a:lnTo>
                    <a:pt x="979" y="255"/>
                  </a:lnTo>
                  <a:lnTo>
                    <a:pt x="979" y="250"/>
                  </a:lnTo>
                  <a:lnTo>
                    <a:pt x="975" y="250"/>
                  </a:lnTo>
                  <a:lnTo>
                    <a:pt x="970" y="250"/>
                  </a:lnTo>
                  <a:lnTo>
                    <a:pt x="970" y="250"/>
                  </a:lnTo>
                  <a:lnTo>
                    <a:pt x="970" y="250"/>
                  </a:lnTo>
                  <a:lnTo>
                    <a:pt x="970" y="250"/>
                  </a:lnTo>
                  <a:close/>
                  <a:moveTo>
                    <a:pt x="930" y="194"/>
                  </a:moveTo>
                  <a:lnTo>
                    <a:pt x="930" y="193"/>
                  </a:lnTo>
                  <a:lnTo>
                    <a:pt x="932" y="193"/>
                  </a:lnTo>
                  <a:lnTo>
                    <a:pt x="933" y="193"/>
                  </a:lnTo>
                  <a:lnTo>
                    <a:pt x="932" y="196"/>
                  </a:lnTo>
                  <a:lnTo>
                    <a:pt x="930" y="196"/>
                  </a:lnTo>
                  <a:lnTo>
                    <a:pt x="930" y="194"/>
                  </a:lnTo>
                  <a:lnTo>
                    <a:pt x="930" y="194"/>
                  </a:lnTo>
                  <a:lnTo>
                    <a:pt x="930" y="194"/>
                  </a:lnTo>
                  <a:lnTo>
                    <a:pt x="930" y="194"/>
                  </a:lnTo>
                  <a:close/>
                  <a:moveTo>
                    <a:pt x="932" y="214"/>
                  </a:moveTo>
                  <a:lnTo>
                    <a:pt x="933" y="219"/>
                  </a:lnTo>
                  <a:lnTo>
                    <a:pt x="937" y="222"/>
                  </a:lnTo>
                  <a:lnTo>
                    <a:pt x="939" y="222"/>
                  </a:lnTo>
                  <a:lnTo>
                    <a:pt x="942" y="222"/>
                  </a:lnTo>
                  <a:lnTo>
                    <a:pt x="944" y="224"/>
                  </a:lnTo>
                  <a:lnTo>
                    <a:pt x="946" y="224"/>
                  </a:lnTo>
                  <a:lnTo>
                    <a:pt x="951" y="219"/>
                  </a:lnTo>
                  <a:lnTo>
                    <a:pt x="951" y="219"/>
                  </a:lnTo>
                  <a:lnTo>
                    <a:pt x="952" y="217"/>
                  </a:lnTo>
                  <a:lnTo>
                    <a:pt x="956" y="212"/>
                  </a:lnTo>
                  <a:lnTo>
                    <a:pt x="956" y="208"/>
                  </a:lnTo>
                  <a:lnTo>
                    <a:pt x="958" y="201"/>
                  </a:lnTo>
                  <a:lnTo>
                    <a:pt x="959" y="200"/>
                  </a:lnTo>
                  <a:lnTo>
                    <a:pt x="958" y="196"/>
                  </a:lnTo>
                  <a:lnTo>
                    <a:pt x="958" y="196"/>
                  </a:lnTo>
                  <a:lnTo>
                    <a:pt x="959" y="194"/>
                  </a:lnTo>
                  <a:lnTo>
                    <a:pt x="963" y="189"/>
                  </a:lnTo>
                  <a:lnTo>
                    <a:pt x="965" y="189"/>
                  </a:lnTo>
                  <a:lnTo>
                    <a:pt x="968" y="186"/>
                  </a:lnTo>
                  <a:lnTo>
                    <a:pt x="970" y="182"/>
                  </a:lnTo>
                  <a:lnTo>
                    <a:pt x="970" y="179"/>
                  </a:lnTo>
                  <a:lnTo>
                    <a:pt x="970" y="177"/>
                  </a:lnTo>
                  <a:lnTo>
                    <a:pt x="975" y="174"/>
                  </a:lnTo>
                  <a:lnTo>
                    <a:pt x="975" y="172"/>
                  </a:lnTo>
                  <a:lnTo>
                    <a:pt x="973" y="168"/>
                  </a:lnTo>
                  <a:lnTo>
                    <a:pt x="973" y="165"/>
                  </a:lnTo>
                  <a:lnTo>
                    <a:pt x="970" y="165"/>
                  </a:lnTo>
                  <a:lnTo>
                    <a:pt x="968" y="163"/>
                  </a:lnTo>
                  <a:lnTo>
                    <a:pt x="965" y="163"/>
                  </a:lnTo>
                  <a:lnTo>
                    <a:pt x="963" y="160"/>
                  </a:lnTo>
                  <a:lnTo>
                    <a:pt x="965" y="158"/>
                  </a:lnTo>
                  <a:lnTo>
                    <a:pt x="970" y="156"/>
                  </a:lnTo>
                  <a:lnTo>
                    <a:pt x="970" y="154"/>
                  </a:lnTo>
                  <a:lnTo>
                    <a:pt x="968" y="151"/>
                  </a:lnTo>
                  <a:lnTo>
                    <a:pt x="968" y="149"/>
                  </a:lnTo>
                  <a:lnTo>
                    <a:pt x="968" y="144"/>
                  </a:lnTo>
                  <a:lnTo>
                    <a:pt x="965" y="140"/>
                  </a:lnTo>
                  <a:lnTo>
                    <a:pt x="963" y="140"/>
                  </a:lnTo>
                  <a:lnTo>
                    <a:pt x="959" y="144"/>
                  </a:lnTo>
                  <a:lnTo>
                    <a:pt x="954" y="144"/>
                  </a:lnTo>
                  <a:lnTo>
                    <a:pt x="952" y="149"/>
                  </a:lnTo>
                  <a:lnTo>
                    <a:pt x="951" y="149"/>
                  </a:lnTo>
                  <a:lnTo>
                    <a:pt x="947" y="149"/>
                  </a:lnTo>
                  <a:lnTo>
                    <a:pt x="947" y="146"/>
                  </a:lnTo>
                  <a:lnTo>
                    <a:pt x="951" y="144"/>
                  </a:lnTo>
                  <a:lnTo>
                    <a:pt x="952" y="144"/>
                  </a:lnTo>
                  <a:lnTo>
                    <a:pt x="952" y="137"/>
                  </a:lnTo>
                  <a:lnTo>
                    <a:pt x="954" y="132"/>
                  </a:lnTo>
                  <a:lnTo>
                    <a:pt x="952" y="128"/>
                  </a:lnTo>
                  <a:lnTo>
                    <a:pt x="951" y="127"/>
                  </a:lnTo>
                  <a:lnTo>
                    <a:pt x="951" y="123"/>
                  </a:lnTo>
                  <a:lnTo>
                    <a:pt x="947" y="121"/>
                  </a:lnTo>
                  <a:lnTo>
                    <a:pt x="944" y="121"/>
                  </a:lnTo>
                  <a:lnTo>
                    <a:pt x="939" y="121"/>
                  </a:lnTo>
                  <a:lnTo>
                    <a:pt x="935" y="125"/>
                  </a:lnTo>
                  <a:lnTo>
                    <a:pt x="932" y="123"/>
                  </a:lnTo>
                  <a:lnTo>
                    <a:pt x="932" y="118"/>
                  </a:lnTo>
                  <a:lnTo>
                    <a:pt x="932" y="118"/>
                  </a:lnTo>
                  <a:lnTo>
                    <a:pt x="928" y="121"/>
                  </a:lnTo>
                  <a:lnTo>
                    <a:pt x="928" y="123"/>
                  </a:lnTo>
                  <a:lnTo>
                    <a:pt x="925" y="125"/>
                  </a:lnTo>
                  <a:lnTo>
                    <a:pt x="921" y="128"/>
                  </a:lnTo>
                  <a:lnTo>
                    <a:pt x="919" y="134"/>
                  </a:lnTo>
                  <a:lnTo>
                    <a:pt x="919" y="137"/>
                  </a:lnTo>
                  <a:lnTo>
                    <a:pt x="921" y="137"/>
                  </a:lnTo>
                  <a:lnTo>
                    <a:pt x="925" y="137"/>
                  </a:lnTo>
                  <a:lnTo>
                    <a:pt x="928" y="135"/>
                  </a:lnTo>
                  <a:lnTo>
                    <a:pt x="928" y="137"/>
                  </a:lnTo>
                  <a:lnTo>
                    <a:pt x="925" y="140"/>
                  </a:lnTo>
                  <a:lnTo>
                    <a:pt x="921" y="144"/>
                  </a:lnTo>
                  <a:lnTo>
                    <a:pt x="916" y="149"/>
                  </a:lnTo>
                  <a:lnTo>
                    <a:pt x="916" y="149"/>
                  </a:lnTo>
                  <a:lnTo>
                    <a:pt x="921" y="146"/>
                  </a:lnTo>
                  <a:lnTo>
                    <a:pt x="928" y="144"/>
                  </a:lnTo>
                  <a:lnTo>
                    <a:pt x="928" y="144"/>
                  </a:lnTo>
                  <a:lnTo>
                    <a:pt x="932" y="140"/>
                  </a:lnTo>
                  <a:lnTo>
                    <a:pt x="933" y="144"/>
                  </a:lnTo>
                  <a:lnTo>
                    <a:pt x="932" y="149"/>
                  </a:lnTo>
                  <a:lnTo>
                    <a:pt x="930" y="149"/>
                  </a:lnTo>
                  <a:lnTo>
                    <a:pt x="925" y="151"/>
                  </a:lnTo>
                  <a:lnTo>
                    <a:pt x="925" y="154"/>
                  </a:lnTo>
                  <a:lnTo>
                    <a:pt x="925" y="156"/>
                  </a:lnTo>
                  <a:lnTo>
                    <a:pt x="930" y="154"/>
                  </a:lnTo>
                  <a:lnTo>
                    <a:pt x="933" y="156"/>
                  </a:lnTo>
                  <a:lnTo>
                    <a:pt x="930" y="160"/>
                  </a:lnTo>
                  <a:lnTo>
                    <a:pt x="925" y="160"/>
                  </a:lnTo>
                  <a:lnTo>
                    <a:pt x="921" y="160"/>
                  </a:lnTo>
                  <a:lnTo>
                    <a:pt x="921" y="163"/>
                  </a:lnTo>
                  <a:lnTo>
                    <a:pt x="925" y="163"/>
                  </a:lnTo>
                  <a:lnTo>
                    <a:pt x="925" y="167"/>
                  </a:lnTo>
                  <a:lnTo>
                    <a:pt x="921" y="172"/>
                  </a:lnTo>
                  <a:lnTo>
                    <a:pt x="919" y="172"/>
                  </a:lnTo>
                  <a:lnTo>
                    <a:pt x="916" y="167"/>
                  </a:lnTo>
                  <a:lnTo>
                    <a:pt x="914" y="165"/>
                  </a:lnTo>
                  <a:lnTo>
                    <a:pt x="913" y="160"/>
                  </a:lnTo>
                  <a:lnTo>
                    <a:pt x="906" y="165"/>
                  </a:lnTo>
                  <a:lnTo>
                    <a:pt x="906" y="167"/>
                  </a:lnTo>
                  <a:lnTo>
                    <a:pt x="900" y="172"/>
                  </a:lnTo>
                  <a:lnTo>
                    <a:pt x="906" y="177"/>
                  </a:lnTo>
                  <a:lnTo>
                    <a:pt x="906" y="179"/>
                  </a:lnTo>
                  <a:lnTo>
                    <a:pt x="907" y="180"/>
                  </a:lnTo>
                  <a:lnTo>
                    <a:pt x="909" y="177"/>
                  </a:lnTo>
                  <a:lnTo>
                    <a:pt x="913" y="177"/>
                  </a:lnTo>
                  <a:lnTo>
                    <a:pt x="916" y="179"/>
                  </a:lnTo>
                  <a:lnTo>
                    <a:pt x="921" y="179"/>
                  </a:lnTo>
                  <a:lnTo>
                    <a:pt x="925" y="180"/>
                  </a:lnTo>
                  <a:lnTo>
                    <a:pt x="928" y="179"/>
                  </a:lnTo>
                  <a:lnTo>
                    <a:pt x="928" y="182"/>
                  </a:lnTo>
                  <a:lnTo>
                    <a:pt x="925" y="182"/>
                  </a:lnTo>
                  <a:lnTo>
                    <a:pt x="925" y="184"/>
                  </a:lnTo>
                  <a:lnTo>
                    <a:pt x="925" y="187"/>
                  </a:lnTo>
                  <a:lnTo>
                    <a:pt x="930" y="187"/>
                  </a:lnTo>
                  <a:lnTo>
                    <a:pt x="933" y="191"/>
                  </a:lnTo>
                  <a:lnTo>
                    <a:pt x="935" y="196"/>
                  </a:lnTo>
                  <a:lnTo>
                    <a:pt x="939" y="196"/>
                  </a:lnTo>
                  <a:lnTo>
                    <a:pt x="940" y="196"/>
                  </a:lnTo>
                  <a:lnTo>
                    <a:pt x="939" y="200"/>
                  </a:lnTo>
                  <a:lnTo>
                    <a:pt x="939" y="203"/>
                  </a:lnTo>
                  <a:lnTo>
                    <a:pt x="932" y="214"/>
                  </a:lnTo>
                  <a:lnTo>
                    <a:pt x="932" y="214"/>
                  </a:lnTo>
                  <a:lnTo>
                    <a:pt x="932" y="214"/>
                  </a:lnTo>
                  <a:lnTo>
                    <a:pt x="932" y="214"/>
                  </a:lnTo>
                  <a:close/>
                  <a:moveTo>
                    <a:pt x="914" y="189"/>
                  </a:moveTo>
                  <a:lnTo>
                    <a:pt x="916" y="186"/>
                  </a:lnTo>
                  <a:lnTo>
                    <a:pt x="919" y="184"/>
                  </a:lnTo>
                  <a:lnTo>
                    <a:pt x="921" y="184"/>
                  </a:lnTo>
                  <a:lnTo>
                    <a:pt x="921" y="184"/>
                  </a:lnTo>
                  <a:lnTo>
                    <a:pt x="921" y="187"/>
                  </a:lnTo>
                  <a:lnTo>
                    <a:pt x="916" y="189"/>
                  </a:lnTo>
                  <a:lnTo>
                    <a:pt x="914" y="189"/>
                  </a:lnTo>
                  <a:lnTo>
                    <a:pt x="914" y="189"/>
                  </a:lnTo>
                  <a:lnTo>
                    <a:pt x="914" y="189"/>
                  </a:lnTo>
                  <a:lnTo>
                    <a:pt x="914" y="189"/>
                  </a:lnTo>
                  <a:close/>
                  <a:moveTo>
                    <a:pt x="907" y="208"/>
                  </a:moveTo>
                  <a:lnTo>
                    <a:pt x="909" y="203"/>
                  </a:lnTo>
                  <a:lnTo>
                    <a:pt x="916" y="203"/>
                  </a:lnTo>
                  <a:lnTo>
                    <a:pt x="919" y="205"/>
                  </a:lnTo>
                  <a:lnTo>
                    <a:pt x="925" y="210"/>
                  </a:lnTo>
                  <a:lnTo>
                    <a:pt x="925" y="214"/>
                  </a:lnTo>
                  <a:lnTo>
                    <a:pt x="925" y="219"/>
                  </a:lnTo>
                  <a:lnTo>
                    <a:pt x="921" y="219"/>
                  </a:lnTo>
                  <a:lnTo>
                    <a:pt x="919" y="219"/>
                  </a:lnTo>
                  <a:lnTo>
                    <a:pt x="916" y="219"/>
                  </a:lnTo>
                  <a:lnTo>
                    <a:pt x="914" y="219"/>
                  </a:lnTo>
                  <a:lnTo>
                    <a:pt x="911" y="215"/>
                  </a:lnTo>
                  <a:lnTo>
                    <a:pt x="907" y="212"/>
                  </a:lnTo>
                  <a:lnTo>
                    <a:pt x="907" y="208"/>
                  </a:lnTo>
                  <a:lnTo>
                    <a:pt x="907" y="208"/>
                  </a:lnTo>
                  <a:lnTo>
                    <a:pt x="907" y="208"/>
                  </a:lnTo>
                  <a:lnTo>
                    <a:pt x="907" y="208"/>
                  </a:lnTo>
                  <a:close/>
                  <a:moveTo>
                    <a:pt x="866" y="236"/>
                  </a:moveTo>
                  <a:lnTo>
                    <a:pt x="867" y="234"/>
                  </a:lnTo>
                  <a:lnTo>
                    <a:pt x="871" y="234"/>
                  </a:lnTo>
                  <a:lnTo>
                    <a:pt x="871" y="236"/>
                  </a:lnTo>
                  <a:lnTo>
                    <a:pt x="867" y="238"/>
                  </a:lnTo>
                  <a:lnTo>
                    <a:pt x="866" y="236"/>
                  </a:lnTo>
                  <a:lnTo>
                    <a:pt x="866" y="236"/>
                  </a:lnTo>
                  <a:lnTo>
                    <a:pt x="866" y="236"/>
                  </a:lnTo>
                  <a:lnTo>
                    <a:pt x="866" y="236"/>
                  </a:lnTo>
                  <a:close/>
                  <a:moveTo>
                    <a:pt x="862" y="231"/>
                  </a:moveTo>
                  <a:lnTo>
                    <a:pt x="860" y="227"/>
                  </a:lnTo>
                  <a:lnTo>
                    <a:pt x="862" y="224"/>
                  </a:lnTo>
                  <a:lnTo>
                    <a:pt x="864" y="219"/>
                  </a:lnTo>
                  <a:lnTo>
                    <a:pt x="864" y="217"/>
                  </a:lnTo>
                  <a:lnTo>
                    <a:pt x="867" y="214"/>
                  </a:lnTo>
                  <a:lnTo>
                    <a:pt x="867" y="212"/>
                  </a:lnTo>
                  <a:lnTo>
                    <a:pt x="869" y="210"/>
                  </a:lnTo>
                  <a:lnTo>
                    <a:pt x="869" y="208"/>
                  </a:lnTo>
                  <a:lnTo>
                    <a:pt x="871" y="203"/>
                  </a:lnTo>
                  <a:lnTo>
                    <a:pt x="871" y="200"/>
                  </a:lnTo>
                  <a:lnTo>
                    <a:pt x="871" y="200"/>
                  </a:lnTo>
                  <a:lnTo>
                    <a:pt x="874" y="200"/>
                  </a:lnTo>
                  <a:lnTo>
                    <a:pt x="874" y="205"/>
                  </a:lnTo>
                  <a:lnTo>
                    <a:pt x="876" y="208"/>
                  </a:lnTo>
                  <a:lnTo>
                    <a:pt x="874" y="214"/>
                  </a:lnTo>
                  <a:lnTo>
                    <a:pt x="874" y="217"/>
                  </a:lnTo>
                  <a:lnTo>
                    <a:pt x="871" y="219"/>
                  </a:lnTo>
                  <a:lnTo>
                    <a:pt x="874" y="222"/>
                  </a:lnTo>
                  <a:lnTo>
                    <a:pt x="871" y="231"/>
                  </a:lnTo>
                  <a:lnTo>
                    <a:pt x="867" y="233"/>
                  </a:lnTo>
                  <a:lnTo>
                    <a:pt x="862" y="231"/>
                  </a:lnTo>
                  <a:lnTo>
                    <a:pt x="862" y="231"/>
                  </a:lnTo>
                  <a:lnTo>
                    <a:pt x="862" y="231"/>
                  </a:lnTo>
                  <a:lnTo>
                    <a:pt x="862" y="231"/>
                  </a:lnTo>
                  <a:close/>
                  <a:moveTo>
                    <a:pt x="824" y="153"/>
                  </a:moveTo>
                  <a:lnTo>
                    <a:pt x="820" y="149"/>
                  </a:lnTo>
                  <a:lnTo>
                    <a:pt x="820" y="146"/>
                  </a:lnTo>
                  <a:lnTo>
                    <a:pt x="824" y="144"/>
                  </a:lnTo>
                  <a:lnTo>
                    <a:pt x="820" y="144"/>
                  </a:lnTo>
                  <a:lnTo>
                    <a:pt x="817" y="144"/>
                  </a:lnTo>
                  <a:lnTo>
                    <a:pt x="815" y="140"/>
                  </a:lnTo>
                  <a:lnTo>
                    <a:pt x="813" y="144"/>
                  </a:lnTo>
                  <a:lnTo>
                    <a:pt x="808" y="144"/>
                  </a:lnTo>
                  <a:lnTo>
                    <a:pt x="805" y="144"/>
                  </a:lnTo>
                  <a:lnTo>
                    <a:pt x="805" y="140"/>
                  </a:lnTo>
                  <a:lnTo>
                    <a:pt x="808" y="137"/>
                  </a:lnTo>
                  <a:lnTo>
                    <a:pt x="810" y="135"/>
                  </a:lnTo>
                  <a:lnTo>
                    <a:pt x="813" y="135"/>
                  </a:lnTo>
                  <a:lnTo>
                    <a:pt x="817" y="135"/>
                  </a:lnTo>
                  <a:lnTo>
                    <a:pt x="826" y="132"/>
                  </a:lnTo>
                  <a:lnTo>
                    <a:pt x="829" y="134"/>
                  </a:lnTo>
                  <a:lnTo>
                    <a:pt x="833" y="135"/>
                  </a:lnTo>
                  <a:lnTo>
                    <a:pt x="834" y="135"/>
                  </a:lnTo>
                  <a:lnTo>
                    <a:pt x="838" y="135"/>
                  </a:lnTo>
                  <a:lnTo>
                    <a:pt x="843" y="132"/>
                  </a:lnTo>
                  <a:lnTo>
                    <a:pt x="846" y="132"/>
                  </a:lnTo>
                  <a:lnTo>
                    <a:pt x="848" y="132"/>
                  </a:lnTo>
                  <a:lnTo>
                    <a:pt x="852" y="130"/>
                  </a:lnTo>
                  <a:lnTo>
                    <a:pt x="853" y="132"/>
                  </a:lnTo>
                  <a:lnTo>
                    <a:pt x="853" y="134"/>
                  </a:lnTo>
                  <a:lnTo>
                    <a:pt x="855" y="137"/>
                  </a:lnTo>
                  <a:lnTo>
                    <a:pt x="855" y="140"/>
                  </a:lnTo>
                  <a:lnTo>
                    <a:pt x="852" y="144"/>
                  </a:lnTo>
                  <a:lnTo>
                    <a:pt x="855" y="149"/>
                  </a:lnTo>
                  <a:lnTo>
                    <a:pt x="852" y="156"/>
                  </a:lnTo>
                  <a:lnTo>
                    <a:pt x="848" y="158"/>
                  </a:lnTo>
                  <a:lnTo>
                    <a:pt x="846" y="160"/>
                  </a:lnTo>
                  <a:lnTo>
                    <a:pt x="843" y="160"/>
                  </a:lnTo>
                  <a:lnTo>
                    <a:pt x="840" y="160"/>
                  </a:lnTo>
                  <a:lnTo>
                    <a:pt x="838" y="158"/>
                  </a:lnTo>
                  <a:lnTo>
                    <a:pt x="834" y="160"/>
                  </a:lnTo>
                  <a:lnTo>
                    <a:pt x="831" y="154"/>
                  </a:lnTo>
                  <a:lnTo>
                    <a:pt x="831" y="149"/>
                  </a:lnTo>
                  <a:lnTo>
                    <a:pt x="827" y="146"/>
                  </a:lnTo>
                  <a:lnTo>
                    <a:pt x="826" y="149"/>
                  </a:lnTo>
                  <a:lnTo>
                    <a:pt x="826" y="151"/>
                  </a:lnTo>
                  <a:lnTo>
                    <a:pt x="824" y="153"/>
                  </a:lnTo>
                  <a:lnTo>
                    <a:pt x="824" y="153"/>
                  </a:lnTo>
                  <a:lnTo>
                    <a:pt x="824" y="153"/>
                  </a:lnTo>
                  <a:lnTo>
                    <a:pt x="824" y="153"/>
                  </a:lnTo>
                  <a:close/>
                  <a:moveTo>
                    <a:pt x="775" y="180"/>
                  </a:moveTo>
                  <a:lnTo>
                    <a:pt x="779" y="177"/>
                  </a:lnTo>
                  <a:lnTo>
                    <a:pt x="779" y="174"/>
                  </a:lnTo>
                  <a:lnTo>
                    <a:pt x="784" y="172"/>
                  </a:lnTo>
                  <a:lnTo>
                    <a:pt x="784" y="168"/>
                  </a:lnTo>
                  <a:lnTo>
                    <a:pt x="787" y="167"/>
                  </a:lnTo>
                  <a:lnTo>
                    <a:pt x="789" y="163"/>
                  </a:lnTo>
                  <a:lnTo>
                    <a:pt x="793" y="163"/>
                  </a:lnTo>
                  <a:lnTo>
                    <a:pt x="801" y="160"/>
                  </a:lnTo>
                  <a:lnTo>
                    <a:pt x="801" y="163"/>
                  </a:lnTo>
                  <a:lnTo>
                    <a:pt x="805" y="163"/>
                  </a:lnTo>
                  <a:lnTo>
                    <a:pt x="808" y="165"/>
                  </a:lnTo>
                  <a:lnTo>
                    <a:pt x="812" y="165"/>
                  </a:lnTo>
                  <a:lnTo>
                    <a:pt x="813" y="163"/>
                  </a:lnTo>
                  <a:lnTo>
                    <a:pt x="820" y="165"/>
                  </a:lnTo>
                  <a:lnTo>
                    <a:pt x="820" y="167"/>
                  </a:lnTo>
                  <a:lnTo>
                    <a:pt x="824" y="167"/>
                  </a:lnTo>
                  <a:lnTo>
                    <a:pt x="827" y="167"/>
                  </a:lnTo>
                  <a:lnTo>
                    <a:pt x="829" y="168"/>
                  </a:lnTo>
                  <a:lnTo>
                    <a:pt x="833" y="168"/>
                  </a:lnTo>
                  <a:lnTo>
                    <a:pt x="834" y="168"/>
                  </a:lnTo>
                  <a:lnTo>
                    <a:pt x="831" y="177"/>
                  </a:lnTo>
                  <a:lnTo>
                    <a:pt x="827" y="174"/>
                  </a:lnTo>
                  <a:lnTo>
                    <a:pt x="820" y="177"/>
                  </a:lnTo>
                  <a:lnTo>
                    <a:pt x="817" y="177"/>
                  </a:lnTo>
                  <a:lnTo>
                    <a:pt x="813" y="182"/>
                  </a:lnTo>
                  <a:lnTo>
                    <a:pt x="813" y="184"/>
                  </a:lnTo>
                  <a:lnTo>
                    <a:pt x="817" y="184"/>
                  </a:lnTo>
                  <a:lnTo>
                    <a:pt x="819" y="184"/>
                  </a:lnTo>
                  <a:lnTo>
                    <a:pt x="819" y="186"/>
                  </a:lnTo>
                  <a:lnTo>
                    <a:pt x="815" y="191"/>
                  </a:lnTo>
                  <a:lnTo>
                    <a:pt x="813" y="194"/>
                  </a:lnTo>
                  <a:lnTo>
                    <a:pt x="810" y="194"/>
                  </a:lnTo>
                  <a:lnTo>
                    <a:pt x="810" y="196"/>
                  </a:lnTo>
                  <a:lnTo>
                    <a:pt x="808" y="200"/>
                  </a:lnTo>
                  <a:lnTo>
                    <a:pt x="805" y="200"/>
                  </a:lnTo>
                  <a:lnTo>
                    <a:pt x="801" y="200"/>
                  </a:lnTo>
                  <a:lnTo>
                    <a:pt x="798" y="200"/>
                  </a:lnTo>
                  <a:lnTo>
                    <a:pt x="793" y="196"/>
                  </a:lnTo>
                  <a:lnTo>
                    <a:pt x="793" y="200"/>
                  </a:lnTo>
                  <a:lnTo>
                    <a:pt x="789" y="200"/>
                  </a:lnTo>
                  <a:lnTo>
                    <a:pt x="786" y="200"/>
                  </a:lnTo>
                  <a:lnTo>
                    <a:pt x="784" y="196"/>
                  </a:lnTo>
                  <a:lnTo>
                    <a:pt x="786" y="196"/>
                  </a:lnTo>
                  <a:lnTo>
                    <a:pt x="784" y="191"/>
                  </a:lnTo>
                  <a:lnTo>
                    <a:pt x="780" y="189"/>
                  </a:lnTo>
                  <a:lnTo>
                    <a:pt x="779" y="187"/>
                  </a:lnTo>
                  <a:lnTo>
                    <a:pt x="779" y="184"/>
                  </a:lnTo>
                  <a:lnTo>
                    <a:pt x="775" y="180"/>
                  </a:lnTo>
                  <a:lnTo>
                    <a:pt x="775" y="180"/>
                  </a:lnTo>
                  <a:lnTo>
                    <a:pt x="775" y="180"/>
                  </a:lnTo>
                  <a:lnTo>
                    <a:pt x="775" y="180"/>
                  </a:lnTo>
                  <a:close/>
                  <a:moveTo>
                    <a:pt x="772" y="168"/>
                  </a:moveTo>
                  <a:lnTo>
                    <a:pt x="773" y="168"/>
                  </a:lnTo>
                  <a:lnTo>
                    <a:pt x="779" y="168"/>
                  </a:lnTo>
                  <a:lnTo>
                    <a:pt x="782" y="165"/>
                  </a:lnTo>
                  <a:lnTo>
                    <a:pt x="782" y="160"/>
                  </a:lnTo>
                  <a:lnTo>
                    <a:pt x="782" y="158"/>
                  </a:lnTo>
                  <a:lnTo>
                    <a:pt x="782" y="154"/>
                  </a:lnTo>
                  <a:lnTo>
                    <a:pt x="784" y="151"/>
                  </a:lnTo>
                  <a:lnTo>
                    <a:pt x="780" y="151"/>
                  </a:lnTo>
                  <a:lnTo>
                    <a:pt x="779" y="151"/>
                  </a:lnTo>
                  <a:lnTo>
                    <a:pt x="775" y="149"/>
                  </a:lnTo>
                  <a:lnTo>
                    <a:pt x="773" y="153"/>
                  </a:lnTo>
                  <a:lnTo>
                    <a:pt x="770" y="153"/>
                  </a:lnTo>
                  <a:lnTo>
                    <a:pt x="770" y="156"/>
                  </a:lnTo>
                  <a:lnTo>
                    <a:pt x="770" y="160"/>
                  </a:lnTo>
                  <a:lnTo>
                    <a:pt x="770" y="163"/>
                  </a:lnTo>
                  <a:lnTo>
                    <a:pt x="772" y="168"/>
                  </a:lnTo>
                  <a:lnTo>
                    <a:pt x="772" y="168"/>
                  </a:lnTo>
                  <a:lnTo>
                    <a:pt x="772" y="168"/>
                  </a:lnTo>
                  <a:lnTo>
                    <a:pt x="772" y="168"/>
                  </a:lnTo>
                  <a:close/>
                  <a:moveTo>
                    <a:pt x="1058" y="419"/>
                  </a:moveTo>
                  <a:lnTo>
                    <a:pt x="1058" y="419"/>
                  </a:lnTo>
                  <a:lnTo>
                    <a:pt x="1064" y="422"/>
                  </a:lnTo>
                  <a:lnTo>
                    <a:pt x="1067" y="419"/>
                  </a:lnTo>
                  <a:lnTo>
                    <a:pt x="1067" y="424"/>
                  </a:lnTo>
                  <a:lnTo>
                    <a:pt x="1071" y="424"/>
                  </a:lnTo>
                  <a:lnTo>
                    <a:pt x="1071" y="424"/>
                  </a:lnTo>
                  <a:lnTo>
                    <a:pt x="1074" y="424"/>
                  </a:lnTo>
                  <a:lnTo>
                    <a:pt x="1079" y="422"/>
                  </a:lnTo>
                  <a:lnTo>
                    <a:pt x="1083" y="422"/>
                  </a:lnTo>
                  <a:lnTo>
                    <a:pt x="1088" y="424"/>
                  </a:lnTo>
                  <a:lnTo>
                    <a:pt x="1091" y="424"/>
                  </a:lnTo>
                  <a:lnTo>
                    <a:pt x="1093" y="424"/>
                  </a:lnTo>
                  <a:lnTo>
                    <a:pt x="1093" y="424"/>
                  </a:lnTo>
                  <a:lnTo>
                    <a:pt x="1093" y="419"/>
                  </a:lnTo>
                  <a:lnTo>
                    <a:pt x="1097" y="415"/>
                  </a:lnTo>
                  <a:lnTo>
                    <a:pt x="1100" y="415"/>
                  </a:lnTo>
                  <a:lnTo>
                    <a:pt x="1100" y="415"/>
                  </a:lnTo>
                  <a:lnTo>
                    <a:pt x="1097" y="410"/>
                  </a:lnTo>
                  <a:lnTo>
                    <a:pt x="1097" y="407"/>
                  </a:lnTo>
                  <a:lnTo>
                    <a:pt x="1100" y="408"/>
                  </a:lnTo>
                  <a:lnTo>
                    <a:pt x="1100" y="412"/>
                  </a:lnTo>
                  <a:lnTo>
                    <a:pt x="1102" y="415"/>
                  </a:lnTo>
                  <a:lnTo>
                    <a:pt x="1102" y="413"/>
                  </a:lnTo>
                  <a:lnTo>
                    <a:pt x="1105" y="413"/>
                  </a:lnTo>
                  <a:lnTo>
                    <a:pt x="1107" y="412"/>
                  </a:lnTo>
                  <a:lnTo>
                    <a:pt x="1109" y="413"/>
                  </a:lnTo>
                  <a:lnTo>
                    <a:pt x="1109" y="412"/>
                  </a:lnTo>
                  <a:lnTo>
                    <a:pt x="1109" y="408"/>
                  </a:lnTo>
                  <a:lnTo>
                    <a:pt x="1109" y="405"/>
                  </a:lnTo>
                  <a:lnTo>
                    <a:pt x="1107" y="403"/>
                  </a:lnTo>
                  <a:lnTo>
                    <a:pt x="1102" y="405"/>
                  </a:lnTo>
                  <a:lnTo>
                    <a:pt x="1100" y="405"/>
                  </a:lnTo>
                  <a:lnTo>
                    <a:pt x="1100" y="401"/>
                  </a:lnTo>
                  <a:lnTo>
                    <a:pt x="1102" y="401"/>
                  </a:lnTo>
                  <a:lnTo>
                    <a:pt x="1102" y="401"/>
                  </a:lnTo>
                  <a:lnTo>
                    <a:pt x="1105" y="401"/>
                  </a:lnTo>
                  <a:lnTo>
                    <a:pt x="1107" y="398"/>
                  </a:lnTo>
                  <a:lnTo>
                    <a:pt x="1109" y="400"/>
                  </a:lnTo>
                  <a:lnTo>
                    <a:pt x="1112" y="400"/>
                  </a:lnTo>
                  <a:lnTo>
                    <a:pt x="1114" y="396"/>
                  </a:lnTo>
                  <a:lnTo>
                    <a:pt x="1112" y="393"/>
                  </a:lnTo>
                  <a:lnTo>
                    <a:pt x="1114" y="391"/>
                  </a:lnTo>
                  <a:lnTo>
                    <a:pt x="1114" y="387"/>
                  </a:lnTo>
                  <a:lnTo>
                    <a:pt x="1116" y="387"/>
                  </a:lnTo>
                  <a:lnTo>
                    <a:pt x="1118" y="387"/>
                  </a:lnTo>
                  <a:lnTo>
                    <a:pt x="1112" y="386"/>
                  </a:lnTo>
                  <a:lnTo>
                    <a:pt x="1109" y="387"/>
                  </a:lnTo>
                  <a:lnTo>
                    <a:pt x="1111" y="384"/>
                  </a:lnTo>
                  <a:lnTo>
                    <a:pt x="1112" y="384"/>
                  </a:lnTo>
                  <a:lnTo>
                    <a:pt x="1112" y="380"/>
                  </a:lnTo>
                  <a:lnTo>
                    <a:pt x="1109" y="377"/>
                  </a:lnTo>
                  <a:lnTo>
                    <a:pt x="1102" y="377"/>
                  </a:lnTo>
                  <a:lnTo>
                    <a:pt x="1102" y="375"/>
                  </a:lnTo>
                  <a:lnTo>
                    <a:pt x="1102" y="373"/>
                  </a:lnTo>
                  <a:lnTo>
                    <a:pt x="1105" y="373"/>
                  </a:lnTo>
                  <a:lnTo>
                    <a:pt x="1102" y="370"/>
                  </a:lnTo>
                  <a:lnTo>
                    <a:pt x="1097" y="365"/>
                  </a:lnTo>
                  <a:lnTo>
                    <a:pt x="1093" y="365"/>
                  </a:lnTo>
                  <a:lnTo>
                    <a:pt x="1093" y="368"/>
                  </a:lnTo>
                  <a:lnTo>
                    <a:pt x="1088" y="368"/>
                  </a:lnTo>
                  <a:lnTo>
                    <a:pt x="1083" y="368"/>
                  </a:lnTo>
                  <a:lnTo>
                    <a:pt x="1078" y="365"/>
                  </a:lnTo>
                  <a:lnTo>
                    <a:pt x="1078" y="363"/>
                  </a:lnTo>
                  <a:lnTo>
                    <a:pt x="1074" y="360"/>
                  </a:lnTo>
                  <a:lnTo>
                    <a:pt x="1071" y="363"/>
                  </a:lnTo>
                  <a:lnTo>
                    <a:pt x="1069" y="363"/>
                  </a:lnTo>
                  <a:lnTo>
                    <a:pt x="1067" y="365"/>
                  </a:lnTo>
                  <a:lnTo>
                    <a:pt x="1064" y="365"/>
                  </a:lnTo>
                  <a:lnTo>
                    <a:pt x="1062" y="368"/>
                  </a:lnTo>
                  <a:lnTo>
                    <a:pt x="1060" y="365"/>
                  </a:lnTo>
                  <a:lnTo>
                    <a:pt x="1057" y="363"/>
                  </a:lnTo>
                  <a:lnTo>
                    <a:pt x="1055" y="365"/>
                  </a:lnTo>
                  <a:lnTo>
                    <a:pt x="1052" y="365"/>
                  </a:lnTo>
                  <a:lnTo>
                    <a:pt x="1052" y="368"/>
                  </a:lnTo>
                  <a:lnTo>
                    <a:pt x="1048" y="368"/>
                  </a:lnTo>
                  <a:lnTo>
                    <a:pt x="1048" y="365"/>
                  </a:lnTo>
                  <a:lnTo>
                    <a:pt x="1048" y="365"/>
                  </a:lnTo>
                  <a:lnTo>
                    <a:pt x="1043" y="365"/>
                  </a:lnTo>
                  <a:lnTo>
                    <a:pt x="1038" y="365"/>
                  </a:lnTo>
                  <a:lnTo>
                    <a:pt x="1036" y="365"/>
                  </a:lnTo>
                  <a:lnTo>
                    <a:pt x="1038" y="368"/>
                  </a:lnTo>
                  <a:lnTo>
                    <a:pt x="1038" y="370"/>
                  </a:lnTo>
                  <a:lnTo>
                    <a:pt x="1041" y="372"/>
                  </a:lnTo>
                  <a:lnTo>
                    <a:pt x="1038" y="372"/>
                  </a:lnTo>
                  <a:lnTo>
                    <a:pt x="1036" y="368"/>
                  </a:lnTo>
                  <a:lnTo>
                    <a:pt x="1034" y="368"/>
                  </a:lnTo>
                  <a:lnTo>
                    <a:pt x="1029" y="370"/>
                  </a:lnTo>
                  <a:lnTo>
                    <a:pt x="1029" y="368"/>
                  </a:lnTo>
                  <a:lnTo>
                    <a:pt x="1032" y="368"/>
                  </a:lnTo>
                  <a:lnTo>
                    <a:pt x="1032" y="365"/>
                  </a:lnTo>
                  <a:lnTo>
                    <a:pt x="1029" y="360"/>
                  </a:lnTo>
                  <a:lnTo>
                    <a:pt x="1029" y="360"/>
                  </a:lnTo>
                  <a:lnTo>
                    <a:pt x="1025" y="358"/>
                  </a:lnTo>
                  <a:lnTo>
                    <a:pt x="1024" y="360"/>
                  </a:lnTo>
                  <a:lnTo>
                    <a:pt x="1024" y="363"/>
                  </a:lnTo>
                  <a:lnTo>
                    <a:pt x="1024" y="365"/>
                  </a:lnTo>
                  <a:lnTo>
                    <a:pt x="1020" y="363"/>
                  </a:lnTo>
                  <a:lnTo>
                    <a:pt x="1020" y="360"/>
                  </a:lnTo>
                  <a:lnTo>
                    <a:pt x="1020" y="360"/>
                  </a:lnTo>
                  <a:lnTo>
                    <a:pt x="1018" y="358"/>
                  </a:lnTo>
                  <a:lnTo>
                    <a:pt x="1015" y="360"/>
                  </a:lnTo>
                  <a:lnTo>
                    <a:pt x="1013" y="360"/>
                  </a:lnTo>
                  <a:lnTo>
                    <a:pt x="1013" y="356"/>
                  </a:lnTo>
                  <a:lnTo>
                    <a:pt x="1013" y="354"/>
                  </a:lnTo>
                  <a:lnTo>
                    <a:pt x="1013" y="351"/>
                  </a:lnTo>
                  <a:lnTo>
                    <a:pt x="1010" y="353"/>
                  </a:lnTo>
                  <a:lnTo>
                    <a:pt x="1006" y="356"/>
                  </a:lnTo>
                  <a:lnTo>
                    <a:pt x="1006" y="360"/>
                  </a:lnTo>
                  <a:lnTo>
                    <a:pt x="1005" y="360"/>
                  </a:lnTo>
                  <a:lnTo>
                    <a:pt x="1003" y="358"/>
                  </a:lnTo>
                  <a:lnTo>
                    <a:pt x="1005" y="354"/>
                  </a:lnTo>
                  <a:lnTo>
                    <a:pt x="1005" y="353"/>
                  </a:lnTo>
                  <a:lnTo>
                    <a:pt x="1006" y="347"/>
                  </a:lnTo>
                  <a:lnTo>
                    <a:pt x="1003" y="344"/>
                  </a:lnTo>
                  <a:lnTo>
                    <a:pt x="1001" y="346"/>
                  </a:lnTo>
                  <a:lnTo>
                    <a:pt x="1001" y="344"/>
                  </a:lnTo>
                  <a:lnTo>
                    <a:pt x="1003" y="342"/>
                  </a:lnTo>
                  <a:lnTo>
                    <a:pt x="1005" y="340"/>
                  </a:lnTo>
                  <a:lnTo>
                    <a:pt x="1003" y="337"/>
                  </a:lnTo>
                  <a:lnTo>
                    <a:pt x="1001" y="337"/>
                  </a:lnTo>
                  <a:lnTo>
                    <a:pt x="998" y="337"/>
                  </a:lnTo>
                  <a:lnTo>
                    <a:pt x="998" y="337"/>
                  </a:lnTo>
                  <a:lnTo>
                    <a:pt x="996" y="337"/>
                  </a:lnTo>
                  <a:lnTo>
                    <a:pt x="998" y="337"/>
                  </a:lnTo>
                  <a:lnTo>
                    <a:pt x="996" y="335"/>
                  </a:lnTo>
                  <a:lnTo>
                    <a:pt x="994" y="335"/>
                  </a:lnTo>
                  <a:lnTo>
                    <a:pt x="992" y="337"/>
                  </a:lnTo>
                  <a:lnTo>
                    <a:pt x="987" y="337"/>
                  </a:lnTo>
                  <a:lnTo>
                    <a:pt x="987" y="337"/>
                  </a:lnTo>
                  <a:lnTo>
                    <a:pt x="989" y="335"/>
                  </a:lnTo>
                  <a:lnTo>
                    <a:pt x="991" y="332"/>
                  </a:lnTo>
                  <a:lnTo>
                    <a:pt x="992" y="328"/>
                  </a:lnTo>
                  <a:lnTo>
                    <a:pt x="994" y="328"/>
                  </a:lnTo>
                  <a:lnTo>
                    <a:pt x="998" y="333"/>
                  </a:lnTo>
                  <a:lnTo>
                    <a:pt x="1001" y="333"/>
                  </a:lnTo>
                  <a:lnTo>
                    <a:pt x="1001" y="332"/>
                  </a:lnTo>
                  <a:lnTo>
                    <a:pt x="998" y="328"/>
                  </a:lnTo>
                  <a:lnTo>
                    <a:pt x="996" y="327"/>
                  </a:lnTo>
                  <a:lnTo>
                    <a:pt x="998" y="327"/>
                  </a:lnTo>
                  <a:lnTo>
                    <a:pt x="992" y="321"/>
                  </a:lnTo>
                  <a:lnTo>
                    <a:pt x="989" y="320"/>
                  </a:lnTo>
                  <a:lnTo>
                    <a:pt x="991" y="320"/>
                  </a:lnTo>
                  <a:lnTo>
                    <a:pt x="992" y="318"/>
                  </a:lnTo>
                  <a:lnTo>
                    <a:pt x="994" y="318"/>
                  </a:lnTo>
                  <a:lnTo>
                    <a:pt x="996" y="320"/>
                  </a:lnTo>
                  <a:lnTo>
                    <a:pt x="998" y="323"/>
                  </a:lnTo>
                  <a:lnTo>
                    <a:pt x="1001" y="325"/>
                  </a:lnTo>
                  <a:lnTo>
                    <a:pt x="1005" y="328"/>
                  </a:lnTo>
                  <a:lnTo>
                    <a:pt x="1006" y="327"/>
                  </a:lnTo>
                  <a:lnTo>
                    <a:pt x="1008" y="328"/>
                  </a:lnTo>
                  <a:lnTo>
                    <a:pt x="1013" y="328"/>
                  </a:lnTo>
                  <a:lnTo>
                    <a:pt x="1018" y="328"/>
                  </a:lnTo>
                  <a:lnTo>
                    <a:pt x="1018" y="327"/>
                  </a:lnTo>
                  <a:lnTo>
                    <a:pt x="1018" y="323"/>
                  </a:lnTo>
                  <a:lnTo>
                    <a:pt x="1010" y="318"/>
                  </a:lnTo>
                  <a:lnTo>
                    <a:pt x="1008" y="314"/>
                  </a:lnTo>
                  <a:lnTo>
                    <a:pt x="1005" y="314"/>
                  </a:lnTo>
                  <a:lnTo>
                    <a:pt x="1005" y="311"/>
                  </a:lnTo>
                  <a:lnTo>
                    <a:pt x="1001" y="309"/>
                  </a:lnTo>
                  <a:lnTo>
                    <a:pt x="1001" y="309"/>
                  </a:lnTo>
                  <a:lnTo>
                    <a:pt x="998" y="306"/>
                  </a:lnTo>
                  <a:lnTo>
                    <a:pt x="1001" y="306"/>
                  </a:lnTo>
                  <a:lnTo>
                    <a:pt x="1001" y="306"/>
                  </a:lnTo>
                  <a:lnTo>
                    <a:pt x="1005" y="309"/>
                  </a:lnTo>
                  <a:lnTo>
                    <a:pt x="1006" y="309"/>
                  </a:lnTo>
                  <a:lnTo>
                    <a:pt x="1008" y="311"/>
                  </a:lnTo>
                  <a:lnTo>
                    <a:pt x="1010" y="311"/>
                  </a:lnTo>
                  <a:lnTo>
                    <a:pt x="1012" y="309"/>
                  </a:lnTo>
                  <a:lnTo>
                    <a:pt x="1010" y="304"/>
                  </a:lnTo>
                  <a:lnTo>
                    <a:pt x="1005" y="299"/>
                  </a:lnTo>
                  <a:lnTo>
                    <a:pt x="1003" y="299"/>
                  </a:lnTo>
                  <a:lnTo>
                    <a:pt x="1001" y="299"/>
                  </a:lnTo>
                  <a:lnTo>
                    <a:pt x="998" y="299"/>
                  </a:lnTo>
                  <a:lnTo>
                    <a:pt x="996" y="300"/>
                  </a:lnTo>
                  <a:lnTo>
                    <a:pt x="992" y="300"/>
                  </a:lnTo>
                  <a:lnTo>
                    <a:pt x="989" y="299"/>
                  </a:lnTo>
                  <a:lnTo>
                    <a:pt x="987" y="299"/>
                  </a:lnTo>
                  <a:lnTo>
                    <a:pt x="984" y="297"/>
                  </a:lnTo>
                  <a:lnTo>
                    <a:pt x="980" y="302"/>
                  </a:lnTo>
                  <a:lnTo>
                    <a:pt x="975" y="304"/>
                  </a:lnTo>
                  <a:lnTo>
                    <a:pt x="975" y="306"/>
                  </a:lnTo>
                  <a:lnTo>
                    <a:pt x="973" y="309"/>
                  </a:lnTo>
                  <a:lnTo>
                    <a:pt x="973" y="306"/>
                  </a:lnTo>
                  <a:lnTo>
                    <a:pt x="975" y="302"/>
                  </a:lnTo>
                  <a:lnTo>
                    <a:pt x="979" y="302"/>
                  </a:lnTo>
                  <a:lnTo>
                    <a:pt x="984" y="295"/>
                  </a:lnTo>
                  <a:lnTo>
                    <a:pt x="984" y="293"/>
                  </a:lnTo>
                  <a:lnTo>
                    <a:pt x="982" y="290"/>
                  </a:lnTo>
                  <a:lnTo>
                    <a:pt x="984" y="281"/>
                  </a:lnTo>
                  <a:lnTo>
                    <a:pt x="984" y="281"/>
                  </a:lnTo>
                  <a:lnTo>
                    <a:pt x="982" y="278"/>
                  </a:lnTo>
                  <a:lnTo>
                    <a:pt x="980" y="281"/>
                  </a:lnTo>
                  <a:lnTo>
                    <a:pt x="975" y="281"/>
                  </a:lnTo>
                  <a:lnTo>
                    <a:pt x="975" y="278"/>
                  </a:lnTo>
                  <a:lnTo>
                    <a:pt x="975" y="276"/>
                  </a:lnTo>
                  <a:lnTo>
                    <a:pt x="975" y="273"/>
                  </a:lnTo>
                  <a:lnTo>
                    <a:pt x="970" y="271"/>
                  </a:lnTo>
                  <a:lnTo>
                    <a:pt x="966" y="267"/>
                  </a:lnTo>
                  <a:lnTo>
                    <a:pt x="963" y="267"/>
                  </a:lnTo>
                  <a:lnTo>
                    <a:pt x="959" y="266"/>
                  </a:lnTo>
                  <a:lnTo>
                    <a:pt x="958" y="267"/>
                  </a:lnTo>
                  <a:lnTo>
                    <a:pt x="951" y="269"/>
                  </a:lnTo>
                  <a:lnTo>
                    <a:pt x="951" y="269"/>
                  </a:lnTo>
                  <a:lnTo>
                    <a:pt x="947" y="269"/>
                  </a:lnTo>
                  <a:lnTo>
                    <a:pt x="947" y="273"/>
                  </a:lnTo>
                  <a:lnTo>
                    <a:pt x="951" y="276"/>
                  </a:lnTo>
                  <a:lnTo>
                    <a:pt x="951" y="278"/>
                  </a:lnTo>
                  <a:lnTo>
                    <a:pt x="947" y="278"/>
                  </a:lnTo>
                  <a:lnTo>
                    <a:pt x="946" y="274"/>
                  </a:lnTo>
                  <a:lnTo>
                    <a:pt x="946" y="278"/>
                  </a:lnTo>
                  <a:lnTo>
                    <a:pt x="946" y="281"/>
                  </a:lnTo>
                  <a:lnTo>
                    <a:pt x="947" y="281"/>
                  </a:lnTo>
                  <a:lnTo>
                    <a:pt x="951" y="287"/>
                  </a:lnTo>
                  <a:lnTo>
                    <a:pt x="954" y="287"/>
                  </a:lnTo>
                  <a:lnTo>
                    <a:pt x="952" y="288"/>
                  </a:lnTo>
                  <a:lnTo>
                    <a:pt x="951" y="288"/>
                  </a:lnTo>
                  <a:lnTo>
                    <a:pt x="951" y="292"/>
                  </a:lnTo>
                  <a:lnTo>
                    <a:pt x="954" y="299"/>
                  </a:lnTo>
                  <a:lnTo>
                    <a:pt x="958" y="300"/>
                  </a:lnTo>
                  <a:lnTo>
                    <a:pt x="958" y="302"/>
                  </a:lnTo>
                  <a:lnTo>
                    <a:pt x="956" y="300"/>
                  </a:lnTo>
                  <a:lnTo>
                    <a:pt x="951" y="300"/>
                  </a:lnTo>
                  <a:lnTo>
                    <a:pt x="951" y="302"/>
                  </a:lnTo>
                  <a:lnTo>
                    <a:pt x="947" y="304"/>
                  </a:lnTo>
                  <a:lnTo>
                    <a:pt x="947" y="306"/>
                  </a:lnTo>
                  <a:lnTo>
                    <a:pt x="952" y="304"/>
                  </a:lnTo>
                  <a:lnTo>
                    <a:pt x="954" y="306"/>
                  </a:lnTo>
                  <a:lnTo>
                    <a:pt x="959" y="304"/>
                  </a:lnTo>
                  <a:lnTo>
                    <a:pt x="961" y="306"/>
                  </a:lnTo>
                  <a:lnTo>
                    <a:pt x="965" y="306"/>
                  </a:lnTo>
                  <a:lnTo>
                    <a:pt x="965" y="309"/>
                  </a:lnTo>
                  <a:lnTo>
                    <a:pt x="970" y="313"/>
                  </a:lnTo>
                  <a:lnTo>
                    <a:pt x="970" y="313"/>
                  </a:lnTo>
                  <a:lnTo>
                    <a:pt x="970" y="309"/>
                  </a:lnTo>
                  <a:lnTo>
                    <a:pt x="973" y="311"/>
                  </a:lnTo>
                  <a:lnTo>
                    <a:pt x="975" y="309"/>
                  </a:lnTo>
                  <a:lnTo>
                    <a:pt x="979" y="309"/>
                  </a:lnTo>
                  <a:lnTo>
                    <a:pt x="979" y="313"/>
                  </a:lnTo>
                  <a:lnTo>
                    <a:pt x="979" y="318"/>
                  </a:lnTo>
                  <a:lnTo>
                    <a:pt x="979" y="321"/>
                  </a:lnTo>
                  <a:lnTo>
                    <a:pt x="975" y="327"/>
                  </a:lnTo>
                  <a:lnTo>
                    <a:pt x="975" y="328"/>
                  </a:lnTo>
                  <a:lnTo>
                    <a:pt x="979" y="333"/>
                  </a:lnTo>
                  <a:lnTo>
                    <a:pt x="979" y="337"/>
                  </a:lnTo>
                  <a:lnTo>
                    <a:pt x="979" y="340"/>
                  </a:lnTo>
                  <a:lnTo>
                    <a:pt x="975" y="342"/>
                  </a:lnTo>
                  <a:lnTo>
                    <a:pt x="970" y="346"/>
                  </a:lnTo>
                  <a:lnTo>
                    <a:pt x="968" y="347"/>
                  </a:lnTo>
                  <a:lnTo>
                    <a:pt x="966" y="349"/>
                  </a:lnTo>
                  <a:lnTo>
                    <a:pt x="963" y="354"/>
                  </a:lnTo>
                  <a:lnTo>
                    <a:pt x="963" y="356"/>
                  </a:lnTo>
                  <a:lnTo>
                    <a:pt x="959" y="360"/>
                  </a:lnTo>
                  <a:lnTo>
                    <a:pt x="958" y="360"/>
                  </a:lnTo>
                  <a:lnTo>
                    <a:pt x="958" y="365"/>
                  </a:lnTo>
                  <a:lnTo>
                    <a:pt x="961" y="365"/>
                  </a:lnTo>
                  <a:lnTo>
                    <a:pt x="961" y="368"/>
                  </a:lnTo>
                  <a:lnTo>
                    <a:pt x="958" y="368"/>
                  </a:lnTo>
                  <a:lnTo>
                    <a:pt x="956" y="372"/>
                  </a:lnTo>
                  <a:lnTo>
                    <a:pt x="958" y="373"/>
                  </a:lnTo>
                  <a:lnTo>
                    <a:pt x="956" y="377"/>
                  </a:lnTo>
                  <a:lnTo>
                    <a:pt x="954" y="380"/>
                  </a:lnTo>
                  <a:lnTo>
                    <a:pt x="956" y="384"/>
                  </a:lnTo>
                  <a:lnTo>
                    <a:pt x="959" y="384"/>
                  </a:lnTo>
                  <a:lnTo>
                    <a:pt x="959" y="387"/>
                  </a:lnTo>
                  <a:lnTo>
                    <a:pt x="961" y="387"/>
                  </a:lnTo>
                  <a:lnTo>
                    <a:pt x="963" y="387"/>
                  </a:lnTo>
                  <a:lnTo>
                    <a:pt x="965" y="386"/>
                  </a:lnTo>
                  <a:lnTo>
                    <a:pt x="965" y="384"/>
                  </a:lnTo>
                  <a:lnTo>
                    <a:pt x="966" y="386"/>
                  </a:lnTo>
                  <a:lnTo>
                    <a:pt x="968" y="386"/>
                  </a:lnTo>
                  <a:lnTo>
                    <a:pt x="970" y="380"/>
                  </a:lnTo>
                  <a:lnTo>
                    <a:pt x="973" y="382"/>
                  </a:lnTo>
                  <a:lnTo>
                    <a:pt x="970" y="387"/>
                  </a:lnTo>
                  <a:lnTo>
                    <a:pt x="968" y="387"/>
                  </a:lnTo>
                  <a:lnTo>
                    <a:pt x="968" y="387"/>
                  </a:lnTo>
                  <a:lnTo>
                    <a:pt x="968" y="391"/>
                  </a:lnTo>
                  <a:lnTo>
                    <a:pt x="970" y="393"/>
                  </a:lnTo>
                  <a:lnTo>
                    <a:pt x="970" y="396"/>
                  </a:lnTo>
                  <a:lnTo>
                    <a:pt x="975" y="396"/>
                  </a:lnTo>
                  <a:lnTo>
                    <a:pt x="975" y="396"/>
                  </a:lnTo>
                  <a:lnTo>
                    <a:pt x="980" y="396"/>
                  </a:lnTo>
                  <a:lnTo>
                    <a:pt x="982" y="396"/>
                  </a:lnTo>
                  <a:lnTo>
                    <a:pt x="985" y="393"/>
                  </a:lnTo>
                  <a:lnTo>
                    <a:pt x="985" y="391"/>
                  </a:lnTo>
                  <a:lnTo>
                    <a:pt x="987" y="391"/>
                  </a:lnTo>
                  <a:lnTo>
                    <a:pt x="989" y="387"/>
                  </a:lnTo>
                  <a:lnTo>
                    <a:pt x="989" y="391"/>
                  </a:lnTo>
                  <a:lnTo>
                    <a:pt x="989" y="393"/>
                  </a:lnTo>
                  <a:lnTo>
                    <a:pt x="989" y="393"/>
                  </a:lnTo>
                  <a:lnTo>
                    <a:pt x="991" y="393"/>
                  </a:lnTo>
                  <a:lnTo>
                    <a:pt x="992" y="387"/>
                  </a:lnTo>
                  <a:lnTo>
                    <a:pt x="996" y="387"/>
                  </a:lnTo>
                  <a:lnTo>
                    <a:pt x="996" y="387"/>
                  </a:lnTo>
                  <a:lnTo>
                    <a:pt x="996" y="393"/>
                  </a:lnTo>
                  <a:lnTo>
                    <a:pt x="991" y="398"/>
                  </a:lnTo>
                  <a:lnTo>
                    <a:pt x="989" y="400"/>
                  </a:lnTo>
                  <a:lnTo>
                    <a:pt x="989" y="403"/>
                  </a:lnTo>
                  <a:lnTo>
                    <a:pt x="992" y="405"/>
                  </a:lnTo>
                  <a:lnTo>
                    <a:pt x="996" y="407"/>
                  </a:lnTo>
                  <a:lnTo>
                    <a:pt x="998" y="407"/>
                  </a:lnTo>
                  <a:lnTo>
                    <a:pt x="998" y="408"/>
                  </a:lnTo>
                  <a:lnTo>
                    <a:pt x="1001" y="408"/>
                  </a:lnTo>
                  <a:lnTo>
                    <a:pt x="1003" y="405"/>
                  </a:lnTo>
                  <a:lnTo>
                    <a:pt x="1006" y="405"/>
                  </a:lnTo>
                  <a:lnTo>
                    <a:pt x="1005" y="407"/>
                  </a:lnTo>
                  <a:lnTo>
                    <a:pt x="1006" y="410"/>
                  </a:lnTo>
                  <a:lnTo>
                    <a:pt x="1008" y="410"/>
                  </a:lnTo>
                  <a:lnTo>
                    <a:pt x="1012" y="412"/>
                  </a:lnTo>
                  <a:lnTo>
                    <a:pt x="1013" y="410"/>
                  </a:lnTo>
                  <a:lnTo>
                    <a:pt x="1012" y="408"/>
                  </a:lnTo>
                  <a:lnTo>
                    <a:pt x="1012" y="405"/>
                  </a:lnTo>
                  <a:lnTo>
                    <a:pt x="1015" y="403"/>
                  </a:lnTo>
                  <a:lnTo>
                    <a:pt x="1015" y="405"/>
                  </a:lnTo>
                  <a:lnTo>
                    <a:pt x="1015" y="408"/>
                  </a:lnTo>
                  <a:lnTo>
                    <a:pt x="1015" y="412"/>
                  </a:lnTo>
                  <a:lnTo>
                    <a:pt x="1017" y="412"/>
                  </a:lnTo>
                  <a:lnTo>
                    <a:pt x="1018" y="408"/>
                  </a:lnTo>
                  <a:lnTo>
                    <a:pt x="1020" y="407"/>
                  </a:lnTo>
                  <a:lnTo>
                    <a:pt x="1020" y="407"/>
                  </a:lnTo>
                  <a:lnTo>
                    <a:pt x="1020" y="408"/>
                  </a:lnTo>
                  <a:lnTo>
                    <a:pt x="1020" y="410"/>
                  </a:lnTo>
                  <a:lnTo>
                    <a:pt x="1020" y="412"/>
                  </a:lnTo>
                  <a:lnTo>
                    <a:pt x="1024" y="412"/>
                  </a:lnTo>
                  <a:lnTo>
                    <a:pt x="1025" y="410"/>
                  </a:lnTo>
                  <a:lnTo>
                    <a:pt x="1029" y="405"/>
                  </a:lnTo>
                  <a:lnTo>
                    <a:pt x="1029" y="408"/>
                  </a:lnTo>
                  <a:lnTo>
                    <a:pt x="1029" y="410"/>
                  </a:lnTo>
                  <a:lnTo>
                    <a:pt x="1029" y="412"/>
                  </a:lnTo>
                  <a:lnTo>
                    <a:pt x="1032" y="412"/>
                  </a:lnTo>
                  <a:lnTo>
                    <a:pt x="1034" y="407"/>
                  </a:lnTo>
                  <a:lnTo>
                    <a:pt x="1034" y="405"/>
                  </a:lnTo>
                  <a:lnTo>
                    <a:pt x="1034" y="412"/>
                  </a:lnTo>
                  <a:lnTo>
                    <a:pt x="1034" y="415"/>
                  </a:lnTo>
                  <a:lnTo>
                    <a:pt x="1038" y="415"/>
                  </a:lnTo>
                  <a:lnTo>
                    <a:pt x="1043" y="415"/>
                  </a:lnTo>
                  <a:lnTo>
                    <a:pt x="1046" y="415"/>
                  </a:lnTo>
                  <a:lnTo>
                    <a:pt x="1048" y="415"/>
                  </a:lnTo>
                  <a:lnTo>
                    <a:pt x="1048" y="419"/>
                  </a:lnTo>
                  <a:lnTo>
                    <a:pt x="1052" y="415"/>
                  </a:lnTo>
                  <a:lnTo>
                    <a:pt x="1055" y="415"/>
                  </a:lnTo>
                  <a:lnTo>
                    <a:pt x="1055" y="412"/>
                  </a:lnTo>
                  <a:lnTo>
                    <a:pt x="1058" y="408"/>
                  </a:lnTo>
                  <a:lnTo>
                    <a:pt x="1058" y="407"/>
                  </a:lnTo>
                  <a:lnTo>
                    <a:pt x="1057" y="403"/>
                  </a:lnTo>
                  <a:lnTo>
                    <a:pt x="1058" y="400"/>
                  </a:lnTo>
                  <a:lnTo>
                    <a:pt x="1060" y="400"/>
                  </a:lnTo>
                  <a:lnTo>
                    <a:pt x="1060" y="405"/>
                  </a:lnTo>
                  <a:lnTo>
                    <a:pt x="1062" y="405"/>
                  </a:lnTo>
                  <a:lnTo>
                    <a:pt x="1064" y="407"/>
                  </a:lnTo>
                  <a:lnTo>
                    <a:pt x="1060" y="408"/>
                  </a:lnTo>
                  <a:lnTo>
                    <a:pt x="1058" y="413"/>
                  </a:lnTo>
                  <a:lnTo>
                    <a:pt x="1058" y="419"/>
                  </a:lnTo>
                  <a:lnTo>
                    <a:pt x="1058" y="419"/>
                  </a:lnTo>
                  <a:lnTo>
                    <a:pt x="1058" y="419"/>
                  </a:lnTo>
                  <a:lnTo>
                    <a:pt x="1058" y="419"/>
                  </a:lnTo>
                  <a:close/>
                  <a:moveTo>
                    <a:pt x="944" y="266"/>
                  </a:moveTo>
                  <a:lnTo>
                    <a:pt x="946" y="264"/>
                  </a:lnTo>
                  <a:lnTo>
                    <a:pt x="946" y="262"/>
                  </a:lnTo>
                  <a:lnTo>
                    <a:pt x="944" y="262"/>
                  </a:lnTo>
                  <a:lnTo>
                    <a:pt x="942" y="264"/>
                  </a:lnTo>
                  <a:lnTo>
                    <a:pt x="944" y="266"/>
                  </a:lnTo>
                  <a:lnTo>
                    <a:pt x="944" y="266"/>
                  </a:lnTo>
                  <a:lnTo>
                    <a:pt x="944" y="266"/>
                  </a:lnTo>
                  <a:lnTo>
                    <a:pt x="944" y="266"/>
                  </a:lnTo>
                  <a:close/>
                  <a:moveTo>
                    <a:pt x="937" y="287"/>
                  </a:moveTo>
                  <a:lnTo>
                    <a:pt x="939" y="283"/>
                  </a:lnTo>
                  <a:lnTo>
                    <a:pt x="940" y="281"/>
                  </a:lnTo>
                  <a:lnTo>
                    <a:pt x="940" y="283"/>
                  </a:lnTo>
                  <a:lnTo>
                    <a:pt x="939" y="287"/>
                  </a:lnTo>
                  <a:lnTo>
                    <a:pt x="937" y="287"/>
                  </a:lnTo>
                  <a:lnTo>
                    <a:pt x="937" y="287"/>
                  </a:lnTo>
                  <a:lnTo>
                    <a:pt x="937" y="287"/>
                  </a:lnTo>
                  <a:lnTo>
                    <a:pt x="937" y="287"/>
                  </a:lnTo>
                  <a:close/>
                  <a:moveTo>
                    <a:pt x="855" y="318"/>
                  </a:moveTo>
                  <a:lnTo>
                    <a:pt x="853" y="318"/>
                  </a:lnTo>
                  <a:lnTo>
                    <a:pt x="855" y="318"/>
                  </a:lnTo>
                  <a:lnTo>
                    <a:pt x="855" y="318"/>
                  </a:lnTo>
                  <a:lnTo>
                    <a:pt x="855" y="318"/>
                  </a:lnTo>
                  <a:lnTo>
                    <a:pt x="855" y="318"/>
                  </a:lnTo>
                  <a:lnTo>
                    <a:pt x="855" y="318"/>
                  </a:lnTo>
                  <a:lnTo>
                    <a:pt x="855" y="318"/>
                  </a:lnTo>
                  <a:close/>
                  <a:moveTo>
                    <a:pt x="907" y="264"/>
                  </a:moveTo>
                  <a:lnTo>
                    <a:pt x="907" y="266"/>
                  </a:lnTo>
                  <a:lnTo>
                    <a:pt x="909" y="269"/>
                  </a:lnTo>
                  <a:lnTo>
                    <a:pt x="911" y="271"/>
                  </a:lnTo>
                  <a:lnTo>
                    <a:pt x="913" y="269"/>
                  </a:lnTo>
                  <a:lnTo>
                    <a:pt x="911" y="266"/>
                  </a:lnTo>
                  <a:lnTo>
                    <a:pt x="909" y="264"/>
                  </a:lnTo>
                  <a:lnTo>
                    <a:pt x="907" y="264"/>
                  </a:lnTo>
                  <a:lnTo>
                    <a:pt x="907" y="264"/>
                  </a:lnTo>
                  <a:lnTo>
                    <a:pt x="907" y="264"/>
                  </a:lnTo>
                  <a:lnTo>
                    <a:pt x="907" y="264"/>
                  </a:lnTo>
                  <a:close/>
                  <a:moveTo>
                    <a:pt x="883" y="266"/>
                  </a:moveTo>
                  <a:lnTo>
                    <a:pt x="883" y="267"/>
                  </a:lnTo>
                  <a:lnTo>
                    <a:pt x="885" y="269"/>
                  </a:lnTo>
                  <a:lnTo>
                    <a:pt x="886" y="267"/>
                  </a:lnTo>
                  <a:lnTo>
                    <a:pt x="890" y="266"/>
                  </a:lnTo>
                  <a:lnTo>
                    <a:pt x="893" y="267"/>
                  </a:lnTo>
                  <a:lnTo>
                    <a:pt x="897" y="264"/>
                  </a:lnTo>
                  <a:lnTo>
                    <a:pt x="899" y="264"/>
                  </a:lnTo>
                  <a:lnTo>
                    <a:pt x="902" y="262"/>
                  </a:lnTo>
                  <a:lnTo>
                    <a:pt x="900" y="260"/>
                  </a:lnTo>
                  <a:lnTo>
                    <a:pt x="897" y="260"/>
                  </a:lnTo>
                  <a:lnTo>
                    <a:pt x="893" y="262"/>
                  </a:lnTo>
                  <a:lnTo>
                    <a:pt x="893" y="262"/>
                  </a:lnTo>
                  <a:lnTo>
                    <a:pt x="890" y="264"/>
                  </a:lnTo>
                  <a:lnTo>
                    <a:pt x="890" y="264"/>
                  </a:lnTo>
                  <a:lnTo>
                    <a:pt x="888" y="262"/>
                  </a:lnTo>
                  <a:lnTo>
                    <a:pt x="885" y="264"/>
                  </a:lnTo>
                  <a:lnTo>
                    <a:pt x="883" y="266"/>
                  </a:lnTo>
                  <a:lnTo>
                    <a:pt x="883" y="266"/>
                  </a:lnTo>
                  <a:lnTo>
                    <a:pt x="883" y="266"/>
                  </a:lnTo>
                  <a:lnTo>
                    <a:pt x="883" y="266"/>
                  </a:lnTo>
                  <a:close/>
                  <a:moveTo>
                    <a:pt x="855" y="274"/>
                  </a:moveTo>
                  <a:lnTo>
                    <a:pt x="853" y="273"/>
                  </a:lnTo>
                  <a:lnTo>
                    <a:pt x="848" y="273"/>
                  </a:lnTo>
                  <a:lnTo>
                    <a:pt x="846" y="271"/>
                  </a:lnTo>
                  <a:lnTo>
                    <a:pt x="846" y="266"/>
                  </a:lnTo>
                  <a:lnTo>
                    <a:pt x="846" y="264"/>
                  </a:lnTo>
                  <a:lnTo>
                    <a:pt x="848" y="260"/>
                  </a:lnTo>
                  <a:lnTo>
                    <a:pt x="846" y="259"/>
                  </a:lnTo>
                  <a:lnTo>
                    <a:pt x="848" y="255"/>
                  </a:lnTo>
                  <a:lnTo>
                    <a:pt x="852" y="255"/>
                  </a:lnTo>
                  <a:lnTo>
                    <a:pt x="855" y="255"/>
                  </a:lnTo>
                  <a:lnTo>
                    <a:pt x="855" y="255"/>
                  </a:lnTo>
                  <a:lnTo>
                    <a:pt x="857" y="255"/>
                  </a:lnTo>
                  <a:lnTo>
                    <a:pt x="859" y="259"/>
                  </a:lnTo>
                  <a:lnTo>
                    <a:pt x="855" y="259"/>
                  </a:lnTo>
                  <a:lnTo>
                    <a:pt x="855" y="260"/>
                  </a:lnTo>
                  <a:lnTo>
                    <a:pt x="857" y="260"/>
                  </a:lnTo>
                  <a:lnTo>
                    <a:pt x="860" y="260"/>
                  </a:lnTo>
                  <a:lnTo>
                    <a:pt x="859" y="262"/>
                  </a:lnTo>
                  <a:lnTo>
                    <a:pt x="859" y="264"/>
                  </a:lnTo>
                  <a:lnTo>
                    <a:pt x="859" y="267"/>
                  </a:lnTo>
                  <a:lnTo>
                    <a:pt x="860" y="271"/>
                  </a:lnTo>
                  <a:lnTo>
                    <a:pt x="859" y="274"/>
                  </a:lnTo>
                  <a:lnTo>
                    <a:pt x="855" y="274"/>
                  </a:lnTo>
                  <a:lnTo>
                    <a:pt x="855" y="274"/>
                  </a:lnTo>
                  <a:lnTo>
                    <a:pt x="855" y="274"/>
                  </a:lnTo>
                  <a:lnTo>
                    <a:pt x="855" y="274"/>
                  </a:lnTo>
                  <a:close/>
                  <a:moveTo>
                    <a:pt x="852" y="287"/>
                  </a:moveTo>
                  <a:lnTo>
                    <a:pt x="859" y="287"/>
                  </a:lnTo>
                  <a:lnTo>
                    <a:pt x="860" y="287"/>
                  </a:lnTo>
                  <a:lnTo>
                    <a:pt x="864" y="281"/>
                  </a:lnTo>
                  <a:lnTo>
                    <a:pt x="860" y="278"/>
                  </a:lnTo>
                  <a:lnTo>
                    <a:pt x="857" y="278"/>
                  </a:lnTo>
                  <a:lnTo>
                    <a:pt x="853" y="276"/>
                  </a:lnTo>
                  <a:lnTo>
                    <a:pt x="848" y="276"/>
                  </a:lnTo>
                  <a:lnTo>
                    <a:pt x="846" y="276"/>
                  </a:lnTo>
                  <a:lnTo>
                    <a:pt x="843" y="276"/>
                  </a:lnTo>
                  <a:lnTo>
                    <a:pt x="843" y="278"/>
                  </a:lnTo>
                  <a:lnTo>
                    <a:pt x="841" y="278"/>
                  </a:lnTo>
                  <a:lnTo>
                    <a:pt x="840" y="281"/>
                  </a:lnTo>
                  <a:lnTo>
                    <a:pt x="841" y="281"/>
                  </a:lnTo>
                  <a:lnTo>
                    <a:pt x="841" y="281"/>
                  </a:lnTo>
                  <a:lnTo>
                    <a:pt x="843" y="283"/>
                  </a:lnTo>
                  <a:lnTo>
                    <a:pt x="846" y="287"/>
                  </a:lnTo>
                  <a:lnTo>
                    <a:pt x="846" y="287"/>
                  </a:lnTo>
                  <a:lnTo>
                    <a:pt x="852" y="287"/>
                  </a:lnTo>
                  <a:lnTo>
                    <a:pt x="852" y="287"/>
                  </a:lnTo>
                  <a:lnTo>
                    <a:pt x="852" y="287"/>
                  </a:lnTo>
                  <a:lnTo>
                    <a:pt x="852" y="287"/>
                  </a:lnTo>
                  <a:close/>
                  <a:moveTo>
                    <a:pt x="840" y="292"/>
                  </a:moveTo>
                  <a:lnTo>
                    <a:pt x="846" y="293"/>
                  </a:lnTo>
                  <a:lnTo>
                    <a:pt x="852" y="292"/>
                  </a:lnTo>
                  <a:lnTo>
                    <a:pt x="853" y="292"/>
                  </a:lnTo>
                  <a:lnTo>
                    <a:pt x="853" y="293"/>
                  </a:lnTo>
                  <a:lnTo>
                    <a:pt x="857" y="292"/>
                  </a:lnTo>
                  <a:lnTo>
                    <a:pt x="860" y="292"/>
                  </a:lnTo>
                  <a:lnTo>
                    <a:pt x="860" y="290"/>
                  </a:lnTo>
                  <a:lnTo>
                    <a:pt x="857" y="288"/>
                  </a:lnTo>
                  <a:lnTo>
                    <a:pt x="852" y="290"/>
                  </a:lnTo>
                  <a:lnTo>
                    <a:pt x="846" y="290"/>
                  </a:lnTo>
                  <a:lnTo>
                    <a:pt x="846" y="288"/>
                  </a:lnTo>
                  <a:lnTo>
                    <a:pt x="841" y="288"/>
                  </a:lnTo>
                  <a:lnTo>
                    <a:pt x="840" y="290"/>
                  </a:lnTo>
                  <a:lnTo>
                    <a:pt x="840" y="292"/>
                  </a:lnTo>
                  <a:lnTo>
                    <a:pt x="840" y="292"/>
                  </a:lnTo>
                  <a:lnTo>
                    <a:pt x="840" y="292"/>
                  </a:lnTo>
                  <a:lnTo>
                    <a:pt x="840" y="292"/>
                  </a:lnTo>
                  <a:close/>
                  <a:moveTo>
                    <a:pt x="838" y="300"/>
                  </a:moveTo>
                  <a:lnTo>
                    <a:pt x="841" y="300"/>
                  </a:lnTo>
                  <a:lnTo>
                    <a:pt x="843" y="299"/>
                  </a:lnTo>
                  <a:lnTo>
                    <a:pt x="846" y="297"/>
                  </a:lnTo>
                  <a:lnTo>
                    <a:pt x="853" y="295"/>
                  </a:lnTo>
                  <a:lnTo>
                    <a:pt x="855" y="295"/>
                  </a:lnTo>
                  <a:lnTo>
                    <a:pt x="857" y="295"/>
                  </a:lnTo>
                  <a:lnTo>
                    <a:pt x="860" y="295"/>
                  </a:lnTo>
                  <a:lnTo>
                    <a:pt x="860" y="297"/>
                  </a:lnTo>
                  <a:lnTo>
                    <a:pt x="857" y="299"/>
                  </a:lnTo>
                  <a:lnTo>
                    <a:pt x="855" y="299"/>
                  </a:lnTo>
                  <a:lnTo>
                    <a:pt x="852" y="300"/>
                  </a:lnTo>
                  <a:lnTo>
                    <a:pt x="852" y="302"/>
                  </a:lnTo>
                  <a:lnTo>
                    <a:pt x="846" y="304"/>
                  </a:lnTo>
                  <a:lnTo>
                    <a:pt x="843" y="302"/>
                  </a:lnTo>
                  <a:lnTo>
                    <a:pt x="841" y="302"/>
                  </a:lnTo>
                  <a:lnTo>
                    <a:pt x="840" y="302"/>
                  </a:lnTo>
                  <a:lnTo>
                    <a:pt x="838" y="302"/>
                  </a:lnTo>
                  <a:lnTo>
                    <a:pt x="838" y="300"/>
                  </a:lnTo>
                  <a:lnTo>
                    <a:pt x="838" y="300"/>
                  </a:lnTo>
                  <a:lnTo>
                    <a:pt x="838" y="300"/>
                  </a:lnTo>
                  <a:lnTo>
                    <a:pt x="838" y="300"/>
                  </a:lnTo>
                  <a:close/>
                  <a:moveTo>
                    <a:pt x="758" y="196"/>
                  </a:moveTo>
                  <a:lnTo>
                    <a:pt x="756" y="196"/>
                  </a:lnTo>
                  <a:lnTo>
                    <a:pt x="758" y="194"/>
                  </a:lnTo>
                  <a:lnTo>
                    <a:pt x="761" y="194"/>
                  </a:lnTo>
                  <a:lnTo>
                    <a:pt x="760" y="196"/>
                  </a:lnTo>
                  <a:lnTo>
                    <a:pt x="758" y="196"/>
                  </a:lnTo>
                  <a:lnTo>
                    <a:pt x="758" y="196"/>
                  </a:lnTo>
                  <a:lnTo>
                    <a:pt x="758" y="196"/>
                  </a:lnTo>
                  <a:lnTo>
                    <a:pt x="758" y="196"/>
                  </a:lnTo>
                  <a:close/>
                  <a:moveTo>
                    <a:pt x="735" y="208"/>
                  </a:moveTo>
                  <a:lnTo>
                    <a:pt x="739" y="208"/>
                  </a:lnTo>
                  <a:lnTo>
                    <a:pt x="739" y="205"/>
                  </a:lnTo>
                  <a:lnTo>
                    <a:pt x="744" y="208"/>
                  </a:lnTo>
                  <a:lnTo>
                    <a:pt x="747" y="208"/>
                  </a:lnTo>
                  <a:lnTo>
                    <a:pt x="749" y="208"/>
                  </a:lnTo>
                  <a:lnTo>
                    <a:pt x="749" y="210"/>
                  </a:lnTo>
                  <a:lnTo>
                    <a:pt x="751" y="212"/>
                  </a:lnTo>
                  <a:lnTo>
                    <a:pt x="749" y="215"/>
                  </a:lnTo>
                  <a:lnTo>
                    <a:pt x="747" y="217"/>
                  </a:lnTo>
                  <a:lnTo>
                    <a:pt x="744" y="215"/>
                  </a:lnTo>
                  <a:lnTo>
                    <a:pt x="742" y="215"/>
                  </a:lnTo>
                  <a:lnTo>
                    <a:pt x="739" y="212"/>
                  </a:lnTo>
                  <a:lnTo>
                    <a:pt x="739" y="208"/>
                  </a:lnTo>
                  <a:lnTo>
                    <a:pt x="735" y="208"/>
                  </a:lnTo>
                  <a:lnTo>
                    <a:pt x="735" y="208"/>
                  </a:lnTo>
                  <a:lnTo>
                    <a:pt x="735" y="208"/>
                  </a:lnTo>
                  <a:lnTo>
                    <a:pt x="735" y="208"/>
                  </a:lnTo>
                  <a:lnTo>
                    <a:pt x="735" y="208"/>
                  </a:lnTo>
                  <a:lnTo>
                    <a:pt x="735" y="208"/>
                  </a:lnTo>
                  <a:close/>
                  <a:moveTo>
                    <a:pt x="617" y="214"/>
                  </a:moveTo>
                  <a:lnTo>
                    <a:pt x="612" y="214"/>
                  </a:lnTo>
                  <a:lnTo>
                    <a:pt x="612" y="212"/>
                  </a:lnTo>
                  <a:lnTo>
                    <a:pt x="612" y="210"/>
                  </a:lnTo>
                  <a:lnTo>
                    <a:pt x="617" y="212"/>
                  </a:lnTo>
                  <a:lnTo>
                    <a:pt x="617" y="214"/>
                  </a:lnTo>
                  <a:lnTo>
                    <a:pt x="617" y="214"/>
                  </a:lnTo>
                  <a:lnTo>
                    <a:pt x="617" y="214"/>
                  </a:lnTo>
                  <a:lnTo>
                    <a:pt x="617" y="214"/>
                  </a:lnTo>
                  <a:lnTo>
                    <a:pt x="617" y="214"/>
                  </a:lnTo>
                  <a:close/>
                  <a:moveTo>
                    <a:pt x="628" y="231"/>
                  </a:moveTo>
                  <a:lnTo>
                    <a:pt x="633" y="227"/>
                  </a:lnTo>
                  <a:lnTo>
                    <a:pt x="633" y="231"/>
                  </a:lnTo>
                  <a:lnTo>
                    <a:pt x="628" y="231"/>
                  </a:lnTo>
                  <a:lnTo>
                    <a:pt x="628" y="231"/>
                  </a:lnTo>
                  <a:lnTo>
                    <a:pt x="628" y="231"/>
                  </a:lnTo>
                  <a:lnTo>
                    <a:pt x="628" y="231"/>
                  </a:lnTo>
                  <a:lnTo>
                    <a:pt x="628" y="231"/>
                  </a:lnTo>
                  <a:lnTo>
                    <a:pt x="628" y="231"/>
                  </a:lnTo>
                  <a:close/>
                  <a:moveTo>
                    <a:pt x="634" y="227"/>
                  </a:moveTo>
                  <a:lnTo>
                    <a:pt x="636" y="224"/>
                  </a:lnTo>
                  <a:lnTo>
                    <a:pt x="636" y="222"/>
                  </a:lnTo>
                  <a:lnTo>
                    <a:pt x="638" y="219"/>
                  </a:lnTo>
                  <a:lnTo>
                    <a:pt x="640" y="217"/>
                  </a:lnTo>
                  <a:lnTo>
                    <a:pt x="640" y="215"/>
                  </a:lnTo>
                  <a:lnTo>
                    <a:pt x="643" y="214"/>
                  </a:lnTo>
                  <a:lnTo>
                    <a:pt x="647" y="215"/>
                  </a:lnTo>
                  <a:lnTo>
                    <a:pt x="647" y="217"/>
                  </a:lnTo>
                  <a:lnTo>
                    <a:pt x="643" y="219"/>
                  </a:lnTo>
                  <a:lnTo>
                    <a:pt x="640" y="224"/>
                  </a:lnTo>
                  <a:lnTo>
                    <a:pt x="643" y="227"/>
                  </a:lnTo>
                  <a:lnTo>
                    <a:pt x="640" y="227"/>
                  </a:lnTo>
                  <a:lnTo>
                    <a:pt x="640" y="231"/>
                  </a:lnTo>
                  <a:lnTo>
                    <a:pt x="640" y="233"/>
                  </a:lnTo>
                  <a:lnTo>
                    <a:pt x="643" y="231"/>
                  </a:lnTo>
                  <a:lnTo>
                    <a:pt x="643" y="231"/>
                  </a:lnTo>
                  <a:lnTo>
                    <a:pt x="643" y="233"/>
                  </a:lnTo>
                  <a:lnTo>
                    <a:pt x="647" y="234"/>
                  </a:lnTo>
                  <a:lnTo>
                    <a:pt x="650" y="231"/>
                  </a:lnTo>
                  <a:lnTo>
                    <a:pt x="654" y="227"/>
                  </a:lnTo>
                  <a:lnTo>
                    <a:pt x="655" y="227"/>
                  </a:lnTo>
                  <a:lnTo>
                    <a:pt x="657" y="224"/>
                  </a:lnTo>
                  <a:lnTo>
                    <a:pt x="657" y="222"/>
                  </a:lnTo>
                  <a:lnTo>
                    <a:pt x="659" y="222"/>
                  </a:lnTo>
                  <a:lnTo>
                    <a:pt x="662" y="219"/>
                  </a:lnTo>
                  <a:lnTo>
                    <a:pt x="662" y="214"/>
                  </a:lnTo>
                  <a:lnTo>
                    <a:pt x="662" y="214"/>
                  </a:lnTo>
                  <a:lnTo>
                    <a:pt x="662" y="214"/>
                  </a:lnTo>
                  <a:lnTo>
                    <a:pt x="662" y="217"/>
                  </a:lnTo>
                  <a:lnTo>
                    <a:pt x="662" y="219"/>
                  </a:lnTo>
                  <a:lnTo>
                    <a:pt x="662" y="224"/>
                  </a:lnTo>
                  <a:lnTo>
                    <a:pt x="666" y="227"/>
                  </a:lnTo>
                  <a:lnTo>
                    <a:pt x="666" y="227"/>
                  </a:lnTo>
                  <a:lnTo>
                    <a:pt x="669" y="224"/>
                  </a:lnTo>
                  <a:lnTo>
                    <a:pt x="669" y="219"/>
                  </a:lnTo>
                  <a:lnTo>
                    <a:pt x="671" y="219"/>
                  </a:lnTo>
                  <a:lnTo>
                    <a:pt x="674" y="217"/>
                  </a:lnTo>
                  <a:lnTo>
                    <a:pt x="676" y="212"/>
                  </a:lnTo>
                  <a:lnTo>
                    <a:pt x="676" y="208"/>
                  </a:lnTo>
                  <a:lnTo>
                    <a:pt x="676" y="205"/>
                  </a:lnTo>
                  <a:lnTo>
                    <a:pt x="678" y="201"/>
                  </a:lnTo>
                  <a:lnTo>
                    <a:pt x="680" y="205"/>
                  </a:lnTo>
                  <a:lnTo>
                    <a:pt x="685" y="201"/>
                  </a:lnTo>
                  <a:lnTo>
                    <a:pt x="688" y="196"/>
                  </a:lnTo>
                  <a:lnTo>
                    <a:pt x="688" y="194"/>
                  </a:lnTo>
                  <a:lnTo>
                    <a:pt x="692" y="194"/>
                  </a:lnTo>
                  <a:lnTo>
                    <a:pt x="694" y="193"/>
                  </a:lnTo>
                  <a:lnTo>
                    <a:pt x="694" y="194"/>
                  </a:lnTo>
                  <a:lnTo>
                    <a:pt x="697" y="193"/>
                  </a:lnTo>
                  <a:lnTo>
                    <a:pt x="699" y="193"/>
                  </a:lnTo>
                  <a:lnTo>
                    <a:pt x="697" y="200"/>
                  </a:lnTo>
                  <a:lnTo>
                    <a:pt x="694" y="203"/>
                  </a:lnTo>
                  <a:lnTo>
                    <a:pt x="694" y="208"/>
                  </a:lnTo>
                  <a:lnTo>
                    <a:pt x="692" y="208"/>
                  </a:lnTo>
                  <a:lnTo>
                    <a:pt x="690" y="210"/>
                  </a:lnTo>
                  <a:lnTo>
                    <a:pt x="688" y="212"/>
                  </a:lnTo>
                  <a:lnTo>
                    <a:pt x="683" y="219"/>
                  </a:lnTo>
                  <a:lnTo>
                    <a:pt x="683" y="222"/>
                  </a:lnTo>
                  <a:lnTo>
                    <a:pt x="685" y="224"/>
                  </a:lnTo>
                  <a:lnTo>
                    <a:pt x="685" y="227"/>
                  </a:lnTo>
                  <a:lnTo>
                    <a:pt x="685" y="227"/>
                  </a:lnTo>
                  <a:lnTo>
                    <a:pt x="690" y="227"/>
                  </a:lnTo>
                  <a:lnTo>
                    <a:pt x="692" y="227"/>
                  </a:lnTo>
                  <a:lnTo>
                    <a:pt x="694" y="224"/>
                  </a:lnTo>
                  <a:lnTo>
                    <a:pt x="697" y="222"/>
                  </a:lnTo>
                  <a:lnTo>
                    <a:pt x="697" y="219"/>
                  </a:lnTo>
                  <a:lnTo>
                    <a:pt x="697" y="217"/>
                  </a:lnTo>
                  <a:lnTo>
                    <a:pt x="699" y="214"/>
                  </a:lnTo>
                  <a:lnTo>
                    <a:pt x="702" y="214"/>
                  </a:lnTo>
                  <a:lnTo>
                    <a:pt x="704" y="214"/>
                  </a:lnTo>
                  <a:lnTo>
                    <a:pt x="706" y="215"/>
                  </a:lnTo>
                  <a:lnTo>
                    <a:pt x="709" y="215"/>
                  </a:lnTo>
                  <a:lnTo>
                    <a:pt x="711" y="214"/>
                  </a:lnTo>
                  <a:lnTo>
                    <a:pt x="716" y="212"/>
                  </a:lnTo>
                  <a:lnTo>
                    <a:pt x="716" y="210"/>
                  </a:lnTo>
                  <a:lnTo>
                    <a:pt x="720" y="203"/>
                  </a:lnTo>
                  <a:lnTo>
                    <a:pt x="721" y="200"/>
                  </a:lnTo>
                  <a:lnTo>
                    <a:pt x="721" y="196"/>
                  </a:lnTo>
                  <a:lnTo>
                    <a:pt x="725" y="194"/>
                  </a:lnTo>
                  <a:lnTo>
                    <a:pt x="727" y="200"/>
                  </a:lnTo>
                  <a:lnTo>
                    <a:pt x="728" y="200"/>
                  </a:lnTo>
                  <a:lnTo>
                    <a:pt x="730" y="196"/>
                  </a:lnTo>
                  <a:lnTo>
                    <a:pt x="730" y="196"/>
                  </a:lnTo>
                  <a:lnTo>
                    <a:pt x="727" y="191"/>
                  </a:lnTo>
                  <a:lnTo>
                    <a:pt x="727" y="187"/>
                  </a:lnTo>
                  <a:lnTo>
                    <a:pt x="730" y="184"/>
                  </a:lnTo>
                  <a:lnTo>
                    <a:pt x="734" y="184"/>
                  </a:lnTo>
                  <a:lnTo>
                    <a:pt x="737" y="182"/>
                  </a:lnTo>
                  <a:lnTo>
                    <a:pt x="739" y="184"/>
                  </a:lnTo>
                  <a:lnTo>
                    <a:pt x="742" y="182"/>
                  </a:lnTo>
                  <a:lnTo>
                    <a:pt x="744" y="179"/>
                  </a:lnTo>
                  <a:lnTo>
                    <a:pt x="744" y="177"/>
                  </a:lnTo>
                  <a:lnTo>
                    <a:pt x="744" y="168"/>
                  </a:lnTo>
                  <a:lnTo>
                    <a:pt x="744" y="168"/>
                  </a:lnTo>
                  <a:lnTo>
                    <a:pt x="744" y="167"/>
                  </a:lnTo>
                  <a:lnTo>
                    <a:pt x="744" y="163"/>
                  </a:lnTo>
                  <a:lnTo>
                    <a:pt x="739" y="160"/>
                  </a:lnTo>
                  <a:lnTo>
                    <a:pt x="739" y="163"/>
                  </a:lnTo>
                  <a:lnTo>
                    <a:pt x="734" y="165"/>
                  </a:lnTo>
                  <a:lnTo>
                    <a:pt x="734" y="168"/>
                  </a:lnTo>
                  <a:lnTo>
                    <a:pt x="734" y="172"/>
                  </a:lnTo>
                  <a:lnTo>
                    <a:pt x="734" y="174"/>
                  </a:lnTo>
                  <a:lnTo>
                    <a:pt x="732" y="174"/>
                  </a:lnTo>
                  <a:lnTo>
                    <a:pt x="730" y="172"/>
                  </a:lnTo>
                  <a:lnTo>
                    <a:pt x="728" y="172"/>
                  </a:lnTo>
                  <a:lnTo>
                    <a:pt x="728" y="172"/>
                  </a:lnTo>
                  <a:lnTo>
                    <a:pt x="727" y="174"/>
                  </a:lnTo>
                  <a:lnTo>
                    <a:pt x="725" y="172"/>
                  </a:lnTo>
                  <a:lnTo>
                    <a:pt x="725" y="168"/>
                  </a:lnTo>
                  <a:lnTo>
                    <a:pt x="721" y="165"/>
                  </a:lnTo>
                  <a:lnTo>
                    <a:pt x="720" y="165"/>
                  </a:lnTo>
                  <a:lnTo>
                    <a:pt x="720" y="167"/>
                  </a:lnTo>
                  <a:lnTo>
                    <a:pt x="716" y="165"/>
                  </a:lnTo>
                  <a:lnTo>
                    <a:pt x="713" y="165"/>
                  </a:lnTo>
                  <a:lnTo>
                    <a:pt x="709" y="165"/>
                  </a:lnTo>
                  <a:lnTo>
                    <a:pt x="702" y="163"/>
                  </a:lnTo>
                  <a:lnTo>
                    <a:pt x="699" y="167"/>
                  </a:lnTo>
                  <a:lnTo>
                    <a:pt x="697" y="168"/>
                  </a:lnTo>
                  <a:lnTo>
                    <a:pt x="697" y="172"/>
                  </a:lnTo>
                  <a:lnTo>
                    <a:pt x="694" y="168"/>
                  </a:lnTo>
                  <a:lnTo>
                    <a:pt x="694" y="168"/>
                  </a:lnTo>
                  <a:lnTo>
                    <a:pt x="685" y="177"/>
                  </a:lnTo>
                  <a:lnTo>
                    <a:pt x="681" y="179"/>
                  </a:lnTo>
                  <a:lnTo>
                    <a:pt x="680" y="179"/>
                  </a:lnTo>
                  <a:lnTo>
                    <a:pt x="674" y="182"/>
                  </a:lnTo>
                  <a:lnTo>
                    <a:pt x="671" y="182"/>
                  </a:lnTo>
                  <a:lnTo>
                    <a:pt x="671" y="184"/>
                  </a:lnTo>
                  <a:lnTo>
                    <a:pt x="669" y="187"/>
                  </a:lnTo>
                  <a:lnTo>
                    <a:pt x="662" y="187"/>
                  </a:lnTo>
                  <a:lnTo>
                    <a:pt x="662" y="187"/>
                  </a:lnTo>
                  <a:lnTo>
                    <a:pt x="659" y="187"/>
                  </a:lnTo>
                  <a:lnTo>
                    <a:pt x="657" y="189"/>
                  </a:lnTo>
                  <a:lnTo>
                    <a:pt x="654" y="189"/>
                  </a:lnTo>
                  <a:lnTo>
                    <a:pt x="648" y="194"/>
                  </a:lnTo>
                  <a:lnTo>
                    <a:pt x="647" y="196"/>
                  </a:lnTo>
                  <a:lnTo>
                    <a:pt x="640" y="194"/>
                  </a:lnTo>
                  <a:lnTo>
                    <a:pt x="638" y="196"/>
                  </a:lnTo>
                  <a:lnTo>
                    <a:pt x="629" y="196"/>
                  </a:lnTo>
                  <a:lnTo>
                    <a:pt x="626" y="201"/>
                  </a:lnTo>
                  <a:lnTo>
                    <a:pt x="624" y="201"/>
                  </a:lnTo>
                  <a:lnTo>
                    <a:pt x="621" y="203"/>
                  </a:lnTo>
                  <a:lnTo>
                    <a:pt x="617" y="208"/>
                  </a:lnTo>
                  <a:lnTo>
                    <a:pt x="621" y="208"/>
                  </a:lnTo>
                  <a:lnTo>
                    <a:pt x="621" y="208"/>
                  </a:lnTo>
                  <a:lnTo>
                    <a:pt x="621" y="208"/>
                  </a:lnTo>
                  <a:lnTo>
                    <a:pt x="617" y="210"/>
                  </a:lnTo>
                  <a:lnTo>
                    <a:pt x="621" y="212"/>
                  </a:lnTo>
                  <a:lnTo>
                    <a:pt x="621" y="215"/>
                  </a:lnTo>
                  <a:lnTo>
                    <a:pt x="615" y="217"/>
                  </a:lnTo>
                  <a:lnTo>
                    <a:pt x="615" y="219"/>
                  </a:lnTo>
                  <a:lnTo>
                    <a:pt x="617" y="219"/>
                  </a:lnTo>
                  <a:lnTo>
                    <a:pt x="621" y="219"/>
                  </a:lnTo>
                  <a:lnTo>
                    <a:pt x="624" y="215"/>
                  </a:lnTo>
                  <a:lnTo>
                    <a:pt x="626" y="215"/>
                  </a:lnTo>
                  <a:lnTo>
                    <a:pt x="629" y="217"/>
                  </a:lnTo>
                  <a:lnTo>
                    <a:pt x="631" y="219"/>
                  </a:lnTo>
                  <a:lnTo>
                    <a:pt x="631" y="224"/>
                  </a:lnTo>
                  <a:lnTo>
                    <a:pt x="634" y="227"/>
                  </a:lnTo>
                  <a:lnTo>
                    <a:pt x="634" y="227"/>
                  </a:lnTo>
                  <a:lnTo>
                    <a:pt x="634" y="227"/>
                  </a:lnTo>
                  <a:lnTo>
                    <a:pt x="634" y="227"/>
                  </a:lnTo>
                  <a:close/>
                  <a:moveTo>
                    <a:pt x="959" y="419"/>
                  </a:moveTo>
                  <a:lnTo>
                    <a:pt x="959" y="415"/>
                  </a:lnTo>
                  <a:lnTo>
                    <a:pt x="965" y="419"/>
                  </a:lnTo>
                  <a:lnTo>
                    <a:pt x="965" y="419"/>
                  </a:lnTo>
                  <a:lnTo>
                    <a:pt x="963" y="422"/>
                  </a:lnTo>
                  <a:lnTo>
                    <a:pt x="961" y="419"/>
                  </a:lnTo>
                  <a:lnTo>
                    <a:pt x="959" y="419"/>
                  </a:lnTo>
                  <a:lnTo>
                    <a:pt x="959" y="419"/>
                  </a:lnTo>
                  <a:lnTo>
                    <a:pt x="959" y="419"/>
                  </a:lnTo>
                  <a:lnTo>
                    <a:pt x="959" y="419"/>
                  </a:lnTo>
                  <a:close/>
                  <a:moveTo>
                    <a:pt x="921" y="342"/>
                  </a:moveTo>
                  <a:lnTo>
                    <a:pt x="919" y="340"/>
                  </a:lnTo>
                  <a:lnTo>
                    <a:pt x="916" y="340"/>
                  </a:lnTo>
                  <a:lnTo>
                    <a:pt x="914" y="342"/>
                  </a:lnTo>
                  <a:lnTo>
                    <a:pt x="916" y="342"/>
                  </a:lnTo>
                  <a:lnTo>
                    <a:pt x="919" y="344"/>
                  </a:lnTo>
                  <a:lnTo>
                    <a:pt x="919" y="344"/>
                  </a:lnTo>
                  <a:lnTo>
                    <a:pt x="914" y="346"/>
                  </a:lnTo>
                  <a:lnTo>
                    <a:pt x="913" y="346"/>
                  </a:lnTo>
                  <a:lnTo>
                    <a:pt x="914" y="349"/>
                  </a:lnTo>
                  <a:lnTo>
                    <a:pt x="916" y="351"/>
                  </a:lnTo>
                  <a:lnTo>
                    <a:pt x="916" y="351"/>
                  </a:lnTo>
                  <a:lnTo>
                    <a:pt x="911" y="351"/>
                  </a:lnTo>
                  <a:lnTo>
                    <a:pt x="907" y="351"/>
                  </a:lnTo>
                  <a:lnTo>
                    <a:pt x="906" y="354"/>
                  </a:lnTo>
                  <a:lnTo>
                    <a:pt x="906" y="358"/>
                  </a:lnTo>
                  <a:lnTo>
                    <a:pt x="902" y="358"/>
                  </a:lnTo>
                  <a:lnTo>
                    <a:pt x="902" y="360"/>
                  </a:lnTo>
                  <a:lnTo>
                    <a:pt x="906" y="360"/>
                  </a:lnTo>
                  <a:lnTo>
                    <a:pt x="906" y="360"/>
                  </a:lnTo>
                  <a:lnTo>
                    <a:pt x="906" y="363"/>
                  </a:lnTo>
                  <a:lnTo>
                    <a:pt x="906" y="365"/>
                  </a:lnTo>
                  <a:lnTo>
                    <a:pt x="906" y="360"/>
                  </a:lnTo>
                  <a:lnTo>
                    <a:pt x="907" y="360"/>
                  </a:lnTo>
                  <a:lnTo>
                    <a:pt x="906" y="365"/>
                  </a:lnTo>
                  <a:lnTo>
                    <a:pt x="906" y="365"/>
                  </a:lnTo>
                  <a:lnTo>
                    <a:pt x="909" y="368"/>
                  </a:lnTo>
                  <a:lnTo>
                    <a:pt x="911" y="368"/>
                  </a:lnTo>
                  <a:lnTo>
                    <a:pt x="911" y="368"/>
                  </a:lnTo>
                  <a:lnTo>
                    <a:pt x="913" y="370"/>
                  </a:lnTo>
                  <a:lnTo>
                    <a:pt x="913" y="370"/>
                  </a:lnTo>
                  <a:lnTo>
                    <a:pt x="914" y="368"/>
                  </a:lnTo>
                  <a:lnTo>
                    <a:pt x="916" y="368"/>
                  </a:lnTo>
                  <a:lnTo>
                    <a:pt x="916" y="373"/>
                  </a:lnTo>
                  <a:lnTo>
                    <a:pt x="916" y="375"/>
                  </a:lnTo>
                  <a:lnTo>
                    <a:pt x="921" y="375"/>
                  </a:lnTo>
                  <a:lnTo>
                    <a:pt x="921" y="379"/>
                  </a:lnTo>
                  <a:lnTo>
                    <a:pt x="925" y="379"/>
                  </a:lnTo>
                  <a:lnTo>
                    <a:pt x="928" y="380"/>
                  </a:lnTo>
                  <a:lnTo>
                    <a:pt x="930" y="380"/>
                  </a:lnTo>
                  <a:lnTo>
                    <a:pt x="932" y="382"/>
                  </a:lnTo>
                  <a:lnTo>
                    <a:pt x="933" y="380"/>
                  </a:lnTo>
                  <a:lnTo>
                    <a:pt x="932" y="379"/>
                  </a:lnTo>
                  <a:lnTo>
                    <a:pt x="935" y="377"/>
                  </a:lnTo>
                  <a:lnTo>
                    <a:pt x="937" y="372"/>
                  </a:lnTo>
                  <a:lnTo>
                    <a:pt x="935" y="368"/>
                  </a:lnTo>
                  <a:lnTo>
                    <a:pt x="939" y="365"/>
                  </a:lnTo>
                  <a:lnTo>
                    <a:pt x="940" y="365"/>
                  </a:lnTo>
                  <a:lnTo>
                    <a:pt x="942" y="358"/>
                  </a:lnTo>
                  <a:lnTo>
                    <a:pt x="942" y="353"/>
                  </a:lnTo>
                  <a:lnTo>
                    <a:pt x="942" y="353"/>
                  </a:lnTo>
                  <a:lnTo>
                    <a:pt x="942" y="349"/>
                  </a:lnTo>
                  <a:lnTo>
                    <a:pt x="939" y="346"/>
                  </a:lnTo>
                  <a:lnTo>
                    <a:pt x="939" y="342"/>
                  </a:lnTo>
                  <a:lnTo>
                    <a:pt x="937" y="340"/>
                  </a:lnTo>
                  <a:lnTo>
                    <a:pt x="937" y="337"/>
                  </a:lnTo>
                  <a:lnTo>
                    <a:pt x="932" y="337"/>
                  </a:lnTo>
                  <a:lnTo>
                    <a:pt x="928" y="337"/>
                  </a:lnTo>
                  <a:lnTo>
                    <a:pt x="925" y="337"/>
                  </a:lnTo>
                  <a:lnTo>
                    <a:pt x="921" y="337"/>
                  </a:lnTo>
                  <a:lnTo>
                    <a:pt x="921" y="340"/>
                  </a:lnTo>
                  <a:lnTo>
                    <a:pt x="921" y="340"/>
                  </a:lnTo>
                  <a:lnTo>
                    <a:pt x="921" y="342"/>
                  </a:lnTo>
                  <a:lnTo>
                    <a:pt x="921" y="342"/>
                  </a:lnTo>
                  <a:lnTo>
                    <a:pt x="921" y="342"/>
                  </a:lnTo>
                  <a:lnTo>
                    <a:pt x="921" y="342"/>
                  </a:lnTo>
                  <a:lnTo>
                    <a:pt x="921" y="342"/>
                  </a:lnTo>
                  <a:close/>
                  <a:moveTo>
                    <a:pt x="944" y="318"/>
                  </a:moveTo>
                  <a:lnTo>
                    <a:pt x="942" y="314"/>
                  </a:lnTo>
                  <a:lnTo>
                    <a:pt x="942" y="313"/>
                  </a:lnTo>
                  <a:lnTo>
                    <a:pt x="946" y="313"/>
                  </a:lnTo>
                  <a:lnTo>
                    <a:pt x="946" y="313"/>
                  </a:lnTo>
                  <a:lnTo>
                    <a:pt x="944" y="318"/>
                  </a:lnTo>
                  <a:lnTo>
                    <a:pt x="944" y="318"/>
                  </a:lnTo>
                  <a:lnTo>
                    <a:pt x="944" y="318"/>
                  </a:lnTo>
                  <a:lnTo>
                    <a:pt x="944" y="318"/>
                  </a:lnTo>
                  <a:close/>
                  <a:moveTo>
                    <a:pt x="940" y="333"/>
                  </a:moveTo>
                  <a:lnTo>
                    <a:pt x="939" y="332"/>
                  </a:lnTo>
                  <a:lnTo>
                    <a:pt x="937" y="328"/>
                  </a:lnTo>
                  <a:lnTo>
                    <a:pt x="939" y="328"/>
                  </a:lnTo>
                  <a:lnTo>
                    <a:pt x="939" y="327"/>
                  </a:lnTo>
                  <a:lnTo>
                    <a:pt x="939" y="323"/>
                  </a:lnTo>
                  <a:lnTo>
                    <a:pt x="940" y="321"/>
                  </a:lnTo>
                  <a:lnTo>
                    <a:pt x="946" y="321"/>
                  </a:lnTo>
                  <a:lnTo>
                    <a:pt x="942" y="328"/>
                  </a:lnTo>
                  <a:lnTo>
                    <a:pt x="940" y="333"/>
                  </a:lnTo>
                  <a:lnTo>
                    <a:pt x="940" y="333"/>
                  </a:lnTo>
                  <a:lnTo>
                    <a:pt x="940" y="333"/>
                  </a:lnTo>
                  <a:lnTo>
                    <a:pt x="940" y="333"/>
                  </a:lnTo>
                  <a:lnTo>
                    <a:pt x="940" y="333"/>
                  </a:lnTo>
                  <a:lnTo>
                    <a:pt x="940" y="333"/>
                  </a:lnTo>
                  <a:close/>
                  <a:moveTo>
                    <a:pt x="916" y="327"/>
                  </a:moveTo>
                  <a:lnTo>
                    <a:pt x="914" y="325"/>
                  </a:lnTo>
                  <a:lnTo>
                    <a:pt x="916" y="323"/>
                  </a:lnTo>
                  <a:lnTo>
                    <a:pt x="919" y="321"/>
                  </a:lnTo>
                  <a:lnTo>
                    <a:pt x="921" y="323"/>
                  </a:lnTo>
                  <a:lnTo>
                    <a:pt x="919" y="325"/>
                  </a:lnTo>
                  <a:lnTo>
                    <a:pt x="916" y="325"/>
                  </a:lnTo>
                  <a:lnTo>
                    <a:pt x="916" y="327"/>
                  </a:lnTo>
                  <a:lnTo>
                    <a:pt x="916" y="327"/>
                  </a:lnTo>
                  <a:lnTo>
                    <a:pt x="916" y="327"/>
                  </a:lnTo>
                  <a:lnTo>
                    <a:pt x="916" y="327"/>
                  </a:lnTo>
                  <a:close/>
                  <a:moveTo>
                    <a:pt x="909" y="328"/>
                  </a:moveTo>
                  <a:lnTo>
                    <a:pt x="909" y="328"/>
                  </a:lnTo>
                  <a:lnTo>
                    <a:pt x="911" y="328"/>
                  </a:lnTo>
                  <a:lnTo>
                    <a:pt x="913" y="328"/>
                  </a:lnTo>
                  <a:lnTo>
                    <a:pt x="911" y="328"/>
                  </a:lnTo>
                  <a:lnTo>
                    <a:pt x="909" y="328"/>
                  </a:lnTo>
                  <a:lnTo>
                    <a:pt x="909" y="328"/>
                  </a:lnTo>
                  <a:lnTo>
                    <a:pt x="909" y="328"/>
                  </a:lnTo>
                  <a:lnTo>
                    <a:pt x="909" y="328"/>
                  </a:lnTo>
                  <a:close/>
                  <a:moveTo>
                    <a:pt x="914" y="337"/>
                  </a:moveTo>
                  <a:lnTo>
                    <a:pt x="916" y="337"/>
                  </a:lnTo>
                  <a:lnTo>
                    <a:pt x="914" y="335"/>
                  </a:lnTo>
                  <a:lnTo>
                    <a:pt x="914" y="332"/>
                  </a:lnTo>
                  <a:lnTo>
                    <a:pt x="916" y="332"/>
                  </a:lnTo>
                  <a:lnTo>
                    <a:pt x="916" y="333"/>
                  </a:lnTo>
                  <a:lnTo>
                    <a:pt x="919" y="335"/>
                  </a:lnTo>
                  <a:lnTo>
                    <a:pt x="916" y="337"/>
                  </a:lnTo>
                  <a:lnTo>
                    <a:pt x="914" y="337"/>
                  </a:lnTo>
                  <a:lnTo>
                    <a:pt x="914" y="337"/>
                  </a:lnTo>
                  <a:lnTo>
                    <a:pt x="914" y="337"/>
                  </a:lnTo>
                  <a:lnTo>
                    <a:pt x="914" y="337"/>
                  </a:lnTo>
                  <a:close/>
                  <a:moveTo>
                    <a:pt x="907" y="340"/>
                  </a:moveTo>
                  <a:lnTo>
                    <a:pt x="906" y="340"/>
                  </a:lnTo>
                  <a:lnTo>
                    <a:pt x="906" y="335"/>
                  </a:lnTo>
                  <a:lnTo>
                    <a:pt x="906" y="335"/>
                  </a:lnTo>
                  <a:lnTo>
                    <a:pt x="907" y="333"/>
                  </a:lnTo>
                  <a:lnTo>
                    <a:pt x="909" y="333"/>
                  </a:lnTo>
                  <a:lnTo>
                    <a:pt x="913" y="335"/>
                  </a:lnTo>
                  <a:lnTo>
                    <a:pt x="913" y="335"/>
                  </a:lnTo>
                  <a:lnTo>
                    <a:pt x="913" y="337"/>
                  </a:lnTo>
                  <a:lnTo>
                    <a:pt x="913" y="337"/>
                  </a:lnTo>
                  <a:lnTo>
                    <a:pt x="909" y="340"/>
                  </a:lnTo>
                  <a:lnTo>
                    <a:pt x="909" y="340"/>
                  </a:lnTo>
                  <a:lnTo>
                    <a:pt x="907" y="340"/>
                  </a:lnTo>
                  <a:lnTo>
                    <a:pt x="907" y="340"/>
                  </a:lnTo>
                  <a:lnTo>
                    <a:pt x="907" y="340"/>
                  </a:lnTo>
                  <a:lnTo>
                    <a:pt x="907" y="340"/>
                  </a:lnTo>
                  <a:close/>
                  <a:moveTo>
                    <a:pt x="899" y="342"/>
                  </a:moveTo>
                  <a:lnTo>
                    <a:pt x="897" y="340"/>
                  </a:lnTo>
                  <a:lnTo>
                    <a:pt x="899" y="340"/>
                  </a:lnTo>
                  <a:lnTo>
                    <a:pt x="900" y="340"/>
                  </a:lnTo>
                  <a:lnTo>
                    <a:pt x="899" y="342"/>
                  </a:lnTo>
                  <a:lnTo>
                    <a:pt x="899" y="342"/>
                  </a:lnTo>
                  <a:lnTo>
                    <a:pt x="899" y="342"/>
                  </a:lnTo>
                  <a:lnTo>
                    <a:pt x="899" y="342"/>
                  </a:lnTo>
                  <a:lnTo>
                    <a:pt x="899" y="342"/>
                  </a:lnTo>
                  <a:close/>
                  <a:moveTo>
                    <a:pt x="864" y="347"/>
                  </a:moveTo>
                  <a:lnTo>
                    <a:pt x="862" y="346"/>
                  </a:lnTo>
                  <a:lnTo>
                    <a:pt x="859" y="346"/>
                  </a:lnTo>
                  <a:lnTo>
                    <a:pt x="857" y="344"/>
                  </a:lnTo>
                  <a:lnTo>
                    <a:pt x="857" y="340"/>
                  </a:lnTo>
                  <a:lnTo>
                    <a:pt x="859" y="340"/>
                  </a:lnTo>
                  <a:lnTo>
                    <a:pt x="857" y="337"/>
                  </a:lnTo>
                  <a:lnTo>
                    <a:pt x="859" y="335"/>
                  </a:lnTo>
                  <a:lnTo>
                    <a:pt x="860" y="335"/>
                  </a:lnTo>
                  <a:lnTo>
                    <a:pt x="862" y="337"/>
                  </a:lnTo>
                  <a:lnTo>
                    <a:pt x="864" y="337"/>
                  </a:lnTo>
                  <a:lnTo>
                    <a:pt x="862" y="335"/>
                  </a:lnTo>
                  <a:lnTo>
                    <a:pt x="862" y="332"/>
                  </a:lnTo>
                  <a:lnTo>
                    <a:pt x="860" y="332"/>
                  </a:lnTo>
                  <a:lnTo>
                    <a:pt x="859" y="328"/>
                  </a:lnTo>
                  <a:lnTo>
                    <a:pt x="859" y="328"/>
                  </a:lnTo>
                  <a:lnTo>
                    <a:pt x="857" y="327"/>
                  </a:lnTo>
                  <a:lnTo>
                    <a:pt x="859" y="327"/>
                  </a:lnTo>
                  <a:lnTo>
                    <a:pt x="860" y="328"/>
                  </a:lnTo>
                  <a:lnTo>
                    <a:pt x="862" y="327"/>
                  </a:lnTo>
                  <a:lnTo>
                    <a:pt x="860" y="325"/>
                  </a:lnTo>
                  <a:lnTo>
                    <a:pt x="864" y="325"/>
                  </a:lnTo>
                  <a:lnTo>
                    <a:pt x="866" y="325"/>
                  </a:lnTo>
                  <a:lnTo>
                    <a:pt x="871" y="327"/>
                  </a:lnTo>
                  <a:lnTo>
                    <a:pt x="871" y="325"/>
                  </a:lnTo>
                  <a:lnTo>
                    <a:pt x="871" y="323"/>
                  </a:lnTo>
                  <a:lnTo>
                    <a:pt x="869" y="323"/>
                  </a:lnTo>
                  <a:lnTo>
                    <a:pt x="871" y="323"/>
                  </a:lnTo>
                  <a:lnTo>
                    <a:pt x="874" y="323"/>
                  </a:lnTo>
                  <a:lnTo>
                    <a:pt x="878" y="320"/>
                  </a:lnTo>
                  <a:lnTo>
                    <a:pt x="881" y="320"/>
                  </a:lnTo>
                  <a:lnTo>
                    <a:pt x="886" y="321"/>
                  </a:lnTo>
                  <a:lnTo>
                    <a:pt x="888" y="320"/>
                  </a:lnTo>
                  <a:lnTo>
                    <a:pt x="886" y="318"/>
                  </a:lnTo>
                  <a:lnTo>
                    <a:pt x="874" y="314"/>
                  </a:lnTo>
                  <a:lnTo>
                    <a:pt x="871" y="314"/>
                  </a:lnTo>
                  <a:lnTo>
                    <a:pt x="867" y="314"/>
                  </a:lnTo>
                  <a:lnTo>
                    <a:pt x="862" y="314"/>
                  </a:lnTo>
                  <a:lnTo>
                    <a:pt x="859" y="313"/>
                  </a:lnTo>
                  <a:lnTo>
                    <a:pt x="857" y="313"/>
                  </a:lnTo>
                  <a:lnTo>
                    <a:pt x="853" y="313"/>
                  </a:lnTo>
                  <a:lnTo>
                    <a:pt x="852" y="313"/>
                  </a:lnTo>
                  <a:lnTo>
                    <a:pt x="852" y="313"/>
                  </a:lnTo>
                  <a:lnTo>
                    <a:pt x="848" y="313"/>
                  </a:lnTo>
                  <a:lnTo>
                    <a:pt x="846" y="313"/>
                  </a:lnTo>
                  <a:lnTo>
                    <a:pt x="843" y="311"/>
                  </a:lnTo>
                  <a:lnTo>
                    <a:pt x="843" y="309"/>
                  </a:lnTo>
                  <a:lnTo>
                    <a:pt x="846" y="309"/>
                  </a:lnTo>
                  <a:lnTo>
                    <a:pt x="848" y="306"/>
                  </a:lnTo>
                  <a:lnTo>
                    <a:pt x="852" y="309"/>
                  </a:lnTo>
                  <a:lnTo>
                    <a:pt x="853" y="306"/>
                  </a:lnTo>
                  <a:lnTo>
                    <a:pt x="852" y="306"/>
                  </a:lnTo>
                  <a:lnTo>
                    <a:pt x="852" y="304"/>
                  </a:lnTo>
                  <a:lnTo>
                    <a:pt x="855" y="302"/>
                  </a:lnTo>
                  <a:lnTo>
                    <a:pt x="859" y="302"/>
                  </a:lnTo>
                  <a:lnTo>
                    <a:pt x="860" y="300"/>
                  </a:lnTo>
                  <a:lnTo>
                    <a:pt x="860" y="304"/>
                  </a:lnTo>
                  <a:lnTo>
                    <a:pt x="862" y="306"/>
                  </a:lnTo>
                  <a:lnTo>
                    <a:pt x="862" y="309"/>
                  </a:lnTo>
                  <a:lnTo>
                    <a:pt x="864" y="309"/>
                  </a:lnTo>
                  <a:lnTo>
                    <a:pt x="866" y="309"/>
                  </a:lnTo>
                  <a:lnTo>
                    <a:pt x="864" y="306"/>
                  </a:lnTo>
                  <a:lnTo>
                    <a:pt x="862" y="302"/>
                  </a:lnTo>
                  <a:lnTo>
                    <a:pt x="864" y="300"/>
                  </a:lnTo>
                  <a:lnTo>
                    <a:pt x="867" y="299"/>
                  </a:lnTo>
                  <a:lnTo>
                    <a:pt x="867" y="297"/>
                  </a:lnTo>
                  <a:lnTo>
                    <a:pt x="866" y="295"/>
                  </a:lnTo>
                  <a:lnTo>
                    <a:pt x="866" y="290"/>
                  </a:lnTo>
                  <a:lnTo>
                    <a:pt x="869" y="290"/>
                  </a:lnTo>
                  <a:lnTo>
                    <a:pt x="871" y="287"/>
                  </a:lnTo>
                  <a:lnTo>
                    <a:pt x="874" y="287"/>
                  </a:lnTo>
                  <a:lnTo>
                    <a:pt x="871" y="283"/>
                  </a:lnTo>
                  <a:lnTo>
                    <a:pt x="871" y="283"/>
                  </a:lnTo>
                  <a:lnTo>
                    <a:pt x="869" y="283"/>
                  </a:lnTo>
                  <a:lnTo>
                    <a:pt x="869" y="281"/>
                  </a:lnTo>
                  <a:lnTo>
                    <a:pt x="871" y="278"/>
                  </a:lnTo>
                  <a:lnTo>
                    <a:pt x="871" y="278"/>
                  </a:lnTo>
                  <a:lnTo>
                    <a:pt x="874" y="276"/>
                  </a:lnTo>
                  <a:lnTo>
                    <a:pt x="876" y="278"/>
                  </a:lnTo>
                  <a:lnTo>
                    <a:pt x="878" y="281"/>
                  </a:lnTo>
                  <a:lnTo>
                    <a:pt x="879" y="281"/>
                  </a:lnTo>
                  <a:lnTo>
                    <a:pt x="879" y="287"/>
                  </a:lnTo>
                  <a:lnTo>
                    <a:pt x="878" y="287"/>
                  </a:lnTo>
                  <a:lnTo>
                    <a:pt x="879" y="288"/>
                  </a:lnTo>
                  <a:lnTo>
                    <a:pt x="881" y="290"/>
                  </a:lnTo>
                  <a:lnTo>
                    <a:pt x="883" y="300"/>
                  </a:lnTo>
                  <a:lnTo>
                    <a:pt x="881" y="304"/>
                  </a:lnTo>
                  <a:lnTo>
                    <a:pt x="881" y="306"/>
                  </a:lnTo>
                  <a:lnTo>
                    <a:pt x="885" y="306"/>
                  </a:lnTo>
                  <a:lnTo>
                    <a:pt x="888" y="304"/>
                  </a:lnTo>
                  <a:lnTo>
                    <a:pt x="886" y="302"/>
                  </a:lnTo>
                  <a:lnTo>
                    <a:pt x="888" y="297"/>
                  </a:lnTo>
                  <a:lnTo>
                    <a:pt x="890" y="297"/>
                  </a:lnTo>
                  <a:lnTo>
                    <a:pt x="890" y="293"/>
                  </a:lnTo>
                  <a:lnTo>
                    <a:pt x="885" y="290"/>
                  </a:lnTo>
                  <a:lnTo>
                    <a:pt x="886" y="288"/>
                  </a:lnTo>
                  <a:lnTo>
                    <a:pt x="888" y="288"/>
                  </a:lnTo>
                  <a:lnTo>
                    <a:pt x="892" y="290"/>
                  </a:lnTo>
                  <a:lnTo>
                    <a:pt x="892" y="287"/>
                  </a:lnTo>
                  <a:lnTo>
                    <a:pt x="888" y="283"/>
                  </a:lnTo>
                  <a:lnTo>
                    <a:pt x="886" y="281"/>
                  </a:lnTo>
                  <a:lnTo>
                    <a:pt x="888" y="278"/>
                  </a:lnTo>
                  <a:lnTo>
                    <a:pt x="888" y="274"/>
                  </a:lnTo>
                  <a:lnTo>
                    <a:pt x="890" y="273"/>
                  </a:lnTo>
                  <a:lnTo>
                    <a:pt x="893" y="273"/>
                  </a:lnTo>
                  <a:lnTo>
                    <a:pt x="893" y="271"/>
                  </a:lnTo>
                  <a:lnTo>
                    <a:pt x="897" y="271"/>
                  </a:lnTo>
                  <a:lnTo>
                    <a:pt x="897" y="271"/>
                  </a:lnTo>
                  <a:lnTo>
                    <a:pt x="900" y="269"/>
                  </a:lnTo>
                  <a:lnTo>
                    <a:pt x="900" y="269"/>
                  </a:lnTo>
                  <a:lnTo>
                    <a:pt x="902" y="269"/>
                  </a:lnTo>
                  <a:lnTo>
                    <a:pt x="906" y="271"/>
                  </a:lnTo>
                  <a:lnTo>
                    <a:pt x="906" y="273"/>
                  </a:lnTo>
                  <a:lnTo>
                    <a:pt x="909" y="273"/>
                  </a:lnTo>
                  <a:lnTo>
                    <a:pt x="911" y="274"/>
                  </a:lnTo>
                  <a:lnTo>
                    <a:pt x="909" y="281"/>
                  </a:lnTo>
                  <a:lnTo>
                    <a:pt x="907" y="281"/>
                  </a:lnTo>
                  <a:lnTo>
                    <a:pt x="907" y="287"/>
                  </a:lnTo>
                  <a:lnTo>
                    <a:pt x="909" y="287"/>
                  </a:lnTo>
                  <a:lnTo>
                    <a:pt x="911" y="283"/>
                  </a:lnTo>
                  <a:lnTo>
                    <a:pt x="913" y="283"/>
                  </a:lnTo>
                  <a:lnTo>
                    <a:pt x="914" y="281"/>
                  </a:lnTo>
                  <a:lnTo>
                    <a:pt x="914" y="278"/>
                  </a:lnTo>
                  <a:lnTo>
                    <a:pt x="916" y="276"/>
                  </a:lnTo>
                  <a:lnTo>
                    <a:pt x="919" y="278"/>
                  </a:lnTo>
                  <a:lnTo>
                    <a:pt x="921" y="276"/>
                  </a:lnTo>
                  <a:lnTo>
                    <a:pt x="921" y="274"/>
                  </a:lnTo>
                  <a:lnTo>
                    <a:pt x="921" y="273"/>
                  </a:lnTo>
                  <a:lnTo>
                    <a:pt x="921" y="273"/>
                  </a:lnTo>
                  <a:lnTo>
                    <a:pt x="925" y="274"/>
                  </a:lnTo>
                  <a:lnTo>
                    <a:pt x="925" y="278"/>
                  </a:lnTo>
                  <a:lnTo>
                    <a:pt x="925" y="278"/>
                  </a:lnTo>
                  <a:lnTo>
                    <a:pt x="925" y="281"/>
                  </a:lnTo>
                  <a:lnTo>
                    <a:pt x="921" y="278"/>
                  </a:lnTo>
                  <a:lnTo>
                    <a:pt x="925" y="281"/>
                  </a:lnTo>
                  <a:lnTo>
                    <a:pt x="925" y="283"/>
                  </a:lnTo>
                  <a:lnTo>
                    <a:pt x="928" y="287"/>
                  </a:lnTo>
                  <a:lnTo>
                    <a:pt x="928" y="290"/>
                  </a:lnTo>
                  <a:lnTo>
                    <a:pt x="925" y="292"/>
                  </a:lnTo>
                  <a:lnTo>
                    <a:pt x="921" y="297"/>
                  </a:lnTo>
                  <a:lnTo>
                    <a:pt x="921" y="302"/>
                  </a:lnTo>
                  <a:lnTo>
                    <a:pt x="921" y="304"/>
                  </a:lnTo>
                  <a:lnTo>
                    <a:pt x="916" y="306"/>
                  </a:lnTo>
                  <a:lnTo>
                    <a:pt x="914" y="309"/>
                  </a:lnTo>
                  <a:lnTo>
                    <a:pt x="913" y="311"/>
                  </a:lnTo>
                  <a:lnTo>
                    <a:pt x="909" y="314"/>
                  </a:lnTo>
                  <a:lnTo>
                    <a:pt x="909" y="318"/>
                  </a:lnTo>
                  <a:lnTo>
                    <a:pt x="907" y="320"/>
                  </a:lnTo>
                  <a:lnTo>
                    <a:pt x="906" y="320"/>
                  </a:lnTo>
                  <a:lnTo>
                    <a:pt x="906" y="320"/>
                  </a:lnTo>
                  <a:lnTo>
                    <a:pt x="902" y="320"/>
                  </a:lnTo>
                  <a:lnTo>
                    <a:pt x="902" y="321"/>
                  </a:lnTo>
                  <a:lnTo>
                    <a:pt x="906" y="325"/>
                  </a:lnTo>
                  <a:lnTo>
                    <a:pt x="906" y="327"/>
                  </a:lnTo>
                  <a:lnTo>
                    <a:pt x="902" y="332"/>
                  </a:lnTo>
                  <a:lnTo>
                    <a:pt x="900" y="333"/>
                  </a:lnTo>
                  <a:lnTo>
                    <a:pt x="900" y="332"/>
                  </a:lnTo>
                  <a:lnTo>
                    <a:pt x="900" y="328"/>
                  </a:lnTo>
                  <a:lnTo>
                    <a:pt x="897" y="328"/>
                  </a:lnTo>
                  <a:lnTo>
                    <a:pt x="897" y="328"/>
                  </a:lnTo>
                  <a:lnTo>
                    <a:pt x="897" y="332"/>
                  </a:lnTo>
                  <a:lnTo>
                    <a:pt x="893" y="333"/>
                  </a:lnTo>
                  <a:lnTo>
                    <a:pt x="893" y="335"/>
                  </a:lnTo>
                  <a:lnTo>
                    <a:pt x="890" y="337"/>
                  </a:lnTo>
                  <a:lnTo>
                    <a:pt x="888" y="340"/>
                  </a:lnTo>
                  <a:lnTo>
                    <a:pt x="890" y="340"/>
                  </a:lnTo>
                  <a:lnTo>
                    <a:pt x="893" y="340"/>
                  </a:lnTo>
                  <a:lnTo>
                    <a:pt x="893" y="340"/>
                  </a:lnTo>
                  <a:lnTo>
                    <a:pt x="892" y="342"/>
                  </a:lnTo>
                  <a:lnTo>
                    <a:pt x="892" y="344"/>
                  </a:lnTo>
                  <a:lnTo>
                    <a:pt x="892" y="347"/>
                  </a:lnTo>
                  <a:lnTo>
                    <a:pt x="890" y="349"/>
                  </a:lnTo>
                  <a:lnTo>
                    <a:pt x="888" y="346"/>
                  </a:lnTo>
                  <a:lnTo>
                    <a:pt x="888" y="342"/>
                  </a:lnTo>
                  <a:lnTo>
                    <a:pt x="886" y="340"/>
                  </a:lnTo>
                  <a:lnTo>
                    <a:pt x="886" y="342"/>
                  </a:lnTo>
                  <a:lnTo>
                    <a:pt x="885" y="344"/>
                  </a:lnTo>
                  <a:lnTo>
                    <a:pt x="886" y="347"/>
                  </a:lnTo>
                  <a:lnTo>
                    <a:pt x="883" y="351"/>
                  </a:lnTo>
                  <a:lnTo>
                    <a:pt x="874" y="349"/>
                  </a:lnTo>
                  <a:lnTo>
                    <a:pt x="874" y="347"/>
                  </a:lnTo>
                  <a:lnTo>
                    <a:pt x="874" y="346"/>
                  </a:lnTo>
                  <a:lnTo>
                    <a:pt x="871" y="347"/>
                  </a:lnTo>
                  <a:lnTo>
                    <a:pt x="869" y="347"/>
                  </a:lnTo>
                  <a:lnTo>
                    <a:pt x="869" y="346"/>
                  </a:lnTo>
                  <a:lnTo>
                    <a:pt x="871" y="342"/>
                  </a:lnTo>
                  <a:lnTo>
                    <a:pt x="867" y="344"/>
                  </a:lnTo>
                  <a:lnTo>
                    <a:pt x="866" y="346"/>
                  </a:lnTo>
                  <a:lnTo>
                    <a:pt x="864" y="347"/>
                  </a:lnTo>
                  <a:lnTo>
                    <a:pt x="864" y="347"/>
                  </a:lnTo>
                  <a:lnTo>
                    <a:pt x="864" y="347"/>
                  </a:lnTo>
                  <a:lnTo>
                    <a:pt x="864" y="347"/>
                  </a:lnTo>
                  <a:close/>
                  <a:moveTo>
                    <a:pt x="643" y="254"/>
                  </a:moveTo>
                  <a:lnTo>
                    <a:pt x="640" y="254"/>
                  </a:lnTo>
                  <a:lnTo>
                    <a:pt x="643" y="248"/>
                  </a:lnTo>
                  <a:lnTo>
                    <a:pt x="648" y="243"/>
                  </a:lnTo>
                  <a:lnTo>
                    <a:pt x="654" y="241"/>
                  </a:lnTo>
                  <a:lnTo>
                    <a:pt x="657" y="240"/>
                  </a:lnTo>
                  <a:lnTo>
                    <a:pt x="659" y="238"/>
                  </a:lnTo>
                  <a:lnTo>
                    <a:pt x="662" y="234"/>
                  </a:lnTo>
                  <a:lnTo>
                    <a:pt x="669" y="234"/>
                  </a:lnTo>
                  <a:lnTo>
                    <a:pt x="671" y="233"/>
                  </a:lnTo>
                  <a:lnTo>
                    <a:pt x="674" y="233"/>
                  </a:lnTo>
                  <a:lnTo>
                    <a:pt x="678" y="231"/>
                  </a:lnTo>
                  <a:lnTo>
                    <a:pt x="680" y="233"/>
                  </a:lnTo>
                  <a:lnTo>
                    <a:pt x="680" y="234"/>
                  </a:lnTo>
                  <a:lnTo>
                    <a:pt x="674" y="238"/>
                  </a:lnTo>
                  <a:lnTo>
                    <a:pt x="669" y="241"/>
                  </a:lnTo>
                  <a:lnTo>
                    <a:pt x="659" y="250"/>
                  </a:lnTo>
                  <a:lnTo>
                    <a:pt x="655" y="255"/>
                  </a:lnTo>
                  <a:lnTo>
                    <a:pt x="652" y="255"/>
                  </a:lnTo>
                  <a:lnTo>
                    <a:pt x="650" y="255"/>
                  </a:lnTo>
                  <a:lnTo>
                    <a:pt x="648" y="259"/>
                  </a:lnTo>
                  <a:lnTo>
                    <a:pt x="647" y="259"/>
                  </a:lnTo>
                  <a:lnTo>
                    <a:pt x="647" y="254"/>
                  </a:lnTo>
                  <a:lnTo>
                    <a:pt x="643" y="254"/>
                  </a:lnTo>
                  <a:lnTo>
                    <a:pt x="643" y="254"/>
                  </a:lnTo>
                  <a:lnTo>
                    <a:pt x="643" y="254"/>
                  </a:lnTo>
                  <a:lnTo>
                    <a:pt x="643" y="254"/>
                  </a:lnTo>
                  <a:lnTo>
                    <a:pt x="643" y="254"/>
                  </a:lnTo>
                  <a:close/>
                  <a:moveTo>
                    <a:pt x="807" y="323"/>
                  </a:moveTo>
                  <a:lnTo>
                    <a:pt x="805" y="321"/>
                  </a:lnTo>
                  <a:lnTo>
                    <a:pt x="807" y="321"/>
                  </a:lnTo>
                  <a:lnTo>
                    <a:pt x="810" y="320"/>
                  </a:lnTo>
                  <a:lnTo>
                    <a:pt x="812" y="318"/>
                  </a:lnTo>
                  <a:lnTo>
                    <a:pt x="812" y="314"/>
                  </a:lnTo>
                  <a:lnTo>
                    <a:pt x="817" y="313"/>
                  </a:lnTo>
                  <a:lnTo>
                    <a:pt x="817" y="311"/>
                  </a:lnTo>
                  <a:lnTo>
                    <a:pt x="820" y="311"/>
                  </a:lnTo>
                  <a:lnTo>
                    <a:pt x="820" y="314"/>
                  </a:lnTo>
                  <a:lnTo>
                    <a:pt x="820" y="318"/>
                  </a:lnTo>
                  <a:lnTo>
                    <a:pt x="820" y="321"/>
                  </a:lnTo>
                  <a:lnTo>
                    <a:pt x="820" y="325"/>
                  </a:lnTo>
                  <a:lnTo>
                    <a:pt x="817" y="327"/>
                  </a:lnTo>
                  <a:lnTo>
                    <a:pt x="815" y="327"/>
                  </a:lnTo>
                  <a:lnTo>
                    <a:pt x="813" y="328"/>
                  </a:lnTo>
                  <a:lnTo>
                    <a:pt x="810" y="328"/>
                  </a:lnTo>
                  <a:lnTo>
                    <a:pt x="808" y="325"/>
                  </a:lnTo>
                  <a:lnTo>
                    <a:pt x="807" y="323"/>
                  </a:lnTo>
                  <a:lnTo>
                    <a:pt x="807" y="323"/>
                  </a:lnTo>
                  <a:lnTo>
                    <a:pt x="807" y="323"/>
                  </a:lnTo>
                  <a:lnTo>
                    <a:pt x="807" y="323"/>
                  </a:lnTo>
                  <a:close/>
                  <a:moveTo>
                    <a:pt x="674" y="318"/>
                  </a:moveTo>
                  <a:lnTo>
                    <a:pt x="676" y="314"/>
                  </a:lnTo>
                  <a:lnTo>
                    <a:pt x="674" y="311"/>
                  </a:lnTo>
                  <a:lnTo>
                    <a:pt x="676" y="306"/>
                  </a:lnTo>
                  <a:lnTo>
                    <a:pt x="681" y="306"/>
                  </a:lnTo>
                  <a:lnTo>
                    <a:pt x="685" y="306"/>
                  </a:lnTo>
                  <a:lnTo>
                    <a:pt x="690" y="306"/>
                  </a:lnTo>
                  <a:lnTo>
                    <a:pt x="694" y="306"/>
                  </a:lnTo>
                  <a:lnTo>
                    <a:pt x="697" y="306"/>
                  </a:lnTo>
                  <a:lnTo>
                    <a:pt x="701" y="304"/>
                  </a:lnTo>
                  <a:lnTo>
                    <a:pt x="706" y="304"/>
                  </a:lnTo>
                  <a:lnTo>
                    <a:pt x="711" y="306"/>
                  </a:lnTo>
                  <a:lnTo>
                    <a:pt x="716" y="306"/>
                  </a:lnTo>
                  <a:lnTo>
                    <a:pt x="716" y="306"/>
                  </a:lnTo>
                  <a:lnTo>
                    <a:pt x="720" y="304"/>
                  </a:lnTo>
                  <a:lnTo>
                    <a:pt x="728" y="304"/>
                  </a:lnTo>
                  <a:lnTo>
                    <a:pt x="728" y="302"/>
                  </a:lnTo>
                  <a:lnTo>
                    <a:pt x="732" y="300"/>
                  </a:lnTo>
                  <a:lnTo>
                    <a:pt x="730" y="299"/>
                  </a:lnTo>
                  <a:lnTo>
                    <a:pt x="727" y="300"/>
                  </a:lnTo>
                  <a:lnTo>
                    <a:pt x="725" y="300"/>
                  </a:lnTo>
                  <a:lnTo>
                    <a:pt x="721" y="299"/>
                  </a:lnTo>
                  <a:lnTo>
                    <a:pt x="716" y="300"/>
                  </a:lnTo>
                  <a:lnTo>
                    <a:pt x="714" y="300"/>
                  </a:lnTo>
                  <a:lnTo>
                    <a:pt x="714" y="299"/>
                  </a:lnTo>
                  <a:lnTo>
                    <a:pt x="713" y="297"/>
                  </a:lnTo>
                  <a:lnTo>
                    <a:pt x="709" y="299"/>
                  </a:lnTo>
                  <a:lnTo>
                    <a:pt x="706" y="299"/>
                  </a:lnTo>
                  <a:lnTo>
                    <a:pt x="702" y="300"/>
                  </a:lnTo>
                  <a:lnTo>
                    <a:pt x="701" y="299"/>
                  </a:lnTo>
                  <a:lnTo>
                    <a:pt x="697" y="299"/>
                  </a:lnTo>
                  <a:lnTo>
                    <a:pt x="694" y="299"/>
                  </a:lnTo>
                  <a:lnTo>
                    <a:pt x="694" y="295"/>
                  </a:lnTo>
                  <a:lnTo>
                    <a:pt x="697" y="292"/>
                  </a:lnTo>
                  <a:lnTo>
                    <a:pt x="701" y="288"/>
                  </a:lnTo>
                  <a:lnTo>
                    <a:pt x="699" y="288"/>
                  </a:lnTo>
                  <a:lnTo>
                    <a:pt x="697" y="290"/>
                  </a:lnTo>
                  <a:lnTo>
                    <a:pt x="694" y="292"/>
                  </a:lnTo>
                  <a:lnTo>
                    <a:pt x="692" y="288"/>
                  </a:lnTo>
                  <a:lnTo>
                    <a:pt x="690" y="290"/>
                  </a:lnTo>
                  <a:lnTo>
                    <a:pt x="690" y="293"/>
                  </a:lnTo>
                  <a:lnTo>
                    <a:pt x="685" y="297"/>
                  </a:lnTo>
                  <a:lnTo>
                    <a:pt x="683" y="299"/>
                  </a:lnTo>
                  <a:lnTo>
                    <a:pt x="680" y="299"/>
                  </a:lnTo>
                  <a:lnTo>
                    <a:pt x="676" y="297"/>
                  </a:lnTo>
                  <a:lnTo>
                    <a:pt x="676" y="293"/>
                  </a:lnTo>
                  <a:lnTo>
                    <a:pt x="678" y="292"/>
                  </a:lnTo>
                  <a:lnTo>
                    <a:pt x="674" y="292"/>
                  </a:lnTo>
                  <a:lnTo>
                    <a:pt x="674" y="290"/>
                  </a:lnTo>
                  <a:lnTo>
                    <a:pt x="674" y="295"/>
                  </a:lnTo>
                  <a:lnTo>
                    <a:pt x="671" y="297"/>
                  </a:lnTo>
                  <a:lnTo>
                    <a:pt x="669" y="295"/>
                  </a:lnTo>
                  <a:lnTo>
                    <a:pt x="669" y="290"/>
                  </a:lnTo>
                  <a:lnTo>
                    <a:pt x="662" y="288"/>
                  </a:lnTo>
                  <a:lnTo>
                    <a:pt x="666" y="287"/>
                  </a:lnTo>
                  <a:lnTo>
                    <a:pt x="662" y="287"/>
                  </a:lnTo>
                  <a:lnTo>
                    <a:pt x="662" y="288"/>
                  </a:lnTo>
                  <a:lnTo>
                    <a:pt x="661" y="288"/>
                  </a:lnTo>
                  <a:lnTo>
                    <a:pt x="657" y="283"/>
                  </a:lnTo>
                  <a:lnTo>
                    <a:pt x="652" y="278"/>
                  </a:lnTo>
                  <a:lnTo>
                    <a:pt x="652" y="278"/>
                  </a:lnTo>
                  <a:lnTo>
                    <a:pt x="655" y="278"/>
                  </a:lnTo>
                  <a:lnTo>
                    <a:pt x="655" y="274"/>
                  </a:lnTo>
                  <a:lnTo>
                    <a:pt x="654" y="273"/>
                  </a:lnTo>
                  <a:lnTo>
                    <a:pt x="661" y="267"/>
                  </a:lnTo>
                  <a:lnTo>
                    <a:pt x="662" y="267"/>
                  </a:lnTo>
                  <a:lnTo>
                    <a:pt x="666" y="267"/>
                  </a:lnTo>
                  <a:lnTo>
                    <a:pt x="671" y="267"/>
                  </a:lnTo>
                  <a:lnTo>
                    <a:pt x="676" y="271"/>
                  </a:lnTo>
                  <a:lnTo>
                    <a:pt x="680" y="271"/>
                  </a:lnTo>
                  <a:lnTo>
                    <a:pt x="683" y="269"/>
                  </a:lnTo>
                  <a:lnTo>
                    <a:pt x="688" y="269"/>
                  </a:lnTo>
                  <a:lnTo>
                    <a:pt x="692" y="266"/>
                  </a:lnTo>
                  <a:lnTo>
                    <a:pt x="688" y="264"/>
                  </a:lnTo>
                  <a:lnTo>
                    <a:pt x="685" y="262"/>
                  </a:lnTo>
                  <a:lnTo>
                    <a:pt x="683" y="262"/>
                  </a:lnTo>
                  <a:lnTo>
                    <a:pt x="680" y="264"/>
                  </a:lnTo>
                  <a:lnTo>
                    <a:pt x="674" y="260"/>
                  </a:lnTo>
                  <a:lnTo>
                    <a:pt x="671" y="260"/>
                  </a:lnTo>
                  <a:lnTo>
                    <a:pt x="671" y="260"/>
                  </a:lnTo>
                  <a:lnTo>
                    <a:pt x="674" y="255"/>
                  </a:lnTo>
                  <a:lnTo>
                    <a:pt x="678" y="250"/>
                  </a:lnTo>
                  <a:lnTo>
                    <a:pt x="681" y="250"/>
                  </a:lnTo>
                  <a:lnTo>
                    <a:pt x="685" y="250"/>
                  </a:lnTo>
                  <a:lnTo>
                    <a:pt x="692" y="250"/>
                  </a:lnTo>
                  <a:lnTo>
                    <a:pt x="697" y="250"/>
                  </a:lnTo>
                  <a:lnTo>
                    <a:pt x="702" y="250"/>
                  </a:lnTo>
                  <a:lnTo>
                    <a:pt x="704" y="250"/>
                  </a:lnTo>
                  <a:lnTo>
                    <a:pt x="702" y="250"/>
                  </a:lnTo>
                  <a:lnTo>
                    <a:pt x="701" y="250"/>
                  </a:lnTo>
                  <a:lnTo>
                    <a:pt x="697" y="248"/>
                  </a:lnTo>
                  <a:lnTo>
                    <a:pt x="694" y="248"/>
                  </a:lnTo>
                  <a:lnTo>
                    <a:pt x="685" y="245"/>
                  </a:lnTo>
                  <a:lnTo>
                    <a:pt x="685" y="243"/>
                  </a:lnTo>
                  <a:lnTo>
                    <a:pt x="688" y="240"/>
                  </a:lnTo>
                  <a:lnTo>
                    <a:pt x="692" y="236"/>
                  </a:lnTo>
                  <a:lnTo>
                    <a:pt x="694" y="234"/>
                  </a:lnTo>
                  <a:lnTo>
                    <a:pt x="694" y="234"/>
                  </a:lnTo>
                  <a:lnTo>
                    <a:pt x="699" y="233"/>
                  </a:lnTo>
                  <a:lnTo>
                    <a:pt x="702" y="233"/>
                  </a:lnTo>
                  <a:lnTo>
                    <a:pt x="702" y="234"/>
                  </a:lnTo>
                  <a:lnTo>
                    <a:pt x="706" y="234"/>
                  </a:lnTo>
                  <a:lnTo>
                    <a:pt x="709" y="238"/>
                  </a:lnTo>
                  <a:lnTo>
                    <a:pt x="713" y="238"/>
                  </a:lnTo>
                  <a:lnTo>
                    <a:pt x="711" y="234"/>
                  </a:lnTo>
                  <a:lnTo>
                    <a:pt x="707" y="233"/>
                  </a:lnTo>
                  <a:lnTo>
                    <a:pt x="706" y="231"/>
                  </a:lnTo>
                  <a:lnTo>
                    <a:pt x="704" y="227"/>
                  </a:lnTo>
                  <a:lnTo>
                    <a:pt x="707" y="227"/>
                  </a:lnTo>
                  <a:lnTo>
                    <a:pt x="716" y="224"/>
                  </a:lnTo>
                  <a:lnTo>
                    <a:pt x="720" y="224"/>
                  </a:lnTo>
                  <a:lnTo>
                    <a:pt x="725" y="224"/>
                  </a:lnTo>
                  <a:lnTo>
                    <a:pt x="727" y="227"/>
                  </a:lnTo>
                  <a:lnTo>
                    <a:pt x="728" y="233"/>
                  </a:lnTo>
                  <a:lnTo>
                    <a:pt x="727" y="234"/>
                  </a:lnTo>
                  <a:lnTo>
                    <a:pt x="725" y="240"/>
                  </a:lnTo>
                  <a:lnTo>
                    <a:pt x="725" y="241"/>
                  </a:lnTo>
                  <a:lnTo>
                    <a:pt x="732" y="241"/>
                  </a:lnTo>
                  <a:lnTo>
                    <a:pt x="734" y="240"/>
                  </a:lnTo>
                  <a:lnTo>
                    <a:pt x="735" y="241"/>
                  </a:lnTo>
                  <a:lnTo>
                    <a:pt x="739" y="241"/>
                  </a:lnTo>
                  <a:lnTo>
                    <a:pt x="739" y="243"/>
                  </a:lnTo>
                  <a:lnTo>
                    <a:pt x="739" y="247"/>
                  </a:lnTo>
                  <a:lnTo>
                    <a:pt x="742" y="248"/>
                  </a:lnTo>
                  <a:lnTo>
                    <a:pt x="742" y="250"/>
                  </a:lnTo>
                  <a:lnTo>
                    <a:pt x="739" y="250"/>
                  </a:lnTo>
                  <a:lnTo>
                    <a:pt x="739" y="254"/>
                  </a:lnTo>
                  <a:lnTo>
                    <a:pt x="739" y="259"/>
                  </a:lnTo>
                  <a:lnTo>
                    <a:pt x="742" y="264"/>
                  </a:lnTo>
                  <a:lnTo>
                    <a:pt x="739" y="267"/>
                  </a:lnTo>
                  <a:lnTo>
                    <a:pt x="737" y="266"/>
                  </a:lnTo>
                  <a:lnTo>
                    <a:pt x="734" y="267"/>
                  </a:lnTo>
                  <a:lnTo>
                    <a:pt x="734" y="269"/>
                  </a:lnTo>
                  <a:lnTo>
                    <a:pt x="737" y="267"/>
                  </a:lnTo>
                  <a:lnTo>
                    <a:pt x="742" y="269"/>
                  </a:lnTo>
                  <a:lnTo>
                    <a:pt x="744" y="269"/>
                  </a:lnTo>
                  <a:lnTo>
                    <a:pt x="742" y="278"/>
                  </a:lnTo>
                  <a:lnTo>
                    <a:pt x="739" y="278"/>
                  </a:lnTo>
                  <a:lnTo>
                    <a:pt x="739" y="287"/>
                  </a:lnTo>
                  <a:lnTo>
                    <a:pt x="739" y="287"/>
                  </a:lnTo>
                  <a:lnTo>
                    <a:pt x="744" y="287"/>
                  </a:lnTo>
                  <a:lnTo>
                    <a:pt x="747" y="281"/>
                  </a:lnTo>
                  <a:lnTo>
                    <a:pt x="747" y="283"/>
                  </a:lnTo>
                  <a:lnTo>
                    <a:pt x="747" y="287"/>
                  </a:lnTo>
                  <a:lnTo>
                    <a:pt x="751" y="287"/>
                  </a:lnTo>
                  <a:lnTo>
                    <a:pt x="753" y="287"/>
                  </a:lnTo>
                  <a:lnTo>
                    <a:pt x="760" y="288"/>
                  </a:lnTo>
                  <a:lnTo>
                    <a:pt x="763" y="292"/>
                  </a:lnTo>
                  <a:lnTo>
                    <a:pt x="765" y="292"/>
                  </a:lnTo>
                  <a:lnTo>
                    <a:pt x="765" y="288"/>
                  </a:lnTo>
                  <a:lnTo>
                    <a:pt x="763" y="288"/>
                  </a:lnTo>
                  <a:lnTo>
                    <a:pt x="767" y="287"/>
                  </a:lnTo>
                  <a:lnTo>
                    <a:pt x="767" y="281"/>
                  </a:lnTo>
                  <a:lnTo>
                    <a:pt x="765" y="278"/>
                  </a:lnTo>
                  <a:lnTo>
                    <a:pt x="765" y="274"/>
                  </a:lnTo>
                  <a:lnTo>
                    <a:pt x="763" y="271"/>
                  </a:lnTo>
                  <a:lnTo>
                    <a:pt x="763" y="269"/>
                  </a:lnTo>
                  <a:lnTo>
                    <a:pt x="767" y="269"/>
                  </a:lnTo>
                  <a:lnTo>
                    <a:pt x="770" y="267"/>
                  </a:lnTo>
                  <a:lnTo>
                    <a:pt x="773" y="267"/>
                  </a:lnTo>
                  <a:lnTo>
                    <a:pt x="775" y="262"/>
                  </a:lnTo>
                  <a:lnTo>
                    <a:pt x="773" y="259"/>
                  </a:lnTo>
                  <a:lnTo>
                    <a:pt x="772" y="255"/>
                  </a:lnTo>
                  <a:lnTo>
                    <a:pt x="772" y="254"/>
                  </a:lnTo>
                  <a:lnTo>
                    <a:pt x="770" y="248"/>
                  </a:lnTo>
                  <a:lnTo>
                    <a:pt x="773" y="245"/>
                  </a:lnTo>
                  <a:lnTo>
                    <a:pt x="775" y="243"/>
                  </a:lnTo>
                  <a:lnTo>
                    <a:pt x="779" y="243"/>
                  </a:lnTo>
                  <a:lnTo>
                    <a:pt x="782" y="243"/>
                  </a:lnTo>
                  <a:lnTo>
                    <a:pt x="780" y="241"/>
                  </a:lnTo>
                  <a:lnTo>
                    <a:pt x="782" y="238"/>
                  </a:lnTo>
                  <a:lnTo>
                    <a:pt x="786" y="236"/>
                  </a:lnTo>
                  <a:lnTo>
                    <a:pt x="793" y="231"/>
                  </a:lnTo>
                  <a:lnTo>
                    <a:pt x="796" y="231"/>
                  </a:lnTo>
                  <a:lnTo>
                    <a:pt x="801" y="233"/>
                  </a:lnTo>
                  <a:lnTo>
                    <a:pt x="801" y="234"/>
                  </a:lnTo>
                  <a:lnTo>
                    <a:pt x="801" y="236"/>
                  </a:lnTo>
                  <a:lnTo>
                    <a:pt x="801" y="240"/>
                  </a:lnTo>
                  <a:lnTo>
                    <a:pt x="798" y="240"/>
                  </a:lnTo>
                  <a:lnTo>
                    <a:pt x="796" y="241"/>
                  </a:lnTo>
                  <a:lnTo>
                    <a:pt x="796" y="245"/>
                  </a:lnTo>
                  <a:lnTo>
                    <a:pt x="793" y="248"/>
                  </a:lnTo>
                  <a:lnTo>
                    <a:pt x="793" y="250"/>
                  </a:lnTo>
                  <a:lnTo>
                    <a:pt x="796" y="254"/>
                  </a:lnTo>
                  <a:lnTo>
                    <a:pt x="796" y="260"/>
                  </a:lnTo>
                  <a:lnTo>
                    <a:pt x="793" y="262"/>
                  </a:lnTo>
                  <a:lnTo>
                    <a:pt x="793" y="262"/>
                  </a:lnTo>
                  <a:lnTo>
                    <a:pt x="787" y="267"/>
                  </a:lnTo>
                  <a:lnTo>
                    <a:pt x="784" y="269"/>
                  </a:lnTo>
                  <a:lnTo>
                    <a:pt x="784" y="271"/>
                  </a:lnTo>
                  <a:lnTo>
                    <a:pt x="786" y="271"/>
                  </a:lnTo>
                  <a:lnTo>
                    <a:pt x="789" y="269"/>
                  </a:lnTo>
                  <a:lnTo>
                    <a:pt x="793" y="269"/>
                  </a:lnTo>
                  <a:lnTo>
                    <a:pt x="796" y="271"/>
                  </a:lnTo>
                  <a:lnTo>
                    <a:pt x="793" y="276"/>
                  </a:lnTo>
                  <a:lnTo>
                    <a:pt x="787" y="278"/>
                  </a:lnTo>
                  <a:lnTo>
                    <a:pt x="782" y="281"/>
                  </a:lnTo>
                  <a:lnTo>
                    <a:pt x="780" y="287"/>
                  </a:lnTo>
                  <a:lnTo>
                    <a:pt x="782" y="287"/>
                  </a:lnTo>
                  <a:lnTo>
                    <a:pt x="784" y="283"/>
                  </a:lnTo>
                  <a:lnTo>
                    <a:pt x="789" y="281"/>
                  </a:lnTo>
                  <a:lnTo>
                    <a:pt x="793" y="278"/>
                  </a:lnTo>
                  <a:lnTo>
                    <a:pt x="796" y="278"/>
                  </a:lnTo>
                  <a:lnTo>
                    <a:pt x="798" y="281"/>
                  </a:lnTo>
                  <a:lnTo>
                    <a:pt x="798" y="287"/>
                  </a:lnTo>
                  <a:lnTo>
                    <a:pt x="796" y="290"/>
                  </a:lnTo>
                  <a:lnTo>
                    <a:pt x="798" y="292"/>
                  </a:lnTo>
                  <a:lnTo>
                    <a:pt x="801" y="288"/>
                  </a:lnTo>
                  <a:lnTo>
                    <a:pt x="801" y="288"/>
                  </a:lnTo>
                  <a:lnTo>
                    <a:pt x="803" y="287"/>
                  </a:lnTo>
                  <a:lnTo>
                    <a:pt x="801" y="287"/>
                  </a:lnTo>
                  <a:lnTo>
                    <a:pt x="805" y="281"/>
                  </a:lnTo>
                  <a:lnTo>
                    <a:pt x="805" y="278"/>
                  </a:lnTo>
                  <a:lnTo>
                    <a:pt x="810" y="276"/>
                  </a:lnTo>
                  <a:lnTo>
                    <a:pt x="812" y="276"/>
                  </a:lnTo>
                  <a:lnTo>
                    <a:pt x="817" y="278"/>
                  </a:lnTo>
                  <a:lnTo>
                    <a:pt x="819" y="283"/>
                  </a:lnTo>
                  <a:lnTo>
                    <a:pt x="820" y="287"/>
                  </a:lnTo>
                  <a:lnTo>
                    <a:pt x="820" y="290"/>
                  </a:lnTo>
                  <a:lnTo>
                    <a:pt x="815" y="299"/>
                  </a:lnTo>
                  <a:lnTo>
                    <a:pt x="810" y="302"/>
                  </a:lnTo>
                  <a:lnTo>
                    <a:pt x="807" y="304"/>
                  </a:lnTo>
                  <a:lnTo>
                    <a:pt x="805" y="304"/>
                  </a:lnTo>
                  <a:lnTo>
                    <a:pt x="805" y="306"/>
                  </a:lnTo>
                  <a:lnTo>
                    <a:pt x="805" y="309"/>
                  </a:lnTo>
                  <a:lnTo>
                    <a:pt x="801" y="313"/>
                  </a:lnTo>
                  <a:lnTo>
                    <a:pt x="798" y="313"/>
                  </a:lnTo>
                  <a:lnTo>
                    <a:pt x="796" y="314"/>
                  </a:lnTo>
                  <a:lnTo>
                    <a:pt x="796" y="318"/>
                  </a:lnTo>
                  <a:lnTo>
                    <a:pt x="793" y="320"/>
                  </a:lnTo>
                  <a:lnTo>
                    <a:pt x="793" y="320"/>
                  </a:lnTo>
                  <a:lnTo>
                    <a:pt x="789" y="321"/>
                  </a:lnTo>
                  <a:lnTo>
                    <a:pt x="789" y="323"/>
                  </a:lnTo>
                  <a:lnTo>
                    <a:pt x="789" y="323"/>
                  </a:lnTo>
                  <a:lnTo>
                    <a:pt x="787" y="321"/>
                  </a:lnTo>
                  <a:lnTo>
                    <a:pt x="784" y="323"/>
                  </a:lnTo>
                  <a:lnTo>
                    <a:pt x="780" y="321"/>
                  </a:lnTo>
                  <a:lnTo>
                    <a:pt x="775" y="325"/>
                  </a:lnTo>
                  <a:lnTo>
                    <a:pt x="770" y="327"/>
                  </a:lnTo>
                  <a:lnTo>
                    <a:pt x="767" y="325"/>
                  </a:lnTo>
                  <a:lnTo>
                    <a:pt x="767" y="321"/>
                  </a:lnTo>
                  <a:lnTo>
                    <a:pt x="767" y="318"/>
                  </a:lnTo>
                  <a:lnTo>
                    <a:pt x="767" y="318"/>
                  </a:lnTo>
                  <a:lnTo>
                    <a:pt x="767" y="318"/>
                  </a:lnTo>
                  <a:lnTo>
                    <a:pt x="763" y="318"/>
                  </a:lnTo>
                  <a:lnTo>
                    <a:pt x="763" y="320"/>
                  </a:lnTo>
                  <a:lnTo>
                    <a:pt x="760" y="321"/>
                  </a:lnTo>
                  <a:lnTo>
                    <a:pt x="754" y="320"/>
                  </a:lnTo>
                  <a:lnTo>
                    <a:pt x="754" y="318"/>
                  </a:lnTo>
                  <a:lnTo>
                    <a:pt x="756" y="318"/>
                  </a:lnTo>
                  <a:lnTo>
                    <a:pt x="756" y="313"/>
                  </a:lnTo>
                  <a:lnTo>
                    <a:pt x="753" y="313"/>
                  </a:lnTo>
                  <a:lnTo>
                    <a:pt x="753" y="314"/>
                  </a:lnTo>
                  <a:lnTo>
                    <a:pt x="751" y="318"/>
                  </a:lnTo>
                  <a:lnTo>
                    <a:pt x="747" y="318"/>
                  </a:lnTo>
                  <a:lnTo>
                    <a:pt x="744" y="318"/>
                  </a:lnTo>
                  <a:lnTo>
                    <a:pt x="742" y="320"/>
                  </a:lnTo>
                  <a:lnTo>
                    <a:pt x="739" y="320"/>
                  </a:lnTo>
                  <a:lnTo>
                    <a:pt x="737" y="318"/>
                  </a:lnTo>
                  <a:lnTo>
                    <a:pt x="734" y="320"/>
                  </a:lnTo>
                  <a:lnTo>
                    <a:pt x="730" y="318"/>
                  </a:lnTo>
                  <a:lnTo>
                    <a:pt x="728" y="320"/>
                  </a:lnTo>
                  <a:lnTo>
                    <a:pt x="727" y="320"/>
                  </a:lnTo>
                  <a:lnTo>
                    <a:pt x="725" y="321"/>
                  </a:lnTo>
                  <a:lnTo>
                    <a:pt x="725" y="323"/>
                  </a:lnTo>
                  <a:lnTo>
                    <a:pt x="721" y="325"/>
                  </a:lnTo>
                  <a:lnTo>
                    <a:pt x="720" y="325"/>
                  </a:lnTo>
                  <a:lnTo>
                    <a:pt x="716" y="327"/>
                  </a:lnTo>
                  <a:lnTo>
                    <a:pt x="714" y="328"/>
                  </a:lnTo>
                  <a:lnTo>
                    <a:pt x="713" y="328"/>
                  </a:lnTo>
                  <a:lnTo>
                    <a:pt x="709" y="328"/>
                  </a:lnTo>
                  <a:lnTo>
                    <a:pt x="706" y="328"/>
                  </a:lnTo>
                  <a:lnTo>
                    <a:pt x="704" y="327"/>
                  </a:lnTo>
                  <a:lnTo>
                    <a:pt x="699" y="328"/>
                  </a:lnTo>
                  <a:lnTo>
                    <a:pt x="694" y="328"/>
                  </a:lnTo>
                  <a:lnTo>
                    <a:pt x="690" y="328"/>
                  </a:lnTo>
                  <a:lnTo>
                    <a:pt x="685" y="327"/>
                  </a:lnTo>
                  <a:lnTo>
                    <a:pt x="681" y="325"/>
                  </a:lnTo>
                  <a:lnTo>
                    <a:pt x="678" y="321"/>
                  </a:lnTo>
                  <a:lnTo>
                    <a:pt x="674" y="318"/>
                  </a:lnTo>
                  <a:lnTo>
                    <a:pt x="674" y="318"/>
                  </a:lnTo>
                  <a:lnTo>
                    <a:pt x="674" y="318"/>
                  </a:lnTo>
                  <a:lnTo>
                    <a:pt x="674" y="318"/>
                  </a:lnTo>
                  <a:close/>
                  <a:moveTo>
                    <a:pt x="475" y="427"/>
                  </a:moveTo>
                  <a:lnTo>
                    <a:pt x="475" y="419"/>
                  </a:lnTo>
                  <a:lnTo>
                    <a:pt x="475" y="413"/>
                  </a:lnTo>
                  <a:lnTo>
                    <a:pt x="475" y="410"/>
                  </a:lnTo>
                  <a:lnTo>
                    <a:pt x="475" y="405"/>
                  </a:lnTo>
                  <a:lnTo>
                    <a:pt x="475" y="400"/>
                  </a:lnTo>
                  <a:lnTo>
                    <a:pt x="475" y="398"/>
                  </a:lnTo>
                  <a:lnTo>
                    <a:pt x="469" y="391"/>
                  </a:lnTo>
                  <a:lnTo>
                    <a:pt x="475" y="391"/>
                  </a:lnTo>
                  <a:lnTo>
                    <a:pt x="475" y="387"/>
                  </a:lnTo>
                  <a:lnTo>
                    <a:pt x="468" y="387"/>
                  </a:lnTo>
                  <a:lnTo>
                    <a:pt x="462" y="386"/>
                  </a:lnTo>
                  <a:lnTo>
                    <a:pt x="462" y="384"/>
                  </a:lnTo>
                  <a:lnTo>
                    <a:pt x="466" y="384"/>
                  </a:lnTo>
                  <a:lnTo>
                    <a:pt x="468" y="382"/>
                  </a:lnTo>
                  <a:lnTo>
                    <a:pt x="475" y="379"/>
                  </a:lnTo>
                  <a:lnTo>
                    <a:pt x="475" y="377"/>
                  </a:lnTo>
                  <a:lnTo>
                    <a:pt x="476" y="377"/>
                  </a:lnTo>
                  <a:lnTo>
                    <a:pt x="478" y="373"/>
                  </a:lnTo>
                  <a:lnTo>
                    <a:pt x="482" y="372"/>
                  </a:lnTo>
                  <a:lnTo>
                    <a:pt x="483" y="368"/>
                  </a:lnTo>
                  <a:lnTo>
                    <a:pt x="489" y="365"/>
                  </a:lnTo>
                  <a:lnTo>
                    <a:pt x="489" y="365"/>
                  </a:lnTo>
                  <a:lnTo>
                    <a:pt x="494" y="365"/>
                  </a:lnTo>
                  <a:lnTo>
                    <a:pt x="497" y="360"/>
                  </a:lnTo>
                  <a:lnTo>
                    <a:pt x="497" y="354"/>
                  </a:lnTo>
                  <a:lnTo>
                    <a:pt x="497" y="356"/>
                  </a:lnTo>
                  <a:lnTo>
                    <a:pt x="506" y="358"/>
                  </a:lnTo>
                  <a:lnTo>
                    <a:pt x="506" y="353"/>
                  </a:lnTo>
                  <a:lnTo>
                    <a:pt x="504" y="347"/>
                  </a:lnTo>
                  <a:lnTo>
                    <a:pt x="504" y="344"/>
                  </a:lnTo>
                  <a:lnTo>
                    <a:pt x="508" y="342"/>
                  </a:lnTo>
                  <a:lnTo>
                    <a:pt x="516" y="337"/>
                  </a:lnTo>
                  <a:lnTo>
                    <a:pt x="520" y="333"/>
                  </a:lnTo>
                  <a:lnTo>
                    <a:pt x="525" y="332"/>
                  </a:lnTo>
                  <a:lnTo>
                    <a:pt x="527" y="328"/>
                  </a:lnTo>
                  <a:lnTo>
                    <a:pt x="532" y="323"/>
                  </a:lnTo>
                  <a:lnTo>
                    <a:pt x="535" y="323"/>
                  </a:lnTo>
                  <a:lnTo>
                    <a:pt x="539" y="320"/>
                  </a:lnTo>
                  <a:lnTo>
                    <a:pt x="535" y="318"/>
                  </a:lnTo>
                  <a:lnTo>
                    <a:pt x="537" y="309"/>
                  </a:lnTo>
                  <a:lnTo>
                    <a:pt x="537" y="306"/>
                  </a:lnTo>
                  <a:lnTo>
                    <a:pt x="539" y="302"/>
                  </a:lnTo>
                  <a:lnTo>
                    <a:pt x="537" y="300"/>
                  </a:lnTo>
                  <a:lnTo>
                    <a:pt x="539" y="299"/>
                  </a:lnTo>
                  <a:lnTo>
                    <a:pt x="542" y="297"/>
                  </a:lnTo>
                  <a:lnTo>
                    <a:pt x="548" y="297"/>
                  </a:lnTo>
                  <a:lnTo>
                    <a:pt x="556" y="297"/>
                  </a:lnTo>
                  <a:lnTo>
                    <a:pt x="558" y="297"/>
                  </a:lnTo>
                  <a:lnTo>
                    <a:pt x="570" y="297"/>
                  </a:lnTo>
                  <a:lnTo>
                    <a:pt x="577" y="293"/>
                  </a:lnTo>
                  <a:lnTo>
                    <a:pt x="588" y="297"/>
                  </a:lnTo>
                  <a:lnTo>
                    <a:pt x="586" y="300"/>
                  </a:lnTo>
                  <a:lnTo>
                    <a:pt x="589" y="302"/>
                  </a:lnTo>
                  <a:lnTo>
                    <a:pt x="589" y="306"/>
                  </a:lnTo>
                  <a:lnTo>
                    <a:pt x="598" y="311"/>
                  </a:lnTo>
                  <a:lnTo>
                    <a:pt x="600" y="313"/>
                  </a:lnTo>
                  <a:lnTo>
                    <a:pt x="596" y="318"/>
                  </a:lnTo>
                  <a:lnTo>
                    <a:pt x="600" y="314"/>
                  </a:lnTo>
                  <a:lnTo>
                    <a:pt x="603" y="313"/>
                  </a:lnTo>
                  <a:lnTo>
                    <a:pt x="607" y="318"/>
                  </a:lnTo>
                  <a:lnTo>
                    <a:pt x="605" y="320"/>
                  </a:lnTo>
                  <a:lnTo>
                    <a:pt x="600" y="325"/>
                  </a:lnTo>
                  <a:lnTo>
                    <a:pt x="601" y="327"/>
                  </a:lnTo>
                  <a:lnTo>
                    <a:pt x="608" y="323"/>
                  </a:lnTo>
                  <a:lnTo>
                    <a:pt x="608" y="320"/>
                  </a:lnTo>
                  <a:lnTo>
                    <a:pt x="610" y="318"/>
                  </a:lnTo>
                  <a:lnTo>
                    <a:pt x="615" y="318"/>
                  </a:lnTo>
                  <a:lnTo>
                    <a:pt x="621" y="318"/>
                  </a:lnTo>
                  <a:lnTo>
                    <a:pt x="621" y="318"/>
                  </a:lnTo>
                  <a:lnTo>
                    <a:pt x="624" y="320"/>
                  </a:lnTo>
                  <a:lnTo>
                    <a:pt x="628" y="327"/>
                  </a:lnTo>
                  <a:lnTo>
                    <a:pt x="629" y="335"/>
                  </a:lnTo>
                  <a:lnTo>
                    <a:pt x="628" y="337"/>
                  </a:lnTo>
                  <a:lnTo>
                    <a:pt x="631" y="344"/>
                  </a:lnTo>
                  <a:lnTo>
                    <a:pt x="629" y="349"/>
                  </a:lnTo>
                  <a:lnTo>
                    <a:pt x="629" y="351"/>
                  </a:lnTo>
                  <a:lnTo>
                    <a:pt x="631" y="353"/>
                  </a:lnTo>
                  <a:lnTo>
                    <a:pt x="631" y="356"/>
                  </a:lnTo>
                  <a:lnTo>
                    <a:pt x="631" y="360"/>
                  </a:lnTo>
                  <a:lnTo>
                    <a:pt x="628" y="365"/>
                  </a:lnTo>
                  <a:lnTo>
                    <a:pt x="621" y="365"/>
                  </a:lnTo>
                  <a:lnTo>
                    <a:pt x="621" y="368"/>
                  </a:lnTo>
                  <a:lnTo>
                    <a:pt x="612" y="368"/>
                  </a:lnTo>
                  <a:lnTo>
                    <a:pt x="607" y="368"/>
                  </a:lnTo>
                  <a:lnTo>
                    <a:pt x="598" y="370"/>
                  </a:lnTo>
                  <a:lnTo>
                    <a:pt x="593" y="372"/>
                  </a:lnTo>
                  <a:lnTo>
                    <a:pt x="584" y="375"/>
                  </a:lnTo>
                  <a:lnTo>
                    <a:pt x="582" y="375"/>
                  </a:lnTo>
                  <a:lnTo>
                    <a:pt x="577" y="377"/>
                  </a:lnTo>
                  <a:lnTo>
                    <a:pt x="572" y="377"/>
                  </a:lnTo>
                  <a:lnTo>
                    <a:pt x="570" y="379"/>
                  </a:lnTo>
                  <a:lnTo>
                    <a:pt x="567" y="377"/>
                  </a:lnTo>
                  <a:lnTo>
                    <a:pt x="567" y="379"/>
                  </a:lnTo>
                  <a:lnTo>
                    <a:pt x="560" y="380"/>
                  </a:lnTo>
                  <a:lnTo>
                    <a:pt x="558" y="384"/>
                  </a:lnTo>
                  <a:lnTo>
                    <a:pt x="555" y="387"/>
                  </a:lnTo>
                  <a:lnTo>
                    <a:pt x="553" y="387"/>
                  </a:lnTo>
                  <a:lnTo>
                    <a:pt x="551" y="393"/>
                  </a:lnTo>
                  <a:lnTo>
                    <a:pt x="548" y="393"/>
                  </a:lnTo>
                  <a:lnTo>
                    <a:pt x="542" y="396"/>
                  </a:lnTo>
                  <a:lnTo>
                    <a:pt x="539" y="396"/>
                  </a:lnTo>
                  <a:lnTo>
                    <a:pt x="537" y="393"/>
                  </a:lnTo>
                  <a:lnTo>
                    <a:pt x="535" y="396"/>
                  </a:lnTo>
                  <a:lnTo>
                    <a:pt x="534" y="400"/>
                  </a:lnTo>
                  <a:lnTo>
                    <a:pt x="530" y="401"/>
                  </a:lnTo>
                  <a:lnTo>
                    <a:pt x="525" y="407"/>
                  </a:lnTo>
                  <a:lnTo>
                    <a:pt x="525" y="408"/>
                  </a:lnTo>
                  <a:lnTo>
                    <a:pt x="520" y="413"/>
                  </a:lnTo>
                  <a:lnTo>
                    <a:pt x="522" y="415"/>
                  </a:lnTo>
                  <a:lnTo>
                    <a:pt x="516" y="419"/>
                  </a:lnTo>
                  <a:lnTo>
                    <a:pt x="513" y="424"/>
                  </a:lnTo>
                  <a:lnTo>
                    <a:pt x="509" y="424"/>
                  </a:lnTo>
                  <a:lnTo>
                    <a:pt x="504" y="424"/>
                  </a:lnTo>
                  <a:lnTo>
                    <a:pt x="501" y="424"/>
                  </a:lnTo>
                  <a:lnTo>
                    <a:pt x="499" y="424"/>
                  </a:lnTo>
                  <a:lnTo>
                    <a:pt x="502" y="419"/>
                  </a:lnTo>
                  <a:lnTo>
                    <a:pt x="501" y="415"/>
                  </a:lnTo>
                  <a:lnTo>
                    <a:pt x="499" y="415"/>
                  </a:lnTo>
                  <a:lnTo>
                    <a:pt x="497" y="415"/>
                  </a:lnTo>
                  <a:lnTo>
                    <a:pt x="497" y="419"/>
                  </a:lnTo>
                  <a:lnTo>
                    <a:pt x="494" y="419"/>
                  </a:lnTo>
                  <a:lnTo>
                    <a:pt x="489" y="424"/>
                  </a:lnTo>
                  <a:lnTo>
                    <a:pt x="485" y="424"/>
                  </a:lnTo>
                  <a:lnTo>
                    <a:pt x="483" y="424"/>
                  </a:lnTo>
                  <a:lnTo>
                    <a:pt x="480" y="424"/>
                  </a:lnTo>
                  <a:lnTo>
                    <a:pt x="476" y="427"/>
                  </a:lnTo>
                  <a:lnTo>
                    <a:pt x="475" y="427"/>
                  </a:lnTo>
                  <a:lnTo>
                    <a:pt x="471" y="427"/>
                  </a:lnTo>
                  <a:lnTo>
                    <a:pt x="475" y="427"/>
                  </a:lnTo>
                  <a:lnTo>
                    <a:pt x="475" y="427"/>
                  </a:lnTo>
                  <a:lnTo>
                    <a:pt x="475" y="427"/>
                  </a:lnTo>
                  <a:lnTo>
                    <a:pt x="475" y="427"/>
                  </a:lnTo>
                  <a:close/>
                  <a:moveTo>
                    <a:pt x="906" y="373"/>
                  </a:moveTo>
                  <a:lnTo>
                    <a:pt x="907" y="375"/>
                  </a:lnTo>
                  <a:lnTo>
                    <a:pt x="907" y="377"/>
                  </a:lnTo>
                  <a:lnTo>
                    <a:pt x="907" y="380"/>
                  </a:lnTo>
                  <a:lnTo>
                    <a:pt x="906" y="382"/>
                  </a:lnTo>
                  <a:lnTo>
                    <a:pt x="906" y="380"/>
                  </a:lnTo>
                  <a:lnTo>
                    <a:pt x="906" y="375"/>
                  </a:lnTo>
                  <a:lnTo>
                    <a:pt x="906" y="373"/>
                  </a:lnTo>
                  <a:lnTo>
                    <a:pt x="906" y="373"/>
                  </a:lnTo>
                  <a:lnTo>
                    <a:pt x="906" y="373"/>
                  </a:lnTo>
                  <a:lnTo>
                    <a:pt x="906" y="373"/>
                  </a:lnTo>
                  <a:close/>
                  <a:moveTo>
                    <a:pt x="871" y="375"/>
                  </a:moveTo>
                  <a:lnTo>
                    <a:pt x="874" y="370"/>
                  </a:lnTo>
                  <a:lnTo>
                    <a:pt x="878" y="368"/>
                  </a:lnTo>
                  <a:lnTo>
                    <a:pt x="879" y="370"/>
                  </a:lnTo>
                  <a:lnTo>
                    <a:pt x="879" y="373"/>
                  </a:lnTo>
                  <a:lnTo>
                    <a:pt x="876" y="373"/>
                  </a:lnTo>
                  <a:lnTo>
                    <a:pt x="874" y="375"/>
                  </a:lnTo>
                  <a:lnTo>
                    <a:pt x="871" y="375"/>
                  </a:lnTo>
                  <a:lnTo>
                    <a:pt x="871" y="375"/>
                  </a:lnTo>
                  <a:lnTo>
                    <a:pt x="871" y="375"/>
                  </a:lnTo>
                  <a:lnTo>
                    <a:pt x="871" y="375"/>
                  </a:lnTo>
                  <a:close/>
                  <a:moveTo>
                    <a:pt x="840" y="393"/>
                  </a:moveTo>
                  <a:lnTo>
                    <a:pt x="841" y="396"/>
                  </a:lnTo>
                  <a:lnTo>
                    <a:pt x="846" y="396"/>
                  </a:lnTo>
                  <a:lnTo>
                    <a:pt x="852" y="400"/>
                  </a:lnTo>
                  <a:lnTo>
                    <a:pt x="852" y="398"/>
                  </a:lnTo>
                  <a:lnTo>
                    <a:pt x="853" y="400"/>
                  </a:lnTo>
                  <a:lnTo>
                    <a:pt x="859" y="396"/>
                  </a:lnTo>
                  <a:lnTo>
                    <a:pt x="860" y="398"/>
                  </a:lnTo>
                  <a:lnTo>
                    <a:pt x="864" y="398"/>
                  </a:lnTo>
                  <a:lnTo>
                    <a:pt x="866" y="396"/>
                  </a:lnTo>
                  <a:lnTo>
                    <a:pt x="871" y="396"/>
                  </a:lnTo>
                  <a:lnTo>
                    <a:pt x="871" y="393"/>
                  </a:lnTo>
                  <a:lnTo>
                    <a:pt x="866" y="391"/>
                  </a:lnTo>
                  <a:lnTo>
                    <a:pt x="862" y="393"/>
                  </a:lnTo>
                  <a:lnTo>
                    <a:pt x="859" y="393"/>
                  </a:lnTo>
                  <a:lnTo>
                    <a:pt x="857" y="393"/>
                  </a:lnTo>
                  <a:lnTo>
                    <a:pt x="852" y="393"/>
                  </a:lnTo>
                  <a:lnTo>
                    <a:pt x="848" y="391"/>
                  </a:lnTo>
                  <a:lnTo>
                    <a:pt x="846" y="393"/>
                  </a:lnTo>
                  <a:lnTo>
                    <a:pt x="841" y="393"/>
                  </a:lnTo>
                  <a:lnTo>
                    <a:pt x="840" y="393"/>
                  </a:lnTo>
                  <a:lnTo>
                    <a:pt x="840" y="393"/>
                  </a:lnTo>
                  <a:lnTo>
                    <a:pt x="840" y="393"/>
                  </a:lnTo>
                  <a:lnTo>
                    <a:pt x="840" y="393"/>
                  </a:lnTo>
                  <a:close/>
                  <a:moveTo>
                    <a:pt x="820" y="513"/>
                  </a:moveTo>
                  <a:lnTo>
                    <a:pt x="820" y="511"/>
                  </a:lnTo>
                  <a:lnTo>
                    <a:pt x="820" y="509"/>
                  </a:lnTo>
                  <a:lnTo>
                    <a:pt x="820" y="509"/>
                  </a:lnTo>
                  <a:lnTo>
                    <a:pt x="820" y="513"/>
                  </a:lnTo>
                  <a:lnTo>
                    <a:pt x="820" y="513"/>
                  </a:lnTo>
                  <a:lnTo>
                    <a:pt x="820" y="513"/>
                  </a:lnTo>
                  <a:lnTo>
                    <a:pt x="820" y="513"/>
                  </a:lnTo>
                  <a:lnTo>
                    <a:pt x="820" y="513"/>
                  </a:lnTo>
                  <a:close/>
                  <a:moveTo>
                    <a:pt x="801" y="509"/>
                  </a:moveTo>
                  <a:lnTo>
                    <a:pt x="798" y="509"/>
                  </a:lnTo>
                  <a:lnTo>
                    <a:pt x="798" y="506"/>
                  </a:lnTo>
                  <a:lnTo>
                    <a:pt x="798" y="502"/>
                  </a:lnTo>
                  <a:lnTo>
                    <a:pt x="796" y="506"/>
                  </a:lnTo>
                  <a:lnTo>
                    <a:pt x="793" y="502"/>
                  </a:lnTo>
                  <a:lnTo>
                    <a:pt x="796" y="500"/>
                  </a:lnTo>
                  <a:lnTo>
                    <a:pt x="793" y="495"/>
                  </a:lnTo>
                  <a:lnTo>
                    <a:pt x="793" y="493"/>
                  </a:lnTo>
                  <a:lnTo>
                    <a:pt x="793" y="490"/>
                  </a:lnTo>
                  <a:lnTo>
                    <a:pt x="793" y="485"/>
                  </a:lnTo>
                  <a:lnTo>
                    <a:pt x="793" y="481"/>
                  </a:lnTo>
                  <a:lnTo>
                    <a:pt x="793" y="481"/>
                  </a:lnTo>
                  <a:lnTo>
                    <a:pt x="789" y="478"/>
                  </a:lnTo>
                  <a:lnTo>
                    <a:pt x="789" y="474"/>
                  </a:lnTo>
                  <a:lnTo>
                    <a:pt x="787" y="473"/>
                  </a:lnTo>
                  <a:lnTo>
                    <a:pt x="787" y="467"/>
                  </a:lnTo>
                  <a:lnTo>
                    <a:pt x="786" y="462"/>
                  </a:lnTo>
                  <a:lnTo>
                    <a:pt x="784" y="462"/>
                  </a:lnTo>
                  <a:lnTo>
                    <a:pt x="782" y="460"/>
                  </a:lnTo>
                  <a:lnTo>
                    <a:pt x="782" y="457"/>
                  </a:lnTo>
                  <a:lnTo>
                    <a:pt x="780" y="455"/>
                  </a:lnTo>
                  <a:lnTo>
                    <a:pt x="779" y="457"/>
                  </a:lnTo>
                  <a:lnTo>
                    <a:pt x="779" y="455"/>
                  </a:lnTo>
                  <a:lnTo>
                    <a:pt x="773" y="457"/>
                  </a:lnTo>
                  <a:lnTo>
                    <a:pt x="772" y="455"/>
                  </a:lnTo>
                  <a:lnTo>
                    <a:pt x="772" y="450"/>
                  </a:lnTo>
                  <a:lnTo>
                    <a:pt x="775" y="450"/>
                  </a:lnTo>
                  <a:lnTo>
                    <a:pt x="779" y="445"/>
                  </a:lnTo>
                  <a:lnTo>
                    <a:pt x="775" y="443"/>
                  </a:lnTo>
                  <a:lnTo>
                    <a:pt x="775" y="441"/>
                  </a:lnTo>
                  <a:lnTo>
                    <a:pt x="775" y="434"/>
                  </a:lnTo>
                  <a:lnTo>
                    <a:pt x="775" y="433"/>
                  </a:lnTo>
                  <a:lnTo>
                    <a:pt x="779" y="427"/>
                  </a:lnTo>
                  <a:lnTo>
                    <a:pt x="782" y="427"/>
                  </a:lnTo>
                  <a:lnTo>
                    <a:pt x="784" y="424"/>
                  </a:lnTo>
                  <a:lnTo>
                    <a:pt x="786" y="424"/>
                  </a:lnTo>
                  <a:lnTo>
                    <a:pt x="787" y="424"/>
                  </a:lnTo>
                  <a:lnTo>
                    <a:pt x="793" y="424"/>
                  </a:lnTo>
                  <a:lnTo>
                    <a:pt x="796" y="424"/>
                  </a:lnTo>
                  <a:lnTo>
                    <a:pt x="796" y="427"/>
                  </a:lnTo>
                  <a:lnTo>
                    <a:pt x="796" y="427"/>
                  </a:lnTo>
                  <a:lnTo>
                    <a:pt x="793" y="427"/>
                  </a:lnTo>
                  <a:lnTo>
                    <a:pt x="793" y="429"/>
                  </a:lnTo>
                  <a:lnTo>
                    <a:pt x="796" y="431"/>
                  </a:lnTo>
                  <a:lnTo>
                    <a:pt x="798" y="433"/>
                  </a:lnTo>
                  <a:lnTo>
                    <a:pt x="796" y="436"/>
                  </a:lnTo>
                  <a:lnTo>
                    <a:pt x="801" y="440"/>
                  </a:lnTo>
                  <a:lnTo>
                    <a:pt x="801" y="443"/>
                  </a:lnTo>
                  <a:lnTo>
                    <a:pt x="801" y="447"/>
                  </a:lnTo>
                  <a:lnTo>
                    <a:pt x="805" y="447"/>
                  </a:lnTo>
                  <a:lnTo>
                    <a:pt x="807" y="447"/>
                  </a:lnTo>
                  <a:lnTo>
                    <a:pt x="807" y="443"/>
                  </a:lnTo>
                  <a:lnTo>
                    <a:pt x="808" y="441"/>
                  </a:lnTo>
                  <a:lnTo>
                    <a:pt x="810" y="438"/>
                  </a:lnTo>
                  <a:lnTo>
                    <a:pt x="810" y="434"/>
                  </a:lnTo>
                  <a:lnTo>
                    <a:pt x="812" y="433"/>
                  </a:lnTo>
                  <a:lnTo>
                    <a:pt x="813" y="431"/>
                  </a:lnTo>
                  <a:lnTo>
                    <a:pt x="812" y="427"/>
                  </a:lnTo>
                  <a:lnTo>
                    <a:pt x="813" y="427"/>
                  </a:lnTo>
                  <a:lnTo>
                    <a:pt x="817" y="424"/>
                  </a:lnTo>
                  <a:lnTo>
                    <a:pt x="819" y="427"/>
                  </a:lnTo>
                  <a:lnTo>
                    <a:pt x="820" y="429"/>
                  </a:lnTo>
                  <a:lnTo>
                    <a:pt x="820" y="429"/>
                  </a:lnTo>
                  <a:lnTo>
                    <a:pt x="820" y="427"/>
                  </a:lnTo>
                  <a:lnTo>
                    <a:pt x="820" y="424"/>
                  </a:lnTo>
                  <a:lnTo>
                    <a:pt x="819" y="419"/>
                  </a:lnTo>
                  <a:lnTo>
                    <a:pt x="819" y="419"/>
                  </a:lnTo>
                  <a:lnTo>
                    <a:pt x="817" y="424"/>
                  </a:lnTo>
                  <a:lnTo>
                    <a:pt x="812" y="424"/>
                  </a:lnTo>
                  <a:lnTo>
                    <a:pt x="808" y="419"/>
                  </a:lnTo>
                  <a:lnTo>
                    <a:pt x="808" y="415"/>
                  </a:lnTo>
                  <a:lnTo>
                    <a:pt x="807" y="413"/>
                  </a:lnTo>
                  <a:lnTo>
                    <a:pt x="807" y="410"/>
                  </a:lnTo>
                  <a:lnTo>
                    <a:pt x="808" y="408"/>
                  </a:lnTo>
                  <a:lnTo>
                    <a:pt x="812" y="408"/>
                  </a:lnTo>
                  <a:lnTo>
                    <a:pt x="812" y="405"/>
                  </a:lnTo>
                  <a:lnTo>
                    <a:pt x="815" y="407"/>
                  </a:lnTo>
                  <a:lnTo>
                    <a:pt x="817" y="410"/>
                  </a:lnTo>
                  <a:lnTo>
                    <a:pt x="817" y="415"/>
                  </a:lnTo>
                  <a:lnTo>
                    <a:pt x="819" y="415"/>
                  </a:lnTo>
                  <a:lnTo>
                    <a:pt x="819" y="413"/>
                  </a:lnTo>
                  <a:lnTo>
                    <a:pt x="820" y="412"/>
                  </a:lnTo>
                  <a:lnTo>
                    <a:pt x="820" y="408"/>
                  </a:lnTo>
                  <a:lnTo>
                    <a:pt x="817" y="407"/>
                  </a:lnTo>
                  <a:lnTo>
                    <a:pt x="817" y="403"/>
                  </a:lnTo>
                  <a:lnTo>
                    <a:pt x="817" y="400"/>
                  </a:lnTo>
                  <a:lnTo>
                    <a:pt x="819" y="398"/>
                  </a:lnTo>
                  <a:lnTo>
                    <a:pt x="819" y="396"/>
                  </a:lnTo>
                  <a:lnTo>
                    <a:pt x="820" y="393"/>
                  </a:lnTo>
                  <a:lnTo>
                    <a:pt x="824" y="396"/>
                  </a:lnTo>
                  <a:lnTo>
                    <a:pt x="824" y="396"/>
                  </a:lnTo>
                  <a:lnTo>
                    <a:pt x="827" y="398"/>
                  </a:lnTo>
                  <a:lnTo>
                    <a:pt x="831" y="400"/>
                  </a:lnTo>
                  <a:lnTo>
                    <a:pt x="833" y="396"/>
                  </a:lnTo>
                  <a:lnTo>
                    <a:pt x="829" y="396"/>
                  </a:lnTo>
                  <a:lnTo>
                    <a:pt x="827" y="396"/>
                  </a:lnTo>
                  <a:lnTo>
                    <a:pt x="829" y="393"/>
                  </a:lnTo>
                  <a:lnTo>
                    <a:pt x="833" y="393"/>
                  </a:lnTo>
                  <a:lnTo>
                    <a:pt x="836" y="393"/>
                  </a:lnTo>
                  <a:lnTo>
                    <a:pt x="838" y="393"/>
                  </a:lnTo>
                  <a:lnTo>
                    <a:pt x="836" y="396"/>
                  </a:lnTo>
                  <a:lnTo>
                    <a:pt x="836" y="396"/>
                  </a:lnTo>
                  <a:lnTo>
                    <a:pt x="840" y="398"/>
                  </a:lnTo>
                  <a:lnTo>
                    <a:pt x="841" y="401"/>
                  </a:lnTo>
                  <a:lnTo>
                    <a:pt x="843" y="401"/>
                  </a:lnTo>
                  <a:lnTo>
                    <a:pt x="846" y="403"/>
                  </a:lnTo>
                  <a:lnTo>
                    <a:pt x="852" y="403"/>
                  </a:lnTo>
                  <a:lnTo>
                    <a:pt x="852" y="401"/>
                  </a:lnTo>
                  <a:lnTo>
                    <a:pt x="855" y="401"/>
                  </a:lnTo>
                  <a:lnTo>
                    <a:pt x="864" y="401"/>
                  </a:lnTo>
                  <a:lnTo>
                    <a:pt x="867" y="405"/>
                  </a:lnTo>
                  <a:lnTo>
                    <a:pt x="869" y="405"/>
                  </a:lnTo>
                  <a:lnTo>
                    <a:pt x="869" y="407"/>
                  </a:lnTo>
                  <a:lnTo>
                    <a:pt x="869" y="408"/>
                  </a:lnTo>
                  <a:lnTo>
                    <a:pt x="869" y="412"/>
                  </a:lnTo>
                  <a:lnTo>
                    <a:pt x="867" y="413"/>
                  </a:lnTo>
                  <a:lnTo>
                    <a:pt x="864" y="415"/>
                  </a:lnTo>
                  <a:lnTo>
                    <a:pt x="860" y="415"/>
                  </a:lnTo>
                  <a:lnTo>
                    <a:pt x="860" y="413"/>
                  </a:lnTo>
                  <a:lnTo>
                    <a:pt x="859" y="415"/>
                  </a:lnTo>
                  <a:lnTo>
                    <a:pt x="857" y="415"/>
                  </a:lnTo>
                  <a:lnTo>
                    <a:pt x="857" y="419"/>
                  </a:lnTo>
                  <a:lnTo>
                    <a:pt x="860" y="419"/>
                  </a:lnTo>
                  <a:lnTo>
                    <a:pt x="859" y="424"/>
                  </a:lnTo>
                  <a:lnTo>
                    <a:pt x="859" y="427"/>
                  </a:lnTo>
                  <a:lnTo>
                    <a:pt x="857" y="427"/>
                  </a:lnTo>
                  <a:lnTo>
                    <a:pt x="855" y="427"/>
                  </a:lnTo>
                  <a:lnTo>
                    <a:pt x="853" y="427"/>
                  </a:lnTo>
                  <a:lnTo>
                    <a:pt x="852" y="427"/>
                  </a:lnTo>
                  <a:lnTo>
                    <a:pt x="848" y="429"/>
                  </a:lnTo>
                  <a:lnTo>
                    <a:pt x="843" y="431"/>
                  </a:lnTo>
                  <a:lnTo>
                    <a:pt x="838" y="434"/>
                  </a:lnTo>
                  <a:lnTo>
                    <a:pt x="836" y="434"/>
                  </a:lnTo>
                  <a:lnTo>
                    <a:pt x="834" y="438"/>
                  </a:lnTo>
                  <a:lnTo>
                    <a:pt x="834" y="441"/>
                  </a:lnTo>
                  <a:lnTo>
                    <a:pt x="836" y="440"/>
                  </a:lnTo>
                  <a:lnTo>
                    <a:pt x="838" y="440"/>
                  </a:lnTo>
                  <a:lnTo>
                    <a:pt x="843" y="438"/>
                  </a:lnTo>
                  <a:lnTo>
                    <a:pt x="843" y="436"/>
                  </a:lnTo>
                  <a:lnTo>
                    <a:pt x="848" y="440"/>
                  </a:lnTo>
                  <a:lnTo>
                    <a:pt x="852" y="443"/>
                  </a:lnTo>
                  <a:lnTo>
                    <a:pt x="848" y="445"/>
                  </a:lnTo>
                  <a:lnTo>
                    <a:pt x="846" y="445"/>
                  </a:lnTo>
                  <a:lnTo>
                    <a:pt x="848" y="447"/>
                  </a:lnTo>
                  <a:lnTo>
                    <a:pt x="848" y="450"/>
                  </a:lnTo>
                  <a:lnTo>
                    <a:pt x="848" y="452"/>
                  </a:lnTo>
                  <a:lnTo>
                    <a:pt x="846" y="455"/>
                  </a:lnTo>
                  <a:lnTo>
                    <a:pt x="846" y="457"/>
                  </a:lnTo>
                  <a:lnTo>
                    <a:pt x="846" y="459"/>
                  </a:lnTo>
                  <a:lnTo>
                    <a:pt x="848" y="455"/>
                  </a:lnTo>
                  <a:lnTo>
                    <a:pt x="852" y="455"/>
                  </a:lnTo>
                  <a:lnTo>
                    <a:pt x="853" y="452"/>
                  </a:lnTo>
                  <a:lnTo>
                    <a:pt x="855" y="452"/>
                  </a:lnTo>
                  <a:lnTo>
                    <a:pt x="853" y="455"/>
                  </a:lnTo>
                  <a:lnTo>
                    <a:pt x="853" y="459"/>
                  </a:lnTo>
                  <a:lnTo>
                    <a:pt x="852" y="464"/>
                  </a:lnTo>
                  <a:lnTo>
                    <a:pt x="852" y="467"/>
                  </a:lnTo>
                  <a:lnTo>
                    <a:pt x="846" y="471"/>
                  </a:lnTo>
                  <a:lnTo>
                    <a:pt x="843" y="471"/>
                  </a:lnTo>
                  <a:lnTo>
                    <a:pt x="843" y="473"/>
                  </a:lnTo>
                  <a:lnTo>
                    <a:pt x="843" y="474"/>
                  </a:lnTo>
                  <a:lnTo>
                    <a:pt x="843" y="478"/>
                  </a:lnTo>
                  <a:lnTo>
                    <a:pt x="841" y="478"/>
                  </a:lnTo>
                  <a:lnTo>
                    <a:pt x="841" y="478"/>
                  </a:lnTo>
                  <a:lnTo>
                    <a:pt x="838" y="478"/>
                  </a:lnTo>
                  <a:lnTo>
                    <a:pt x="838" y="480"/>
                  </a:lnTo>
                  <a:lnTo>
                    <a:pt x="843" y="483"/>
                  </a:lnTo>
                  <a:lnTo>
                    <a:pt x="841" y="485"/>
                  </a:lnTo>
                  <a:lnTo>
                    <a:pt x="838" y="485"/>
                  </a:lnTo>
                  <a:lnTo>
                    <a:pt x="841" y="488"/>
                  </a:lnTo>
                  <a:lnTo>
                    <a:pt x="836" y="492"/>
                  </a:lnTo>
                  <a:lnTo>
                    <a:pt x="834" y="490"/>
                  </a:lnTo>
                  <a:lnTo>
                    <a:pt x="833" y="492"/>
                  </a:lnTo>
                  <a:lnTo>
                    <a:pt x="829" y="492"/>
                  </a:lnTo>
                  <a:lnTo>
                    <a:pt x="826" y="493"/>
                  </a:lnTo>
                  <a:lnTo>
                    <a:pt x="826" y="497"/>
                  </a:lnTo>
                  <a:lnTo>
                    <a:pt x="820" y="497"/>
                  </a:lnTo>
                  <a:lnTo>
                    <a:pt x="817" y="495"/>
                  </a:lnTo>
                  <a:lnTo>
                    <a:pt x="813" y="497"/>
                  </a:lnTo>
                  <a:lnTo>
                    <a:pt x="812" y="495"/>
                  </a:lnTo>
                  <a:lnTo>
                    <a:pt x="810" y="488"/>
                  </a:lnTo>
                  <a:lnTo>
                    <a:pt x="813" y="485"/>
                  </a:lnTo>
                  <a:lnTo>
                    <a:pt x="813" y="481"/>
                  </a:lnTo>
                  <a:lnTo>
                    <a:pt x="808" y="488"/>
                  </a:lnTo>
                  <a:lnTo>
                    <a:pt x="807" y="492"/>
                  </a:lnTo>
                  <a:lnTo>
                    <a:pt x="810" y="497"/>
                  </a:lnTo>
                  <a:lnTo>
                    <a:pt x="812" y="500"/>
                  </a:lnTo>
                  <a:lnTo>
                    <a:pt x="810" y="502"/>
                  </a:lnTo>
                  <a:lnTo>
                    <a:pt x="807" y="506"/>
                  </a:lnTo>
                  <a:lnTo>
                    <a:pt x="805" y="509"/>
                  </a:lnTo>
                  <a:lnTo>
                    <a:pt x="805" y="509"/>
                  </a:lnTo>
                  <a:lnTo>
                    <a:pt x="801" y="509"/>
                  </a:lnTo>
                  <a:lnTo>
                    <a:pt x="801" y="509"/>
                  </a:lnTo>
                  <a:lnTo>
                    <a:pt x="801" y="509"/>
                  </a:lnTo>
                  <a:lnTo>
                    <a:pt x="801" y="509"/>
                  </a:lnTo>
                  <a:close/>
                  <a:moveTo>
                    <a:pt x="857" y="429"/>
                  </a:moveTo>
                  <a:lnTo>
                    <a:pt x="857" y="431"/>
                  </a:lnTo>
                  <a:lnTo>
                    <a:pt x="859" y="431"/>
                  </a:lnTo>
                  <a:lnTo>
                    <a:pt x="860" y="429"/>
                  </a:lnTo>
                  <a:lnTo>
                    <a:pt x="857" y="429"/>
                  </a:lnTo>
                  <a:lnTo>
                    <a:pt x="857" y="429"/>
                  </a:lnTo>
                  <a:lnTo>
                    <a:pt x="857" y="429"/>
                  </a:lnTo>
                  <a:lnTo>
                    <a:pt x="857" y="429"/>
                  </a:lnTo>
                  <a:close/>
                  <a:moveTo>
                    <a:pt x="855" y="445"/>
                  </a:moveTo>
                  <a:lnTo>
                    <a:pt x="857" y="445"/>
                  </a:lnTo>
                  <a:lnTo>
                    <a:pt x="860" y="440"/>
                  </a:lnTo>
                  <a:lnTo>
                    <a:pt x="860" y="438"/>
                  </a:lnTo>
                  <a:lnTo>
                    <a:pt x="859" y="436"/>
                  </a:lnTo>
                  <a:lnTo>
                    <a:pt x="859" y="433"/>
                  </a:lnTo>
                  <a:lnTo>
                    <a:pt x="855" y="434"/>
                  </a:lnTo>
                  <a:lnTo>
                    <a:pt x="855" y="438"/>
                  </a:lnTo>
                  <a:lnTo>
                    <a:pt x="853" y="438"/>
                  </a:lnTo>
                  <a:lnTo>
                    <a:pt x="853" y="443"/>
                  </a:lnTo>
                  <a:lnTo>
                    <a:pt x="855" y="445"/>
                  </a:lnTo>
                  <a:lnTo>
                    <a:pt x="855" y="445"/>
                  </a:lnTo>
                  <a:lnTo>
                    <a:pt x="855" y="445"/>
                  </a:lnTo>
                  <a:lnTo>
                    <a:pt x="855" y="445"/>
                  </a:lnTo>
                  <a:close/>
                  <a:moveTo>
                    <a:pt x="853" y="450"/>
                  </a:moveTo>
                  <a:lnTo>
                    <a:pt x="855" y="450"/>
                  </a:lnTo>
                  <a:lnTo>
                    <a:pt x="855" y="447"/>
                  </a:lnTo>
                  <a:lnTo>
                    <a:pt x="853" y="447"/>
                  </a:lnTo>
                  <a:lnTo>
                    <a:pt x="852" y="447"/>
                  </a:lnTo>
                  <a:lnTo>
                    <a:pt x="852" y="450"/>
                  </a:lnTo>
                  <a:lnTo>
                    <a:pt x="853" y="450"/>
                  </a:lnTo>
                  <a:lnTo>
                    <a:pt x="853" y="450"/>
                  </a:lnTo>
                  <a:lnTo>
                    <a:pt x="853" y="450"/>
                  </a:lnTo>
                  <a:lnTo>
                    <a:pt x="853" y="450"/>
                  </a:lnTo>
                  <a:close/>
                  <a:moveTo>
                    <a:pt x="725" y="379"/>
                  </a:moveTo>
                  <a:lnTo>
                    <a:pt x="725" y="380"/>
                  </a:lnTo>
                  <a:lnTo>
                    <a:pt x="725" y="380"/>
                  </a:lnTo>
                  <a:lnTo>
                    <a:pt x="727" y="380"/>
                  </a:lnTo>
                  <a:lnTo>
                    <a:pt x="728" y="382"/>
                  </a:lnTo>
                  <a:lnTo>
                    <a:pt x="730" y="380"/>
                  </a:lnTo>
                  <a:lnTo>
                    <a:pt x="728" y="379"/>
                  </a:lnTo>
                  <a:lnTo>
                    <a:pt x="725" y="377"/>
                  </a:lnTo>
                  <a:lnTo>
                    <a:pt x="725" y="379"/>
                  </a:lnTo>
                  <a:lnTo>
                    <a:pt x="725" y="379"/>
                  </a:lnTo>
                  <a:lnTo>
                    <a:pt x="725" y="379"/>
                  </a:lnTo>
                  <a:lnTo>
                    <a:pt x="725" y="379"/>
                  </a:lnTo>
                  <a:close/>
                  <a:moveTo>
                    <a:pt x="744" y="422"/>
                  </a:moveTo>
                  <a:lnTo>
                    <a:pt x="744" y="419"/>
                  </a:lnTo>
                  <a:lnTo>
                    <a:pt x="742" y="412"/>
                  </a:lnTo>
                  <a:lnTo>
                    <a:pt x="739" y="407"/>
                  </a:lnTo>
                  <a:lnTo>
                    <a:pt x="739" y="405"/>
                  </a:lnTo>
                  <a:lnTo>
                    <a:pt x="742" y="403"/>
                  </a:lnTo>
                  <a:lnTo>
                    <a:pt x="739" y="398"/>
                  </a:lnTo>
                  <a:lnTo>
                    <a:pt x="739" y="396"/>
                  </a:lnTo>
                  <a:lnTo>
                    <a:pt x="737" y="391"/>
                  </a:lnTo>
                  <a:lnTo>
                    <a:pt x="734" y="387"/>
                  </a:lnTo>
                  <a:lnTo>
                    <a:pt x="735" y="387"/>
                  </a:lnTo>
                  <a:lnTo>
                    <a:pt x="739" y="382"/>
                  </a:lnTo>
                  <a:lnTo>
                    <a:pt x="742" y="380"/>
                  </a:lnTo>
                  <a:lnTo>
                    <a:pt x="744" y="379"/>
                  </a:lnTo>
                  <a:lnTo>
                    <a:pt x="749" y="377"/>
                  </a:lnTo>
                  <a:lnTo>
                    <a:pt x="753" y="380"/>
                  </a:lnTo>
                  <a:lnTo>
                    <a:pt x="754" y="380"/>
                  </a:lnTo>
                  <a:lnTo>
                    <a:pt x="758" y="382"/>
                  </a:lnTo>
                  <a:lnTo>
                    <a:pt x="760" y="380"/>
                  </a:lnTo>
                  <a:lnTo>
                    <a:pt x="763" y="382"/>
                  </a:lnTo>
                  <a:lnTo>
                    <a:pt x="765" y="382"/>
                  </a:lnTo>
                  <a:lnTo>
                    <a:pt x="767" y="382"/>
                  </a:lnTo>
                  <a:lnTo>
                    <a:pt x="770" y="387"/>
                  </a:lnTo>
                  <a:lnTo>
                    <a:pt x="770" y="387"/>
                  </a:lnTo>
                  <a:lnTo>
                    <a:pt x="770" y="391"/>
                  </a:lnTo>
                  <a:lnTo>
                    <a:pt x="770" y="393"/>
                  </a:lnTo>
                  <a:lnTo>
                    <a:pt x="770" y="396"/>
                  </a:lnTo>
                  <a:lnTo>
                    <a:pt x="770" y="396"/>
                  </a:lnTo>
                  <a:lnTo>
                    <a:pt x="770" y="400"/>
                  </a:lnTo>
                  <a:lnTo>
                    <a:pt x="767" y="403"/>
                  </a:lnTo>
                  <a:lnTo>
                    <a:pt x="765" y="403"/>
                  </a:lnTo>
                  <a:lnTo>
                    <a:pt x="760" y="408"/>
                  </a:lnTo>
                  <a:lnTo>
                    <a:pt x="754" y="412"/>
                  </a:lnTo>
                  <a:lnTo>
                    <a:pt x="751" y="415"/>
                  </a:lnTo>
                  <a:lnTo>
                    <a:pt x="747" y="415"/>
                  </a:lnTo>
                  <a:lnTo>
                    <a:pt x="747" y="419"/>
                  </a:lnTo>
                  <a:lnTo>
                    <a:pt x="747" y="419"/>
                  </a:lnTo>
                  <a:lnTo>
                    <a:pt x="744" y="422"/>
                  </a:lnTo>
                  <a:lnTo>
                    <a:pt x="744" y="422"/>
                  </a:lnTo>
                  <a:lnTo>
                    <a:pt x="744" y="422"/>
                  </a:lnTo>
                  <a:lnTo>
                    <a:pt x="744" y="422"/>
                  </a:lnTo>
                  <a:close/>
                  <a:moveTo>
                    <a:pt x="867" y="492"/>
                  </a:moveTo>
                  <a:lnTo>
                    <a:pt x="862" y="487"/>
                  </a:lnTo>
                  <a:lnTo>
                    <a:pt x="860" y="488"/>
                  </a:lnTo>
                  <a:lnTo>
                    <a:pt x="853" y="487"/>
                  </a:lnTo>
                  <a:lnTo>
                    <a:pt x="855" y="483"/>
                  </a:lnTo>
                  <a:lnTo>
                    <a:pt x="859" y="481"/>
                  </a:lnTo>
                  <a:lnTo>
                    <a:pt x="860" y="483"/>
                  </a:lnTo>
                  <a:lnTo>
                    <a:pt x="862" y="481"/>
                  </a:lnTo>
                  <a:lnTo>
                    <a:pt x="862" y="480"/>
                  </a:lnTo>
                  <a:lnTo>
                    <a:pt x="859" y="480"/>
                  </a:lnTo>
                  <a:lnTo>
                    <a:pt x="857" y="478"/>
                  </a:lnTo>
                  <a:lnTo>
                    <a:pt x="862" y="474"/>
                  </a:lnTo>
                  <a:lnTo>
                    <a:pt x="864" y="467"/>
                  </a:lnTo>
                  <a:lnTo>
                    <a:pt x="864" y="466"/>
                  </a:lnTo>
                  <a:lnTo>
                    <a:pt x="866" y="464"/>
                  </a:lnTo>
                  <a:lnTo>
                    <a:pt x="866" y="462"/>
                  </a:lnTo>
                  <a:lnTo>
                    <a:pt x="862" y="459"/>
                  </a:lnTo>
                  <a:lnTo>
                    <a:pt x="864" y="457"/>
                  </a:lnTo>
                  <a:lnTo>
                    <a:pt x="864" y="455"/>
                  </a:lnTo>
                  <a:lnTo>
                    <a:pt x="867" y="447"/>
                  </a:lnTo>
                  <a:lnTo>
                    <a:pt x="871" y="445"/>
                  </a:lnTo>
                  <a:lnTo>
                    <a:pt x="871" y="443"/>
                  </a:lnTo>
                  <a:lnTo>
                    <a:pt x="871" y="440"/>
                  </a:lnTo>
                  <a:lnTo>
                    <a:pt x="874" y="436"/>
                  </a:lnTo>
                  <a:lnTo>
                    <a:pt x="874" y="434"/>
                  </a:lnTo>
                  <a:lnTo>
                    <a:pt x="874" y="429"/>
                  </a:lnTo>
                  <a:lnTo>
                    <a:pt x="879" y="427"/>
                  </a:lnTo>
                  <a:lnTo>
                    <a:pt x="881" y="422"/>
                  </a:lnTo>
                  <a:lnTo>
                    <a:pt x="883" y="419"/>
                  </a:lnTo>
                  <a:lnTo>
                    <a:pt x="885" y="419"/>
                  </a:lnTo>
                  <a:lnTo>
                    <a:pt x="883" y="415"/>
                  </a:lnTo>
                  <a:lnTo>
                    <a:pt x="886" y="413"/>
                  </a:lnTo>
                  <a:lnTo>
                    <a:pt x="888" y="413"/>
                  </a:lnTo>
                  <a:lnTo>
                    <a:pt x="892" y="419"/>
                  </a:lnTo>
                  <a:lnTo>
                    <a:pt x="892" y="422"/>
                  </a:lnTo>
                  <a:lnTo>
                    <a:pt x="893" y="422"/>
                  </a:lnTo>
                  <a:lnTo>
                    <a:pt x="893" y="419"/>
                  </a:lnTo>
                  <a:lnTo>
                    <a:pt x="892" y="415"/>
                  </a:lnTo>
                  <a:lnTo>
                    <a:pt x="893" y="413"/>
                  </a:lnTo>
                  <a:lnTo>
                    <a:pt x="893" y="412"/>
                  </a:lnTo>
                  <a:lnTo>
                    <a:pt x="892" y="408"/>
                  </a:lnTo>
                  <a:lnTo>
                    <a:pt x="893" y="403"/>
                  </a:lnTo>
                  <a:lnTo>
                    <a:pt x="902" y="401"/>
                  </a:lnTo>
                  <a:lnTo>
                    <a:pt x="907" y="401"/>
                  </a:lnTo>
                  <a:lnTo>
                    <a:pt x="911" y="401"/>
                  </a:lnTo>
                  <a:lnTo>
                    <a:pt x="913" y="403"/>
                  </a:lnTo>
                  <a:lnTo>
                    <a:pt x="916" y="401"/>
                  </a:lnTo>
                  <a:lnTo>
                    <a:pt x="916" y="405"/>
                  </a:lnTo>
                  <a:lnTo>
                    <a:pt x="919" y="403"/>
                  </a:lnTo>
                  <a:lnTo>
                    <a:pt x="921" y="403"/>
                  </a:lnTo>
                  <a:lnTo>
                    <a:pt x="925" y="407"/>
                  </a:lnTo>
                  <a:lnTo>
                    <a:pt x="928" y="408"/>
                  </a:lnTo>
                  <a:lnTo>
                    <a:pt x="928" y="408"/>
                  </a:lnTo>
                  <a:lnTo>
                    <a:pt x="930" y="408"/>
                  </a:lnTo>
                  <a:lnTo>
                    <a:pt x="932" y="412"/>
                  </a:lnTo>
                  <a:lnTo>
                    <a:pt x="932" y="415"/>
                  </a:lnTo>
                  <a:lnTo>
                    <a:pt x="933" y="415"/>
                  </a:lnTo>
                  <a:lnTo>
                    <a:pt x="935" y="415"/>
                  </a:lnTo>
                  <a:lnTo>
                    <a:pt x="940" y="415"/>
                  </a:lnTo>
                  <a:lnTo>
                    <a:pt x="947" y="415"/>
                  </a:lnTo>
                  <a:lnTo>
                    <a:pt x="952" y="419"/>
                  </a:lnTo>
                  <a:lnTo>
                    <a:pt x="952" y="422"/>
                  </a:lnTo>
                  <a:lnTo>
                    <a:pt x="954" y="424"/>
                  </a:lnTo>
                  <a:lnTo>
                    <a:pt x="956" y="427"/>
                  </a:lnTo>
                  <a:lnTo>
                    <a:pt x="954" y="424"/>
                  </a:lnTo>
                  <a:lnTo>
                    <a:pt x="952" y="424"/>
                  </a:lnTo>
                  <a:lnTo>
                    <a:pt x="951" y="429"/>
                  </a:lnTo>
                  <a:lnTo>
                    <a:pt x="947" y="433"/>
                  </a:lnTo>
                  <a:lnTo>
                    <a:pt x="944" y="438"/>
                  </a:lnTo>
                  <a:lnTo>
                    <a:pt x="940" y="438"/>
                  </a:lnTo>
                  <a:lnTo>
                    <a:pt x="940" y="440"/>
                  </a:lnTo>
                  <a:lnTo>
                    <a:pt x="933" y="445"/>
                  </a:lnTo>
                  <a:lnTo>
                    <a:pt x="930" y="450"/>
                  </a:lnTo>
                  <a:lnTo>
                    <a:pt x="928" y="450"/>
                  </a:lnTo>
                  <a:lnTo>
                    <a:pt x="925" y="450"/>
                  </a:lnTo>
                  <a:lnTo>
                    <a:pt x="928" y="452"/>
                  </a:lnTo>
                  <a:lnTo>
                    <a:pt x="925" y="455"/>
                  </a:lnTo>
                  <a:lnTo>
                    <a:pt x="921" y="459"/>
                  </a:lnTo>
                  <a:lnTo>
                    <a:pt x="916" y="462"/>
                  </a:lnTo>
                  <a:lnTo>
                    <a:pt x="909" y="467"/>
                  </a:lnTo>
                  <a:lnTo>
                    <a:pt x="906" y="469"/>
                  </a:lnTo>
                  <a:lnTo>
                    <a:pt x="906" y="467"/>
                  </a:lnTo>
                  <a:lnTo>
                    <a:pt x="902" y="467"/>
                  </a:lnTo>
                  <a:lnTo>
                    <a:pt x="900" y="467"/>
                  </a:lnTo>
                  <a:lnTo>
                    <a:pt x="897" y="462"/>
                  </a:lnTo>
                  <a:lnTo>
                    <a:pt x="897" y="460"/>
                  </a:lnTo>
                  <a:lnTo>
                    <a:pt x="893" y="459"/>
                  </a:lnTo>
                  <a:lnTo>
                    <a:pt x="892" y="460"/>
                  </a:lnTo>
                  <a:lnTo>
                    <a:pt x="888" y="459"/>
                  </a:lnTo>
                  <a:lnTo>
                    <a:pt x="885" y="459"/>
                  </a:lnTo>
                  <a:lnTo>
                    <a:pt x="883" y="459"/>
                  </a:lnTo>
                  <a:lnTo>
                    <a:pt x="879" y="459"/>
                  </a:lnTo>
                  <a:lnTo>
                    <a:pt x="879" y="460"/>
                  </a:lnTo>
                  <a:lnTo>
                    <a:pt x="881" y="462"/>
                  </a:lnTo>
                  <a:lnTo>
                    <a:pt x="888" y="462"/>
                  </a:lnTo>
                  <a:lnTo>
                    <a:pt x="886" y="464"/>
                  </a:lnTo>
                  <a:lnTo>
                    <a:pt x="885" y="467"/>
                  </a:lnTo>
                  <a:lnTo>
                    <a:pt x="886" y="469"/>
                  </a:lnTo>
                  <a:lnTo>
                    <a:pt x="886" y="473"/>
                  </a:lnTo>
                  <a:lnTo>
                    <a:pt x="885" y="474"/>
                  </a:lnTo>
                  <a:lnTo>
                    <a:pt x="883" y="478"/>
                  </a:lnTo>
                  <a:lnTo>
                    <a:pt x="879" y="480"/>
                  </a:lnTo>
                  <a:lnTo>
                    <a:pt x="876" y="478"/>
                  </a:lnTo>
                  <a:lnTo>
                    <a:pt x="874" y="481"/>
                  </a:lnTo>
                  <a:lnTo>
                    <a:pt x="874" y="485"/>
                  </a:lnTo>
                  <a:lnTo>
                    <a:pt x="871" y="487"/>
                  </a:lnTo>
                  <a:lnTo>
                    <a:pt x="869" y="487"/>
                  </a:lnTo>
                  <a:lnTo>
                    <a:pt x="869" y="490"/>
                  </a:lnTo>
                  <a:lnTo>
                    <a:pt x="869" y="490"/>
                  </a:lnTo>
                  <a:lnTo>
                    <a:pt x="867" y="492"/>
                  </a:lnTo>
                  <a:lnTo>
                    <a:pt x="867" y="492"/>
                  </a:lnTo>
                  <a:lnTo>
                    <a:pt x="867" y="492"/>
                  </a:lnTo>
                  <a:lnTo>
                    <a:pt x="867" y="492"/>
                  </a:lnTo>
                  <a:close/>
                  <a:moveTo>
                    <a:pt x="1078" y="506"/>
                  </a:moveTo>
                  <a:lnTo>
                    <a:pt x="1071" y="502"/>
                  </a:lnTo>
                  <a:lnTo>
                    <a:pt x="1069" y="502"/>
                  </a:lnTo>
                  <a:lnTo>
                    <a:pt x="1067" y="497"/>
                  </a:lnTo>
                  <a:lnTo>
                    <a:pt x="1065" y="497"/>
                  </a:lnTo>
                  <a:lnTo>
                    <a:pt x="1064" y="493"/>
                  </a:lnTo>
                  <a:lnTo>
                    <a:pt x="1065" y="490"/>
                  </a:lnTo>
                  <a:lnTo>
                    <a:pt x="1069" y="487"/>
                  </a:lnTo>
                  <a:lnTo>
                    <a:pt x="1069" y="485"/>
                  </a:lnTo>
                  <a:lnTo>
                    <a:pt x="1071" y="481"/>
                  </a:lnTo>
                  <a:lnTo>
                    <a:pt x="1069" y="480"/>
                  </a:lnTo>
                  <a:lnTo>
                    <a:pt x="1065" y="478"/>
                  </a:lnTo>
                  <a:lnTo>
                    <a:pt x="1064" y="478"/>
                  </a:lnTo>
                  <a:lnTo>
                    <a:pt x="1065" y="469"/>
                  </a:lnTo>
                  <a:lnTo>
                    <a:pt x="1069" y="471"/>
                  </a:lnTo>
                  <a:lnTo>
                    <a:pt x="1069" y="467"/>
                  </a:lnTo>
                  <a:lnTo>
                    <a:pt x="1069" y="464"/>
                  </a:lnTo>
                  <a:lnTo>
                    <a:pt x="1071" y="462"/>
                  </a:lnTo>
                  <a:lnTo>
                    <a:pt x="1071" y="457"/>
                  </a:lnTo>
                  <a:lnTo>
                    <a:pt x="1074" y="455"/>
                  </a:lnTo>
                  <a:lnTo>
                    <a:pt x="1078" y="459"/>
                  </a:lnTo>
                  <a:lnTo>
                    <a:pt x="1078" y="460"/>
                  </a:lnTo>
                  <a:lnTo>
                    <a:pt x="1085" y="464"/>
                  </a:lnTo>
                  <a:lnTo>
                    <a:pt x="1086" y="466"/>
                  </a:lnTo>
                  <a:lnTo>
                    <a:pt x="1090" y="467"/>
                  </a:lnTo>
                  <a:lnTo>
                    <a:pt x="1091" y="466"/>
                  </a:lnTo>
                  <a:lnTo>
                    <a:pt x="1097" y="467"/>
                  </a:lnTo>
                  <a:lnTo>
                    <a:pt x="1102" y="467"/>
                  </a:lnTo>
                  <a:lnTo>
                    <a:pt x="1105" y="469"/>
                  </a:lnTo>
                  <a:lnTo>
                    <a:pt x="1105" y="473"/>
                  </a:lnTo>
                  <a:lnTo>
                    <a:pt x="1111" y="474"/>
                  </a:lnTo>
                  <a:lnTo>
                    <a:pt x="1112" y="478"/>
                  </a:lnTo>
                  <a:lnTo>
                    <a:pt x="1111" y="481"/>
                  </a:lnTo>
                  <a:lnTo>
                    <a:pt x="1111" y="485"/>
                  </a:lnTo>
                  <a:lnTo>
                    <a:pt x="1114" y="487"/>
                  </a:lnTo>
                  <a:lnTo>
                    <a:pt x="1112" y="488"/>
                  </a:lnTo>
                  <a:lnTo>
                    <a:pt x="1114" y="492"/>
                  </a:lnTo>
                  <a:lnTo>
                    <a:pt x="1114" y="493"/>
                  </a:lnTo>
                  <a:lnTo>
                    <a:pt x="1116" y="497"/>
                  </a:lnTo>
                  <a:lnTo>
                    <a:pt x="1114" y="500"/>
                  </a:lnTo>
                  <a:lnTo>
                    <a:pt x="1112" y="502"/>
                  </a:lnTo>
                  <a:lnTo>
                    <a:pt x="1118" y="502"/>
                  </a:lnTo>
                  <a:lnTo>
                    <a:pt x="1118" y="506"/>
                  </a:lnTo>
                  <a:lnTo>
                    <a:pt x="1116" y="506"/>
                  </a:lnTo>
                  <a:lnTo>
                    <a:pt x="1114" y="509"/>
                  </a:lnTo>
                  <a:lnTo>
                    <a:pt x="1107" y="506"/>
                  </a:lnTo>
                  <a:lnTo>
                    <a:pt x="1105" y="506"/>
                  </a:lnTo>
                  <a:lnTo>
                    <a:pt x="1102" y="506"/>
                  </a:lnTo>
                  <a:lnTo>
                    <a:pt x="1097" y="502"/>
                  </a:lnTo>
                  <a:lnTo>
                    <a:pt x="1093" y="502"/>
                  </a:lnTo>
                  <a:lnTo>
                    <a:pt x="1093" y="502"/>
                  </a:lnTo>
                  <a:lnTo>
                    <a:pt x="1090" y="500"/>
                  </a:lnTo>
                  <a:lnTo>
                    <a:pt x="1085" y="502"/>
                  </a:lnTo>
                  <a:lnTo>
                    <a:pt x="1083" y="502"/>
                  </a:lnTo>
                  <a:lnTo>
                    <a:pt x="1078" y="506"/>
                  </a:lnTo>
                  <a:lnTo>
                    <a:pt x="1078" y="506"/>
                  </a:lnTo>
                  <a:lnTo>
                    <a:pt x="1078" y="506"/>
                  </a:lnTo>
                  <a:lnTo>
                    <a:pt x="1078" y="506"/>
                  </a:lnTo>
                  <a:lnTo>
                    <a:pt x="1078" y="506"/>
                  </a:lnTo>
                  <a:close/>
                  <a:moveTo>
                    <a:pt x="1057" y="511"/>
                  </a:moveTo>
                  <a:lnTo>
                    <a:pt x="1057" y="509"/>
                  </a:lnTo>
                  <a:lnTo>
                    <a:pt x="1058" y="506"/>
                  </a:lnTo>
                  <a:lnTo>
                    <a:pt x="1058" y="506"/>
                  </a:lnTo>
                  <a:lnTo>
                    <a:pt x="1058" y="509"/>
                  </a:lnTo>
                  <a:lnTo>
                    <a:pt x="1057" y="511"/>
                  </a:lnTo>
                  <a:lnTo>
                    <a:pt x="1057" y="511"/>
                  </a:lnTo>
                  <a:lnTo>
                    <a:pt x="1057" y="511"/>
                  </a:lnTo>
                  <a:lnTo>
                    <a:pt x="1057" y="511"/>
                  </a:lnTo>
                  <a:close/>
                  <a:moveTo>
                    <a:pt x="1062" y="514"/>
                  </a:moveTo>
                  <a:lnTo>
                    <a:pt x="1060" y="511"/>
                  </a:lnTo>
                  <a:lnTo>
                    <a:pt x="1062" y="509"/>
                  </a:lnTo>
                  <a:lnTo>
                    <a:pt x="1064" y="511"/>
                  </a:lnTo>
                  <a:lnTo>
                    <a:pt x="1064" y="513"/>
                  </a:lnTo>
                  <a:lnTo>
                    <a:pt x="1062" y="514"/>
                  </a:lnTo>
                  <a:lnTo>
                    <a:pt x="1062" y="514"/>
                  </a:lnTo>
                  <a:lnTo>
                    <a:pt x="1062" y="514"/>
                  </a:lnTo>
                  <a:lnTo>
                    <a:pt x="1062" y="514"/>
                  </a:lnTo>
                  <a:close/>
                  <a:moveTo>
                    <a:pt x="1071" y="514"/>
                  </a:moveTo>
                  <a:lnTo>
                    <a:pt x="1069" y="513"/>
                  </a:lnTo>
                  <a:lnTo>
                    <a:pt x="1069" y="511"/>
                  </a:lnTo>
                  <a:lnTo>
                    <a:pt x="1071" y="511"/>
                  </a:lnTo>
                  <a:lnTo>
                    <a:pt x="1071" y="513"/>
                  </a:lnTo>
                  <a:lnTo>
                    <a:pt x="1071" y="514"/>
                  </a:lnTo>
                  <a:lnTo>
                    <a:pt x="1071" y="514"/>
                  </a:lnTo>
                  <a:lnTo>
                    <a:pt x="1071" y="514"/>
                  </a:lnTo>
                  <a:lnTo>
                    <a:pt x="1071" y="514"/>
                  </a:lnTo>
                  <a:close/>
                  <a:moveTo>
                    <a:pt x="860" y="587"/>
                  </a:moveTo>
                  <a:lnTo>
                    <a:pt x="859" y="584"/>
                  </a:lnTo>
                  <a:lnTo>
                    <a:pt x="860" y="584"/>
                  </a:lnTo>
                  <a:lnTo>
                    <a:pt x="862" y="584"/>
                  </a:lnTo>
                  <a:lnTo>
                    <a:pt x="864" y="584"/>
                  </a:lnTo>
                  <a:lnTo>
                    <a:pt x="864" y="584"/>
                  </a:lnTo>
                  <a:lnTo>
                    <a:pt x="862" y="587"/>
                  </a:lnTo>
                  <a:lnTo>
                    <a:pt x="860" y="587"/>
                  </a:lnTo>
                  <a:lnTo>
                    <a:pt x="860" y="587"/>
                  </a:lnTo>
                  <a:lnTo>
                    <a:pt x="860" y="587"/>
                  </a:lnTo>
                  <a:lnTo>
                    <a:pt x="860" y="587"/>
                  </a:lnTo>
                  <a:close/>
                  <a:moveTo>
                    <a:pt x="871" y="603"/>
                  </a:moveTo>
                  <a:lnTo>
                    <a:pt x="871" y="608"/>
                  </a:lnTo>
                  <a:lnTo>
                    <a:pt x="871" y="606"/>
                  </a:lnTo>
                  <a:lnTo>
                    <a:pt x="874" y="606"/>
                  </a:lnTo>
                  <a:lnTo>
                    <a:pt x="874" y="603"/>
                  </a:lnTo>
                  <a:lnTo>
                    <a:pt x="871" y="601"/>
                  </a:lnTo>
                  <a:lnTo>
                    <a:pt x="871" y="603"/>
                  </a:lnTo>
                  <a:lnTo>
                    <a:pt x="871" y="603"/>
                  </a:lnTo>
                  <a:lnTo>
                    <a:pt x="871" y="603"/>
                  </a:lnTo>
                  <a:lnTo>
                    <a:pt x="871" y="603"/>
                  </a:lnTo>
                  <a:close/>
                  <a:moveTo>
                    <a:pt x="867" y="605"/>
                  </a:moveTo>
                  <a:lnTo>
                    <a:pt x="866" y="606"/>
                  </a:lnTo>
                  <a:lnTo>
                    <a:pt x="867" y="608"/>
                  </a:lnTo>
                  <a:lnTo>
                    <a:pt x="867" y="610"/>
                  </a:lnTo>
                  <a:lnTo>
                    <a:pt x="869" y="612"/>
                  </a:lnTo>
                  <a:lnTo>
                    <a:pt x="869" y="610"/>
                  </a:lnTo>
                  <a:lnTo>
                    <a:pt x="869" y="605"/>
                  </a:lnTo>
                  <a:lnTo>
                    <a:pt x="869" y="603"/>
                  </a:lnTo>
                  <a:lnTo>
                    <a:pt x="867" y="605"/>
                  </a:lnTo>
                  <a:lnTo>
                    <a:pt x="867" y="605"/>
                  </a:lnTo>
                  <a:lnTo>
                    <a:pt x="867" y="605"/>
                  </a:lnTo>
                  <a:lnTo>
                    <a:pt x="867" y="605"/>
                  </a:lnTo>
                  <a:close/>
                  <a:moveTo>
                    <a:pt x="932" y="591"/>
                  </a:moveTo>
                  <a:lnTo>
                    <a:pt x="932" y="589"/>
                  </a:lnTo>
                  <a:lnTo>
                    <a:pt x="928" y="589"/>
                  </a:lnTo>
                  <a:lnTo>
                    <a:pt x="928" y="587"/>
                  </a:lnTo>
                  <a:lnTo>
                    <a:pt x="928" y="589"/>
                  </a:lnTo>
                  <a:lnTo>
                    <a:pt x="925" y="589"/>
                  </a:lnTo>
                  <a:lnTo>
                    <a:pt x="925" y="587"/>
                  </a:lnTo>
                  <a:lnTo>
                    <a:pt x="921" y="584"/>
                  </a:lnTo>
                  <a:lnTo>
                    <a:pt x="928" y="584"/>
                  </a:lnTo>
                  <a:lnTo>
                    <a:pt x="928" y="584"/>
                  </a:lnTo>
                  <a:lnTo>
                    <a:pt x="930" y="584"/>
                  </a:lnTo>
                  <a:lnTo>
                    <a:pt x="932" y="587"/>
                  </a:lnTo>
                  <a:lnTo>
                    <a:pt x="935" y="587"/>
                  </a:lnTo>
                  <a:lnTo>
                    <a:pt x="935" y="589"/>
                  </a:lnTo>
                  <a:lnTo>
                    <a:pt x="935" y="591"/>
                  </a:lnTo>
                  <a:lnTo>
                    <a:pt x="935" y="591"/>
                  </a:lnTo>
                  <a:lnTo>
                    <a:pt x="932" y="591"/>
                  </a:lnTo>
                  <a:lnTo>
                    <a:pt x="932" y="591"/>
                  </a:lnTo>
                  <a:lnTo>
                    <a:pt x="932" y="591"/>
                  </a:lnTo>
                  <a:lnTo>
                    <a:pt x="932" y="591"/>
                  </a:lnTo>
                  <a:close/>
                  <a:moveTo>
                    <a:pt x="970" y="606"/>
                  </a:moveTo>
                  <a:lnTo>
                    <a:pt x="968" y="606"/>
                  </a:lnTo>
                  <a:lnTo>
                    <a:pt x="966" y="603"/>
                  </a:lnTo>
                  <a:lnTo>
                    <a:pt x="968" y="605"/>
                  </a:lnTo>
                  <a:lnTo>
                    <a:pt x="970" y="605"/>
                  </a:lnTo>
                  <a:lnTo>
                    <a:pt x="970" y="606"/>
                  </a:lnTo>
                  <a:lnTo>
                    <a:pt x="970" y="606"/>
                  </a:lnTo>
                  <a:lnTo>
                    <a:pt x="970" y="606"/>
                  </a:lnTo>
                  <a:lnTo>
                    <a:pt x="970" y="606"/>
                  </a:lnTo>
                  <a:lnTo>
                    <a:pt x="970" y="606"/>
                  </a:lnTo>
                  <a:close/>
                  <a:moveTo>
                    <a:pt x="975" y="608"/>
                  </a:moveTo>
                  <a:lnTo>
                    <a:pt x="975" y="608"/>
                  </a:lnTo>
                  <a:lnTo>
                    <a:pt x="975" y="606"/>
                  </a:lnTo>
                  <a:lnTo>
                    <a:pt x="975" y="608"/>
                  </a:lnTo>
                  <a:lnTo>
                    <a:pt x="975" y="608"/>
                  </a:lnTo>
                  <a:lnTo>
                    <a:pt x="975" y="608"/>
                  </a:lnTo>
                  <a:lnTo>
                    <a:pt x="975" y="608"/>
                  </a:lnTo>
                  <a:close/>
                  <a:moveTo>
                    <a:pt x="979" y="610"/>
                  </a:moveTo>
                  <a:lnTo>
                    <a:pt x="980" y="610"/>
                  </a:lnTo>
                  <a:lnTo>
                    <a:pt x="982" y="612"/>
                  </a:lnTo>
                  <a:lnTo>
                    <a:pt x="984" y="612"/>
                  </a:lnTo>
                  <a:lnTo>
                    <a:pt x="984" y="610"/>
                  </a:lnTo>
                  <a:lnTo>
                    <a:pt x="982" y="608"/>
                  </a:lnTo>
                  <a:lnTo>
                    <a:pt x="980" y="606"/>
                  </a:lnTo>
                  <a:lnTo>
                    <a:pt x="979" y="606"/>
                  </a:lnTo>
                  <a:lnTo>
                    <a:pt x="979" y="608"/>
                  </a:lnTo>
                  <a:lnTo>
                    <a:pt x="979" y="610"/>
                  </a:lnTo>
                  <a:lnTo>
                    <a:pt x="979" y="610"/>
                  </a:lnTo>
                  <a:lnTo>
                    <a:pt x="979" y="610"/>
                  </a:lnTo>
                  <a:lnTo>
                    <a:pt x="979" y="610"/>
                  </a:lnTo>
                  <a:close/>
                  <a:moveTo>
                    <a:pt x="1018" y="662"/>
                  </a:moveTo>
                  <a:lnTo>
                    <a:pt x="1018" y="660"/>
                  </a:lnTo>
                  <a:lnTo>
                    <a:pt x="1020" y="659"/>
                  </a:lnTo>
                  <a:lnTo>
                    <a:pt x="1018" y="655"/>
                  </a:lnTo>
                  <a:lnTo>
                    <a:pt x="1020" y="657"/>
                  </a:lnTo>
                  <a:lnTo>
                    <a:pt x="1020" y="659"/>
                  </a:lnTo>
                  <a:lnTo>
                    <a:pt x="1020" y="660"/>
                  </a:lnTo>
                  <a:lnTo>
                    <a:pt x="1020" y="662"/>
                  </a:lnTo>
                  <a:lnTo>
                    <a:pt x="1018" y="662"/>
                  </a:lnTo>
                  <a:lnTo>
                    <a:pt x="1018" y="662"/>
                  </a:lnTo>
                  <a:lnTo>
                    <a:pt x="1018" y="662"/>
                  </a:lnTo>
                  <a:lnTo>
                    <a:pt x="1018" y="662"/>
                  </a:lnTo>
                  <a:close/>
                  <a:moveTo>
                    <a:pt x="1015" y="674"/>
                  </a:moveTo>
                  <a:lnTo>
                    <a:pt x="1013" y="669"/>
                  </a:lnTo>
                  <a:lnTo>
                    <a:pt x="1015" y="666"/>
                  </a:lnTo>
                  <a:lnTo>
                    <a:pt x="1017" y="666"/>
                  </a:lnTo>
                  <a:lnTo>
                    <a:pt x="1020" y="666"/>
                  </a:lnTo>
                  <a:lnTo>
                    <a:pt x="1020" y="671"/>
                  </a:lnTo>
                  <a:lnTo>
                    <a:pt x="1017" y="671"/>
                  </a:lnTo>
                  <a:lnTo>
                    <a:pt x="1017" y="671"/>
                  </a:lnTo>
                  <a:lnTo>
                    <a:pt x="1015" y="674"/>
                  </a:lnTo>
                  <a:lnTo>
                    <a:pt x="1015" y="674"/>
                  </a:lnTo>
                  <a:lnTo>
                    <a:pt x="1015" y="674"/>
                  </a:lnTo>
                  <a:lnTo>
                    <a:pt x="1015" y="674"/>
                  </a:lnTo>
                  <a:close/>
                  <a:moveTo>
                    <a:pt x="992" y="620"/>
                  </a:moveTo>
                  <a:lnTo>
                    <a:pt x="991" y="619"/>
                  </a:lnTo>
                  <a:lnTo>
                    <a:pt x="992" y="619"/>
                  </a:lnTo>
                  <a:lnTo>
                    <a:pt x="992" y="620"/>
                  </a:lnTo>
                  <a:lnTo>
                    <a:pt x="992" y="620"/>
                  </a:lnTo>
                  <a:lnTo>
                    <a:pt x="992" y="620"/>
                  </a:lnTo>
                  <a:lnTo>
                    <a:pt x="992" y="620"/>
                  </a:lnTo>
                  <a:close/>
                  <a:moveTo>
                    <a:pt x="987" y="624"/>
                  </a:moveTo>
                  <a:lnTo>
                    <a:pt x="985" y="619"/>
                  </a:lnTo>
                  <a:lnTo>
                    <a:pt x="987" y="619"/>
                  </a:lnTo>
                  <a:lnTo>
                    <a:pt x="987" y="620"/>
                  </a:lnTo>
                  <a:lnTo>
                    <a:pt x="987" y="624"/>
                  </a:lnTo>
                  <a:lnTo>
                    <a:pt x="987" y="624"/>
                  </a:lnTo>
                  <a:lnTo>
                    <a:pt x="987" y="624"/>
                  </a:lnTo>
                  <a:lnTo>
                    <a:pt x="987" y="624"/>
                  </a:lnTo>
                  <a:close/>
                  <a:moveTo>
                    <a:pt x="987" y="624"/>
                  </a:moveTo>
                  <a:lnTo>
                    <a:pt x="989" y="626"/>
                  </a:lnTo>
                  <a:lnTo>
                    <a:pt x="991" y="626"/>
                  </a:lnTo>
                  <a:lnTo>
                    <a:pt x="992" y="626"/>
                  </a:lnTo>
                  <a:lnTo>
                    <a:pt x="994" y="624"/>
                  </a:lnTo>
                  <a:lnTo>
                    <a:pt x="991" y="624"/>
                  </a:lnTo>
                  <a:lnTo>
                    <a:pt x="989" y="624"/>
                  </a:lnTo>
                  <a:lnTo>
                    <a:pt x="987" y="624"/>
                  </a:lnTo>
                  <a:lnTo>
                    <a:pt x="987" y="624"/>
                  </a:lnTo>
                  <a:lnTo>
                    <a:pt x="987" y="624"/>
                  </a:lnTo>
                  <a:lnTo>
                    <a:pt x="987" y="624"/>
                  </a:lnTo>
                  <a:close/>
                  <a:moveTo>
                    <a:pt x="1010" y="615"/>
                  </a:moveTo>
                  <a:lnTo>
                    <a:pt x="1012" y="615"/>
                  </a:lnTo>
                  <a:lnTo>
                    <a:pt x="1013" y="619"/>
                  </a:lnTo>
                  <a:lnTo>
                    <a:pt x="1013" y="619"/>
                  </a:lnTo>
                  <a:lnTo>
                    <a:pt x="1013" y="619"/>
                  </a:lnTo>
                  <a:lnTo>
                    <a:pt x="1015" y="620"/>
                  </a:lnTo>
                  <a:lnTo>
                    <a:pt x="1017" y="620"/>
                  </a:lnTo>
                  <a:lnTo>
                    <a:pt x="1017" y="619"/>
                  </a:lnTo>
                  <a:lnTo>
                    <a:pt x="1018" y="619"/>
                  </a:lnTo>
                  <a:lnTo>
                    <a:pt x="1020" y="619"/>
                  </a:lnTo>
                  <a:lnTo>
                    <a:pt x="1020" y="619"/>
                  </a:lnTo>
                  <a:lnTo>
                    <a:pt x="1024" y="619"/>
                  </a:lnTo>
                  <a:lnTo>
                    <a:pt x="1024" y="615"/>
                  </a:lnTo>
                  <a:lnTo>
                    <a:pt x="1018" y="615"/>
                  </a:lnTo>
                  <a:lnTo>
                    <a:pt x="1017" y="612"/>
                  </a:lnTo>
                  <a:lnTo>
                    <a:pt x="1013" y="612"/>
                  </a:lnTo>
                  <a:lnTo>
                    <a:pt x="1012" y="612"/>
                  </a:lnTo>
                  <a:lnTo>
                    <a:pt x="1012" y="612"/>
                  </a:lnTo>
                  <a:lnTo>
                    <a:pt x="1010" y="615"/>
                  </a:lnTo>
                  <a:lnTo>
                    <a:pt x="1010" y="615"/>
                  </a:lnTo>
                  <a:lnTo>
                    <a:pt x="1010" y="615"/>
                  </a:lnTo>
                  <a:lnTo>
                    <a:pt x="1010" y="615"/>
                  </a:lnTo>
                  <a:close/>
                  <a:moveTo>
                    <a:pt x="1048" y="612"/>
                  </a:moveTo>
                  <a:lnTo>
                    <a:pt x="1048" y="610"/>
                  </a:lnTo>
                  <a:lnTo>
                    <a:pt x="1052" y="610"/>
                  </a:lnTo>
                  <a:lnTo>
                    <a:pt x="1048" y="612"/>
                  </a:lnTo>
                  <a:lnTo>
                    <a:pt x="1048" y="612"/>
                  </a:lnTo>
                  <a:lnTo>
                    <a:pt x="1048" y="612"/>
                  </a:lnTo>
                  <a:lnTo>
                    <a:pt x="1048" y="612"/>
                  </a:lnTo>
                  <a:lnTo>
                    <a:pt x="1048" y="612"/>
                  </a:lnTo>
                  <a:close/>
                  <a:moveTo>
                    <a:pt x="1034" y="627"/>
                  </a:moveTo>
                  <a:lnTo>
                    <a:pt x="1038" y="626"/>
                  </a:lnTo>
                  <a:lnTo>
                    <a:pt x="1039" y="624"/>
                  </a:lnTo>
                  <a:lnTo>
                    <a:pt x="1041" y="624"/>
                  </a:lnTo>
                  <a:lnTo>
                    <a:pt x="1043" y="620"/>
                  </a:lnTo>
                  <a:lnTo>
                    <a:pt x="1043" y="620"/>
                  </a:lnTo>
                  <a:lnTo>
                    <a:pt x="1046" y="624"/>
                  </a:lnTo>
                  <a:lnTo>
                    <a:pt x="1043" y="624"/>
                  </a:lnTo>
                  <a:lnTo>
                    <a:pt x="1041" y="626"/>
                  </a:lnTo>
                  <a:lnTo>
                    <a:pt x="1039" y="627"/>
                  </a:lnTo>
                  <a:lnTo>
                    <a:pt x="1036" y="627"/>
                  </a:lnTo>
                  <a:lnTo>
                    <a:pt x="1034" y="627"/>
                  </a:lnTo>
                  <a:lnTo>
                    <a:pt x="1034" y="627"/>
                  </a:lnTo>
                  <a:lnTo>
                    <a:pt x="1034" y="627"/>
                  </a:lnTo>
                  <a:lnTo>
                    <a:pt x="1034" y="627"/>
                  </a:lnTo>
                  <a:close/>
                  <a:moveTo>
                    <a:pt x="1024" y="648"/>
                  </a:moveTo>
                  <a:lnTo>
                    <a:pt x="1029" y="643"/>
                  </a:lnTo>
                  <a:lnTo>
                    <a:pt x="1029" y="643"/>
                  </a:lnTo>
                  <a:lnTo>
                    <a:pt x="1032" y="643"/>
                  </a:lnTo>
                  <a:lnTo>
                    <a:pt x="1034" y="640"/>
                  </a:lnTo>
                  <a:lnTo>
                    <a:pt x="1038" y="634"/>
                  </a:lnTo>
                  <a:lnTo>
                    <a:pt x="1038" y="633"/>
                  </a:lnTo>
                  <a:lnTo>
                    <a:pt x="1036" y="633"/>
                  </a:lnTo>
                  <a:lnTo>
                    <a:pt x="1032" y="633"/>
                  </a:lnTo>
                  <a:lnTo>
                    <a:pt x="1032" y="634"/>
                  </a:lnTo>
                  <a:lnTo>
                    <a:pt x="1032" y="634"/>
                  </a:lnTo>
                  <a:lnTo>
                    <a:pt x="1029" y="640"/>
                  </a:lnTo>
                  <a:lnTo>
                    <a:pt x="1024" y="641"/>
                  </a:lnTo>
                  <a:lnTo>
                    <a:pt x="1020" y="641"/>
                  </a:lnTo>
                  <a:lnTo>
                    <a:pt x="1018" y="641"/>
                  </a:lnTo>
                  <a:lnTo>
                    <a:pt x="1017" y="643"/>
                  </a:lnTo>
                  <a:lnTo>
                    <a:pt x="1015" y="646"/>
                  </a:lnTo>
                  <a:lnTo>
                    <a:pt x="1015" y="648"/>
                  </a:lnTo>
                  <a:lnTo>
                    <a:pt x="1017" y="648"/>
                  </a:lnTo>
                  <a:lnTo>
                    <a:pt x="1020" y="648"/>
                  </a:lnTo>
                  <a:lnTo>
                    <a:pt x="1024" y="648"/>
                  </a:lnTo>
                  <a:lnTo>
                    <a:pt x="1024" y="648"/>
                  </a:lnTo>
                  <a:lnTo>
                    <a:pt x="1024" y="648"/>
                  </a:lnTo>
                  <a:lnTo>
                    <a:pt x="1024" y="648"/>
                  </a:lnTo>
                  <a:close/>
                  <a:moveTo>
                    <a:pt x="1048" y="646"/>
                  </a:moveTo>
                  <a:lnTo>
                    <a:pt x="1048" y="641"/>
                  </a:lnTo>
                  <a:lnTo>
                    <a:pt x="1052" y="640"/>
                  </a:lnTo>
                  <a:lnTo>
                    <a:pt x="1052" y="634"/>
                  </a:lnTo>
                  <a:lnTo>
                    <a:pt x="1055" y="634"/>
                  </a:lnTo>
                  <a:lnTo>
                    <a:pt x="1057" y="638"/>
                  </a:lnTo>
                  <a:lnTo>
                    <a:pt x="1057" y="641"/>
                  </a:lnTo>
                  <a:lnTo>
                    <a:pt x="1057" y="643"/>
                  </a:lnTo>
                  <a:lnTo>
                    <a:pt x="1055" y="643"/>
                  </a:lnTo>
                  <a:lnTo>
                    <a:pt x="1052" y="646"/>
                  </a:lnTo>
                  <a:lnTo>
                    <a:pt x="1048" y="646"/>
                  </a:lnTo>
                  <a:lnTo>
                    <a:pt x="1048" y="646"/>
                  </a:lnTo>
                  <a:lnTo>
                    <a:pt x="1048" y="646"/>
                  </a:lnTo>
                  <a:lnTo>
                    <a:pt x="1048" y="646"/>
                  </a:lnTo>
                  <a:close/>
                  <a:moveTo>
                    <a:pt x="1071" y="674"/>
                  </a:moveTo>
                  <a:lnTo>
                    <a:pt x="1071" y="669"/>
                  </a:lnTo>
                  <a:lnTo>
                    <a:pt x="1071" y="666"/>
                  </a:lnTo>
                  <a:lnTo>
                    <a:pt x="1071" y="662"/>
                  </a:lnTo>
                  <a:lnTo>
                    <a:pt x="1069" y="662"/>
                  </a:lnTo>
                  <a:lnTo>
                    <a:pt x="1069" y="666"/>
                  </a:lnTo>
                  <a:lnTo>
                    <a:pt x="1067" y="669"/>
                  </a:lnTo>
                  <a:lnTo>
                    <a:pt x="1067" y="671"/>
                  </a:lnTo>
                  <a:lnTo>
                    <a:pt x="1069" y="674"/>
                  </a:lnTo>
                  <a:lnTo>
                    <a:pt x="1069" y="676"/>
                  </a:lnTo>
                  <a:lnTo>
                    <a:pt x="1071" y="674"/>
                  </a:lnTo>
                  <a:lnTo>
                    <a:pt x="1071" y="674"/>
                  </a:lnTo>
                  <a:lnTo>
                    <a:pt x="1071" y="674"/>
                  </a:lnTo>
                  <a:lnTo>
                    <a:pt x="1071" y="674"/>
                  </a:lnTo>
                  <a:lnTo>
                    <a:pt x="1071" y="674"/>
                  </a:lnTo>
                  <a:close/>
                  <a:moveTo>
                    <a:pt x="1074" y="671"/>
                  </a:moveTo>
                  <a:lnTo>
                    <a:pt x="1074" y="669"/>
                  </a:lnTo>
                  <a:lnTo>
                    <a:pt x="1074" y="666"/>
                  </a:lnTo>
                  <a:lnTo>
                    <a:pt x="1074" y="669"/>
                  </a:lnTo>
                  <a:lnTo>
                    <a:pt x="1078" y="671"/>
                  </a:lnTo>
                  <a:lnTo>
                    <a:pt x="1074" y="671"/>
                  </a:lnTo>
                  <a:lnTo>
                    <a:pt x="1074" y="671"/>
                  </a:lnTo>
                  <a:lnTo>
                    <a:pt x="1074" y="671"/>
                  </a:lnTo>
                  <a:lnTo>
                    <a:pt x="1074" y="671"/>
                  </a:lnTo>
                  <a:lnTo>
                    <a:pt x="1074" y="671"/>
                  </a:lnTo>
                  <a:close/>
                  <a:moveTo>
                    <a:pt x="1079" y="678"/>
                  </a:moveTo>
                  <a:lnTo>
                    <a:pt x="1078" y="676"/>
                  </a:lnTo>
                  <a:lnTo>
                    <a:pt x="1078" y="674"/>
                  </a:lnTo>
                  <a:lnTo>
                    <a:pt x="1079" y="674"/>
                  </a:lnTo>
                  <a:lnTo>
                    <a:pt x="1079" y="678"/>
                  </a:lnTo>
                  <a:lnTo>
                    <a:pt x="1079" y="678"/>
                  </a:lnTo>
                  <a:lnTo>
                    <a:pt x="1079" y="678"/>
                  </a:lnTo>
                  <a:lnTo>
                    <a:pt x="1079" y="678"/>
                  </a:lnTo>
                  <a:lnTo>
                    <a:pt x="1079" y="678"/>
                  </a:lnTo>
                  <a:close/>
                  <a:moveTo>
                    <a:pt x="1069" y="685"/>
                  </a:moveTo>
                  <a:lnTo>
                    <a:pt x="1067" y="686"/>
                  </a:lnTo>
                  <a:lnTo>
                    <a:pt x="1069" y="690"/>
                  </a:lnTo>
                  <a:lnTo>
                    <a:pt x="1069" y="693"/>
                  </a:lnTo>
                  <a:lnTo>
                    <a:pt x="1071" y="693"/>
                  </a:lnTo>
                  <a:lnTo>
                    <a:pt x="1071" y="693"/>
                  </a:lnTo>
                  <a:lnTo>
                    <a:pt x="1074" y="693"/>
                  </a:lnTo>
                  <a:lnTo>
                    <a:pt x="1078" y="697"/>
                  </a:lnTo>
                  <a:lnTo>
                    <a:pt x="1079" y="697"/>
                  </a:lnTo>
                  <a:lnTo>
                    <a:pt x="1083" y="697"/>
                  </a:lnTo>
                  <a:lnTo>
                    <a:pt x="1083" y="693"/>
                  </a:lnTo>
                  <a:lnTo>
                    <a:pt x="1083" y="693"/>
                  </a:lnTo>
                  <a:lnTo>
                    <a:pt x="1083" y="688"/>
                  </a:lnTo>
                  <a:lnTo>
                    <a:pt x="1079" y="688"/>
                  </a:lnTo>
                  <a:lnTo>
                    <a:pt x="1078" y="686"/>
                  </a:lnTo>
                  <a:lnTo>
                    <a:pt x="1074" y="686"/>
                  </a:lnTo>
                  <a:lnTo>
                    <a:pt x="1074" y="686"/>
                  </a:lnTo>
                  <a:lnTo>
                    <a:pt x="1074" y="685"/>
                  </a:lnTo>
                  <a:lnTo>
                    <a:pt x="1074" y="683"/>
                  </a:lnTo>
                  <a:lnTo>
                    <a:pt x="1074" y="683"/>
                  </a:lnTo>
                  <a:lnTo>
                    <a:pt x="1071" y="685"/>
                  </a:lnTo>
                  <a:lnTo>
                    <a:pt x="1071" y="686"/>
                  </a:lnTo>
                  <a:lnTo>
                    <a:pt x="1069" y="685"/>
                  </a:lnTo>
                  <a:lnTo>
                    <a:pt x="1069" y="685"/>
                  </a:lnTo>
                  <a:lnTo>
                    <a:pt x="1069" y="685"/>
                  </a:lnTo>
                  <a:lnTo>
                    <a:pt x="1069" y="685"/>
                  </a:lnTo>
                  <a:close/>
                  <a:moveTo>
                    <a:pt x="979" y="812"/>
                  </a:moveTo>
                  <a:lnTo>
                    <a:pt x="982" y="812"/>
                  </a:lnTo>
                  <a:lnTo>
                    <a:pt x="984" y="812"/>
                  </a:lnTo>
                  <a:lnTo>
                    <a:pt x="982" y="808"/>
                  </a:lnTo>
                  <a:lnTo>
                    <a:pt x="979" y="808"/>
                  </a:lnTo>
                  <a:lnTo>
                    <a:pt x="979" y="812"/>
                  </a:lnTo>
                  <a:lnTo>
                    <a:pt x="979" y="812"/>
                  </a:lnTo>
                  <a:lnTo>
                    <a:pt x="979" y="812"/>
                  </a:lnTo>
                  <a:lnTo>
                    <a:pt x="979" y="812"/>
                  </a:lnTo>
                  <a:close/>
                  <a:moveTo>
                    <a:pt x="928" y="728"/>
                  </a:moveTo>
                  <a:lnTo>
                    <a:pt x="932" y="730"/>
                  </a:lnTo>
                  <a:lnTo>
                    <a:pt x="933" y="730"/>
                  </a:lnTo>
                  <a:lnTo>
                    <a:pt x="933" y="728"/>
                  </a:lnTo>
                  <a:lnTo>
                    <a:pt x="932" y="728"/>
                  </a:lnTo>
                  <a:lnTo>
                    <a:pt x="930" y="728"/>
                  </a:lnTo>
                  <a:lnTo>
                    <a:pt x="928" y="728"/>
                  </a:lnTo>
                  <a:lnTo>
                    <a:pt x="928" y="728"/>
                  </a:lnTo>
                  <a:lnTo>
                    <a:pt x="928" y="728"/>
                  </a:lnTo>
                  <a:lnTo>
                    <a:pt x="928" y="728"/>
                  </a:lnTo>
                  <a:close/>
                  <a:moveTo>
                    <a:pt x="916" y="747"/>
                  </a:moveTo>
                  <a:lnTo>
                    <a:pt x="916" y="746"/>
                  </a:lnTo>
                  <a:lnTo>
                    <a:pt x="916" y="742"/>
                  </a:lnTo>
                  <a:lnTo>
                    <a:pt x="913" y="740"/>
                  </a:lnTo>
                  <a:lnTo>
                    <a:pt x="914" y="739"/>
                  </a:lnTo>
                  <a:lnTo>
                    <a:pt x="913" y="735"/>
                  </a:lnTo>
                  <a:lnTo>
                    <a:pt x="911" y="733"/>
                  </a:lnTo>
                  <a:lnTo>
                    <a:pt x="911" y="728"/>
                  </a:lnTo>
                  <a:lnTo>
                    <a:pt x="911" y="728"/>
                  </a:lnTo>
                  <a:lnTo>
                    <a:pt x="913" y="733"/>
                  </a:lnTo>
                  <a:lnTo>
                    <a:pt x="916" y="733"/>
                  </a:lnTo>
                  <a:lnTo>
                    <a:pt x="916" y="735"/>
                  </a:lnTo>
                  <a:lnTo>
                    <a:pt x="919" y="737"/>
                  </a:lnTo>
                  <a:lnTo>
                    <a:pt x="919" y="742"/>
                  </a:lnTo>
                  <a:lnTo>
                    <a:pt x="921" y="744"/>
                  </a:lnTo>
                  <a:lnTo>
                    <a:pt x="925" y="744"/>
                  </a:lnTo>
                  <a:lnTo>
                    <a:pt x="925" y="747"/>
                  </a:lnTo>
                  <a:lnTo>
                    <a:pt x="921" y="747"/>
                  </a:lnTo>
                  <a:lnTo>
                    <a:pt x="916" y="747"/>
                  </a:lnTo>
                  <a:lnTo>
                    <a:pt x="916" y="747"/>
                  </a:lnTo>
                  <a:lnTo>
                    <a:pt x="916" y="747"/>
                  </a:lnTo>
                  <a:lnTo>
                    <a:pt x="916" y="747"/>
                  </a:lnTo>
                  <a:close/>
                  <a:moveTo>
                    <a:pt x="897" y="746"/>
                  </a:moveTo>
                  <a:lnTo>
                    <a:pt x="897" y="742"/>
                  </a:lnTo>
                  <a:lnTo>
                    <a:pt x="897" y="740"/>
                  </a:lnTo>
                  <a:lnTo>
                    <a:pt x="897" y="739"/>
                  </a:lnTo>
                  <a:lnTo>
                    <a:pt x="897" y="733"/>
                  </a:lnTo>
                  <a:lnTo>
                    <a:pt x="899" y="730"/>
                  </a:lnTo>
                  <a:lnTo>
                    <a:pt x="900" y="733"/>
                  </a:lnTo>
                  <a:lnTo>
                    <a:pt x="902" y="733"/>
                  </a:lnTo>
                  <a:lnTo>
                    <a:pt x="900" y="735"/>
                  </a:lnTo>
                  <a:lnTo>
                    <a:pt x="900" y="737"/>
                  </a:lnTo>
                  <a:lnTo>
                    <a:pt x="902" y="740"/>
                  </a:lnTo>
                  <a:lnTo>
                    <a:pt x="899" y="746"/>
                  </a:lnTo>
                  <a:lnTo>
                    <a:pt x="897" y="746"/>
                  </a:lnTo>
                  <a:lnTo>
                    <a:pt x="897" y="746"/>
                  </a:lnTo>
                  <a:lnTo>
                    <a:pt x="897" y="746"/>
                  </a:lnTo>
                  <a:lnTo>
                    <a:pt x="897" y="746"/>
                  </a:lnTo>
                  <a:close/>
                  <a:moveTo>
                    <a:pt x="897" y="666"/>
                  </a:moveTo>
                  <a:lnTo>
                    <a:pt x="897" y="669"/>
                  </a:lnTo>
                  <a:lnTo>
                    <a:pt x="897" y="669"/>
                  </a:lnTo>
                  <a:lnTo>
                    <a:pt x="900" y="669"/>
                  </a:lnTo>
                  <a:lnTo>
                    <a:pt x="902" y="666"/>
                  </a:lnTo>
                  <a:lnTo>
                    <a:pt x="902" y="666"/>
                  </a:lnTo>
                  <a:lnTo>
                    <a:pt x="899" y="666"/>
                  </a:lnTo>
                  <a:lnTo>
                    <a:pt x="897" y="666"/>
                  </a:lnTo>
                  <a:lnTo>
                    <a:pt x="897" y="666"/>
                  </a:lnTo>
                  <a:lnTo>
                    <a:pt x="897" y="666"/>
                  </a:lnTo>
                  <a:lnTo>
                    <a:pt x="897" y="666"/>
                  </a:lnTo>
                  <a:close/>
                  <a:moveTo>
                    <a:pt x="897" y="664"/>
                  </a:moveTo>
                  <a:lnTo>
                    <a:pt x="899" y="660"/>
                  </a:lnTo>
                  <a:lnTo>
                    <a:pt x="899" y="657"/>
                  </a:lnTo>
                  <a:lnTo>
                    <a:pt x="902" y="653"/>
                  </a:lnTo>
                  <a:lnTo>
                    <a:pt x="906" y="652"/>
                  </a:lnTo>
                  <a:lnTo>
                    <a:pt x="906" y="652"/>
                  </a:lnTo>
                  <a:lnTo>
                    <a:pt x="906" y="655"/>
                  </a:lnTo>
                  <a:lnTo>
                    <a:pt x="906" y="660"/>
                  </a:lnTo>
                  <a:lnTo>
                    <a:pt x="906" y="662"/>
                  </a:lnTo>
                  <a:lnTo>
                    <a:pt x="900" y="664"/>
                  </a:lnTo>
                  <a:lnTo>
                    <a:pt x="897" y="664"/>
                  </a:lnTo>
                  <a:lnTo>
                    <a:pt x="897" y="664"/>
                  </a:lnTo>
                  <a:lnTo>
                    <a:pt x="897" y="664"/>
                  </a:lnTo>
                  <a:lnTo>
                    <a:pt x="897" y="664"/>
                  </a:lnTo>
                  <a:close/>
                  <a:moveTo>
                    <a:pt x="734" y="629"/>
                  </a:moveTo>
                  <a:lnTo>
                    <a:pt x="735" y="627"/>
                  </a:lnTo>
                  <a:lnTo>
                    <a:pt x="735" y="626"/>
                  </a:lnTo>
                  <a:lnTo>
                    <a:pt x="732" y="626"/>
                  </a:lnTo>
                  <a:lnTo>
                    <a:pt x="732" y="627"/>
                  </a:lnTo>
                  <a:lnTo>
                    <a:pt x="734" y="629"/>
                  </a:lnTo>
                  <a:lnTo>
                    <a:pt x="734" y="629"/>
                  </a:lnTo>
                  <a:lnTo>
                    <a:pt x="734" y="629"/>
                  </a:lnTo>
                  <a:lnTo>
                    <a:pt x="734" y="629"/>
                  </a:lnTo>
                  <a:close/>
                  <a:moveTo>
                    <a:pt x="595" y="589"/>
                  </a:moveTo>
                  <a:lnTo>
                    <a:pt x="595" y="587"/>
                  </a:lnTo>
                  <a:lnTo>
                    <a:pt x="598" y="587"/>
                  </a:lnTo>
                  <a:lnTo>
                    <a:pt x="596" y="589"/>
                  </a:lnTo>
                  <a:lnTo>
                    <a:pt x="596" y="589"/>
                  </a:lnTo>
                  <a:lnTo>
                    <a:pt x="595" y="589"/>
                  </a:lnTo>
                  <a:lnTo>
                    <a:pt x="595" y="589"/>
                  </a:lnTo>
                  <a:lnTo>
                    <a:pt x="595" y="589"/>
                  </a:lnTo>
                  <a:lnTo>
                    <a:pt x="595" y="589"/>
                  </a:lnTo>
                  <a:close/>
                  <a:moveTo>
                    <a:pt x="584" y="596"/>
                  </a:moveTo>
                  <a:lnTo>
                    <a:pt x="588" y="596"/>
                  </a:lnTo>
                  <a:lnTo>
                    <a:pt x="588" y="593"/>
                  </a:lnTo>
                  <a:lnTo>
                    <a:pt x="584" y="593"/>
                  </a:lnTo>
                  <a:lnTo>
                    <a:pt x="584" y="596"/>
                  </a:lnTo>
                  <a:lnTo>
                    <a:pt x="584" y="596"/>
                  </a:lnTo>
                  <a:lnTo>
                    <a:pt x="584" y="596"/>
                  </a:lnTo>
                  <a:lnTo>
                    <a:pt x="584" y="596"/>
                  </a:lnTo>
                  <a:close/>
                  <a:moveTo>
                    <a:pt x="589" y="608"/>
                  </a:moveTo>
                  <a:lnTo>
                    <a:pt x="588" y="606"/>
                  </a:lnTo>
                  <a:lnTo>
                    <a:pt x="589" y="605"/>
                  </a:lnTo>
                  <a:lnTo>
                    <a:pt x="589" y="608"/>
                  </a:lnTo>
                  <a:lnTo>
                    <a:pt x="589" y="608"/>
                  </a:lnTo>
                  <a:lnTo>
                    <a:pt x="589" y="608"/>
                  </a:lnTo>
                  <a:lnTo>
                    <a:pt x="589" y="608"/>
                  </a:lnTo>
                  <a:lnTo>
                    <a:pt x="589" y="608"/>
                  </a:lnTo>
                  <a:close/>
                  <a:moveTo>
                    <a:pt x="589" y="610"/>
                  </a:moveTo>
                  <a:lnTo>
                    <a:pt x="586" y="605"/>
                  </a:lnTo>
                  <a:lnTo>
                    <a:pt x="586" y="606"/>
                  </a:lnTo>
                  <a:lnTo>
                    <a:pt x="588" y="608"/>
                  </a:lnTo>
                  <a:lnTo>
                    <a:pt x="589" y="610"/>
                  </a:lnTo>
                  <a:lnTo>
                    <a:pt x="589" y="610"/>
                  </a:lnTo>
                  <a:lnTo>
                    <a:pt x="589" y="610"/>
                  </a:lnTo>
                  <a:lnTo>
                    <a:pt x="589" y="610"/>
                  </a:lnTo>
                  <a:close/>
                  <a:moveTo>
                    <a:pt x="593" y="615"/>
                  </a:moveTo>
                  <a:lnTo>
                    <a:pt x="595" y="620"/>
                  </a:lnTo>
                  <a:lnTo>
                    <a:pt x="596" y="620"/>
                  </a:lnTo>
                  <a:lnTo>
                    <a:pt x="598" y="619"/>
                  </a:lnTo>
                  <a:lnTo>
                    <a:pt x="598" y="619"/>
                  </a:lnTo>
                  <a:lnTo>
                    <a:pt x="600" y="615"/>
                  </a:lnTo>
                  <a:lnTo>
                    <a:pt x="596" y="615"/>
                  </a:lnTo>
                  <a:lnTo>
                    <a:pt x="596" y="619"/>
                  </a:lnTo>
                  <a:lnTo>
                    <a:pt x="595" y="615"/>
                  </a:lnTo>
                  <a:lnTo>
                    <a:pt x="593" y="615"/>
                  </a:lnTo>
                  <a:lnTo>
                    <a:pt x="593" y="615"/>
                  </a:lnTo>
                  <a:lnTo>
                    <a:pt x="593" y="615"/>
                  </a:lnTo>
                  <a:lnTo>
                    <a:pt x="593" y="615"/>
                  </a:lnTo>
                  <a:close/>
                  <a:moveTo>
                    <a:pt x="589" y="638"/>
                  </a:moveTo>
                  <a:lnTo>
                    <a:pt x="589" y="633"/>
                  </a:lnTo>
                  <a:lnTo>
                    <a:pt x="589" y="631"/>
                  </a:lnTo>
                  <a:lnTo>
                    <a:pt x="589" y="627"/>
                  </a:lnTo>
                  <a:lnTo>
                    <a:pt x="593" y="624"/>
                  </a:lnTo>
                  <a:lnTo>
                    <a:pt x="593" y="626"/>
                  </a:lnTo>
                  <a:lnTo>
                    <a:pt x="593" y="627"/>
                  </a:lnTo>
                  <a:lnTo>
                    <a:pt x="593" y="629"/>
                  </a:lnTo>
                  <a:lnTo>
                    <a:pt x="593" y="631"/>
                  </a:lnTo>
                  <a:lnTo>
                    <a:pt x="593" y="633"/>
                  </a:lnTo>
                  <a:lnTo>
                    <a:pt x="593" y="634"/>
                  </a:lnTo>
                  <a:lnTo>
                    <a:pt x="589" y="634"/>
                  </a:lnTo>
                  <a:lnTo>
                    <a:pt x="589" y="638"/>
                  </a:lnTo>
                  <a:lnTo>
                    <a:pt x="589" y="638"/>
                  </a:lnTo>
                  <a:lnTo>
                    <a:pt x="589" y="638"/>
                  </a:lnTo>
                  <a:lnTo>
                    <a:pt x="589" y="638"/>
                  </a:lnTo>
                  <a:close/>
                  <a:moveTo>
                    <a:pt x="716" y="560"/>
                  </a:moveTo>
                  <a:lnTo>
                    <a:pt x="716" y="556"/>
                  </a:lnTo>
                  <a:lnTo>
                    <a:pt x="716" y="556"/>
                  </a:lnTo>
                  <a:lnTo>
                    <a:pt x="716" y="556"/>
                  </a:lnTo>
                  <a:lnTo>
                    <a:pt x="716" y="560"/>
                  </a:lnTo>
                  <a:lnTo>
                    <a:pt x="716" y="560"/>
                  </a:lnTo>
                  <a:lnTo>
                    <a:pt x="716" y="560"/>
                  </a:lnTo>
                  <a:lnTo>
                    <a:pt x="716" y="560"/>
                  </a:lnTo>
                  <a:lnTo>
                    <a:pt x="716" y="560"/>
                  </a:lnTo>
                  <a:close/>
                  <a:moveTo>
                    <a:pt x="758" y="533"/>
                  </a:moveTo>
                  <a:lnTo>
                    <a:pt x="756" y="528"/>
                  </a:lnTo>
                  <a:lnTo>
                    <a:pt x="756" y="528"/>
                  </a:lnTo>
                  <a:lnTo>
                    <a:pt x="756" y="525"/>
                  </a:lnTo>
                  <a:lnTo>
                    <a:pt x="758" y="523"/>
                  </a:lnTo>
                  <a:lnTo>
                    <a:pt x="760" y="525"/>
                  </a:lnTo>
                  <a:lnTo>
                    <a:pt x="760" y="525"/>
                  </a:lnTo>
                  <a:lnTo>
                    <a:pt x="761" y="528"/>
                  </a:lnTo>
                  <a:lnTo>
                    <a:pt x="760" y="528"/>
                  </a:lnTo>
                  <a:lnTo>
                    <a:pt x="760" y="533"/>
                  </a:lnTo>
                  <a:lnTo>
                    <a:pt x="758" y="533"/>
                  </a:lnTo>
                  <a:lnTo>
                    <a:pt x="758" y="533"/>
                  </a:lnTo>
                  <a:lnTo>
                    <a:pt x="758" y="533"/>
                  </a:lnTo>
                  <a:lnTo>
                    <a:pt x="758" y="533"/>
                  </a:lnTo>
                  <a:close/>
                  <a:moveTo>
                    <a:pt x="711" y="584"/>
                  </a:moveTo>
                  <a:lnTo>
                    <a:pt x="711" y="584"/>
                  </a:lnTo>
                  <a:lnTo>
                    <a:pt x="711" y="582"/>
                  </a:lnTo>
                  <a:lnTo>
                    <a:pt x="713" y="580"/>
                  </a:lnTo>
                  <a:lnTo>
                    <a:pt x="713" y="579"/>
                  </a:lnTo>
                  <a:lnTo>
                    <a:pt x="714" y="577"/>
                  </a:lnTo>
                  <a:lnTo>
                    <a:pt x="714" y="573"/>
                  </a:lnTo>
                  <a:lnTo>
                    <a:pt x="711" y="573"/>
                  </a:lnTo>
                  <a:lnTo>
                    <a:pt x="711" y="572"/>
                  </a:lnTo>
                  <a:lnTo>
                    <a:pt x="711" y="568"/>
                  </a:lnTo>
                  <a:lnTo>
                    <a:pt x="714" y="568"/>
                  </a:lnTo>
                  <a:lnTo>
                    <a:pt x="714" y="565"/>
                  </a:lnTo>
                  <a:lnTo>
                    <a:pt x="711" y="565"/>
                  </a:lnTo>
                  <a:lnTo>
                    <a:pt x="709" y="565"/>
                  </a:lnTo>
                  <a:lnTo>
                    <a:pt x="709" y="565"/>
                  </a:lnTo>
                  <a:lnTo>
                    <a:pt x="707" y="566"/>
                  </a:lnTo>
                  <a:lnTo>
                    <a:pt x="706" y="565"/>
                  </a:lnTo>
                  <a:lnTo>
                    <a:pt x="701" y="565"/>
                  </a:lnTo>
                  <a:lnTo>
                    <a:pt x="697" y="570"/>
                  </a:lnTo>
                  <a:lnTo>
                    <a:pt x="694" y="572"/>
                  </a:lnTo>
                  <a:lnTo>
                    <a:pt x="694" y="570"/>
                  </a:lnTo>
                  <a:lnTo>
                    <a:pt x="697" y="568"/>
                  </a:lnTo>
                  <a:lnTo>
                    <a:pt x="699" y="565"/>
                  </a:lnTo>
                  <a:lnTo>
                    <a:pt x="699" y="561"/>
                  </a:lnTo>
                  <a:lnTo>
                    <a:pt x="697" y="565"/>
                  </a:lnTo>
                  <a:lnTo>
                    <a:pt x="697" y="565"/>
                  </a:lnTo>
                  <a:lnTo>
                    <a:pt x="697" y="560"/>
                  </a:lnTo>
                  <a:lnTo>
                    <a:pt x="699" y="560"/>
                  </a:lnTo>
                  <a:lnTo>
                    <a:pt x="697" y="556"/>
                  </a:lnTo>
                  <a:lnTo>
                    <a:pt x="699" y="553"/>
                  </a:lnTo>
                  <a:lnTo>
                    <a:pt x="701" y="553"/>
                  </a:lnTo>
                  <a:lnTo>
                    <a:pt x="701" y="554"/>
                  </a:lnTo>
                  <a:lnTo>
                    <a:pt x="702" y="560"/>
                  </a:lnTo>
                  <a:lnTo>
                    <a:pt x="704" y="560"/>
                  </a:lnTo>
                  <a:lnTo>
                    <a:pt x="706" y="560"/>
                  </a:lnTo>
                  <a:lnTo>
                    <a:pt x="709" y="560"/>
                  </a:lnTo>
                  <a:lnTo>
                    <a:pt x="711" y="556"/>
                  </a:lnTo>
                  <a:lnTo>
                    <a:pt x="709" y="556"/>
                  </a:lnTo>
                  <a:lnTo>
                    <a:pt x="709" y="554"/>
                  </a:lnTo>
                  <a:lnTo>
                    <a:pt x="713" y="554"/>
                  </a:lnTo>
                  <a:lnTo>
                    <a:pt x="713" y="554"/>
                  </a:lnTo>
                  <a:lnTo>
                    <a:pt x="714" y="554"/>
                  </a:lnTo>
                  <a:lnTo>
                    <a:pt x="716" y="551"/>
                  </a:lnTo>
                  <a:lnTo>
                    <a:pt x="720" y="547"/>
                  </a:lnTo>
                  <a:lnTo>
                    <a:pt x="720" y="551"/>
                  </a:lnTo>
                  <a:lnTo>
                    <a:pt x="720" y="551"/>
                  </a:lnTo>
                  <a:lnTo>
                    <a:pt x="725" y="549"/>
                  </a:lnTo>
                  <a:lnTo>
                    <a:pt x="720" y="554"/>
                  </a:lnTo>
                  <a:lnTo>
                    <a:pt x="720" y="560"/>
                  </a:lnTo>
                  <a:lnTo>
                    <a:pt x="721" y="556"/>
                  </a:lnTo>
                  <a:lnTo>
                    <a:pt x="725" y="560"/>
                  </a:lnTo>
                  <a:lnTo>
                    <a:pt x="721" y="560"/>
                  </a:lnTo>
                  <a:lnTo>
                    <a:pt x="725" y="560"/>
                  </a:lnTo>
                  <a:lnTo>
                    <a:pt x="725" y="556"/>
                  </a:lnTo>
                  <a:lnTo>
                    <a:pt x="727" y="556"/>
                  </a:lnTo>
                  <a:lnTo>
                    <a:pt x="730" y="551"/>
                  </a:lnTo>
                  <a:lnTo>
                    <a:pt x="732" y="551"/>
                  </a:lnTo>
                  <a:lnTo>
                    <a:pt x="732" y="554"/>
                  </a:lnTo>
                  <a:lnTo>
                    <a:pt x="728" y="556"/>
                  </a:lnTo>
                  <a:lnTo>
                    <a:pt x="728" y="561"/>
                  </a:lnTo>
                  <a:lnTo>
                    <a:pt x="732" y="561"/>
                  </a:lnTo>
                  <a:lnTo>
                    <a:pt x="734" y="565"/>
                  </a:lnTo>
                  <a:lnTo>
                    <a:pt x="735" y="561"/>
                  </a:lnTo>
                  <a:lnTo>
                    <a:pt x="739" y="556"/>
                  </a:lnTo>
                  <a:lnTo>
                    <a:pt x="739" y="553"/>
                  </a:lnTo>
                  <a:lnTo>
                    <a:pt x="742" y="549"/>
                  </a:lnTo>
                  <a:lnTo>
                    <a:pt x="742" y="546"/>
                  </a:lnTo>
                  <a:lnTo>
                    <a:pt x="742" y="544"/>
                  </a:lnTo>
                  <a:lnTo>
                    <a:pt x="742" y="542"/>
                  </a:lnTo>
                  <a:lnTo>
                    <a:pt x="739" y="542"/>
                  </a:lnTo>
                  <a:lnTo>
                    <a:pt x="739" y="542"/>
                  </a:lnTo>
                  <a:lnTo>
                    <a:pt x="737" y="544"/>
                  </a:lnTo>
                  <a:lnTo>
                    <a:pt x="737" y="539"/>
                  </a:lnTo>
                  <a:lnTo>
                    <a:pt x="739" y="539"/>
                  </a:lnTo>
                  <a:lnTo>
                    <a:pt x="737" y="537"/>
                  </a:lnTo>
                  <a:lnTo>
                    <a:pt x="734" y="537"/>
                  </a:lnTo>
                  <a:lnTo>
                    <a:pt x="734" y="537"/>
                  </a:lnTo>
                  <a:lnTo>
                    <a:pt x="730" y="533"/>
                  </a:lnTo>
                  <a:lnTo>
                    <a:pt x="730" y="532"/>
                  </a:lnTo>
                  <a:lnTo>
                    <a:pt x="727" y="525"/>
                  </a:lnTo>
                  <a:lnTo>
                    <a:pt x="727" y="521"/>
                  </a:lnTo>
                  <a:lnTo>
                    <a:pt x="728" y="518"/>
                  </a:lnTo>
                  <a:lnTo>
                    <a:pt x="727" y="513"/>
                  </a:lnTo>
                  <a:lnTo>
                    <a:pt x="725" y="516"/>
                  </a:lnTo>
                  <a:lnTo>
                    <a:pt x="725" y="520"/>
                  </a:lnTo>
                  <a:lnTo>
                    <a:pt x="721" y="516"/>
                  </a:lnTo>
                  <a:lnTo>
                    <a:pt x="720" y="514"/>
                  </a:lnTo>
                  <a:lnTo>
                    <a:pt x="720" y="509"/>
                  </a:lnTo>
                  <a:lnTo>
                    <a:pt x="716" y="506"/>
                  </a:lnTo>
                  <a:lnTo>
                    <a:pt x="716" y="500"/>
                  </a:lnTo>
                  <a:lnTo>
                    <a:pt x="714" y="497"/>
                  </a:lnTo>
                  <a:lnTo>
                    <a:pt x="713" y="495"/>
                  </a:lnTo>
                  <a:lnTo>
                    <a:pt x="713" y="492"/>
                  </a:lnTo>
                  <a:lnTo>
                    <a:pt x="713" y="490"/>
                  </a:lnTo>
                  <a:lnTo>
                    <a:pt x="716" y="490"/>
                  </a:lnTo>
                  <a:lnTo>
                    <a:pt x="716" y="485"/>
                  </a:lnTo>
                  <a:lnTo>
                    <a:pt x="720" y="485"/>
                  </a:lnTo>
                  <a:lnTo>
                    <a:pt x="720" y="487"/>
                  </a:lnTo>
                  <a:lnTo>
                    <a:pt x="721" y="485"/>
                  </a:lnTo>
                  <a:lnTo>
                    <a:pt x="721" y="481"/>
                  </a:lnTo>
                  <a:lnTo>
                    <a:pt x="725" y="474"/>
                  </a:lnTo>
                  <a:lnTo>
                    <a:pt x="725" y="471"/>
                  </a:lnTo>
                  <a:lnTo>
                    <a:pt x="725" y="469"/>
                  </a:lnTo>
                  <a:lnTo>
                    <a:pt x="721" y="464"/>
                  </a:lnTo>
                  <a:lnTo>
                    <a:pt x="725" y="460"/>
                  </a:lnTo>
                  <a:lnTo>
                    <a:pt x="727" y="459"/>
                  </a:lnTo>
                  <a:lnTo>
                    <a:pt x="727" y="455"/>
                  </a:lnTo>
                  <a:lnTo>
                    <a:pt x="730" y="450"/>
                  </a:lnTo>
                  <a:lnTo>
                    <a:pt x="730" y="447"/>
                  </a:lnTo>
                  <a:lnTo>
                    <a:pt x="732" y="445"/>
                  </a:lnTo>
                  <a:lnTo>
                    <a:pt x="732" y="438"/>
                  </a:lnTo>
                  <a:lnTo>
                    <a:pt x="734" y="438"/>
                  </a:lnTo>
                  <a:lnTo>
                    <a:pt x="734" y="434"/>
                  </a:lnTo>
                  <a:lnTo>
                    <a:pt x="739" y="429"/>
                  </a:lnTo>
                  <a:lnTo>
                    <a:pt x="737" y="427"/>
                  </a:lnTo>
                  <a:lnTo>
                    <a:pt x="739" y="424"/>
                  </a:lnTo>
                  <a:lnTo>
                    <a:pt x="739" y="424"/>
                  </a:lnTo>
                  <a:lnTo>
                    <a:pt x="739" y="419"/>
                  </a:lnTo>
                  <a:lnTo>
                    <a:pt x="739" y="415"/>
                  </a:lnTo>
                  <a:lnTo>
                    <a:pt x="739" y="415"/>
                  </a:lnTo>
                  <a:lnTo>
                    <a:pt x="739" y="412"/>
                  </a:lnTo>
                  <a:lnTo>
                    <a:pt x="737" y="410"/>
                  </a:lnTo>
                  <a:lnTo>
                    <a:pt x="735" y="405"/>
                  </a:lnTo>
                  <a:lnTo>
                    <a:pt x="735" y="403"/>
                  </a:lnTo>
                  <a:lnTo>
                    <a:pt x="734" y="398"/>
                  </a:lnTo>
                  <a:lnTo>
                    <a:pt x="730" y="396"/>
                  </a:lnTo>
                  <a:lnTo>
                    <a:pt x="728" y="396"/>
                  </a:lnTo>
                  <a:lnTo>
                    <a:pt x="727" y="396"/>
                  </a:lnTo>
                  <a:lnTo>
                    <a:pt x="727" y="400"/>
                  </a:lnTo>
                  <a:lnTo>
                    <a:pt x="725" y="400"/>
                  </a:lnTo>
                  <a:lnTo>
                    <a:pt x="721" y="393"/>
                  </a:lnTo>
                  <a:lnTo>
                    <a:pt x="720" y="393"/>
                  </a:lnTo>
                  <a:lnTo>
                    <a:pt x="716" y="391"/>
                  </a:lnTo>
                  <a:lnTo>
                    <a:pt x="716" y="393"/>
                  </a:lnTo>
                  <a:lnTo>
                    <a:pt x="716" y="396"/>
                  </a:lnTo>
                  <a:lnTo>
                    <a:pt x="714" y="396"/>
                  </a:lnTo>
                  <a:lnTo>
                    <a:pt x="713" y="396"/>
                  </a:lnTo>
                  <a:lnTo>
                    <a:pt x="711" y="400"/>
                  </a:lnTo>
                  <a:lnTo>
                    <a:pt x="711" y="403"/>
                  </a:lnTo>
                  <a:lnTo>
                    <a:pt x="709" y="403"/>
                  </a:lnTo>
                  <a:lnTo>
                    <a:pt x="706" y="412"/>
                  </a:lnTo>
                  <a:lnTo>
                    <a:pt x="706" y="415"/>
                  </a:lnTo>
                  <a:lnTo>
                    <a:pt x="704" y="419"/>
                  </a:lnTo>
                  <a:lnTo>
                    <a:pt x="704" y="424"/>
                  </a:lnTo>
                  <a:lnTo>
                    <a:pt x="702" y="424"/>
                  </a:lnTo>
                  <a:lnTo>
                    <a:pt x="702" y="427"/>
                  </a:lnTo>
                  <a:lnTo>
                    <a:pt x="699" y="427"/>
                  </a:lnTo>
                  <a:lnTo>
                    <a:pt x="699" y="434"/>
                  </a:lnTo>
                  <a:lnTo>
                    <a:pt x="697" y="436"/>
                  </a:lnTo>
                  <a:lnTo>
                    <a:pt x="697" y="436"/>
                  </a:lnTo>
                  <a:lnTo>
                    <a:pt x="694" y="441"/>
                  </a:lnTo>
                  <a:lnTo>
                    <a:pt x="694" y="443"/>
                  </a:lnTo>
                  <a:lnTo>
                    <a:pt x="694" y="447"/>
                  </a:lnTo>
                  <a:lnTo>
                    <a:pt x="694" y="450"/>
                  </a:lnTo>
                  <a:lnTo>
                    <a:pt x="690" y="452"/>
                  </a:lnTo>
                  <a:lnTo>
                    <a:pt x="694" y="455"/>
                  </a:lnTo>
                  <a:lnTo>
                    <a:pt x="692" y="459"/>
                  </a:lnTo>
                  <a:lnTo>
                    <a:pt x="688" y="459"/>
                  </a:lnTo>
                  <a:lnTo>
                    <a:pt x="690" y="460"/>
                  </a:lnTo>
                  <a:lnTo>
                    <a:pt x="694" y="460"/>
                  </a:lnTo>
                  <a:lnTo>
                    <a:pt x="694" y="464"/>
                  </a:lnTo>
                  <a:lnTo>
                    <a:pt x="690" y="464"/>
                  </a:lnTo>
                  <a:lnTo>
                    <a:pt x="688" y="464"/>
                  </a:lnTo>
                  <a:lnTo>
                    <a:pt x="685" y="466"/>
                  </a:lnTo>
                  <a:lnTo>
                    <a:pt x="683" y="466"/>
                  </a:lnTo>
                  <a:lnTo>
                    <a:pt x="681" y="467"/>
                  </a:lnTo>
                  <a:lnTo>
                    <a:pt x="681" y="471"/>
                  </a:lnTo>
                  <a:lnTo>
                    <a:pt x="680" y="471"/>
                  </a:lnTo>
                  <a:lnTo>
                    <a:pt x="678" y="471"/>
                  </a:lnTo>
                  <a:lnTo>
                    <a:pt x="678" y="467"/>
                  </a:lnTo>
                  <a:lnTo>
                    <a:pt x="678" y="464"/>
                  </a:lnTo>
                  <a:lnTo>
                    <a:pt x="676" y="462"/>
                  </a:lnTo>
                  <a:lnTo>
                    <a:pt x="676" y="455"/>
                  </a:lnTo>
                  <a:lnTo>
                    <a:pt x="680" y="450"/>
                  </a:lnTo>
                  <a:lnTo>
                    <a:pt x="680" y="447"/>
                  </a:lnTo>
                  <a:lnTo>
                    <a:pt x="683" y="447"/>
                  </a:lnTo>
                  <a:lnTo>
                    <a:pt x="683" y="443"/>
                  </a:lnTo>
                  <a:lnTo>
                    <a:pt x="683" y="440"/>
                  </a:lnTo>
                  <a:lnTo>
                    <a:pt x="685" y="433"/>
                  </a:lnTo>
                  <a:lnTo>
                    <a:pt x="690" y="431"/>
                  </a:lnTo>
                  <a:lnTo>
                    <a:pt x="690" y="427"/>
                  </a:lnTo>
                  <a:lnTo>
                    <a:pt x="688" y="427"/>
                  </a:lnTo>
                  <a:lnTo>
                    <a:pt x="685" y="427"/>
                  </a:lnTo>
                  <a:lnTo>
                    <a:pt x="685" y="424"/>
                  </a:lnTo>
                  <a:lnTo>
                    <a:pt x="688" y="422"/>
                  </a:lnTo>
                  <a:lnTo>
                    <a:pt x="688" y="415"/>
                  </a:lnTo>
                  <a:lnTo>
                    <a:pt x="685" y="413"/>
                  </a:lnTo>
                  <a:lnTo>
                    <a:pt x="685" y="410"/>
                  </a:lnTo>
                  <a:lnTo>
                    <a:pt x="685" y="408"/>
                  </a:lnTo>
                  <a:lnTo>
                    <a:pt x="685" y="403"/>
                  </a:lnTo>
                  <a:lnTo>
                    <a:pt x="685" y="403"/>
                  </a:lnTo>
                  <a:lnTo>
                    <a:pt x="681" y="400"/>
                  </a:lnTo>
                  <a:lnTo>
                    <a:pt x="676" y="401"/>
                  </a:lnTo>
                  <a:lnTo>
                    <a:pt x="674" y="405"/>
                  </a:lnTo>
                  <a:lnTo>
                    <a:pt x="678" y="407"/>
                  </a:lnTo>
                  <a:lnTo>
                    <a:pt x="678" y="410"/>
                  </a:lnTo>
                  <a:lnTo>
                    <a:pt x="680" y="412"/>
                  </a:lnTo>
                  <a:lnTo>
                    <a:pt x="680" y="415"/>
                  </a:lnTo>
                  <a:lnTo>
                    <a:pt x="678" y="415"/>
                  </a:lnTo>
                  <a:lnTo>
                    <a:pt x="676" y="412"/>
                  </a:lnTo>
                  <a:lnTo>
                    <a:pt x="674" y="412"/>
                  </a:lnTo>
                  <a:lnTo>
                    <a:pt x="674" y="415"/>
                  </a:lnTo>
                  <a:lnTo>
                    <a:pt x="674" y="415"/>
                  </a:lnTo>
                  <a:lnTo>
                    <a:pt x="676" y="419"/>
                  </a:lnTo>
                  <a:lnTo>
                    <a:pt x="676" y="424"/>
                  </a:lnTo>
                  <a:lnTo>
                    <a:pt x="674" y="424"/>
                  </a:lnTo>
                  <a:lnTo>
                    <a:pt x="674" y="424"/>
                  </a:lnTo>
                  <a:lnTo>
                    <a:pt x="674" y="422"/>
                  </a:lnTo>
                  <a:lnTo>
                    <a:pt x="674" y="427"/>
                  </a:lnTo>
                  <a:lnTo>
                    <a:pt x="671" y="424"/>
                  </a:lnTo>
                  <a:lnTo>
                    <a:pt x="671" y="419"/>
                  </a:lnTo>
                  <a:lnTo>
                    <a:pt x="669" y="422"/>
                  </a:lnTo>
                  <a:lnTo>
                    <a:pt x="666" y="424"/>
                  </a:lnTo>
                  <a:lnTo>
                    <a:pt x="666" y="424"/>
                  </a:lnTo>
                  <a:lnTo>
                    <a:pt x="666" y="419"/>
                  </a:lnTo>
                  <a:lnTo>
                    <a:pt x="666" y="419"/>
                  </a:lnTo>
                  <a:lnTo>
                    <a:pt x="666" y="415"/>
                  </a:lnTo>
                  <a:lnTo>
                    <a:pt x="662" y="419"/>
                  </a:lnTo>
                  <a:lnTo>
                    <a:pt x="657" y="424"/>
                  </a:lnTo>
                  <a:lnTo>
                    <a:pt x="655" y="419"/>
                  </a:lnTo>
                  <a:lnTo>
                    <a:pt x="652" y="419"/>
                  </a:lnTo>
                  <a:lnTo>
                    <a:pt x="650" y="422"/>
                  </a:lnTo>
                  <a:lnTo>
                    <a:pt x="647" y="422"/>
                  </a:lnTo>
                  <a:lnTo>
                    <a:pt x="647" y="419"/>
                  </a:lnTo>
                  <a:lnTo>
                    <a:pt x="643" y="419"/>
                  </a:lnTo>
                  <a:lnTo>
                    <a:pt x="640" y="419"/>
                  </a:lnTo>
                  <a:lnTo>
                    <a:pt x="643" y="415"/>
                  </a:lnTo>
                  <a:lnTo>
                    <a:pt x="647" y="415"/>
                  </a:lnTo>
                  <a:lnTo>
                    <a:pt x="650" y="415"/>
                  </a:lnTo>
                  <a:lnTo>
                    <a:pt x="654" y="415"/>
                  </a:lnTo>
                  <a:lnTo>
                    <a:pt x="654" y="413"/>
                  </a:lnTo>
                  <a:lnTo>
                    <a:pt x="655" y="412"/>
                  </a:lnTo>
                  <a:lnTo>
                    <a:pt x="659" y="413"/>
                  </a:lnTo>
                  <a:lnTo>
                    <a:pt x="662" y="410"/>
                  </a:lnTo>
                  <a:lnTo>
                    <a:pt x="662" y="407"/>
                  </a:lnTo>
                  <a:lnTo>
                    <a:pt x="662" y="405"/>
                  </a:lnTo>
                  <a:lnTo>
                    <a:pt x="661" y="403"/>
                  </a:lnTo>
                  <a:lnTo>
                    <a:pt x="657" y="396"/>
                  </a:lnTo>
                  <a:lnTo>
                    <a:pt x="654" y="396"/>
                  </a:lnTo>
                  <a:lnTo>
                    <a:pt x="654" y="393"/>
                  </a:lnTo>
                  <a:lnTo>
                    <a:pt x="647" y="387"/>
                  </a:lnTo>
                  <a:lnTo>
                    <a:pt x="647" y="387"/>
                  </a:lnTo>
                  <a:lnTo>
                    <a:pt x="643" y="387"/>
                  </a:lnTo>
                  <a:lnTo>
                    <a:pt x="640" y="391"/>
                  </a:lnTo>
                  <a:lnTo>
                    <a:pt x="640" y="391"/>
                  </a:lnTo>
                  <a:lnTo>
                    <a:pt x="633" y="396"/>
                  </a:lnTo>
                  <a:lnTo>
                    <a:pt x="634" y="396"/>
                  </a:lnTo>
                  <a:lnTo>
                    <a:pt x="634" y="400"/>
                  </a:lnTo>
                  <a:lnTo>
                    <a:pt x="633" y="400"/>
                  </a:lnTo>
                  <a:lnTo>
                    <a:pt x="629" y="401"/>
                  </a:lnTo>
                  <a:lnTo>
                    <a:pt x="629" y="400"/>
                  </a:lnTo>
                  <a:lnTo>
                    <a:pt x="628" y="400"/>
                  </a:lnTo>
                  <a:lnTo>
                    <a:pt x="624" y="398"/>
                  </a:lnTo>
                  <a:lnTo>
                    <a:pt x="621" y="398"/>
                  </a:lnTo>
                  <a:lnTo>
                    <a:pt x="621" y="400"/>
                  </a:lnTo>
                  <a:lnTo>
                    <a:pt x="617" y="400"/>
                  </a:lnTo>
                  <a:lnTo>
                    <a:pt x="615" y="398"/>
                  </a:lnTo>
                  <a:lnTo>
                    <a:pt x="617" y="396"/>
                  </a:lnTo>
                  <a:lnTo>
                    <a:pt x="621" y="396"/>
                  </a:lnTo>
                  <a:lnTo>
                    <a:pt x="624" y="393"/>
                  </a:lnTo>
                  <a:lnTo>
                    <a:pt x="626" y="393"/>
                  </a:lnTo>
                  <a:lnTo>
                    <a:pt x="628" y="393"/>
                  </a:lnTo>
                  <a:lnTo>
                    <a:pt x="629" y="387"/>
                  </a:lnTo>
                  <a:lnTo>
                    <a:pt x="631" y="386"/>
                  </a:lnTo>
                  <a:lnTo>
                    <a:pt x="631" y="384"/>
                  </a:lnTo>
                  <a:lnTo>
                    <a:pt x="634" y="384"/>
                  </a:lnTo>
                  <a:lnTo>
                    <a:pt x="638" y="379"/>
                  </a:lnTo>
                  <a:lnTo>
                    <a:pt x="636" y="373"/>
                  </a:lnTo>
                  <a:lnTo>
                    <a:pt x="638" y="370"/>
                  </a:lnTo>
                  <a:lnTo>
                    <a:pt x="636" y="368"/>
                  </a:lnTo>
                  <a:lnTo>
                    <a:pt x="633" y="368"/>
                  </a:lnTo>
                  <a:lnTo>
                    <a:pt x="628" y="368"/>
                  </a:lnTo>
                  <a:lnTo>
                    <a:pt x="621" y="370"/>
                  </a:lnTo>
                  <a:lnTo>
                    <a:pt x="615" y="373"/>
                  </a:lnTo>
                  <a:lnTo>
                    <a:pt x="603" y="375"/>
                  </a:lnTo>
                  <a:lnTo>
                    <a:pt x="589" y="380"/>
                  </a:lnTo>
                  <a:lnTo>
                    <a:pt x="584" y="386"/>
                  </a:lnTo>
                  <a:lnTo>
                    <a:pt x="574" y="387"/>
                  </a:lnTo>
                  <a:lnTo>
                    <a:pt x="563" y="393"/>
                  </a:lnTo>
                  <a:lnTo>
                    <a:pt x="558" y="396"/>
                  </a:lnTo>
                  <a:lnTo>
                    <a:pt x="558" y="400"/>
                  </a:lnTo>
                  <a:lnTo>
                    <a:pt x="562" y="400"/>
                  </a:lnTo>
                  <a:lnTo>
                    <a:pt x="563" y="400"/>
                  </a:lnTo>
                  <a:lnTo>
                    <a:pt x="560" y="403"/>
                  </a:lnTo>
                  <a:lnTo>
                    <a:pt x="556" y="403"/>
                  </a:lnTo>
                  <a:lnTo>
                    <a:pt x="549" y="408"/>
                  </a:lnTo>
                  <a:lnTo>
                    <a:pt x="544" y="408"/>
                  </a:lnTo>
                  <a:lnTo>
                    <a:pt x="542" y="410"/>
                  </a:lnTo>
                  <a:lnTo>
                    <a:pt x="542" y="413"/>
                  </a:lnTo>
                  <a:lnTo>
                    <a:pt x="539" y="415"/>
                  </a:lnTo>
                  <a:lnTo>
                    <a:pt x="535" y="419"/>
                  </a:lnTo>
                  <a:lnTo>
                    <a:pt x="535" y="424"/>
                  </a:lnTo>
                  <a:lnTo>
                    <a:pt x="539" y="424"/>
                  </a:lnTo>
                  <a:lnTo>
                    <a:pt x="539" y="424"/>
                  </a:lnTo>
                  <a:lnTo>
                    <a:pt x="539" y="427"/>
                  </a:lnTo>
                  <a:lnTo>
                    <a:pt x="539" y="427"/>
                  </a:lnTo>
                  <a:lnTo>
                    <a:pt x="542" y="427"/>
                  </a:lnTo>
                  <a:lnTo>
                    <a:pt x="544" y="424"/>
                  </a:lnTo>
                  <a:lnTo>
                    <a:pt x="548" y="427"/>
                  </a:lnTo>
                  <a:lnTo>
                    <a:pt x="551" y="427"/>
                  </a:lnTo>
                  <a:lnTo>
                    <a:pt x="549" y="429"/>
                  </a:lnTo>
                  <a:lnTo>
                    <a:pt x="548" y="431"/>
                  </a:lnTo>
                  <a:lnTo>
                    <a:pt x="542" y="429"/>
                  </a:lnTo>
                  <a:lnTo>
                    <a:pt x="539" y="431"/>
                  </a:lnTo>
                  <a:lnTo>
                    <a:pt x="539" y="434"/>
                  </a:lnTo>
                  <a:lnTo>
                    <a:pt x="548" y="438"/>
                  </a:lnTo>
                  <a:lnTo>
                    <a:pt x="548" y="436"/>
                  </a:lnTo>
                  <a:lnTo>
                    <a:pt x="548" y="433"/>
                  </a:lnTo>
                  <a:lnTo>
                    <a:pt x="551" y="433"/>
                  </a:lnTo>
                  <a:lnTo>
                    <a:pt x="551" y="434"/>
                  </a:lnTo>
                  <a:lnTo>
                    <a:pt x="551" y="438"/>
                  </a:lnTo>
                  <a:lnTo>
                    <a:pt x="553" y="438"/>
                  </a:lnTo>
                  <a:lnTo>
                    <a:pt x="560" y="438"/>
                  </a:lnTo>
                  <a:lnTo>
                    <a:pt x="565" y="436"/>
                  </a:lnTo>
                  <a:lnTo>
                    <a:pt x="567" y="436"/>
                  </a:lnTo>
                  <a:lnTo>
                    <a:pt x="572" y="440"/>
                  </a:lnTo>
                  <a:lnTo>
                    <a:pt x="575" y="438"/>
                  </a:lnTo>
                  <a:lnTo>
                    <a:pt x="579" y="440"/>
                  </a:lnTo>
                  <a:lnTo>
                    <a:pt x="581" y="443"/>
                  </a:lnTo>
                  <a:lnTo>
                    <a:pt x="584" y="443"/>
                  </a:lnTo>
                  <a:lnTo>
                    <a:pt x="582" y="445"/>
                  </a:lnTo>
                  <a:lnTo>
                    <a:pt x="581" y="445"/>
                  </a:lnTo>
                  <a:lnTo>
                    <a:pt x="575" y="441"/>
                  </a:lnTo>
                  <a:lnTo>
                    <a:pt x="570" y="441"/>
                  </a:lnTo>
                  <a:lnTo>
                    <a:pt x="567" y="443"/>
                  </a:lnTo>
                  <a:lnTo>
                    <a:pt x="572" y="445"/>
                  </a:lnTo>
                  <a:lnTo>
                    <a:pt x="572" y="447"/>
                  </a:lnTo>
                  <a:lnTo>
                    <a:pt x="567" y="447"/>
                  </a:lnTo>
                  <a:lnTo>
                    <a:pt x="565" y="445"/>
                  </a:lnTo>
                  <a:lnTo>
                    <a:pt x="558" y="445"/>
                  </a:lnTo>
                  <a:lnTo>
                    <a:pt x="556" y="447"/>
                  </a:lnTo>
                  <a:lnTo>
                    <a:pt x="553" y="445"/>
                  </a:lnTo>
                  <a:lnTo>
                    <a:pt x="551" y="445"/>
                  </a:lnTo>
                  <a:lnTo>
                    <a:pt x="548" y="447"/>
                  </a:lnTo>
                  <a:lnTo>
                    <a:pt x="548" y="447"/>
                  </a:lnTo>
                  <a:lnTo>
                    <a:pt x="539" y="447"/>
                  </a:lnTo>
                  <a:lnTo>
                    <a:pt x="537" y="447"/>
                  </a:lnTo>
                  <a:lnTo>
                    <a:pt x="530" y="447"/>
                  </a:lnTo>
                  <a:lnTo>
                    <a:pt x="529" y="452"/>
                  </a:lnTo>
                  <a:lnTo>
                    <a:pt x="530" y="460"/>
                  </a:lnTo>
                  <a:lnTo>
                    <a:pt x="532" y="462"/>
                  </a:lnTo>
                  <a:lnTo>
                    <a:pt x="530" y="467"/>
                  </a:lnTo>
                  <a:lnTo>
                    <a:pt x="530" y="467"/>
                  </a:lnTo>
                  <a:lnTo>
                    <a:pt x="530" y="471"/>
                  </a:lnTo>
                  <a:lnTo>
                    <a:pt x="532" y="473"/>
                  </a:lnTo>
                  <a:lnTo>
                    <a:pt x="535" y="471"/>
                  </a:lnTo>
                  <a:lnTo>
                    <a:pt x="537" y="471"/>
                  </a:lnTo>
                  <a:lnTo>
                    <a:pt x="539" y="473"/>
                  </a:lnTo>
                  <a:lnTo>
                    <a:pt x="542" y="473"/>
                  </a:lnTo>
                  <a:lnTo>
                    <a:pt x="542" y="471"/>
                  </a:lnTo>
                  <a:lnTo>
                    <a:pt x="542" y="471"/>
                  </a:lnTo>
                  <a:lnTo>
                    <a:pt x="544" y="473"/>
                  </a:lnTo>
                  <a:lnTo>
                    <a:pt x="548" y="474"/>
                  </a:lnTo>
                  <a:lnTo>
                    <a:pt x="548" y="473"/>
                  </a:lnTo>
                  <a:lnTo>
                    <a:pt x="549" y="474"/>
                  </a:lnTo>
                  <a:lnTo>
                    <a:pt x="549" y="474"/>
                  </a:lnTo>
                  <a:lnTo>
                    <a:pt x="553" y="478"/>
                  </a:lnTo>
                  <a:lnTo>
                    <a:pt x="555" y="474"/>
                  </a:lnTo>
                  <a:lnTo>
                    <a:pt x="556" y="474"/>
                  </a:lnTo>
                  <a:lnTo>
                    <a:pt x="558" y="478"/>
                  </a:lnTo>
                  <a:lnTo>
                    <a:pt x="563" y="478"/>
                  </a:lnTo>
                  <a:lnTo>
                    <a:pt x="565" y="478"/>
                  </a:lnTo>
                  <a:lnTo>
                    <a:pt x="567" y="478"/>
                  </a:lnTo>
                  <a:lnTo>
                    <a:pt x="570" y="478"/>
                  </a:lnTo>
                  <a:lnTo>
                    <a:pt x="572" y="478"/>
                  </a:lnTo>
                  <a:lnTo>
                    <a:pt x="575" y="478"/>
                  </a:lnTo>
                  <a:lnTo>
                    <a:pt x="579" y="478"/>
                  </a:lnTo>
                  <a:lnTo>
                    <a:pt x="582" y="478"/>
                  </a:lnTo>
                  <a:lnTo>
                    <a:pt x="584" y="480"/>
                  </a:lnTo>
                  <a:lnTo>
                    <a:pt x="586" y="480"/>
                  </a:lnTo>
                  <a:lnTo>
                    <a:pt x="586" y="481"/>
                  </a:lnTo>
                  <a:lnTo>
                    <a:pt x="589" y="485"/>
                  </a:lnTo>
                  <a:lnTo>
                    <a:pt x="589" y="487"/>
                  </a:lnTo>
                  <a:lnTo>
                    <a:pt x="589" y="488"/>
                  </a:lnTo>
                  <a:lnTo>
                    <a:pt x="593" y="488"/>
                  </a:lnTo>
                  <a:lnTo>
                    <a:pt x="595" y="488"/>
                  </a:lnTo>
                  <a:lnTo>
                    <a:pt x="596" y="492"/>
                  </a:lnTo>
                  <a:lnTo>
                    <a:pt x="598" y="492"/>
                  </a:lnTo>
                  <a:lnTo>
                    <a:pt x="600" y="493"/>
                  </a:lnTo>
                  <a:lnTo>
                    <a:pt x="600" y="495"/>
                  </a:lnTo>
                  <a:lnTo>
                    <a:pt x="598" y="497"/>
                  </a:lnTo>
                  <a:lnTo>
                    <a:pt x="601" y="500"/>
                  </a:lnTo>
                  <a:lnTo>
                    <a:pt x="607" y="502"/>
                  </a:lnTo>
                  <a:lnTo>
                    <a:pt x="607" y="506"/>
                  </a:lnTo>
                  <a:lnTo>
                    <a:pt x="605" y="506"/>
                  </a:lnTo>
                  <a:lnTo>
                    <a:pt x="607" y="509"/>
                  </a:lnTo>
                  <a:lnTo>
                    <a:pt x="605" y="506"/>
                  </a:lnTo>
                  <a:lnTo>
                    <a:pt x="598" y="506"/>
                  </a:lnTo>
                  <a:lnTo>
                    <a:pt x="593" y="506"/>
                  </a:lnTo>
                  <a:lnTo>
                    <a:pt x="593" y="506"/>
                  </a:lnTo>
                  <a:lnTo>
                    <a:pt x="589" y="506"/>
                  </a:lnTo>
                  <a:lnTo>
                    <a:pt x="589" y="506"/>
                  </a:lnTo>
                  <a:lnTo>
                    <a:pt x="586" y="506"/>
                  </a:lnTo>
                  <a:lnTo>
                    <a:pt x="584" y="502"/>
                  </a:lnTo>
                  <a:lnTo>
                    <a:pt x="581" y="502"/>
                  </a:lnTo>
                  <a:lnTo>
                    <a:pt x="579" y="500"/>
                  </a:lnTo>
                  <a:lnTo>
                    <a:pt x="577" y="497"/>
                  </a:lnTo>
                  <a:lnTo>
                    <a:pt x="574" y="500"/>
                  </a:lnTo>
                  <a:lnTo>
                    <a:pt x="572" y="497"/>
                  </a:lnTo>
                  <a:lnTo>
                    <a:pt x="570" y="497"/>
                  </a:lnTo>
                  <a:lnTo>
                    <a:pt x="567" y="495"/>
                  </a:lnTo>
                  <a:lnTo>
                    <a:pt x="567" y="493"/>
                  </a:lnTo>
                  <a:lnTo>
                    <a:pt x="567" y="493"/>
                  </a:lnTo>
                  <a:lnTo>
                    <a:pt x="563" y="492"/>
                  </a:lnTo>
                  <a:lnTo>
                    <a:pt x="560" y="493"/>
                  </a:lnTo>
                  <a:lnTo>
                    <a:pt x="558" y="492"/>
                  </a:lnTo>
                  <a:lnTo>
                    <a:pt x="551" y="492"/>
                  </a:lnTo>
                  <a:lnTo>
                    <a:pt x="548" y="492"/>
                  </a:lnTo>
                  <a:lnTo>
                    <a:pt x="542" y="490"/>
                  </a:lnTo>
                  <a:lnTo>
                    <a:pt x="530" y="490"/>
                  </a:lnTo>
                  <a:lnTo>
                    <a:pt x="527" y="492"/>
                  </a:lnTo>
                  <a:lnTo>
                    <a:pt x="523" y="492"/>
                  </a:lnTo>
                  <a:lnTo>
                    <a:pt x="522" y="495"/>
                  </a:lnTo>
                  <a:lnTo>
                    <a:pt x="520" y="500"/>
                  </a:lnTo>
                  <a:lnTo>
                    <a:pt x="520" y="506"/>
                  </a:lnTo>
                  <a:lnTo>
                    <a:pt x="520" y="509"/>
                  </a:lnTo>
                  <a:lnTo>
                    <a:pt x="520" y="511"/>
                  </a:lnTo>
                  <a:lnTo>
                    <a:pt x="520" y="514"/>
                  </a:lnTo>
                  <a:lnTo>
                    <a:pt x="520" y="514"/>
                  </a:lnTo>
                  <a:lnTo>
                    <a:pt x="520" y="516"/>
                  </a:lnTo>
                  <a:lnTo>
                    <a:pt x="520" y="518"/>
                  </a:lnTo>
                  <a:lnTo>
                    <a:pt x="522" y="525"/>
                  </a:lnTo>
                  <a:lnTo>
                    <a:pt x="523" y="525"/>
                  </a:lnTo>
                  <a:lnTo>
                    <a:pt x="525" y="528"/>
                  </a:lnTo>
                  <a:lnTo>
                    <a:pt x="530" y="532"/>
                  </a:lnTo>
                  <a:lnTo>
                    <a:pt x="532" y="533"/>
                  </a:lnTo>
                  <a:lnTo>
                    <a:pt x="534" y="533"/>
                  </a:lnTo>
                  <a:lnTo>
                    <a:pt x="535" y="533"/>
                  </a:lnTo>
                  <a:lnTo>
                    <a:pt x="539" y="533"/>
                  </a:lnTo>
                  <a:lnTo>
                    <a:pt x="542" y="533"/>
                  </a:lnTo>
                  <a:lnTo>
                    <a:pt x="542" y="533"/>
                  </a:lnTo>
                  <a:lnTo>
                    <a:pt x="548" y="537"/>
                  </a:lnTo>
                  <a:lnTo>
                    <a:pt x="549" y="537"/>
                  </a:lnTo>
                  <a:lnTo>
                    <a:pt x="551" y="539"/>
                  </a:lnTo>
                  <a:lnTo>
                    <a:pt x="555" y="540"/>
                  </a:lnTo>
                  <a:lnTo>
                    <a:pt x="555" y="542"/>
                  </a:lnTo>
                  <a:lnTo>
                    <a:pt x="551" y="544"/>
                  </a:lnTo>
                  <a:lnTo>
                    <a:pt x="551" y="546"/>
                  </a:lnTo>
                  <a:lnTo>
                    <a:pt x="549" y="547"/>
                  </a:lnTo>
                  <a:lnTo>
                    <a:pt x="549" y="549"/>
                  </a:lnTo>
                  <a:lnTo>
                    <a:pt x="548" y="551"/>
                  </a:lnTo>
                  <a:lnTo>
                    <a:pt x="544" y="554"/>
                  </a:lnTo>
                  <a:lnTo>
                    <a:pt x="544" y="556"/>
                  </a:lnTo>
                  <a:lnTo>
                    <a:pt x="542" y="556"/>
                  </a:lnTo>
                  <a:lnTo>
                    <a:pt x="548" y="560"/>
                  </a:lnTo>
                  <a:lnTo>
                    <a:pt x="548" y="561"/>
                  </a:lnTo>
                  <a:lnTo>
                    <a:pt x="548" y="566"/>
                  </a:lnTo>
                  <a:lnTo>
                    <a:pt x="548" y="568"/>
                  </a:lnTo>
                  <a:lnTo>
                    <a:pt x="542" y="570"/>
                  </a:lnTo>
                  <a:lnTo>
                    <a:pt x="544" y="572"/>
                  </a:lnTo>
                  <a:lnTo>
                    <a:pt x="549" y="572"/>
                  </a:lnTo>
                  <a:lnTo>
                    <a:pt x="553" y="572"/>
                  </a:lnTo>
                  <a:lnTo>
                    <a:pt x="555" y="572"/>
                  </a:lnTo>
                  <a:lnTo>
                    <a:pt x="555" y="573"/>
                  </a:lnTo>
                  <a:lnTo>
                    <a:pt x="556" y="572"/>
                  </a:lnTo>
                  <a:lnTo>
                    <a:pt x="558" y="570"/>
                  </a:lnTo>
                  <a:lnTo>
                    <a:pt x="560" y="572"/>
                  </a:lnTo>
                  <a:lnTo>
                    <a:pt x="565" y="572"/>
                  </a:lnTo>
                  <a:lnTo>
                    <a:pt x="570" y="573"/>
                  </a:lnTo>
                  <a:lnTo>
                    <a:pt x="570" y="572"/>
                  </a:lnTo>
                  <a:lnTo>
                    <a:pt x="575" y="572"/>
                  </a:lnTo>
                  <a:lnTo>
                    <a:pt x="577" y="573"/>
                  </a:lnTo>
                  <a:lnTo>
                    <a:pt x="577" y="573"/>
                  </a:lnTo>
                  <a:lnTo>
                    <a:pt x="579" y="573"/>
                  </a:lnTo>
                  <a:lnTo>
                    <a:pt x="581" y="572"/>
                  </a:lnTo>
                  <a:lnTo>
                    <a:pt x="582" y="573"/>
                  </a:lnTo>
                  <a:lnTo>
                    <a:pt x="584" y="575"/>
                  </a:lnTo>
                  <a:lnTo>
                    <a:pt x="586" y="575"/>
                  </a:lnTo>
                  <a:lnTo>
                    <a:pt x="588" y="573"/>
                  </a:lnTo>
                  <a:lnTo>
                    <a:pt x="589" y="575"/>
                  </a:lnTo>
                  <a:lnTo>
                    <a:pt x="589" y="577"/>
                  </a:lnTo>
                  <a:lnTo>
                    <a:pt x="589" y="577"/>
                  </a:lnTo>
                  <a:lnTo>
                    <a:pt x="593" y="575"/>
                  </a:lnTo>
                  <a:lnTo>
                    <a:pt x="595" y="575"/>
                  </a:lnTo>
                  <a:lnTo>
                    <a:pt x="598" y="573"/>
                  </a:lnTo>
                  <a:lnTo>
                    <a:pt x="600" y="572"/>
                  </a:lnTo>
                  <a:lnTo>
                    <a:pt x="603" y="572"/>
                  </a:lnTo>
                  <a:lnTo>
                    <a:pt x="607" y="568"/>
                  </a:lnTo>
                  <a:lnTo>
                    <a:pt x="610" y="566"/>
                  </a:lnTo>
                  <a:lnTo>
                    <a:pt x="612" y="566"/>
                  </a:lnTo>
                  <a:lnTo>
                    <a:pt x="615" y="565"/>
                  </a:lnTo>
                  <a:lnTo>
                    <a:pt x="617" y="565"/>
                  </a:lnTo>
                  <a:lnTo>
                    <a:pt x="621" y="565"/>
                  </a:lnTo>
                  <a:lnTo>
                    <a:pt x="624" y="565"/>
                  </a:lnTo>
                  <a:lnTo>
                    <a:pt x="624" y="566"/>
                  </a:lnTo>
                  <a:lnTo>
                    <a:pt x="631" y="566"/>
                  </a:lnTo>
                  <a:lnTo>
                    <a:pt x="638" y="561"/>
                  </a:lnTo>
                  <a:lnTo>
                    <a:pt x="640" y="560"/>
                  </a:lnTo>
                  <a:lnTo>
                    <a:pt x="640" y="560"/>
                  </a:lnTo>
                  <a:lnTo>
                    <a:pt x="640" y="560"/>
                  </a:lnTo>
                  <a:lnTo>
                    <a:pt x="643" y="560"/>
                  </a:lnTo>
                  <a:lnTo>
                    <a:pt x="643" y="556"/>
                  </a:lnTo>
                  <a:lnTo>
                    <a:pt x="643" y="556"/>
                  </a:lnTo>
                  <a:lnTo>
                    <a:pt x="647" y="554"/>
                  </a:lnTo>
                  <a:lnTo>
                    <a:pt x="647" y="556"/>
                  </a:lnTo>
                  <a:lnTo>
                    <a:pt x="648" y="554"/>
                  </a:lnTo>
                  <a:lnTo>
                    <a:pt x="650" y="553"/>
                  </a:lnTo>
                  <a:lnTo>
                    <a:pt x="650" y="551"/>
                  </a:lnTo>
                  <a:lnTo>
                    <a:pt x="652" y="553"/>
                  </a:lnTo>
                  <a:lnTo>
                    <a:pt x="652" y="551"/>
                  </a:lnTo>
                  <a:lnTo>
                    <a:pt x="654" y="554"/>
                  </a:lnTo>
                  <a:lnTo>
                    <a:pt x="654" y="556"/>
                  </a:lnTo>
                  <a:lnTo>
                    <a:pt x="655" y="556"/>
                  </a:lnTo>
                  <a:lnTo>
                    <a:pt x="652" y="560"/>
                  </a:lnTo>
                  <a:lnTo>
                    <a:pt x="652" y="560"/>
                  </a:lnTo>
                  <a:lnTo>
                    <a:pt x="650" y="561"/>
                  </a:lnTo>
                  <a:lnTo>
                    <a:pt x="648" y="565"/>
                  </a:lnTo>
                  <a:lnTo>
                    <a:pt x="650" y="565"/>
                  </a:lnTo>
                  <a:lnTo>
                    <a:pt x="652" y="565"/>
                  </a:lnTo>
                  <a:lnTo>
                    <a:pt x="655" y="566"/>
                  </a:lnTo>
                  <a:lnTo>
                    <a:pt x="655" y="566"/>
                  </a:lnTo>
                  <a:lnTo>
                    <a:pt x="657" y="566"/>
                  </a:lnTo>
                  <a:lnTo>
                    <a:pt x="661" y="566"/>
                  </a:lnTo>
                  <a:lnTo>
                    <a:pt x="662" y="570"/>
                  </a:lnTo>
                  <a:lnTo>
                    <a:pt x="662" y="572"/>
                  </a:lnTo>
                  <a:lnTo>
                    <a:pt x="662" y="570"/>
                  </a:lnTo>
                  <a:lnTo>
                    <a:pt x="662" y="570"/>
                  </a:lnTo>
                  <a:lnTo>
                    <a:pt x="666" y="570"/>
                  </a:lnTo>
                  <a:lnTo>
                    <a:pt x="666" y="572"/>
                  </a:lnTo>
                  <a:lnTo>
                    <a:pt x="662" y="575"/>
                  </a:lnTo>
                  <a:lnTo>
                    <a:pt x="662" y="575"/>
                  </a:lnTo>
                  <a:lnTo>
                    <a:pt x="661" y="577"/>
                  </a:lnTo>
                  <a:lnTo>
                    <a:pt x="661" y="579"/>
                  </a:lnTo>
                  <a:lnTo>
                    <a:pt x="662" y="579"/>
                  </a:lnTo>
                  <a:lnTo>
                    <a:pt x="662" y="579"/>
                  </a:lnTo>
                  <a:lnTo>
                    <a:pt x="666" y="582"/>
                  </a:lnTo>
                  <a:lnTo>
                    <a:pt x="669" y="580"/>
                  </a:lnTo>
                  <a:lnTo>
                    <a:pt x="671" y="577"/>
                  </a:lnTo>
                  <a:lnTo>
                    <a:pt x="671" y="577"/>
                  </a:lnTo>
                  <a:lnTo>
                    <a:pt x="671" y="580"/>
                  </a:lnTo>
                  <a:lnTo>
                    <a:pt x="674" y="584"/>
                  </a:lnTo>
                  <a:lnTo>
                    <a:pt x="676" y="584"/>
                  </a:lnTo>
                  <a:lnTo>
                    <a:pt x="678" y="584"/>
                  </a:lnTo>
                  <a:lnTo>
                    <a:pt x="680" y="584"/>
                  </a:lnTo>
                  <a:lnTo>
                    <a:pt x="681" y="584"/>
                  </a:lnTo>
                  <a:lnTo>
                    <a:pt x="685" y="584"/>
                  </a:lnTo>
                  <a:lnTo>
                    <a:pt x="685" y="587"/>
                  </a:lnTo>
                  <a:lnTo>
                    <a:pt x="685" y="587"/>
                  </a:lnTo>
                  <a:lnTo>
                    <a:pt x="685" y="584"/>
                  </a:lnTo>
                  <a:lnTo>
                    <a:pt x="688" y="584"/>
                  </a:lnTo>
                  <a:lnTo>
                    <a:pt x="692" y="584"/>
                  </a:lnTo>
                  <a:lnTo>
                    <a:pt x="694" y="584"/>
                  </a:lnTo>
                  <a:lnTo>
                    <a:pt x="694" y="587"/>
                  </a:lnTo>
                  <a:lnTo>
                    <a:pt x="694" y="587"/>
                  </a:lnTo>
                  <a:lnTo>
                    <a:pt x="697" y="587"/>
                  </a:lnTo>
                  <a:lnTo>
                    <a:pt x="697" y="584"/>
                  </a:lnTo>
                  <a:lnTo>
                    <a:pt x="699" y="584"/>
                  </a:lnTo>
                  <a:lnTo>
                    <a:pt x="699" y="587"/>
                  </a:lnTo>
                  <a:lnTo>
                    <a:pt x="701" y="587"/>
                  </a:lnTo>
                  <a:lnTo>
                    <a:pt x="702" y="587"/>
                  </a:lnTo>
                  <a:lnTo>
                    <a:pt x="702" y="584"/>
                  </a:lnTo>
                  <a:lnTo>
                    <a:pt x="704" y="584"/>
                  </a:lnTo>
                  <a:lnTo>
                    <a:pt x="707" y="584"/>
                  </a:lnTo>
                  <a:lnTo>
                    <a:pt x="707" y="584"/>
                  </a:lnTo>
                  <a:lnTo>
                    <a:pt x="709" y="584"/>
                  </a:lnTo>
                  <a:lnTo>
                    <a:pt x="711" y="584"/>
                  </a:lnTo>
                  <a:lnTo>
                    <a:pt x="711" y="584"/>
                  </a:lnTo>
                  <a:lnTo>
                    <a:pt x="711" y="584"/>
                  </a:lnTo>
                  <a:lnTo>
                    <a:pt x="711" y="584"/>
                  </a:lnTo>
                  <a:close/>
                  <a:moveTo>
                    <a:pt x="1029" y="706"/>
                  </a:moveTo>
                  <a:lnTo>
                    <a:pt x="1029" y="702"/>
                  </a:lnTo>
                  <a:lnTo>
                    <a:pt x="1029" y="702"/>
                  </a:lnTo>
                  <a:lnTo>
                    <a:pt x="1029" y="697"/>
                  </a:lnTo>
                  <a:lnTo>
                    <a:pt x="1029" y="693"/>
                  </a:lnTo>
                  <a:lnTo>
                    <a:pt x="1032" y="688"/>
                  </a:lnTo>
                  <a:lnTo>
                    <a:pt x="1034" y="685"/>
                  </a:lnTo>
                  <a:lnTo>
                    <a:pt x="1038" y="683"/>
                  </a:lnTo>
                  <a:lnTo>
                    <a:pt x="1043" y="674"/>
                  </a:lnTo>
                  <a:lnTo>
                    <a:pt x="1046" y="674"/>
                  </a:lnTo>
                  <a:lnTo>
                    <a:pt x="1048" y="674"/>
                  </a:lnTo>
                  <a:lnTo>
                    <a:pt x="1048" y="671"/>
                  </a:lnTo>
                  <a:lnTo>
                    <a:pt x="1052" y="674"/>
                  </a:lnTo>
                  <a:lnTo>
                    <a:pt x="1055" y="671"/>
                  </a:lnTo>
                  <a:lnTo>
                    <a:pt x="1057" y="674"/>
                  </a:lnTo>
                  <a:lnTo>
                    <a:pt x="1058" y="674"/>
                  </a:lnTo>
                  <a:lnTo>
                    <a:pt x="1060" y="674"/>
                  </a:lnTo>
                  <a:lnTo>
                    <a:pt x="1064" y="676"/>
                  </a:lnTo>
                  <a:lnTo>
                    <a:pt x="1065" y="681"/>
                  </a:lnTo>
                  <a:lnTo>
                    <a:pt x="1065" y="683"/>
                  </a:lnTo>
                  <a:lnTo>
                    <a:pt x="1062" y="686"/>
                  </a:lnTo>
                  <a:lnTo>
                    <a:pt x="1060" y="690"/>
                  </a:lnTo>
                  <a:lnTo>
                    <a:pt x="1060" y="693"/>
                  </a:lnTo>
                  <a:lnTo>
                    <a:pt x="1055" y="699"/>
                  </a:lnTo>
                  <a:lnTo>
                    <a:pt x="1055" y="702"/>
                  </a:lnTo>
                  <a:lnTo>
                    <a:pt x="1052" y="702"/>
                  </a:lnTo>
                  <a:lnTo>
                    <a:pt x="1048" y="706"/>
                  </a:lnTo>
                  <a:lnTo>
                    <a:pt x="1046" y="706"/>
                  </a:lnTo>
                  <a:lnTo>
                    <a:pt x="1043" y="706"/>
                  </a:lnTo>
                  <a:lnTo>
                    <a:pt x="1039" y="707"/>
                  </a:lnTo>
                  <a:lnTo>
                    <a:pt x="1038" y="706"/>
                  </a:lnTo>
                  <a:lnTo>
                    <a:pt x="1032" y="707"/>
                  </a:lnTo>
                  <a:lnTo>
                    <a:pt x="1032" y="706"/>
                  </a:lnTo>
                  <a:lnTo>
                    <a:pt x="1029" y="706"/>
                  </a:lnTo>
                  <a:lnTo>
                    <a:pt x="1029" y="706"/>
                  </a:lnTo>
                  <a:lnTo>
                    <a:pt x="1029" y="706"/>
                  </a:lnTo>
                  <a:lnTo>
                    <a:pt x="1029" y="706"/>
                  </a:lnTo>
                  <a:lnTo>
                    <a:pt x="1029" y="706"/>
                  </a:lnTo>
                  <a:close/>
                  <a:moveTo>
                    <a:pt x="727" y="573"/>
                  </a:moveTo>
                  <a:lnTo>
                    <a:pt x="725" y="572"/>
                  </a:lnTo>
                  <a:lnTo>
                    <a:pt x="727" y="570"/>
                  </a:lnTo>
                  <a:lnTo>
                    <a:pt x="728" y="570"/>
                  </a:lnTo>
                  <a:lnTo>
                    <a:pt x="727" y="566"/>
                  </a:lnTo>
                  <a:lnTo>
                    <a:pt x="728" y="565"/>
                  </a:lnTo>
                  <a:lnTo>
                    <a:pt x="730" y="565"/>
                  </a:lnTo>
                  <a:lnTo>
                    <a:pt x="730" y="566"/>
                  </a:lnTo>
                  <a:lnTo>
                    <a:pt x="732" y="568"/>
                  </a:lnTo>
                  <a:lnTo>
                    <a:pt x="732" y="570"/>
                  </a:lnTo>
                  <a:lnTo>
                    <a:pt x="730" y="573"/>
                  </a:lnTo>
                  <a:lnTo>
                    <a:pt x="728" y="572"/>
                  </a:lnTo>
                  <a:lnTo>
                    <a:pt x="727" y="575"/>
                  </a:lnTo>
                  <a:lnTo>
                    <a:pt x="727" y="573"/>
                  </a:lnTo>
                  <a:lnTo>
                    <a:pt x="727" y="573"/>
                  </a:lnTo>
                  <a:lnTo>
                    <a:pt x="727" y="573"/>
                  </a:lnTo>
                  <a:lnTo>
                    <a:pt x="727" y="573"/>
                  </a:lnTo>
                  <a:close/>
                  <a:moveTo>
                    <a:pt x="697" y="601"/>
                  </a:moveTo>
                  <a:lnTo>
                    <a:pt x="699" y="600"/>
                  </a:lnTo>
                  <a:lnTo>
                    <a:pt x="701" y="598"/>
                  </a:lnTo>
                  <a:lnTo>
                    <a:pt x="701" y="596"/>
                  </a:lnTo>
                  <a:lnTo>
                    <a:pt x="701" y="593"/>
                  </a:lnTo>
                  <a:lnTo>
                    <a:pt x="701" y="593"/>
                  </a:lnTo>
                  <a:lnTo>
                    <a:pt x="697" y="596"/>
                  </a:lnTo>
                  <a:lnTo>
                    <a:pt x="697" y="596"/>
                  </a:lnTo>
                  <a:lnTo>
                    <a:pt x="694" y="596"/>
                  </a:lnTo>
                  <a:lnTo>
                    <a:pt x="694" y="596"/>
                  </a:lnTo>
                  <a:lnTo>
                    <a:pt x="697" y="600"/>
                  </a:lnTo>
                  <a:lnTo>
                    <a:pt x="697" y="601"/>
                  </a:lnTo>
                  <a:lnTo>
                    <a:pt x="697" y="601"/>
                  </a:lnTo>
                  <a:lnTo>
                    <a:pt x="697" y="601"/>
                  </a:lnTo>
                  <a:lnTo>
                    <a:pt x="697" y="601"/>
                  </a:lnTo>
                  <a:close/>
                  <a:moveTo>
                    <a:pt x="732" y="596"/>
                  </a:moveTo>
                  <a:lnTo>
                    <a:pt x="728" y="596"/>
                  </a:lnTo>
                  <a:lnTo>
                    <a:pt x="727" y="598"/>
                  </a:lnTo>
                  <a:lnTo>
                    <a:pt x="727" y="600"/>
                  </a:lnTo>
                  <a:lnTo>
                    <a:pt x="725" y="596"/>
                  </a:lnTo>
                  <a:lnTo>
                    <a:pt x="725" y="596"/>
                  </a:lnTo>
                  <a:lnTo>
                    <a:pt x="727" y="589"/>
                  </a:lnTo>
                  <a:lnTo>
                    <a:pt x="727" y="587"/>
                  </a:lnTo>
                  <a:lnTo>
                    <a:pt x="728" y="587"/>
                  </a:lnTo>
                  <a:lnTo>
                    <a:pt x="730" y="587"/>
                  </a:lnTo>
                  <a:lnTo>
                    <a:pt x="730" y="587"/>
                  </a:lnTo>
                  <a:lnTo>
                    <a:pt x="734" y="591"/>
                  </a:lnTo>
                  <a:lnTo>
                    <a:pt x="732" y="596"/>
                  </a:lnTo>
                  <a:lnTo>
                    <a:pt x="732" y="596"/>
                  </a:lnTo>
                  <a:lnTo>
                    <a:pt x="732" y="596"/>
                  </a:lnTo>
                  <a:lnTo>
                    <a:pt x="732" y="596"/>
                  </a:lnTo>
                  <a:close/>
                  <a:moveTo>
                    <a:pt x="735" y="589"/>
                  </a:moveTo>
                  <a:lnTo>
                    <a:pt x="735" y="587"/>
                  </a:lnTo>
                  <a:lnTo>
                    <a:pt x="734" y="587"/>
                  </a:lnTo>
                  <a:lnTo>
                    <a:pt x="737" y="582"/>
                  </a:lnTo>
                  <a:lnTo>
                    <a:pt x="737" y="582"/>
                  </a:lnTo>
                  <a:lnTo>
                    <a:pt x="739" y="584"/>
                  </a:lnTo>
                  <a:lnTo>
                    <a:pt x="739" y="587"/>
                  </a:lnTo>
                  <a:lnTo>
                    <a:pt x="737" y="589"/>
                  </a:lnTo>
                  <a:lnTo>
                    <a:pt x="737" y="589"/>
                  </a:lnTo>
                  <a:lnTo>
                    <a:pt x="735" y="589"/>
                  </a:lnTo>
                  <a:lnTo>
                    <a:pt x="735" y="589"/>
                  </a:lnTo>
                  <a:lnTo>
                    <a:pt x="735" y="589"/>
                  </a:lnTo>
                  <a:lnTo>
                    <a:pt x="735" y="589"/>
                  </a:lnTo>
                  <a:close/>
                  <a:moveTo>
                    <a:pt x="798" y="591"/>
                  </a:moveTo>
                  <a:lnTo>
                    <a:pt x="801" y="587"/>
                  </a:lnTo>
                  <a:lnTo>
                    <a:pt x="803" y="582"/>
                  </a:lnTo>
                  <a:lnTo>
                    <a:pt x="807" y="584"/>
                  </a:lnTo>
                  <a:lnTo>
                    <a:pt x="807" y="587"/>
                  </a:lnTo>
                  <a:lnTo>
                    <a:pt x="803" y="593"/>
                  </a:lnTo>
                  <a:lnTo>
                    <a:pt x="801" y="593"/>
                  </a:lnTo>
                  <a:lnTo>
                    <a:pt x="801" y="591"/>
                  </a:lnTo>
                  <a:lnTo>
                    <a:pt x="801" y="587"/>
                  </a:lnTo>
                  <a:lnTo>
                    <a:pt x="801" y="589"/>
                  </a:lnTo>
                  <a:lnTo>
                    <a:pt x="801" y="591"/>
                  </a:lnTo>
                  <a:lnTo>
                    <a:pt x="801" y="591"/>
                  </a:lnTo>
                  <a:lnTo>
                    <a:pt x="798" y="591"/>
                  </a:lnTo>
                  <a:lnTo>
                    <a:pt x="798" y="591"/>
                  </a:lnTo>
                  <a:lnTo>
                    <a:pt x="798" y="591"/>
                  </a:lnTo>
                  <a:lnTo>
                    <a:pt x="798" y="591"/>
                  </a:lnTo>
                  <a:close/>
                  <a:moveTo>
                    <a:pt x="796" y="587"/>
                  </a:moveTo>
                  <a:lnTo>
                    <a:pt x="798" y="587"/>
                  </a:lnTo>
                  <a:lnTo>
                    <a:pt x="798" y="584"/>
                  </a:lnTo>
                  <a:lnTo>
                    <a:pt x="798" y="580"/>
                  </a:lnTo>
                  <a:lnTo>
                    <a:pt x="796" y="582"/>
                  </a:lnTo>
                  <a:lnTo>
                    <a:pt x="796" y="587"/>
                  </a:lnTo>
                  <a:lnTo>
                    <a:pt x="796" y="587"/>
                  </a:lnTo>
                  <a:lnTo>
                    <a:pt x="796" y="587"/>
                  </a:lnTo>
                  <a:lnTo>
                    <a:pt x="796" y="587"/>
                  </a:lnTo>
                  <a:close/>
                  <a:moveTo>
                    <a:pt x="793" y="619"/>
                  </a:moveTo>
                  <a:lnTo>
                    <a:pt x="796" y="615"/>
                  </a:lnTo>
                  <a:lnTo>
                    <a:pt x="801" y="612"/>
                  </a:lnTo>
                  <a:lnTo>
                    <a:pt x="801" y="610"/>
                  </a:lnTo>
                  <a:lnTo>
                    <a:pt x="796" y="612"/>
                  </a:lnTo>
                  <a:lnTo>
                    <a:pt x="793" y="608"/>
                  </a:lnTo>
                  <a:lnTo>
                    <a:pt x="798" y="601"/>
                  </a:lnTo>
                  <a:lnTo>
                    <a:pt x="798" y="598"/>
                  </a:lnTo>
                  <a:lnTo>
                    <a:pt x="796" y="600"/>
                  </a:lnTo>
                  <a:lnTo>
                    <a:pt x="793" y="605"/>
                  </a:lnTo>
                  <a:lnTo>
                    <a:pt x="793" y="601"/>
                  </a:lnTo>
                  <a:lnTo>
                    <a:pt x="796" y="593"/>
                  </a:lnTo>
                  <a:lnTo>
                    <a:pt x="793" y="584"/>
                  </a:lnTo>
                  <a:lnTo>
                    <a:pt x="789" y="580"/>
                  </a:lnTo>
                  <a:lnTo>
                    <a:pt x="789" y="575"/>
                  </a:lnTo>
                  <a:lnTo>
                    <a:pt x="786" y="575"/>
                  </a:lnTo>
                  <a:lnTo>
                    <a:pt x="782" y="579"/>
                  </a:lnTo>
                  <a:lnTo>
                    <a:pt x="782" y="575"/>
                  </a:lnTo>
                  <a:lnTo>
                    <a:pt x="786" y="573"/>
                  </a:lnTo>
                  <a:lnTo>
                    <a:pt x="784" y="570"/>
                  </a:lnTo>
                  <a:lnTo>
                    <a:pt x="784" y="566"/>
                  </a:lnTo>
                  <a:lnTo>
                    <a:pt x="784" y="565"/>
                  </a:lnTo>
                  <a:lnTo>
                    <a:pt x="779" y="565"/>
                  </a:lnTo>
                  <a:lnTo>
                    <a:pt x="773" y="568"/>
                  </a:lnTo>
                  <a:lnTo>
                    <a:pt x="772" y="575"/>
                  </a:lnTo>
                  <a:lnTo>
                    <a:pt x="773" y="580"/>
                  </a:lnTo>
                  <a:lnTo>
                    <a:pt x="770" y="579"/>
                  </a:lnTo>
                  <a:lnTo>
                    <a:pt x="770" y="575"/>
                  </a:lnTo>
                  <a:lnTo>
                    <a:pt x="767" y="573"/>
                  </a:lnTo>
                  <a:lnTo>
                    <a:pt x="767" y="579"/>
                  </a:lnTo>
                  <a:lnTo>
                    <a:pt x="767" y="579"/>
                  </a:lnTo>
                  <a:lnTo>
                    <a:pt x="767" y="582"/>
                  </a:lnTo>
                  <a:lnTo>
                    <a:pt x="765" y="584"/>
                  </a:lnTo>
                  <a:lnTo>
                    <a:pt x="763" y="584"/>
                  </a:lnTo>
                  <a:lnTo>
                    <a:pt x="761" y="587"/>
                  </a:lnTo>
                  <a:lnTo>
                    <a:pt x="754" y="587"/>
                  </a:lnTo>
                  <a:lnTo>
                    <a:pt x="753" y="587"/>
                  </a:lnTo>
                  <a:lnTo>
                    <a:pt x="751" y="587"/>
                  </a:lnTo>
                  <a:lnTo>
                    <a:pt x="744" y="591"/>
                  </a:lnTo>
                  <a:lnTo>
                    <a:pt x="744" y="596"/>
                  </a:lnTo>
                  <a:lnTo>
                    <a:pt x="747" y="600"/>
                  </a:lnTo>
                  <a:lnTo>
                    <a:pt x="749" y="598"/>
                  </a:lnTo>
                  <a:lnTo>
                    <a:pt x="749" y="596"/>
                  </a:lnTo>
                  <a:lnTo>
                    <a:pt x="749" y="593"/>
                  </a:lnTo>
                  <a:lnTo>
                    <a:pt x="753" y="596"/>
                  </a:lnTo>
                  <a:lnTo>
                    <a:pt x="753" y="601"/>
                  </a:lnTo>
                  <a:lnTo>
                    <a:pt x="756" y="605"/>
                  </a:lnTo>
                  <a:lnTo>
                    <a:pt x="758" y="601"/>
                  </a:lnTo>
                  <a:lnTo>
                    <a:pt x="760" y="603"/>
                  </a:lnTo>
                  <a:lnTo>
                    <a:pt x="758" y="606"/>
                  </a:lnTo>
                  <a:lnTo>
                    <a:pt x="761" y="612"/>
                  </a:lnTo>
                  <a:lnTo>
                    <a:pt x="765" y="612"/>
                  </a:lnTo>
                  <a:lnTo>
                    <a:pt x="767" y="615"/>
                  </a:lnTo>
                  <a:lnTo>
                    <a:pt x="770" y="619"/>
                  </a:lnTo>
                  <a:lnTo>
                    <a:pt x="772" y="615"/>
                  </a:lnTo>
                  <a:lnTo>
                    <a:pt x="772" y="619"/>
                  </a:lnTo>
                  <a:lnTo>
                    <a:pt x="775" y="620"/>
                  </a:lnTo>
                  <a:lnTo>
                    <a:pt x="779" y="620"/>
                  </a:lnTo>
                  <a:lnTo>
                    <a:pt x="782" y="620"/>
                  </a:lnTo>
                  <a:lnTo>
                    <a:pt x="786" y="619"/>
                  </a:lnTo>
                  <a:lnTo>
                    <a:pt x="787" y="619"/>
                  </a:lnTo>
                  <a:lnTo>
                    <a:pt x="793" y="615"/>
                  </a:lnTo>
                  <a:lnTo>
                    <a:pt x="793" y="619"/>
                  </a:lnTo>
                  <a:lnTo>
                    <a:pt x="793" y="619"/>
                  </a:lnTo>
                  <a:lnTo>
                    <a:pt x="793" y="619"/>
                  </a:lnTo>
                  <a:lnTo>
                    <a:pt x="793" y="619"/>
                  </a:lnTo>
                  <a:close/>
                  <a:moveTo>
                    <a:pt x="1142" y="593"/>
                  </a:moveTo>
                  <a:lnTo>
                    <a:pt x="1142" y="589"/>
                  </a:lnTo>
                  <a:lnTo>
                    <a:pt x="1140" y="587"/>
                  </a:lnTo>
                  <a:lnTo>
                    <a:pt x="1142" y="587"/>
                  </a:lnTo>
                  <a:lnTo>
                    <a:pt x="1145" y="584"/>
                  </a:lnTo>
                  <a:lnTo>
                    <a:pt x="1147" y="584"/>
                  </a:lnTo>
                  <a:lnTo>
                    <a:pt x="1147" y="587"/>
                  </a:lnTo>
                  <a:lnTo>
                    <a:pt x="1151" y="587"/>
                  </a:lnTo>
                  <a:lnTo>
                    <a:pt x="1151" y="587"/>
                  </a:lnTo>
                  <a:lnTo>
                    <a:pt x="1151" y="591"/>
                  </a:lnTo>
                  <a:lnTo>
                    <a:pt x="1147" y="591"/>
                  </a:lnTo>
                  <a:lnTo>
                    <a:pt x="1145" y="591"/>
                  </a:lnTo>
                  <a:lnTo>
                    <a:pt x="1144" y="591"/>
                  </a:lnTo>
                  <a:lnTo>
                    <a:pt x="1142" y="593"/>
                  </a:lnTo>
                  <a:lnTo>
                    <a:pt x="1142" y="593"/>
                  </a:lnTo>
                  <a:lnTo>
                    <a:pt x="1142" y="593"/>
                  </a:lnTo>
                  <a:lnTo>
                    <a:pt x="1142" y="593"/>
                  </a:lnTo>
                  <a:lnTo>
                    <a:pt x="1142" y="593"/>
                  </a:lnTo>
                  <a:lnTo>
                    <a:pt x="1142" y="593"/>
                  </a:lnTo>
                  <a:close/>
                  <a:moveTo>
                    <a:pt x="1133" y="893"/>
                  </a:moveTo>
                  <a:lnTo>
                    <a:pt x="1130" y="893"/>
                  </a:lnTo>
                  <a:lnTo>
                    <a:pt x="1128" y="890"/>
                  </a:lnTo>
                  <a:lnTo>
                    <a:pt x="1123" y="890"/>
                  </a:lnTo>
                  <a:lnTo>
                    <a:pt x="1121" y="888"/>
                  </a:lnTo>
                  <a:lnTo>
                    <a:pt x="1118" y="888"/>
                  </a:lnTo>
                  <a:lnTo>
                    <a:pt x="1112" y="883"/>
                  </a:lnTo>
                  <a:lnTo>
                    <a:pt x="1112" y="881"/>
                  </a:lnTo>
                  <a:lnTo>
                    <a:pt x="1109" y="879"/>
                  </a:lnTo>
                  <a:lnTo>
                    <a:pt x="1107" y="881"/>
                  </a:lnTo>
                  <a:lnTo>
                    <a:pt x="1105" y="879"/>
                  </a:lnTo>
                  <a:lnTo>
                    <a:pt x="1105" y="881"/>
                  </a:lnTo>
                  <a:lnTo>
                    <a:pt x="1100" y="878"/>
                  </a:lnTo>
                  <a:lnTo>
                    <a:pt x="1100" y="876"/>
                  </a:lnTo>
                  <a:lnTo>
                    <a:pt x="1097" y="874"/>
                  </a:lnTo>
                  <a:lnTo>
                    <a:pt x="1093" y="874"/>
                  </a:lnTo>
                  <a:lnTo>
                    <a:pt x="1091" y="871"/>
                  </a:lnTo>
                  <a:lnTo>
                    <a:pt x="1091" y="867"/>
                  </a:lnTo>
                  <a:lnTo>
                    <a:pt x="1090" y="867"/>
                  </a:lnTo>
                  <a:lnTo>
                    <a:pt x="1088" y="867"/>
                  </a:lnTo>
                  <a:lnTo>
                    <a:pt x="1086" y="866"/>
                  </a:lnTo>
                  <a:lnTo>
                    <a:pt x="1088" y="862"/>
                  </a:lnTo>
                  <a:lnTo>
                    <a:pt x="1090" y="862"/>
                  </a:lnTo>
                  <a:lnTo>
                    <a:pt x="1086" y="862"/>
                  </a:lnTo>
                  <a:lnTo>
                    <a:pt x="1085" y="862"/>
                  </a:lnTo>
                  <a:lnTo>
                    <a:pt x="1085" y="862"/>
                  </a:lnTo>
                  <a:lnTo>
                    <a:pt x="1083" y="862"/>
                  </a:lnTo>
                  <a:lnTo>
                    <a:pt x="1083" y="860"/>
                  </a:lnTo>
                  <a:lnTo>
                    <a:pt x="1079" y="860"/>
                  </a:lnTo>
                  <a:lnTo>
                    <a:pt x="1074" y="857"/>
                  </a:lnTo>
                  <a:lnTo>
                    <a:pt x="1071" y="857"/>
                  </a:lnTo>
                  <a:lnTo>
                    <a:pt x="1071" y="855"/>
                  </a:lnTo>
                  <a:lnTo>
                    <a:pt x="1067" y="852"/>
                  </a:lnTo>
                  <a:lnTo>
                    <a:pt x="1069" y="850"/>
                  </a:lnTo>
                  <a:lnTo>
                    <a:pt x="1065" y="850"/>
                  </a:lnTo>
                  <a:lnTo>
                    <a:pt x="1064" y="848"/>
                  </a:lnTo>
                  <a:lnTo>
                    <a:pt x="1062" y="845"/>
                  </a:lnTo>
                  <a:lnTo>
                    <a:pt x="1062" y="839"/>
                  </a:lnTo>
                  <a:lnTo>
                    <a:pt x="1058" y="839"/>
                  </a:lnTo>
                  <a:lnTo>
                    <a:pt x="1058" y="839"/>
                  </a:lnTo>
                  <a:lnTo>
                    <a:pt x="1064" y="839"/>
                  </a:lnTo>
                  <a:lnTo>
                    <a:pt x="1071" y="834"/>
                  </a:lnTo>
                  <a:lnTo>
                    <a:pt x="1071" y="833"/>
                  </a:lnTo>
                  <a:lnTo>
                    <a:pt x="1067" y="834"/>
                  </a:lnTo>
                  <a:lnTo>
                    <a:pt x="1064" y="829"/>
                  </a:lnTo>
                  <a:lnTo>
                    <a:pt x="1064" y="826"/>
                  </a:lnTo>
                  <a:lnTo>
                    <a:pt x="1064" y="824"/>
                  </a:lnTo>
                  <a:lnTo>
                    <a:pt x="1062" y="826"/>
                  </a:lnTo>
                  <a:lnTo>
                    <a:pt x="1060" y="829"/>
                  </a:lnTo>
                  <a:lnTo>
                    <a:pt x="1060" y="831"/>
                  </a:lnTo>
                  <a:lnTo>
                    <a:pt x="1057" y="827"/>
                  </a:lnTo>
                  <a:lnTo>
                    <a:pt x="1058" y="826"/>
                  </a:lnTo>
                  <a:lnTo>
                    <a:pt x="1058" y="820"/>
                  </a:lnTo>
                  <a:lnTo>
                    <a:pt x="1057" y="824"/>
                  </a:lnTo>
                  <a:lnTo>
                    <a:pt x="1055" y="822"/>
                  </a:lnTo>
                  <a:lnTo>
                    <a:pt x="1055" y="819"/>
                  </a:lnTo>
                  <a:lnTo>
                    <a:pt x="1055" y="819"/>
                  </a:lnTo>
                  <a:lnTo>
                    <a:pt x="1052" y="815"/>
                  </a:lnTo>
                  <a:lnTo>
                    <a:pt x="1052" y="815"/>
                  </a:lnTo>
                  <a:lnTo>
                    <a:pt x="1052" y="808"/>
                  </a:lnTo>
                  <a:lnTo>
                    <a:pt x="1048" y="808"/>
                  </a:lnTo>
                  <a:lnTo>
                    <a:pt x="1048" y="803"/>
                  </a:lnTo>
                  <a:lnTo>
                    <a:pt x="1052" y="801"/>
                  </a:lnTo>
                  <a:lnTo>
                    <a:pt x="1052" y="799"/>
                  </a:lnTo>
                  <a:lnTo>
                    <a:pt x="1046" y="803"/>
                  </a:lnTo>
                  <a:lnTo>
                    <a:pt x="1046" y="808"/>
                  </a:lnTo>
                  <a:lnTo>
                    <a:pt x="1043" y="806"/>
                  </a:lnTo>
                  <a:lnTo>
                    <a:pt x="1046" y="801"/>
                  </a:lnTo>
                  <a:lnTo>
                    <a:pt x="1043" y="801"/>
                  </a:lnTo>
                  <a:lnTo>
                    <a:pt x="1043" y="801"/>
                  </a:lnTo>
                  <a:lnTo>
                    <a:pt x="1041" y="801"/>
                  </a:lnTo>
                  <a:lnTo>
                    <a:pt x="1039" y="806"/>
                  </a:lnTo>
                  <a:lnTo>
                    <a:pt x="1036" y="808"/>
                  </a:lnTo>
                  <a:lnTo>
                    <a:pt x="1036" y="803"/>
                  </a:lnTo>
                  <a:lnTo>
                    <a:pt x="1039" y="801"/>
                  </a:lnTo>
                  <a:lnTo>
                    <a:pt x="1039" y="798"/>
                  </a:lnTo>
                  <a:lnTo>
                    <a:pt x="1039" y="796"/>
                  </a:lnTo>
                  <a:lnTo>
                    <a:pt x="1036" y="798"/>
                  </a:lnTo>
                  <a:lnTo>
                    <a:pt x="1034" y="799"/>
                  </a:lnTo>
                  <a:lnTo>
                    <a:pt x="1032" y="799"/>
                  </a:lnTo>
                  <a:lnTo>
                    <a:pt x="1029" y="803"/>
                  </a:lnTo>
                  <a:lnTo>
                    <a:pt x="1029" y="803"/>
                  </a:lnTo>
                  <a:lnTo>
                    <a:pt x="1024" y="803"/>
                  </a:lnTo>
                  <a:lnTo>
                    <a:pt x="1024" y="801"/>
                  </a:lnTo>
                  <a:lnTo>
                    <a:pt x="1020" y="801"/>
                  </a:lnTo>
                  <a:lnTo>
                    <a:pt x="1017" y="796"/>
                  </a:lnTo>
                  <a:lnTo>
                    <a:pt x="1017" y="796"/>
                  </a:lnTo>
                  <a:lnTo>
                    <a:pt x="1015" y="798"/>
                  </a:lnTo>
                  <a:lnTo>
                    <a:pt x="1015" y="801"/>
                  </a:lnTo>
                  <a:lnTo>
                    <a:pt x="1013" y="803"/>
                  </a:lnTo>
                  <a:lnTo>
                    <a:pt x="1010" y="803"/>
                  </a:lnTo>
                  <a:lnTo>
                    <a:pt x="1008" y="803"/>
                  </a:lnTo>
                  <a:lnTo>
                    <a:pt x="1005" y="803"/>
                  </a:lnTo>
                  <a:lnTo>
                    <a:pt x="1003" y="803"/>
                  </a:lnTo>
                  <a:lnTo>
                    <a:pt x="1001" y="803"/>
                  </a:lnTo>
                  <a:lnTo>
                    <a:pt x="998" y="806"/>
                  </a:lnTo>
                  <a:lnTo>
                    <a:pt x="996" y="803"/>
                  </a:lnTo>
                  <a:lnTo>
                    <a:pt x="991" y="803"/>
                  </a:lnTo>
                  <a:lnTo>
                    <a:pt x="992" y="803"/>
                  </a:lnTo>
                  <a:lnTo>
                    <a:pt x="989" y="798"/>
                  </a:lnTo>
                  <a:lnTo>
                    <a:pt x="987" y="799"/>
                  </a:lnTo>
                  <a:lnTo>
                    <a:pt x="984" y="796"/>
                  </a:lnTo>
                  <a:lnTo>
                    <a:pt x="980" y="789"/>
                  </a:lnTo>
                  <a:lnTo>
                    <a:pt x="982" y="786"/>
                  </a:lnTo>
                  <a:lnTo>
                    <a:pt x="985" y="784"/>
                  </a:lnTo>
                  <a:lnTo>
                    <a:pt x="985" y="780"/>
                  </a:lnTo>
                  <a:lnTo>
                    <a:pt x="987" y="779"/>
                  </a:lnTo>
                  <a:lnTo>
                    <a:pt x="991" y="779"/>
                  </a:lnTo>
                  <a:lnTo>
                    <a:pt x="994" y="775"/>
                  </a:lnTo>
                  <a:lnTo>
                    <a:pt x="998" y="775"/>
                  </a:lnTo>
                  <a:lnTo>
                    <a:pt x="998" y="775"/>
                  </a:lnTo>
                  <a:lnTo>
                    <a:pt x="998" y="773"/>
                  </a:lnTo>
                  <a:lnTo>
                    <a:pt x="998" y="772"/>
                  </a:lnTo>
                  <a:lnTo>
                    <a:pt x="998" y="768"/>
                  </a:lnTo>
                  <a:lnTo>
                    <a:pt x="998" y="768"/>
                  </a:lnTo>
                  <a:lnTo>
                    <a:pt x="998" y="768"/>
                  </a:lnTo>
                  <a:lnTo>
                    <a:pt x="1001" y="766"/>
                  </a:lnTo>
                  <a:lnTo>
                    <a:pt x="1001" y="765"/>
                  </a:lnTo>
                  <a:lnTo>
                    <a:pt x="1001" y="763"/>
                  </a:lnTo>
                  <a:lnTo>
                    <a:pt x="1003" y="770"/>
                  </a:lnTo>
                  <a:lnTo>
                    <a:pt x="1008" y="770"/>
                  </a:lnTo>
                  <a:lnTo>
                    <a:pt x="1012" y="773"/>
                  </a:lnTo>
                  <a:lnTo>
                    <a:pt x="1013" y="775"/>
                  </a:lnTo>
                  <a:lnTo>
                    <a:pt x="1015" y="775"/>
                  </a:lnTo>
                  <a:lnTo>
                    <a:pt x="1020" y="779"/>
                  </a:lnTo>
                  <a:lnTo>
                    <a:pt x="1020" y="775"/>
                  </a:lnTo>
                  <a:lnTo>
                    <a:pt x="1024" y="775"/>
                  </a:lnTo>
                  <a:lnTo>
                    <a:pt x="1024" y="779"/>
                  </a:lnTo>
                  <a:lnTo>
                    <a:pt x="1029" y="779"/>
                  </a:lnTo>
                  <a:lnTo>
                    <a:pt x="1032" y="779"/>
                  </a:lnTo>
                  <a:lnTo>
                    <a:pt x="1032" y="775"/>
                  </a:lnTo>
                  <a:lnTo>
                    <a:pt x="1034" y="773"/>
                  </a:lnTo>
                  <a:lnTo>
                    <a:pt x="1039" y="773"/>
                  </a:lnTo>
                  <a:lnTo>
                    <a:pt x="1039" y="773"/>
                  </a:lnTo>
                  <a:lnTo>
                    <a:pt x="1038" y="775"/>
                  </a:lnTo>
                  <a:lnTo>
                    <a:pt x="1041" y="775"/>
                  </a:lnTo>
                  <a:lnTo>
                    <a:pt x="1043" y="773"/>
                  </a:lnTo>
                  <a:lnTo>
                    <a:pt x="1046" y="772"/>
                  </a:lnTo>
                  <a:lnTo>
                    <a:pt x="1048" y="768"/>
                  </a:lnTo>
                  <a:lnTo>
                    <a:pt x="1052" y="772"/>
                  </a:lnTo>
                  <a:lnTo>
                    <a:pt x="1052" y="775"/>
                  </a:lnTo>
                  <a:lnTo>
                    <a:pt x="1052" y="779"/>
                  </a:lnTo>
                  <a:lnTo>
                    <a:pt x="1052" y="775"/>
                  </a:lnTo>
                  <a:lnTo>
                    <a:pt x="1055" y="773"/>
                  </a:lnTo>
                  <a:lnTo>
                    <a:pt x="1055" y="775"/>
                  </a:lnTo>
                  <a:lnTo>
                    <a:pt x="1057" y="773"/>
                  </a:lnTo>
                  <a:lnTo>
                    <a:pt x="1055" y="765"/>
                  </a:lnTo>
                  <a:lnTo>
                    <a:pt x="1052" y="760"/>
                  </a:lnTo>
                  <a:lnTo>
                    <a:pt x="1052" y="756"/>
                  </a:lnTo>
                  <a:lnTo>
                    <a:pt x="1052" y="753"/>
                  </a:lnTo>
                  <a:lnTo>
                    <a:pt x="1052" y="751"/>
                  </a:lnTo>
                  <a:lnTo>
                    <a:pt x="1052" y="749"/>
                  </a:lnTo>
                  <a:lnTo>
                    <a:pt x="1055" y="749"/>
                  </a:lnTo>
                  <a:lnTo>
                    <a:pt x="1058" y="744"/>
                  </a:lnTo>
                  <a:lnTo>
                    <a:pt x="1065" y="740"/>
                  </a:lnTo>
                  <a:lnTo>
                    <a:pt x="1069" y="739"/>
                  </a:lnTo>
                  <a:lnTo>
                    <a:pt x="1071" y="735"/>
                  </a:lnTo>
                  <a:lnTo>
                    <a:pt x="1074" y="735"/>
                  </a:lnTo>
                  <a:lnTo>
                    <a:pt x="1074" y="737"/>
                  </a:lnTo>
                  <a:lnTo>
                    <a:pt x="1078" y="735"/>
                  </a:lnTo>
                  <a:lnTo>
                    <a:pt x="1079" y="735"/>
                  </a:lnTo>
                  <a:lnTo>
                    <a:pt x="1074" y="733"/>
                  </a:lnTo>
                  <a:lnTo>
                    <a:pt x="1074" y="730"/>
                  </a:lnTo>
                  <a:lnTo>
                    <a:pt x="1083" y="725"/>
                  </a:lnTo>
                  <a:lnTo>
                    <a:pt x="1083" y="725"/>
                  </a:lnTo>
                  <a:lnTo>
                    <a:pt x="1083" y="721"/>
                  </a:lnTo>
                  <a:lnTo>
                    <a:pt x="1088" y="725"/>
                  </a:lnTo>
                  <a:lnTo>
                    <a:pt x="1093" y="721"/>
                  </a:lnTo>
                  <a:lnTo>
                    <a:pt x="1093" y="720"/>
                  </a:lnTo>
                  <a:lnTo>
                    <a:pt x="1093" y="716"/>
                  </a:lnTo>
                  <a:lnTo>
                    <a:pt x="1093" y="714"/>
                  </a:lnTo>
                  <a:lnTo>
                    <a:pt x="1093" y="707"/>
                  </a:lnTo>
                  <a:lnTo>
                    <a:pt x="1093" y="706"/>
                  </a:lnTo>
                  <a:lnTo>
                    <a:pt x="1093" y="706"/>
                  </a:lnTo>
                  <a:lnTo>
                    <a:pt x="1093" y="702"/>
                  </a:lnTo>
                  <a:lnTo>
                    <a:pt x="1097" y="699"/>
                  </a:lnTo>
                  <a:lnTo>
                    <a:pt x="1097" y="697"/>
                  </a:lnTo>
                  <a:lnTo>
                    <a:pt x="1093" y="697"/>
                  </a:lnTo>
                  <a:lnTo>
                    <a:pt x="1093" y="693"/>
                  </a:lnTo>
                  <a:lnTo>
                    <a:pt x="1097" y="690"/>
                  </a:lnTo>
                  <a:lnTo>
                    <a:pt x="1097" y="690"/>
                  </a:lnTo>
                  <a:lnTo>
                    <a:pt x="1097" y="686"/>
                  </a:lnTo>
                  <a:lnTo>
                    <a:pt x="1100" y="683"/>
                  </a:lnTo>
                  <a:lnTo>
                    <a:pt x="1100" y="681"/>
                  </a:lnTo>
                  <a:lnTo>
                    <a:pt x="1097" y="681"/>
                  </a:lnTo>
                  <a:lnTo>
                    <a:pt x="1097" y="685"/>
                  </a:lnTo>
                  <a:lnTo>
                    <a:pt x="1097" y="686"/>
                  </a:lnTo>
                  <a:lnTo>
                    <a:pt x="1093" y="686"/>
                  </a:lnTo>
                  <a:lnTo>
                    <a:pt x="1093" y="685"/>
                  </a:lnTo>
                  <a:lnTo>
                    <a:pt x="1093" y="681"/>
                  </a:lnTo>
                  <a:lnTo>
                    <a:pt x="1093" y="680"/>
                  </a:lnTo>
                  <a:lnTo>
                    <a:pt x="1086" y="680"/>
                  </a:lnTo>
                  <a:lnTo>
                    <a:pt x="1085" y="678"/>
                  </a:lnTo>
                  <a:lnTo>
                    <a:pt x="1085" y="676"/>
                  </a:lnTo>
                  <a:lnTo>
                    <a:pt x="1090" y="674"/>
                  </a:lnTo>
                  <a:lnTo>
                    <a:pt x="1090" y="674"/>
                  </a:lnTo>
                  <a:lnTo>
                    <a:pt x="1086" y="671"/>
                  </a:lnTo>
                  <a:lnTo>
                    <a:pt x="1088" y="669"/>
                  </a:lnTo>
                  <a:lnTo>
                    <a:pt x="1088" y="666"/>
                  </a:lnTo>
                  <a:lnTo>
                    <a:pt x="1085" y="664"/>
                  </a:lnTo>
                  <a:lnTo>
                    <a:pt x="1083" y="664"/>
                  </a:lnTo>
                  <a:lnTo>
                    <a:pt x="1083" y="666"/>
                  </a:lnTo>
                  <a:lnTo>
                    <a:pt x="1085" y="669"/>
                  </a:lnTo>
                  <a:lnTo>
                    <a:pt x="1083" y="671"/>
                  </a:lnTo>
                  <a:lnTo>
                    <a:pt x="1079" y="671"/>
                  </a:lnTo>
                  <a:lnTo>
                    <a:pt x="1078" y="669"/>
                  </a:lnTo>
                  <a:lnTo>
                    <a:pt x="1078" y="669"/>
                  </a:lnTo>
                  <a:lnTo>
                    <a:pt x="1078" y="664"/>
                  </a:lnTo>
                  <a:lnTo>
                    <a:pt x="1078" y="660"/>
                  </a:lnTo>
                  <a:lnTo>
                    <a:pt x="1078" y="659"/>
                  </a:lnTo>
                  <a:lnTo>
                    <a:pt x="1074" y="659"/>
                  </a:lnTo>
                  <a:lnTo>
                    <a:pt x="1074" y="659"/>
                  </a:lnTo>
                  <a:lnTo>
                    <a:pt x="1078" y="657"/>
                  </a:lnTo>
                  <a:lnTo>
                    <a:pt x="1078" y="655"/>
                  </a:lnTo>
                  <a:lnTo>
                    <a:pt x="1078" y="655"/>
                  </a:lnTo>
                  <a:lnTo>
                    <a:pt x="1078" y="653"/>
                  </a:lnTo>
                  <a:lnTo>
                    <a:pt x="1079" y="652"/>
                  </a:lnTo>
                  <a:lnTo>
                    <a:pt x="1079" y="650"/>
                  </a:lnTo>
                  <a:lnTo>
                    <a:pt x="1078" y="648"/>
                  </a:lnTo>
                  <a:lnTo>
                    <a:pt x="1074" y="652"/>
                  </a:lnTo>
                  <a:lnTo>
                    <a:pt x="1074" y="655"/>
                  </a:lnTo>
                  <a:lnTo>
                    <a:pt x="1071" y="657"/>
                  </a:lnTo>
                  <a:lnTo>
                    <a:pt x="1071" y="655"/>
                  </a:lnTo>
                  <a:lnTo>
                    <a:pt x="1071" y="652"/>
                  </a:lnTo>
                  <a:lnTo>
                    <a:pt x="1069" y="653"/>
                  </a:lnTo>
                  <a:lnTo>
                    <a:pt x="1067" y="655"/>
                  </a:lnTo>
                  <a:lnTo>
                    <a:pt x="1064" y="655"/>
                  </a:lnTo>
                  <a:lnTo>
                    <a:pt x="1062" y="657"/>
                  </a:lnTo>
                  <a:lnTo>
                    <a:pt x="1058" y="657"/>
                  </a:lnTo>
                  <a:lnTo>
                    <a:pt x="1055" y="659"/>
                  </a:lnTo>
                  <a:lnTo>
                    <a:pt x="1055" y="660"/>
                  </a:lnTo>
                  <a:lnTo>
                    <a:pt x="1055" y="660"/>
                  </a:lnTo>
                  <a:lnTo>
                    <a:pt x="1055" y="657"/>
                  </a:lnTo>
                  <a:lnTo>
                    <a:pt x="1055" y="655"/>
                  </a:lnTo>
                  <a:lnTo>
                    <a:pt x="1055" y="653"/>
                  </a:lnTo>
                  <a:lnTo>
                    <a:pt x="1055" y="653"/>
                  </a:lnTo>
                  <a:lnTo>
                    <a:pt x="1055" y="650"/>
                  </a:lnTo>
                  <a:lnTo>
                    <a:pt x="1057" y="648"/>
                  </a:lnTo>
                  <a:lnTo>
                    <a:pt x="1060" y="650"/>
                  </a:lnTo>
                  <a:lnTo>
                    <a:pt x="1062" y="650"/>
                  </a:lnTo>
                  <a:lnTo>
                    <a:pt x="1064" y="650"/>
                  </a:lnTo>
                  <a:lnTo>
                    <a:pt x="1065" y="650"/>
                  </a:lnTo>
                  <a:lnTo>
                    <a:pt x="1069" y="646"/>
                  </a:lnTo>
                  <a:lnTo>
                    <a:pt x="1069" y="643"/>
                  </a:lnTo>
                  <a:lnTo>
                    <a:pt x="1069" y="643"/>
                  </a:lnTo>
                  <a:lnTo>
                    <a:pt x="1065" y="641"/>
                  </a:lnTo>
                  <a:lnTo>
                    <a:pt x="1062" y="640"/>
                  </a:lnTo>
                  <a:lnTo>
                    <a:pt x="1062" y="638"/>
                  </a:lnTo>
                  <a:lnTo>
                    <a:pt x="1060" y="634"/>
                  </a:lnTo>
                  <a:lnTo>
                    <a:pt x="1060" y="634"/>
                  </a:lnTo>
                  <a:lnTo>
                    <a:pt x="1060" y="631"/>
                  </a:lnTo>
                  <a:lnTo>
                    <a:pt x="1057" y="631"/>
                  </a:lnTo>
                  <a:lnTo>
                    <a:pt x="1057" y="631"/>
                  </a:lnTo>
                  <a:lnTo>
                    <a:pt x="1055" y="629"/>
                  </a:lnTo>
                  <a:lnTo>
                    <a:pt x="1055" y="627"/>
                  </a:lnTo>
                  <a:lnTo>
                    <a:pt x="1057" y="626"/>
                  </a:lnTo>
                  <a:lnTo>
                    <a:pt x="1057" y="627"/>
                  </a:lnTo>
                  <a:lnTo>
                    <a:pt x="1058" y="626"/>
                  </a:lnTo>
                  <a:lnTo>
                    <a:pt x="1058" y="624"/>
                  </a:lnTo>
                  <a:lnTo>
                    <a:pt x="1062" y="624"/>
                  </a:lnTo>
                  <a:lnTo>
                    <a:pt x="1058" y="624"/>
                  </a:lnTo>
                  <a:lnTo>
                    <a:pt x="1055" y="619"/>
                  </a:lnTo>
                  <a:lnTo>
                    <a:pt x="1055" y="619"/>
                  </a:lnTo>
                  <a:lnTo>
                    <a:pt x="1055" y="619"/>
                  </a:lnTo>
                  <a:lnTo>
                    <a:pt x="1052" y="619"/>
                  </a:lnTo>
                  <a:lnTo>
                    <a:pt x="1048" y="620"/>
                  </a:lnTo>
                  <a:lnTo>
                    <a:pt x="1048" y="620"/>
                  </a:lnTo>
                  <a:lnTo>
                    <a:pt x="1048" y="619"/>
                  </a:lnTo>
                  <a:lnTo>
                    <a:pt x="1052" y="615"/>
                  </a:lnTo>
                  <a:lnTo>
                    <a:pt x="1055" y="610"/>
                  </a:lnTo>
                  <a:lnTo>
                    <a:pt x="1055" y="608"/>
                  </a:lnTo>
                  <a:lnTo>
                    <a:pt x="1055" y="605"/>
                  </a:lnTo>
                  <a:lnTo>
                    <a:pt x="1055" y="601"/>
                  </a:lnTo>
                  <a:lnTo>
                    <a:pt x="1057" y="598"/>
                  </a:lnTo>
                  <a:lnTo>
                    <a:pt x="1055" y="596"/>
                  </a:lnTo>
                  <a:lnTo>
                    <a:pt x="1052" y="598"/>
                  </a:lnTo>
                  <a:lnTo>
                    <a:pt x="1052" y="598"/>
                  </a:lnTo>
                  <a:lnTo>
                    <a:pt x="1052" y="598"/>
                  </a:lnTo>
                  <a:lnTo>
                    <a:pt x="1048" y="600"/>
                  </a:lnTo>
                  <a:lnTo>
                    <a:pt x="1048" y="600"/>
                  </a:lnTo>
                  <a:lnTo>
                    <a:pt x="1043" y="596"/>
                  </a:lnTo>
                  <a:lnTo>
                    <a:pt x="1043" y="593"/>
                  </a:lnTo>
                  <a:lnTo>
                    <a:pt x="1043" y="589"/>
                  </a:lnTo>
                  <a:lnTo>
                    <a:pt x="1041" y="589"/>
                  </a:lnTo>
                  <a:lnTo>
                    <a:pt x="1041" y="587"/>
                  </a:lnTo>
                  <a:lnTo>
                    <a:pt x="1043" y="584"/>
                  </a:lnTo>
                  <a:lnTo>
                    <a:pt x="1043" y="584"/>
                  </a:lnTo>
                  <a:lnTo>
                    <a:pt x="1043" y="582"/>
                  </a:lnTo>
                  <a:lnTo>
                    <a:pt x="1043" y="579"/>
                  </a:lnTo>
                  <a:lnTo>
                    <a:pt x="1043" y="579"/>
                  </a:lnTo>
                  <a:lnTo>
                    <a:pt x="1039" y="580"/>
                  </a:lnTo>
                  <a:lnTo>
                    <a:pt x="1039" y="584"/>
                  </a:lnTo>
                  <a:lnTo>
                    <a:pt x="1038" y="587"/>
                  </a:lnTo>
                  <a:lnTo>
                    <a:pt x="1038" y="584"/>
                  </a:lnTo>
                  <a:lnTo>
                    <a:pt x="1036" y="584"/>
                  </a:lnTo>
                  <a:lnTo>
                    <a:pt x="1034" y="584"/>
                  </a:lnTo>
                  <a:lnTo>
                    <a:pt x="1034" y="587"/>
                  </a:lnTo>
                  <a:lnTo>
                    <a:pt x="1032" y="587"/>
                  </a:lnTo>
                  <a:lnTo>
                    <a:pt x="1032" y="589"/>
                  </a:lnTo>
                  <a:lnTo>
                    <a:pt x="1034" y="596"/>
                  </a:lnTo>
                  <a:lnTo>
                    <a:pt x="1038" y="593"/>
                  </a:lnTo>
                  <a:lnTo>
                    <a:pt x="1039" y="600"/>
                  </a:lnTo>
                  <a:lnTo>
                    <a:pt x="1041" y="601"/>
                  </a:lnTo>
                  <a:lnTo>
                    <a:pt x="1041" y="605"/>
                  </a:lnTo>
                  <a:lnTo>
                    <a:pt x="1039" y="608"/>
                  </a:lnTo>
                  <a:lnTo>
                    <a:pt x="1038" y="612"/>
                  </a:lnTo>
                  <a:lnTo>
                    <a:pt x="1036" y="612"/>
                  </a:lnTo>
                  <a:lnTo>
                    <a:pt x="1029" y="612"/>
                  </a:lnTo>
                  <a:lnTo>
                    <a:pt x="1025" y="612"/>
                  </a:lnTo>
                  <a:lnTo>
                    <a:pt x="1024" y="612"/>
                  </a:lnTo>
                  <a:lnTo>
                    <a:pt x="1020" y="610"/>
                  </a:lnTo>
                  <a:lnTo>
                    <a:pt x="1020" y="610"/>
                  </a:lnTo>
                  <a:lnTo>
                    <a:pt x="1020" y="606"/>
                  </a:lnTo>
                  <a:lnTo>
                    <a:pt x="1017" y="606"/>
                  </a:lnTo>
                  <a:lnTo>
                    <a:pt x="1010" y="603"/>
                  </a:lnTo>
                  <a:lnTo>
                    <a:pt x="1005" y="603"/>
                  </a:lnTo>
                  <a:lnTo>
                    <a:pt x="1008" y="608"/>
                  </a:lnTo>
                  <a:lnTo>
                    <a:pt x="1010" y="612"/>
                  </a:lnTo>
                  <a:lnTo>
                    <a:pt x="1008" y="612"/>
                  </a:lnTo>
                  <a:lnTo>
                    <a:pt x="1006" y="612"/>
                  </a:lnTo>
                  <a:lnTo>
                    <a:pt x="1005" y="610"/>
                  </a:lnTo>
                  <a:lnTo>
                    <a:pt x="1001" y="606"/>
                  </a:lnTo>
                  <a:lnTo>
                    <a:pt x="1001" y="606"/>
                  </a:lnTo>
                  <a:lnTo>
                    <a:pt x="1001" y="603"/>
                  </a:lnTo>
                  <a:lnTo>
                    <a:pt x="998" y="600"/>
                  </a:lnTo>
                  <a:lnTo>
                    <a:pt x="994" y="596"/>
                  </a:lnTo>
                  <a:lnTo>
                    <a:pt x="994" y="596"/>
                  </a:lnTo>
                  <a:lnTo>
                    <a:pt x="991" y="596"/>
                  </a:lnTo>
                  <a:lnTo>
                    <a:pt x="989" y="591"/>
                  </a:lnTo>
                  <a:lnTo>
                    <a:pt x="985" y="589"/>
                  </a:lnTo>
                  <a:lnTo>
                    <a:pt x="985" y="589"/>
                  </a:lnTo>
                  <a:lnTo>
                    <a:pt x="982" y="587"/>
                  </a:lnTo>
                  <a:lnTo>
                    <a:pt x="984" y="589"/>
                  </a:lnTo>
                  <a:lnTo>
                    <a:pt x="991" y="596"/>
                  </a:lnTo>
                  <a:lnTo>
                    <a:pt x="991" y="598"/>
                  </a:lnTo>
                  <a:lnTo>
                    <a:pt x="994" y="601"/>
                  </a:lnTo>
                  <a:lnTo>
                    <a:pt x="996" y="603"/>
                  </a:lnTo>
                  <a:lnTo>
                    <a:pt x="998" y="605"/>
                  </a:lnTo>
                  <a:lnTo>
                    <a:pt x="996" y="608"/>
                  </a:lnTo>
                  <a:lnTo>
                    <a:pt x="994" y="606"/>
                  </a:lnTo>
                  <a:lnTo>
                    <a:pt x="992" y="608"/>
                  </a:lnTo>
                  <a:lnTo>
                    <a:pt x="987" y="605"/>
                  </a:lnTo>
                  <a:lnTo>
                    <a:pt x="985" y="605"/>
                  </a:lnTo>
                  <a:lnTo>
                    <a:pt x="984" y="603"/>
                  </a:lnTo>
                  <a:lnTo>
                    <a:pt x="980" y="601"/>
                  </a:lnTo>
                  <a:lnTo>
                    <a:pt x="980" y="598"/>
                  </a:lnTo>
                  <a:lnTo>
                    <a:pt x="975" y="600"/>
                  </a:lnTo>
                  <a:lnTo>
                    <a:pt x="970" y="601"/>
                  </a:lnTo>
                  <a:lnTo>
                    <a:pt x="970" y="600"/>
                  </a:lnTo>
                  <a:lnTo>
                    <a:pt x="966" y="598"/>
                  </a:lnTo>
                  <a:lnTo>
                    <a:pt x="963" y="598"/>
                  </a:lnTo>
                  <a:lnTo>
                    <a:pt x="961" y="596"/>
                  </a:lnTo>
                  <a:lnTo>
                    <a:pt x="956" y="593"/>
                  </a:lnTo>
                  <a:lnTo>
                    <a:pt x="956" y="591"/>
                  </a:lnTo>
                  <a:lnTo>
                    <a:pt x="961" y="587"/>
                  </a:lnTo>
                  <a:lnTo>
                    <a:pt x="963" y="587"/>
                  </a:lnTo>
                  <a:lnTo>
                    <a:pt x="963" y="584"/>
                  </a:lnTo>
                  <a:lnTo>
                    <a:pt x="961" y="584"/>
                  </a:lnTo>
                  <a:lnTo>
                    <a:pt x="958" y="587"/>
                  </a:lnTo>
                  <a:lnTo>
                    <a:pt x="956" y="589"/>
                  </a:lnTo>
                  <a:lnTo>
                    <a:pt x="954" y="591"/>
                  </a:lnTo>
                  <a:lnTo>
                    <a:pt x="951" y="587"/>
                  </a:lnTo>
                  <a:lnTo>
                    <a:pt x="947" y="587"/>
                  </a:lnTo>
                  <a:lnTo>
                    <a:pt x="947" y="587"/>
                  </a:lnTo>
                  <a:lnTo>
                    <a:pt x="951" y="591"/>
                  </a:lnTo>
                  <a:lnTo>
                    <a:pt x="947" y="591"/>
                  </a:lnTo>
                  <a:lnTo>
                    <a:pt x="944" y="591"/>
                  </a:lnTo>
                  <a:lnTo>
                    <a:pt x="940" y="587"/>
                  </a:lnTo>
                  <a:lnTo>
                    <a:pt x="939" y="584"/>
                  </a:lnTo>
                  <a:lnTo>
                    <a:pt x="935" y="582"/>
                  </a:lnTo>
                  <a:lnTo>
                    <a:pt x="937" y="579"/>
                  </a:lnTo>
                  <a:lnTo>
                    <a:pt x="942" y="575"/>
                  </a:lnTo>
                  <a:lnTo>
                    <a:pt x="944" y="573"/>
                  </a:lnTo>
                  <a:lnTo>
                    <a:pt x="942" y="573"/>
                  </a:lnTo>
                  <a:lnTo>
                    <a:pt x="940" y="575"/>
                  </a:lnTo>
                  <a:lnTo>
                    <a:pt x="935" y="575"/>
                  </a:lnTo>
                  <a:lnTo>
                    <a:pt x="933" y="579"/>
                  </a:lnTo>
                  <a:lnTo>
                    <a:pt x="932" y="580"/>
                  </a:lnTo>
                  <a:lnTo>
                    <a:pt x="932" y="577"/>
                  </a:lnTo>
                  <a:lnTo>
                    <a:pt x="932" y="573"/>
                  </a:lnTo>
                  <a:lnTo>
                    <a:pt x="932" y="573"/>
                  </a:lnTo>
                  <a:lnTo>
                    <a:pt x="930" y="573"/>
                  </a:lnTo>
                  <a:lnTo>
                    <a:pt x="928" y="575"/>
                  </a:lnTo>
                  <a:lnTo>
                    <a:pt x="930" y="577"/>
                  </a:lnTo>
                  <a:lnTo>
                    <a:pt x="928" y="579"/>
                  </a:lnTo>
                  <a:lnTo>
                    <a:pt x="928" y="579"/>
                  </a:lnTo>
                  <a:lnTo>
                    <a:pt x="925" y="577"/>
                  </a:lnTo>
                  <a:lnTo>
                    <a:pt x="921" y="575"/>
                  </a:lnTo>
                  <a:lnTo>
                    <a:pt x="919" y="577"/>
                  </a:lnTo>
                  <a:lnTo>
                    <a:pt x="919" y="579"/>
                  </a:lnTo>
                  <a:lnTo>
                    <a:pt x="916" y="579"/>
                  </a:lnTo>
                  <a:lnTo>
                    <a:pt x="916" y="575"/>
                  </a:lnTo>
                  <a:lnTo>
                    <a:pt x="914" y="573"/>
                  </a:lnTo>
                  <a:lnTo>
                    <a:pt x="916" y="573"/>
                  </a:lnTo>
                  <a:lnTo>
                    <a:pt x="916" y="573"/>
                  </a:lnTo>
                  <a:lnTo>
                    <a:pt x="916" y="573"/>
                  </a:lnTo>
                  <a:lnTo>
                    <a:pt x="914" y="570"/>
                  </a:lnTo>
                  <a:lnTo>
                    <a:pt x="909" y="566"/>
                  </a:lnTo>
                  <a:lnTo>
                    <a:pt x="909" y="565"/>
                  </a:lnTo>
                  <a:lnTo>
                    <a:pt x="909" y="560"/>
                  </a:lnTo>
                  <a:lnTo>
                    <a:pt x="909" y="556"/>
                  </a:lnTo>
                  <a:lnTo>
                    <a:pt x="907" y="553"/>
                  </a:lnTo>
                  <a:lnTo>
                    <a:pt x="909" y="549"/>
                  </a:lnTo>
                  <a:lnTo>
                    <a:pt x="911" y="549"/>
                  </a:lnTo>
                  <a:lnTo>
                    <a:pt x="911" y="547"/>
                  </a:lnTo>
                  <a:lnTo>
                    <a:pt x="909" y="544"/>
                  </a:lnTo>
                  <a:lnTo>
                    <a:pt x="909" y="542"/>
                  </a:lnTo>
                  <a:lnTo>
                    <a:pt x="913" y="542"/>
                  </a:lnTo>
                  <a:lnTo>
                    <a:pt x="914" y="544"/>
                  </a:lnTo>
                  <a:lnTo>
                    <a:pt x="921" y="544"/>
                  </a:lnTo>
                  <a:lnTo>
                    <a:pt x="921" y="547"/>
                  </a:lnTo>
                  <a:lnTo>
                    <a:pt x="925" y="551"/>
                  </a:lnTo>
                  <a:lnTo>
                    <a:pt x="930" y="553"/>
                  </a:lnTo>
                  <a:lnTo>
                    <a:pt x="935" y="553"/>
                  </a:lnTo>
                  <a:lnTo>
                    <a:pt x="937" y="553"/>
                  </a:lnTo>
                  <a:lnTo>
                    <a:pt x="942" y="553"/>
                  </a:lnTo>
                  <a:lnTo>
                    <a:pt x="940" y="551"/>
                  </a:lnTo>
                  <a:lnTo>
                    <a:pt x="939" y="547"/>
                  </a:lnTo>
                  <a:lnTo>
                    <a:pt x="935" y="546"/>
                  </a:lnTo>
                  <a:lnTo>
                    <a:pt x="933" y="540"/>
                  </a:lnTo>
                  <a:lnTo>
                    <a:pt x="930" y="540"/>
                  </a:lnTo>
                  <a:lnTo>
                    <a:pt x="925" y="537"/>
                  </a:lnTo>
                  <a:lnTo>
                    <a:pt x="925" y="537"/>
                  </a:lnTo>
                  <a:lnTo>
                    <a:pt x="919" y="537"/>
                  </a:lnTo>
                  <a:lnTo>
                    <a:pt x="916" y="537"/>
                  </a:lnTo>
                  <a:lnTo>
                    <a:pt x="911" y="533"/>
                  </a:lnTo>
                  <a:lnTo>
                    <a:pt x="909" y="528"/>
                  </a:lnTo>
                  <a:lnTo>
                    <a:pt x="909" y="523"/>
                  </a:lnTo>
                  <a:lnTo>
                    <a:pt x="913" y="521"/>
                  </a:lnTo>
                  <a:lnTo>
                    <a:pt x="913" y="520"/>
                  </a:lnTo>
                  <a:lnTo>
                    <a:pt x="914" y="514"/>
                  </a:lnTo>
                  <a:lnTo>
                    <a:pt x="916" y="514"/>
                  </a:lnTo>
                  <a:lnTo>
                    <a:pt x="916" y="511"/>
                  </a:lnTo>
                  <a:lnTo>
                    <a:pt x="916" y="506"/>
                  </a:lnTo>
                  <a:lnTo>
                    <a:pt x="919" y="502"/>
                  </a:lnTo>
                  <a:lnTo>
                    <a:pt x="921" y="502"/>
                  </a:lnTo>
                  <a:lnTo>
                    <a:pt x="921" y="500"/>
                  </a:lnTo>
                  <a:lnTo>
                    <a:pt x="928" y="497"/>
                  </a:lnTo>
                  <a:lnTo>
                    <a:pt x="928" y="497"/>
                  </a:lnTo>
                  <a:lnTo>
                    <a:pt x="930" y="495"/>
                  </a:lnTo>
                  <a:lnTo>
                    <a:pt x="928" y="495"/>
                  </a:lnTo>
                  <a:lnTo>
                    <a:pt x="928" y="495"/>
                  </a:lnTo>
                  <a:lnTo>
                    <a:pt x="928" y="493"/>
                  </a:lnTo>
                  <a:lnTo>
                    <a:pt x="930" y="487"/>
                  </a:lnTo>
                  <a:lnTo>
                    <a:pt x="933" y="481"/>
                  </a:lnTo>
                  <a:lnTo>
                    <a:pt x="933" y="481"/>
                  </a:lnTo>
                  <a:lnTo>
                    <a:pt x="937" y="478"/>
                  </a:lnTo>
                  <a:lnTo>
                    <a:pt x="940" y="478"/>
                  </a:lnTo>
                  <a:lnTo>
                    <a:pt x="940" y="478"/>
                  </a:lnTo>
                  <a:lnTo>
                    <a:pt x="942" y="474"/>
                  </a:lnTo>
                  <a:lnTo>
                    <a:pt x="944" y="474"/>
                  </a:lnTo>
                  <a:lnTo>
                    <a:pt x="946" y="474"/>
                  </a:lnTo>
                  <a:lnTo>
                    <a:pt x="947" y="474"/>
                  </a:lnTo>
                  <a:lnTo>
                    <a:pt x="946" y="473"/>
                  </a:lnTo>
                  <a:lnTo>
                    <a:pt x="951" y="466"/>
                  </a:lnTo>
                  <a:lnTo>
                    <a:pt x="951" y="466"/>
                  </a:lnTo>
                  <a:lnTo>
                    <a:pt x="951" y="462"/>
                  </a:lnTo>
                  <a:lnTo>
                    <a:pt x="954" y="459"/>
                  </a:lnTo>
                  <a:lnTo>
                    <a:pt x="958" y="459"/>
                  </a:lnTo>
                  <a:lnTo>
                    <a:pt x="959" y="455"/>
                  </a:lnTo>
                  <a:lnTo>
                    <a:pt x="963" y="455"/>
                  </a:lnTo>
                  <a:lnTo>
                    <a:pt x="965" y="455"/>
                  </a:lnTo>
                  <a:lnTo>
                    <a:pt x="965" y="455"/>
                  </a:lnTo>
                  <a:lnTo>
                    <a:pt x="965" y="450"/>
                  </a:lnTo>
                  <a:lnTo>
                    <a:pt x="970" y="447"/>
                  </a:lnTo>
                  <a:lnTo>
                    <a:pt x="975" y="443"/>
                  </a:lnTo>
                  <a:lnTo>
                    <a:pt x="985" y="440"/>
                  </a:lnTo>
                  <a:lnTo>
                    <a:pt x="992" y="440"/>
                  </a:lnTo>
                  <a:lnTo>
                    <a:pt x="994" y="438"/>
                  </a:lnTo>
                  <a:lnTo>
                    <a:pt x="998" y="440"/>
                  </a:lnTo>
                  <a:lnTo>
                    <a:pt x="1001" y="438"/>
                  </a:lnTo>
                  <a:lnTo>
                    <a:pt x="1003" y="440"/>
                  </a:lnTo>
                  <a:lnTo>
                    <a:pt x="1008" y="440"/>
                  </a:lnTo>
                  <a:lnTo>
                    <a:pt x="1012" y="441"/>
                  </a:lnTo>
                  <a:lnTo>
                    <a:pt x="1020" y="445"/>
                  </a:lnTo>
                  <a:lnTo>
                    <a:pt x="1020" y="447"/>
                  </a:lnTo>
                  <a:lnTo>
                    <a:pt x="1018" y="450"/>
                  </a:lnTo>
                  <a:lnTo>
                    <a:pt x="1015" y="450"/>
                  </a:lnTo>
                  <a:lnTo>
                    <a:pt x="1008" y="455"/>
                  </a:lnTo>
                  <a:lnTo>
                    <a:pt x="1005" y="455"/>
                  </a:lnTo>
                  <a:lnTo>
                    <a:pt x="1003" y="455"/>
                  </a:lnTo>
                  <a:lnTo>
                    <a:pt x="1001" y="459"/>
                  </a:lnTo>
                  <a:lnTo>
                    <a:pt x="998" y="460"/>
                  </a:lnTo>
                  <a:lnTo>
                    <a:pt x="992" y="467"/>
                  </a:lnTo>
                  <a:lnTo>
                    <a:pt x="985" y="474"/>
                  </a:lnTo>
                  <a:lnTo>
                    <a:pt x="980" y="478"/>
                  </a:lnTo>
                  <a:lnTo>
                    <a:pt x="979" y="478"/>
                  </a:lnTo>
                  <a:lnTo>
                    <a:pt x="975" y="485"/>
                  </a:lnTo>
                  <a:lnTo>
                    <a:pt x="975" y="488"/>
                  </a:lnTo>
                  <a:lnTo>
                    <a:pt x="975" y="492"/>
                  </a:lnTo>
                  <a:lnTo>
                    <a:pt x="979" y="495"/>
                  </a:lnTo>
                  <a:lnTo>
                    <a:pt x="979" y="497"/>
                  </a:lnTo>
                  <a:lnTo>
                    <a:pt x="975" y="500"/>
                  </a:lnTo>
                  <a:lnTo>
                    <a:pt x="973" y="502"/>
                  </a:lnTo>
                  <a:lnTo>
                    <a:pt x="970" y="506"/>
                  </a:lnTo>
                  <a:lnTo>
                    <a:pt x="970" y="509"/>
                  </a:lnTo>
                  <a:lnTo>
                    <a:pt x="968" y="513"/>
                  </a:lnTo>
                  <a:lnTo>
                    <a:pt x="966" y="514"/>
                  </a:lnTo>
                  <a:lnTo>
                    <a:pt x="965" y="518"/>
                  </a:lnTo>
                  <a:lnTo>
                    <a:pt x="966" y="521"/>
                  </a:lnTo>
                  <a:lnTo>
                    <a:pt x="968" y="525"/>
                  </a:lnTo>
                  <a:lnTo>
                    <a:pt x="970" y="528"/>
                  </a:lnTo>
                  <a:lnTo>
                    <a:pt x="970" y="533"/>
                  </a:lnTo>
                  <a:lnTo>
                    <a:pt x="970" y="537"/>
                  </a:lnTo>
                  <a:lnTo>
                    <a:pt x="973" y="537"/>
                  </a:lnTo>
                  <a:lnTo>
                    <a:pt x="975" y="539"/>
                  </a:lnTo>
                  <a:lnTo>
                    <a:pt x="975" y="542"/>
                  </a:lnTo>
                  <a:lnTo>
                    <a:pt x="975" y="546"/>
                  </a:lnTo>
                  <a:lnTo>
                    <a:pt x="973" y="544"/>
                  </a:lnTo>
                  <a:lnTo>
                    <a:pt x="970" y="544"/>
                  </a:lnTo>
                  <a:lnTo>
                    <a:pt x="970" y="546"/>
                  </a:lnTo>
                  <a:lnTo>
                    <a:pt x="970" y="546"/>
                  </a:lnTo>
                  <a:lnTo>
                    <a:pt x="966" y="546"/>
                  </a:lnTo>
                  <a:lnTo>
                    <a:pt x="965" y="547"/>
                  </a:lnTo>
                  <a:lnTo>
                    <a:pt x="966" y="547"/>
                  </a:lnTo>
                  <a:lnTo>
                    <a:pt x="970" y="551"/>
                  </a:lnTo>
                  <a:lnTo>
                    <a:pt x="970" y="551"/>
                  </a:lnTo>
                  <a:lnTo>
                    <a:pt x="970" y="549"/>
                  </a:lnTo>
                  <a:lnTo>
                    <a:pt x="973" y="551"/>
                  </a:lnTo>
                  <a:lnTo>
                    <a:pt x="970" y="553"/>
                  </a:lnTo>
                  <a:lnTo>
                    <a:pt x="970" y="556"/>
                  </a:lnTo>
                  <a:lnTo>
                    <a:pt x="970" y="560"/>
                  </a:lnTo>
                  <a:lnTo>
                    <a:pt x="968" y="565"/>
                  </a:lnTo>
                  <a:lnTo>
                    <a:pt x="973" y="560"/>
                  </a:lnTo>
                  <a:lnTo>
                    <a:pt x="973" y="556"/>
                  </a:lnTo>
                  <a:lnTo>
                    <a:pt x="975" y="551"/>
                  </a:lnTo>
                  <a:lnTo>
                    <a:pt x="979" y="549"/>
                  </a:lnTo>
                  <a:lnTo>
                    <a:pt x="979" y="542"/>
                  </a:lnTo>
                  <a:lnTo>
                    <a:pt x="979" y="540"/>
                  </a:lnTo>
                  <a:lnTo>
                    <a:pt x="982" y="537"/>
                  </a:lnTo>
                  <a:lnTo>
                    <a:pt x="982" y="537"/>
                  </a:lnTo>
                  <a:lnTo>
                    <a:pt x="982" y="533"/>
                  </a:lnTo>
                  <a:lnTo>
                    <a:pt x="982" y="532"/>
                  </a:lnTo>
                  <a:lnTo>
                    <a:pt x="980" y="528"/>
                  </a:lnTo>
                  <a:lnTo>
                    <a:pt x="979" y="528"/>
                  </a:lnTo>
                  <a:lnTo>
                    <a:pt x="979" y="525"/>
                  </a:lnTo>
                  <a:lnTo>
                    <a:pt x="979" y="523"/>
                  </a:lnTo>
                  <a:lnTo>
                    <a:pt x="979" y="520"/>
                  </a:lnTo>
                  <a:lnTo>
                    <a:pt x="975" y="516"/>
                  </a:lnTo>
                  <a:lnTo>
                    <a:pt x="975" y="513"/>
                  </a:lnTo>
                  <a:lnTo>
                    <a:pt x="975" y="511"/>
                  </a:lnTo>
                  <a:lnTo>
                    <a:pt x="979" y="514"/>
                  </a:lnTo>
                  <a:lnTo>
                    <a:pt x="979" y="513"/>
                  </a:lnTo>
                  <a:lnTo>
                    <a:pt x="982" y="511"/>
                  </a:lnTo>
                  <a:lnTo>
                    <a:pt x="984" y="509"/>
                  </a:lnTo>
                  <a:lnTo>
                    <a:pt x="984" y="506"/>
                  </a:lnTo>
                  <a:lnTo>
                    <a:pt x="985" y="506"/>
                  </a:lnTo>
                  <a:lnTo>
                    <a:pt x="987" y="506"/>
                  </a:lnTo>
                  <a:lnTo>
                    <a:pt x="991" y="509"/>
                  </a:lnTo>
                  <a:lnTo>
                    <a:pt x="989" y="511"/>
                  </a:lnTo>
                  <a:lnTo>
                    <a:pt x="991" y="513"/>
                  </a:lnTo>
                  <a:lnTo>
                    <a:pt x="992" y="509"/>
                  </a:lnTo>
                  <a:lnTo>
                    <a:pt x="992" y="506"/>
                  </a:lnTo>
                  <a:lnTo>
                    <a:pt x="996" y="506"/>
                  </a:lnTo>
                  <a:lnTo>
                    <a:pt x="998" y="506"/>
                  </a:lnTo>
                  <a:lnTo>
                    <a:pt x="998" y="502"/>
                  </a:lnTo>
                  <a:lnTo>
                    <a:pt x="998" y="502"/>
                  </a:lnTo>
                  <a:lnTo>
                    <a:pt x="1001" y="500"/>
                  </a:lnTo>
                  <a:lnTo>
                    <a:pt x="1001" y="497"/>
                  </a:lnTo>
                  <a:lnTo>
                    <a:pt x="998" y="497"/>
                  </a:lnTo>
                  <a:lnTo>
                    <a:pt x="992" y="502"/>
                  </a:lnTo>
                  <a:lnTo>
                    <a:pt x="991" y="502"/>
                  </a:lnTo>
                  <a:lnTo>
                    <a:pt x="989" y="497"/>
                  </a:lnTo>
                  <a:lnTo>
                    <a:pt x="987" y="497"/>
                  </a:lnTo>
                  <a:lnTo>
                    <a:pt x="987" y="495"/>
                  </a:lnTo>
                  <a:lnTo>
                    <a:pt x="991" y="493"/>
                  </a:lnTo>
                  <a:lnTo>
                    <a:pt x="989" y="490"/>
                  </a:lnTo>
                  <a:lnTo>
                    <a:pt x="991" y="485"/>
                  </a:lnTo>
                  <a:lnTo>
                    <a:pt x="992" y="481"/>
                  </a:lnTo>
                  <a:lnTo>
                    <a:pt x="994" y="478"/>
                  </a:lnTo>
                  <a:lnTo>
                    <a:pt x="996" y="474"/>
                  </a:lnTo>
                  <a:lnTo>
                    <a:pt x="1001" y="478"/>
                  </a:lnTo>
                  <a:lnTo>
                    <a:pt x="1001" y="480"/>
                  </a:lnTo>
                  <a:lnTo>
                    <a:pt x="1003" y="481"/>
                  </a:lnTo>
                  <a:lnTo>
                    <a:pt x="1006" y="483"/>
                  </a:lnTo>
                  <a:lnTo>
                    <a:pt x="1010" y="487"/>
                  </a:lnTo>
                  <a:lnTo>
                    <a:pt x="1013" y="487"/>
                  </a:lnTo>
                  <a:lnTo>
                    <a:pt x="1010" y="485"/>
                  </a:lnTo>
                  <a:lnTo>
                    <a:pt x="1010" y="483"/>
                  </a:lnTo>
                  <a:lnTo>
                    <a:pt x="1005" y="480"/>
                  </a:lnTo>
                  <a:lnTo>
                    <a:pt x="1003" y="478"/>
                  </a:lnTo>
                  <a:lnTo>
                    <a:pt x="1003" y="474"/>
                  </a:lnTo>
                  <a:lnTo>
                    <a:pt x="1001" y="474"/>
                  </a:lnTo>
                  <a:lnTo>
                    <a:pt x="998" y="474"/>
                  </a:lnTo>
                  <a:lnTo>
                    <a:pt x="998" y="473"/>
                  </a:lnTo>
                  <a:lnTo>
                    <a:pt x="1005" y="473"/>
                  </a:lnTo>
                  <a:lnTo>
                    <a:pt x="1005" y="471"/>
                  </a:lnTo>
                  <a:lnTo>
                    <a:pt x="1006" y="471"/>
                  </a:lnTo>
                  <a:lnTo>
                    <a:pt x="1013" y="478"/>
                  </a:lnTo>
                  <a:lnTo>
                    <a:pt x="1017" y="478"/>
                  </a:lnTo>
                  <a:lnTo>
                    <a:pt x="1018" y="478"/>
                  </a:lnTo>
                  <a:lnTo>
                    <a:pt x="1015" y="478"/>
                  </a:lnTo>
                  <a:lnTo>
                    <a:pt x="1012" y="473"/>
                  </a:lnTo>
                  <a:lnTo>
                    <a:pt x="1008" y="469"/>
                  </a:lnTo>
                  <a:lnTo>
                    <a:pt x="1006" y="467"/>
                  </a:lnTo>
                  <a:lnTo>
                    <a:pt x="1008" y="464"/>
                  </a:lnTo>
                  <a:lnTo>
                    <a:pt x="1013" y="462"/>
                  </a:lnTo>
                  <a:lnTo>
                    <a:pt x="1015" y="462"/>
                  </a:lnTo>
                  <a:lnTo>
                    <a:pt x="1015" y="466"/>
                  </a:lnTo>
                  <a:lnTo>
                    <a:pt x="1015" y="469"/>
                  </a:lnTo>
                  <a:lnTo>
                    <a:pt x="1017" y="467"/>
                  </a:lnTo>
                  <a:lnTo>
                    <a:pt x="1017" y="464"/>
                  </a:lnTo>
                  <a:lnTo>
                    <a:pt x="1018" y="462"/>
                  </a:lnTo>
                  <a:lnTo>
                    <a:pt x="1024" y="462"/>
                  </a:lnTo>
                  <a:lnTo>
                    <a:pt x="1024" y="466"/>
                  </a:lnTo>
                  <a:lnTo>
                    <a:pt x="1025" y="467"/>
                  </a:lnTo>
                  <a:lnTo>
                    <a:pt x="1029" y="473"/>
                  </a:lnTo>
                  <a:lnTo>
                    <a:pt x="1029" y="469"/>
                  </a:lnTo>
                  <a:lnTo>
                    <a:pt x="1029" y="467"/>
                  </a:lnTo>
                  <a:lnTo>
                    <a:pt x="1025" y="462"/>
                  </a:lnTo>
                  <a:lnTo>
                    <a:pt x="1025" y="460"/>
                  </a:lnTo>
                  <a:lnTo>
                    <a:pt x="1034" y="459"/>
                  </a:lnTo>
                  <a:lnTo>
                    <a:pt x="1039" y="457"/>
                  </a:lnTo>
                  <a:lnTo>
                    <a:pt x="1043" y="455"/>
                  </a:lnTo>
                  <a:lnTo>
                    <a:pt x="1048" y="455"/>
                  </a:lnTo>
                  <a:lnTo>
                    <a:pt x="1052" y="455"/>
                  </a:lnTo>
                  <a:lnTo>
                    <a:pt x="1058" y="455"/>
                  </a:lnTo>
                  <a:lnTo>
                    <a:pt x="1064" y="457"/>
                  </a:lnTo>
                  <a:lnTo>
                    <a:pt x="1064" y="459"/>
                  </a:lnTo>
                  <a:lnTo>
                    <a:pt x="1064" y="460"/>
                  </a:lnTo>
                  <a:lnTo>
                    <a:pt x="1062" y="467"/>
                  </a:lnTo>
                  <a:lnTo>
                    <a:pt x="1062" y="471"/>
                  </a:lnTo>
                  <a:lnTo>
                    <a:pt x="1058" y="473"/>
                  </a:lnTo>
                  <a:lnTo>
                    <a:pt x="1057" y="478"/>
                  </a:lnTo>
                  <a:lnTo>
                    <a:pt x="1057" y="478"/>
                  </a:lnTo>
                  <a:lnTo>
                    <a:pt x="1060" y="480"/>
                  </a:lnTo>
                  <a:lnTo>
                    <a:pt x="1062" y="481"/>
                  </a:lnTo>
                  <a:lnTo>
                    <a:pt x="1062" y="485"/>
                  </a:lnTo>
                  <a:lnTo>
                    <a:pt x="1057" y="490"/>
                  </a:lnTo>
                  <a:lnTo>
                    <a:pt x="1055" y="492"/>
                  </a:lnTo>
                  <a:lnTo>
                    <a:pt x="1055" y="495"/>
                  </a:lnTo>
                  <a:lnTo>
                    <a:pt x="1058" y="497"/>
                  </a:lnTo>
                  <a:lnTo>
                    <a:pt x="1058" y="500"/>
                  </a:lnTo>
                  <a:lnTo>
                    <a:pt x="1055" y="502"/>
                  </a:lnTo>
                  <a:lnTo>
                    <a:pt x="1055" y="502"/>
                  </a:lnTo>
                  <a:lnTo>
                    <a:pt x="1052" y="506"/>
                  </a:lnTo>
                  <a:lnTo>
                    <a:pt x="1048" y="506"/>
                  </a:lnTo>
                  <a:lnTo>
                    <a:pt x="1046" y="509"/>
                  </a:lnTo>
                  <a:lnTo>
                    <a:pt x="1043" y="511"/>
                  </a:lnTo>
                  <a:lnTo>
                    <a:pt x="1041" y="514"/>
                  </a:lnTo>
                  <a:lnTo>
                    <a:pt x="1043" y="514"/>
                  </a:lnTo>
                  <a:lnTo>
                    <a:pt x="1048" y="509"/>
                  </a:lnTo>
                  <a:lnTo>
                    <a:pt x="1052" y="506"/>
                  </a:lnTo>
                  <a:lnTo>
                    <a:pt x="1055" y="506"/>
                  </a:lnTo>
                  <a:lnTo>
                    <a:pt x="1055" y="506"/>
                  </a:lnTo>
                  <a:lnTo>
                    <a:pt x="1052" y="509"/>
                  </a:lnTo>
                  <a:lnTo>
                    <a:pt x="1052" y="511"/>
                  </a:lnTo>
                  <a:lnTo>
                    <a:pt x="1048" y="516"/>
                  </a:lnTo>
                  <a:lnTo>
                    <a:pt x="1043" y="518"/>
                  </a:lnTo>
                  <a:lnTo>
                    <a:pt x="1043" y="520"/>
                  </a:lnTo>
                  <a:lnTo>
                    <a:pt x="1043" y="521"/>
                  </a:lnTo>
                  <a:lnTo>
                    <a:pt x="1043" y="523"/>
                  </a:lnTo>
                  <a:lnTo>
                    <a:pt x="1041" y="521"/>
                  </a:lnTo>
                  <a:lnTo>
                    <a:pt x="1039" y="521"/>
                  </a:lnTo>
                  <a:lnTo>
                    <a:pt x="1039" y="525"/>
                  </a:lnTo>
                  <a:lnTo>
                    <a:pt x="1041" y="525"/>
                  </a:lnTo>
                  <a:lnTo>
                    <a:pt x="1043" y="525"/>
                  </a:lnTo>
                  <a:lnTo>
                    <a:pt x="1043" y="528"/>
                  </a:lnTo>
                  <a:lnTo>
                    <a:pt x="1039" y="528"/>
                  </a:lnTo>
                  <a:lnTo>
                    <a:pt x="1043" y="528"/>
                  </a:lnTo>
                  <a:lnTo>
                    <a:pt x="1043" y="528"/>
                  </a:lnTo>
                  <a:lnTo>
                    <a:pt x="1046" y="528"/>
                  </a:lnTo>
                  <a:lnTo>
                    <a:pt x="1048" y="525"/>
                  </a:lnTo>
                  <a:lnTo>
                    <a:pt x="1048" y="521"/>
                  </a:lnTo>
                  <a:lnTo>
                    <a:pt x="1052" y="520"/>
                  </a:lnTo>
                  <a:lnTo>
                    <a:pt x="1052" y="518"/>
                  </a:lnTo>
                  <a:lnTo>
                    <a:pt x="1055" y="518"/>
                  </a:lnTo>
                  <a:lnTo>
                    <a:pt x="1055" y="523"/>
                  </a:lnTo>
                  <a:lnTo>
                    <a:pt x="1055" y="525"/>
                  </a:lnTo>
                  <a:lnTo>
                    <a:pt x="1055" y="520"/>
                  </a:lnTo>
                  <a:lnTo>
                    <a:pt x="1055" y="516"/>
                  </a:lnTo>
                  <a:lnTo>
                    <a:pt x="1055" y="514"/>
                  </a:lnTo>
                  <a:lnTo>
                    <a:pt x="1057" y="513"/>
                  </a:lnTo>
                  <a:lnTo>
                    <a:pt x="1060" y="513"/>
                  </a:lnTo>
                  <a:lnTo>
                    <a:pt x="1060" y="518"/>
                  </a:lnTo>
                  <a:lnTo>
                    <a:pt x="1060" y="520"/>
                  </a:lnTo>
                  <a:lnTo>
                    <a:pt x="1062" y="518"/>
                  </a:lnTo>
                  <a:lnTo>
                    <a:pt x="1065" y="514"/>
                  </a:lnTo>
                  <a:lnTo>
                    <a:pt x="1067" y="516"/>
                  </a:lnTo>
                  <a:lnTo>
                    <a:pt x="1069" y="520"/>
                  </a:lnTo>
                  <a:lnTo>
                    <a:pt x="1069" y="523"/>
                  </a:lnTo>
                  <a:lnTo>
                    <a:pt x="1064" y="528"/>
                  </a:lnTo>
                  <a:lnTo>
                    <a:pt x="1060" y="532"/>
                  </a:lnTo>
                  <a:lnTo>
                    <a:pt x="1058" y="533"/>
                  </a:lnTo>
                  <a:lnTo>
                    <a:pt x="1062" y="533"/>
                  </a:lnTo>
                  <a:lnTo>
                    <a:pt x="1065" y="537"/>
                  </a:lnTo>
                  <a:lnTo>
                    <a:pt x="1067" y="533"/>
                  </a:lnTo>
                  <a:lnTo>
                    <a:pt x="1065" y="532"/>
                  </a:lnTo>
                  <a:lnTo>
                    <a:pt x="1067" y="528"/>
                  </a:lnTo>
                  <a:lnTo>
                    <a:pt x="1071" y="525"/>
                  </a:lnTo>
                  <a:lnTo>
                    <a:pt x="1071" y="528"/>
                  </a:lnTo>
                  <a:lnTo>
                    <a:pt x="1071" y="533"/>
                  </a:lnTo>
                  <a:lnTo>
                    <a:pt x="1074" y="532"/>
                  </a:lnTo>
                  <a:lnTo>
                    <a:pt x="1071" y="525"/>
                  </a:lnTo>
                  <a:lnTo>
                    <a:pt x="1071" y="523"/>
                  </a:lnTo>
                  <a:lnTo>
                    <a:pt x="1071" y="516"/>
                  </a:lnTo>
                  <a:lnTo>
                    <a:pt x="1071" y="516"/>
                  </a:lnTo>
                  <a:lnTo>
                    <a:pt x="1074" y="518"/>
                  </a:lnTo>
                  <a:lnTo>
                    <a:pt x="1074" y="521"/>
                  </a:lnTo>
                  <a:lnTo>
                    <a:pt x="1074" y="523"/>
                  </a:lnTo>
                  <a:lnTo>
                    <a:pt x="1074" y="523"/>
                  </a:lnTo>
                  <a:lnTo>
                    <a:pt x="1078" y="521"/>
                  </a:lnTo>
                  <a:lnTo>
                    <a:pt x="1083" y="528"/>
                  </a:lnTo>
                  <a:lnTo>
                    <a:pt x="1083" y="528"/>
                  </a:lnTo>
                  <a:lnTo>
                    <a:pt x="1088" y="528"/>
                  </a:lnTo>
                  <a:lnTo>
                    <a:pt x="1090" y="532"/>
                  </a:lnTo>
                  <a:lnTo>
                    <a:pt x="1091" y="532"/>
                  </a:lnTo>
                  <a:lnTo>
                    <a:pt x="1090" y="528"/>
                  </a:lnTo>
                  <a:lnTo>
                    <a:pt x="1088" y="525"/>
                  </a:lnTo>
                  <a:lnTo>
                    <a:pt x="1086" y="525"/>
                  </a:lnTo>
                  <a:lnTo>
                    <a:pt x="1079" y="520"/>
                  </a:lnTo>
                  <a:lnTo>
                    <a:pt x="1078" y="520"/>
                  </a:lnTo>
                  <a:lnTo>
                    <a:pt x="1078" y="518"/>
                  </a:lnTo>
                  <a:lnTo>
                    <a:pt x="1079" y="513"/>
                  </a:lnTo>
                  <a:lnTo>
                    <a:pt x="1085" y="513"/>
                  </a:lnTo>
                  <a:lnTo>
                    <a:pt x="1088" y="509"/>
                  </a:lnTo>
                  <a:lnTo>
                    <a:pt x="1093" y="509"/>
                  </a:lnTo>
                  <a:lnTo>
                    <a:pt x="1097" y="509"/>
                  </a:lnTo>
                  <a:lnTo>
                    <a:pt x="1097" y="509"/>
                  </a:lnTo>
                  <a:lnTo>
                    <a:pt x="1100" y="509"/>
                  </a:lnTo>
                  <a:lnTo>
                    <a:pt x="1105" y="513"/>
                  </a:lnTo>
                  <a:lnTo>
                    <a:pt x="1105" y="514"/>
                  </a:lnTo>
                  <a:lnTo>
                    <a:pt x="1107" y="516"/>
                  </a:lnTo>
                  <a:lnTo>
                    <a:pt x="1109" y="518"/>
                  </a:lnTo>
                  <a:lnTo>
                    <a:pt x="1109" y="520"/>
                  </a:lnTo>
                  <a:lnTo>
                    <a:pt x="1112" y="520"/>
                  </a:lnTo>
                  <a:lnTo>
                    <a:pt x="1112" y="520"/>
                  </a:lnTo>
                  <a:lnTo>
                    <a:pt x="1116" y="520"/>
                  </a:lnTo>
                  <a:lnTo>
                    <a:pt x="1116" y="523"/>
                  </a:lnTo>
                  <a:lnTo>
                    <a:pt x="1121" y="525"/>
                  </a:lnTo>
                  <a:lnTo>
                    <a:pt x="1121" y="525"/>
                  </a:lnTo>
                  <a:lnTo>
                    <a:pt x="1121" y="528"/>
                  </a:lnTo>
                  <a:lnTo>
                    <a:pt x="1121" y="528"/>
                  </a:lnTo>
                  <a:lnTo>
                    <a:pt x="1121" y="533"/>
                  </a:lnTo>
                  <a:lnTo>
                    <a:pt x="1119" y="537"/>
                  </a:lnTo>
                  <a:lnTo>
                    <a:pt x="1116" y="537"/>
                  </a:lnTo>
                  <a:lnTo>
                    <a:pt x="1112" y="533"/>
                  </a:lnTo>
                  <a:lnTo>
                    <a:pt x="1107" y="537"/>
                  </a:lnTo>
                  <a:lnTo>
                    <a:pt x="1102" y="540"/>
                  </a:lnTo>
                  <a:lnTo>
                    <a:pt x="1107" y="537"/>
                  </a:lnTo>
                  <a:lnTo>
                    <a:pt x="1114" y="537"/>
                  </a:lnTo>
                  <a:lnTo>
                    <a:pt x="1114" y="537"/>
                  </a:lnTo>
                  <a:lnTo>
                    <a:pt x="1112" y="540"/>
                  </a:lnTo>
                  <a:lnTo>
                    <a:pt x="1109" y="542"/>
                  </a:lnTo>
                  <a:lnTo>
                    <a:pt x="1105" y="549"/>
                  </a:lnTo>
                  <a:lnTo>
                    <a:pt x="1102" y="551"/>
                  </a:lnTo>
                  <a:lnTo>
                    <a:pt x="1102" y="551"/>
                  </a:lnTo>
                  <a:lnTo>
                    <a:pt x="1100" y="554"/>
                  </a:lnTo>
                  <a:lnTo>
                    <a:pt x="1102" y="554"/>
                  </a:lnTo>
                  <a:lnTo>
                    <a:pt x="1107" y="547"/>
                  </a:lnTo>
                  <a:lnTo>
                    <a:pt x="1111" y="544"/>
                  </a:lnTo>
                  <a:lnTo>
                    <a:pt x="1114" y="542"/>
                  </a:lnTo>
                  <a:lnTo>
                    <a:pt x="1119" y="537"/>
                  </a:lnTo>
                  <a:lnTo>
                    <a:pt x="1123" y="539"/>
                  </a:lnTo>
                  <a:lnTo>
                    <a:pt x="1124" y="540"/>
                  </a:lnTo>
                  <a:lnTo>
                    <a:pt x="1124" y="540"/>
                  </a:lnTo>
                  <a:lnTo>
                    <a:pt x="1124" y="544"/>
                  </a:lnTo>
                  <a:lnTo>
                    <a:pt x="1124" y="546"/>
                  </a:lnTo>
                  <a:lnTo>
                    <a:pt x="1124" y="549"/>
                  </a:lnTo>
                  <a:lnTo>
                    <a:pt x="1121" y="551"/>
                  </a:lnTo>
                  <a:lnTo>
                    <a:pt x="1119" y="554"/>
                  </a:lnTo>
                  <a:lnTo>
                    <a:pt x="1116" y="554"/>
                  </a:lnTo>
                  <a:lnTo>
                    <a:pt x="1114" y="553"/>
                  </a:lnTo>
                  <a:lnTo>
                    <a:pt x="1111" y="553"/>
                  </a:lnTo>
                  <a:lnTo>
                    <a:pt x="1109" y="554"/>
                  </a:lnTo>
                  <a:lnTo>
                    <a:pt x="1112" y="554"/>
                  </a:lnTo>
                  <a:lnTo>
                    <a:pt x="1114" y="556"/>
                  </a:lnTo>
                  <a:lnTo>
                    <a:pt x="1107" y="560"/>
                  </a:lnTo>
                  <a:lnTo>
                    <a:pt x="1109" y="560"/>
                  </a:lnTo>
                  <a:lnTo>
                    <a:pt x="1112" y="560"/>
                  </a:lnTo>
                  <a:lnTo>
                    <a:pt x="1116" y="556"/>
                  </a:lnTo>
                  <a:lnTo>
                    <a:pt x="1118" y="556"/>
                  </a:lnTo>
                  <a:lnTo>
                    <a:pt x="1118" y="556"/>
                  </a:lnTo>
                  <a:lnTo>
                    <a:pt x="1116" y="560"/>
                  </a:lnTo>
                  <a:lnTo>
                    <a:pt x="1112" y="560"/>
                  </a:lnTo>
                  <a:lnTo>
                    <a:pt x="1109" y="561"/>
                  </a:lnTo>
                  <a:lnTo>
                    <a:pt x="1112" y="561"/>
                  </a:lnTo>
                  <a:lnTo>
                    <a:pt x="1112" y="565"/>
                  </a:lnTo>
                  <a:lnTo>
                    <a:pt x="1111" y="565"/>
                  </a:lnTo>
                  <a:lnTo>
                    <a:pt x="1107" y="568"/>
                  </a:lnTo>
                  <a:lnTo>
                    <a:pt x="1105" y="572"/>
                  </a:lnTo>
                  <a:lnTo>
                    <a:pt x="1107" y="572"/>
                  </a:lnTo>
                  <a:lnTo>
                    <a:pt x="1111" y="568"/>
                  </a:lnTo>
                  <a:lnTo>
                    <a:pt x="1114" y="565"/>
                  </a:lnTo>
                  <a:lnTo>
                    <a:pt x="1116" y="560"/>
                  </a:lnTo>
                  <a:lnTo>
                    <a:pt x="1123" y="556"/>
                  </a:lnTo>
                  <a:lnTo>
                    <a:pt x="1123" y="560"/>
                  </a:lnTo>
                  <a:lnTo>
                    <a:pt x="1123" y="560"/>
                  </a:lnTo>
                  <a:lnTo>
                    <a:pt x="1124" y="560"/>
                  </a:lnTo>
                  <a:lnTo>
                    <a:pt x="1124" y="556"/>
                  </a:lnTo>
                  <a:lnTo>
                    <a:pt x="1130" y="554"/>
                  </a:lnTo>
                  <a:lnTo>
                    <a:pt x="1131" y="554"/>
                  </a:lnTo>
                  <a:lnTo>
                    <a:pt x="1131" y="556"/>
                  </a:lnTo>
                  <a:lnTo>
                    <a:pt x="1128" y="560"/>
                  </a:lnTo>
                  <a:lnTo>
                    <a:pt x="1121" y="565"/>
                  </a:lnTo>
                  <a:lnTo>
                    <a:pt x="1119" y="565"/>
                  </a:lnTo>
                  <a:lnTo>
                    <a:pt x="1119" y="566"/>
                  </a:lnTo>
                  <a:lnTo>
                    <a:pt x="1121" y="566"/>
                  </a:lnTo>
                  <a:lnTo>
                    <a:pt x="1119" y="570"/>
                  </a:lnTo>
                  <a:lnTo>
                    <a:pt x="1118" y="573"/>
                  </a:lnTo>
                  <a:lnTo>
                    <a:pt x="1119" y="573"/>
                  </a:lnTo>
                  <a:lnTo>
                    <a:pt x="1121" y="570"/>
                  </a:lnTo>
                  <a:lnTo>
                    <a:pt x="1121" y="568"/>
                  </a:lnTo>
                  <a:lnTo>
                    <a:pt x="1124" y="565"/>
                  </a:lnTo>
                  <a:lnTo>
                    <a:pt x="1128" y="561"/>
                  </a:lnTo>
                  <a:lnTo>
                    <a:pt x="1128" y="565"/>
                  </a:lnTo>
                  <a:lnTo>
                    <a:pt x="1130" y="565"/>
                  </a:lnTo>
                  <a:lnTo>
                    <a:pt x="1128" y="568"/>
                  </a:lnTo>
                  <a:lnTo>
                    <a:pt x="1124" y="572"/>
                  </a:lnTo>
                  <a:lnTo>
                    <a:pt x="1124" y="573"/>
                  </a:lnTo>
                  <a:lnTo>
                    <a:pt x="1121" y="579"/>
                  </a:lnTo>
                  <a:lnTo>
                    <a:pt x="1119" y="580"/>
                  </a:lnTo>
                  <a:lnTo>
                    <a:pt x="1119" y="582"/>
                  </a:lnTo>
                  <a:lnTo>
                    <a:pt x="1123" y="580"/>
                  </a:lnTo>
                  <a:lnTo>
                    <a:pt x="1124" y="579"/>
                  </a:lnTo>
                  <a:lnTo>
                    <a:pt x="1128" y="572"/>
                  </a:lnTo>
                  <a:lnTo>
                    <a:pt x="1130" y="570"/>
                  </a:lnTo>
                  <a:lnTo>
                    <a:pt x="1131" y="573"/>
                  </a:lnTo>
                  <a:lnTo>
                    <a:pt x="1131" y="573"/>
                  </a:lnTo>
                  <a:lnTo>
                    <a:pt x="1131" y="575"/>
                  </a:lnTo>
                  <a:lnTo>
                    <a:pt x="1130" y="577"/>
                  </a:lnTo>
                  <a:lnTo>
                    <a:pt x="1128" y="582"/>
                  </a:lnTo>
                  <a:lnTo>
                    <a:pt x="1128" y="584"/>
                  </a:lnTo>
                  <a:lnTo>
                    <a:pt x="1128" y="584"/>
                  </a:lnTo>
                  <a:lnTo>
                    <a:pt x="1128" y="584"/>
                  </a:lnTo>
                  <a:lnTo>
                    <a:pt x="1130" y="580"/>
                  </a:lnTo>
                  <a:lnTo>
                    <a:pt x="1131" y="577"/>
                  </a:lnTo>
                  <a:lnTo>
                    <a:pt x="1135" y="575"/>
                  </a:lnTo>
                  <a:lnTo>
                    <a:pt x="1135" y="572"/>
                  </a:lnTo>
                  <a:lnTo>
                    <a:pt x="1137" y="570"/>
                  </a:lnTo>
                  <a:lnTo>
                    <a:pt x="1140" y="568"/>
                  </a:lnTo>
                  <a:lnTo>
                    <a:pt x="1140" y="565"/>
                  </a:lnTo>
                  <a:lnTo>
                    <a:pt x="1140" y="565"/>
                  </a:lnTo>
                  <a:lnTo>
                    <a:pt x="1142" y="565"/>
                  </a:lnTo>
                  <a:lnTo>
                    <a:pt x="1144" y="561"/>
                  </a:lnTo>
                  <a:lnTo>
                    <a:pt x="1144" y="560"/>
                  </a:lnTo>
                  <a:lnTo>
                    <a:pt x="1145" y="560"/>
                  </a:lnTo>
                  <a:lnTo>
                    <a:pt x="1147" y="565"/>
                  </a:lnTo>
                  <a:lnTo>
                    <a:pt x="1151" y="565"/>
                  </a:lnTo>
                  <a:lnTo>
                    <a:pt x="1152" y="568"/>
                  </a:lnTo>
                  <a:lnTo>
                    <a:pt x="1152" y="570"/>
                  </a:lnTo>
                  <a:lnTo>
                    <a:pt x="1156" y="573"/>
                  </a:lnTo>
                  <a:lnTo>
                    <a:pt x="1158" y="579"/>
                  </a:lnTo>
                  <a:lnTo>
                    <a:pt x="1158" y="580"/>
                  </a:lnTo>
                  <a:lnTo>
                    <a:pt x="1156" y="582"/>
                  </a:lnTo>
                  <a:lnTo>
                    <a:pt x="1152" y="584"/>
                  </a:lnTo>
                  <a:lnTo>
                    <a:pt x="1151" y="584"/>
                  </a:lnTo>
                  <a:lnTo>
                    <a:pt x="1147" y="584"/>
                  </a:lnTo>
                  <a:lnTo>
                    <a:pt x="1145" y="582"/>
                  </a:lnTo>
                  <a:lnTo>
                    <a:pt x="1144" y="582"/>
                  </a:lnTo>
                  <a:lnTo>
                    <a:pt x="1142" y="584"/>
                  </a:lnTo>
                  <a:lnTo>
                    <a:pt x="1140" y="584"/>
                  </a:lnTo>
                  <a:lnTo>
                    <a:pt x="1138" y="587"/>
                  </a:lnTo>
                  <a:lnTo>
                    <a:pt x="1137" y="587"/>
                  </a:lnTo>
                  <a:lnTo>
                    <a:pt x="1133" y="587"/>
                  </a:lnTo>
                  <a:lnTo>
                    <a:pt x="1131" y="589"/>
                  </a:lnTo>
                  <a:lnTo>
                    <a:pt x="1137" y="589"/>
                  </a:lnTo>
                  <a:lnTo>
                    <a:pt x="1138" y="589"/>
                  </a:lnTo>
                  <a:lnTo>
                    <a:pt x="1138" y="591"/>
                  </a:lnTo>
                  <a:lnTo>
                    <a:pt x="1137" y="596"/>
                  </a:lnTo>
                  <a:lnTo>
                    <a:pt x="1133" y="596"/>
                  </a:lnTo>
                  <a:lnTo>
                    <a:pt x="1130" y="598"/>
                  </a:lnTo>
                  <a:lnTo>
                    <a:pt x="1135" y="598"/>
                  </a:lnTo>
                  <a:lnTo>
                    <a:pt x="1137" y="596"/>
                  </a:lnTo>
                  <a:lnTo>
                    <a:pt x="1142" y="596"/>
                  </a:lnTo>
                  <a:lnTo>
                    <a:pt x="1144" y="596"/>
                  </a:lnTo>
                  <a:lnTo>
                    <a:pt x="1147" y="593"/>
                  </a:lnTo>
                  <a:lnTo>
                    <a:pt x="1151" y="593"/>
                  </a:lnTo>
                  <a:lnTo>
                    <a:pt x="1151" y="596"/>
                  </a:lnTo>
                  <a:lnTo>
                    <a:pt x="1151" y="596"/>
                  </a:lnTo>
                  <a:lnTo>
                    <a:pt x="1151" y="598"/>
                  </a:lnTo>
                  <a:lnTo>
                    <a:pt x="1152" y="596"/>
                  </a:lnTo>
                  <a:lnTo>
                    <a:pt x="1152" y="593"/>
                  </a:lnTo>
                  <a:lnTo>
                    <a:pt x="1152" y="589"/>
                  </a:lnTo>
                  <a:lnTo>
                    <a:pt x="1156" y="587"/>
                  </a:lnTo>
                  <a:lnTo>
                    <a:pt x="1159" y="584"/>
                  </a:lnTo>
                  <a:lnTo>
                    <a:pt x="1161" y="587"/>
                  </a:lnTo>
                  <a:lnTo>
                    <a:pt x="1159" y="587"/>
                  </a:lnTo>
                  <a:lnTo>
                    <a:pt x="1161" y="591"/>
                  </a:lnTo>
                  <a:lnTo>
                    <a:pt x="1159" y="596"/>
                  </a:lnTo>
                  <a:lnTo>
                    <a:pt x="1156" y="598"/>
                  </a:lnTo>
                  <a:lnTo>
                    <a:pt x="1152" y="600"/>
                  </a:lnTo>
                  <a:lnTo>
                    <a:pt x="1151" y="601"/>
                  </a:lnTo>
                  <a:lnTo>
                    <a:pt x="1151" y="603"/>
                  </a:lnTo>
                  <a:lnTo>
                    <a:pt x="1147" y="603"/>
                  </a:lnTo>
                  <a:lnTo>
                    <a:pt x="1145" y="603"/>
                  </a:lnTo>
                  <a:lnTo>
                    <a:pt x="1144" y="603"/>
                  </a:lnTo>
                  <a:lnTo>
                    <a:pt x="1142" y="605"/>
                  </a:lnTo>
                  <a:lnTo>
                    <a:pt x="1142" y="606"/>
                  </a:lnTo>
                  <a:lnTo>
                    <a:pt x="1138" y="610"/>
                  </a:lnTo>
                  <a:lnTo>
                    <a:pt x="1138" y="612"/>
                  </a:lnTo>
                  <a:lnTo>
                    <a:pt x="1137" y="615"/>
                  </a:lnTo>
                  <a:lnTo>
                    <a:pt x="1138" y="612"/>
                  </a:lnTo>
                  <a:lnTo>
                    <a:pt x="1142" y="610"/>
                  </a:lnTo>
                  <a:lnTo>
                    <a:pt x="1145" y="605"/>
                  </a:lnTo>
                  <a:lnTo>
                    <a:pt x="1147" y="605"/>
                  </a:lnTo>
                  <a:lnTo>
                    <a:pt x="1147" y="605"/>
                  </a:lnTo>
                  <a:lnTo>
                    <a:pt x="1147" y="605"/>
                  </a:lnTo>
                  <a:lnTo>
                    <a:pt x="1151" y="606"/>
                  </a:lnTo>
                  <a:lnTo>
                    <a:pt x="1147" y="608"/>
                  </a:lnTo>
                  <a:lnTo>
                    <a:pt x="1145" y="612"/>
                  </a:lnTo>
                  <a:lnTo>
                    <a:pt x="1142" y="615"/>
                  </a:lnTo>
                  <a:lnTo>
                    <a:pt x="1138" y="619"/>
                  </a:lnTo>
                  <a:lnTo>
                    <a:pt x="1138" y="619"/>
                  </a:lnTo>
                  <a:lnTo>
                    <a:pt x="1145" y="619"/>
                  </a:lnTo>
                  <a:lnTo>
                    <a:pt x="1151" y="612"/>
                  </a:lnTo>
                  <a:lnTo>
                    <a:pt x="1151" y="605"/>
                  </a:lnTo>
                  <a:lnTo>
                    <a:pt x="1152" y="603"/>
                  </a:lnTo>
                  <a:lnTo>
                    <a:pt x="1156" y="601"/>
                  </a:lnTo>
                  <a:lnTo>
                    <a:pt x="1156" y="601"/>
                  </a:lnTo>
                  <a:lnTo>
                    <a:pt x="1161" y="598"/>
                  </a:lnTo>
                  <a:lnTo>
                    <a:pt x="1164" y="596"/>
                  </a:lnTo>
                  <a:lnTo>
                    <a:pt x="1168" y="596"/>
                  </a:lnTo>
                  <a:lnTo>
                    <a:pt x="1168" y="596"/>
                  </a:lnTo>
                  <a:lnTo>
                    <a:pt x="1166" y="598"/>
                  </a:lnTo>
                  <a:lnTo>
                    <a:pt x="1163" y="601"/>
                  </a:lnTo>
                  <a:lnTo>
                    <a:pt x="1159" y="601"/>
                  </a:lnTo>
                  <a:lnTo>
                    <a:pt x="1158" y="605"/>
                  </a:lnTo>
                  <a:lnTo>
                    <a:pt x="1158" y="606"/>
                  </a:lnTo>
                  <a:lnTo>
                    <a:pt x="1158" y="608"/>
                  </a:lnTo>
                  <a:lnTo>
                    <a:pt x="1159" y="605"/>
                  </a:lnTo>
                  <a:lnTo>
                    <a:pt x="1164" y="605"/>
                  </a:lnTo>
                  <a:lnTo>
                    <a:pt x="1166" y="601"/>
                  </a:lnTo>
                  <a:lnTo>
                    <a:pt x="1170" y="601"/>
                  </a:lnTo>
                  <a:lnTo>
                    <a:pt x="1170" y="600"/>
                  </a:lnTo>
                  <a:lnTo>
                    <a:pt x="1173" y="598"/>
                  </a:lnTo>
                  <a:lnTo>
                    <a:pt x="1175" y="598"/>
                  </a:lnTo>
                  <a:lnTo>
                    <a:pt x="1178" y="601"/>
                  </a:lnTo>
                  <a:lnTo>
                    <a:pt x="1182" y="606"/>
                  </a:lnTo>
                  <a:lnTo>
                    <a:pt x="1182" y="608"/>
                  </a:lnTo>
                  <a:lnTo>
                    <a:pt x="1185" y="610"/>
                  </a:lnTo>
                  <a:lnTo>
                    <a:pt x="1185" y="612"/>
                  </a:lnTo>
                  <a:lnTo>
                    <a:pt x="1185" y="615"/>
                  </a:lnTo>
                  <a:lnTo>
                    <a:pt x="1182" y="619"/>
                  </a:lnTo>
                  <a:lnTo>
                    <a:pt x="1182" y="619"/>
                  </a:lnTo>
                  <a:lnTo>
                    <a:pt x="1182" y="615"/>
                  </a:lnTo>
                  <a:lnTo>
                    <a:pt x="1178" y="615"/>
                  </a:lnTo>
                  <a:lnTo>
                    <a:pt x="1178" y="615"/>
                  </a:lnTo>
                  <a:lnTo>
                    <a:pt x="1178" y="619"/>
                  </a:lnTo>
                  <a:lnTo>
                    <a:pt x="1175" y="619"/>
                  </a:lnTo>
                  <a:lnTo>
                    <a:pt x="1170" y="620"/>
                  </a:lnTo>
                  <a:lnTo>
                    <a:pt x="1166" y="620"/>
                  </a:lnTo>
                  <a:lnTo>
                    <a:pt x="1163" y="620"/>
                  </a:lnTo>
                  <a:lnTo>
                    <a:pt x="1158" y="624"/>
                  </a:lnTo>
                  <a:lnTo>
                    <a:pt x="1156" y="624"/>
                  </a:lnTo>
                  <a:lnTo>
                    <a:pt x="1151" y="627"/>
                  </a:lnTo>
                  <a:lnTo>
                    <a:pt x="1156" y="627"/>
                  </a:lnTo>
                  <a:lnTo>
                    <a:pt x="1156" y="627"/>
                  </a:lnTo>
                  <a:lnTo>
                    <a:pt x="1156" y="629"/>
                  </a:lnTo>
                  <a:lnTo>
                    <a:pt x="1151" y="631"/>
                  </a:lnTo>
                  <a:lnTo>
                    <a:pt x="1151" y="633"/>
                  </a:lnTo>
                  <a:lnTo>
                    <a:pt x="1156" y="631"/>
                  </a:lnTo>
                  <a:lnTo>
                    <a:pt x="1158" y="627"/>
                  </a:lnTo>
                  <a:lnTo>
                    <a:pt x="1163" y="624"/>
                  </a:lnTo>
                  <a:lnTo>
                    <a:pt x="1168" y="624"/>
                  </a:lnTo>
                  <a:lnTo>
                    <a:pt x="1170" y="624"/>
                  </a:lnTo>
                  <a:lnTo>
                    <a:pt x="1173" y="624"/>
                  </a:lnTo>
                  <a:lnTo>
                    <a:pt x="1175" y="624"/>
                  </a:lnTo>
                  <a:lnTo>
                    <a:pt x="1175" y="624"/>
                  </a:lnTo>
                  <a:lnTo>
                    <a:pt x="1175" y="627"/>
                  </a:lnTo>
                  <a:lnTo>
                    <a:pt x="1170" y="629"/>
                  </a:lnTo>
                  <a:lnTo>
                    <a:pt x="1170" y="631"/>
                  </a:lnTo>
                  <a:lnTo>
                    <a:pt x="1166" y="631"/>
                  </a:lnTo>
                  <a:lnTo>
                    <a:pt x="1164" y="633"/>
                  </a:lnTo>
                  <a:lnTo>
                    <a:pt x="1163" y="634"/>
                  </a:lnTo>
                  <a:lnTo>
                    <a:pt x="1159" y="638"/>
                  </a:lnTo>
                  <a:lnTo>
                    <a:pt x="1156" y="634"/>
                  </a:lnTo>
                  <a:lnTo>
                    <a:pt x="1156" y="634"/>
                  </a:lnTo>
                  <a:lnTo>
                    <a:pt x="1152" y="640"/>
                  </a:lnTo>
                  <a:lnTo>
                    <a:pt x="1156" y="640"/>
                  </a:lnTo>
                  <a:lnTo>
                    <a:pt x="1156" y="638"/>
                  </a:lnTo>
                  <a:lnTo>
                    <a:pt x="1159" y="638"/>
                  </a:lnTo>
                  <a:lnTo>
                    <a:pt x="1161" y="640"/>
                  </a:lnTo>
                  <a:lnTo>
                    <a:pt x="1164" y="634"/>
                  </a:lnTo>
                  <a:lnTo>
                    <a:pt x="1166" y="633"/>
                  </a:lnTo>
                  <a:lnTo>
                    <a:pt x="1170" y="633"/>
                  </a:lnTo>
                  <a:lnTo>
                    <a:pt x="1170" y="633"/>
                  </a:lnTo>
                  <a:lnTo>
                    <a:pt x="1175" y="634"/>
                  </a:lnTo>
                  <a:lnTo>
                    <a:pt x="1178" y="631"/>
                  </a:lnTo>
                  <a:lnTo>
                    <a:pt x="1182" y="629"/>
                  </a:lnTo>
                  <a:lnTo>
                    <a:pt x="1182" y="629"/>
                  </a:lnTo>
                  <a:lnTo>
                    <a:pt x="1182" y="626"/>
                  </a:lnTo>
                  <a:lnTo>
                    <a:pt x="1182" y="626"/>
                  </a:lnTo>
                  <a:lnTo>
                    <a:pt x="1182" y="624"/>
                  </a:lnTo>
                  <a:lnTo>
                    <a:pt x="1182" y="620"/>
                  </a:lnTo>
                  <a:lnTo>
                    <a:pt x="1184" y="620"/>
                  </a:lnTo>
                  <a:lnTo>
                    <a:pt x="1185" y="620"/>
                  </a:lnTo>
                  <a:lnTo>
                    <a:pt x="1185" y="620"/>
                  </a:lnTo>
                  <a:lnTo>
                    <a:pt x="1187" y="624"/>
                  </a:lnTo>
                  <a:lnTo>
                    <a:pt x="1191" y="631"/>
                  </a:lnTo>
                  <a:lnTo>
                    <a:pt x="1191" y="634"/>
                  </a:lnTo>
                  <a:lnTo>
                    <a:pt x="1194" y="638"/>
                  </a:lnTo>
                  <a:lnTo>
                    <a:pt x="1192" y="641"/>
                  </a:lnTo>
                  <a:lnTo>
                    <a:pt x="1191" y="643"/>
                  </a:lnTo>
                  <a:lnTo>
                    <a:pt x="1187" y="643"/>
                  </a:lnTo>
                  <a:lnTo>
                    <a:pt x="1185" y="641"/>
                  </a:lnTo>
                  <a:lnTo>
                    <a:pt x="1182" y="641"/>
                  </a:lnTo>
                  <a:lnTo>
                    <a:pt x="1178" y="643"/>
                  </a:lnTo>
                  <a:lnTo>
                    <a:pt x="1175" y="643"/>
                  </a:lnTo>
                  <a:lnTo>
                    <a:pt x="1173" y="643"/>
                  </a:lnTo>
                  <a:lnTo>
                    <a:pt x="1173" y="643"/>
                  </a:lnTo>
                  <a:lnTo>
                    <a:pt x="1170" y="643"/>
                  </a:lnTo>
                  <a:lnTo>
                    <a:pt x="1168" y="646"/>
                  </a:lnTo>
                  <a:lnTo>
                    <a:pt x="1163" y="646"/>
                  </a:lnTo>
                  <a:lnTo>
                    <a:pt x="1164" y="646"/>
                  </a:lnTo>
                  <a:lnTo>
                    <a:pt x="1170" y="646"/>
                  </a:lnTo>
                  <a:lnTo>
                    <a:pt x="1175" y="646"/>
                  </a:lnTo>
                  <a:lnTo>
                    <a:pt x="1178" y="650"/>
                  </a:lnTo>
                  <a:lnTo>
                    <a:pt x="1182" y="652"/>
                  </a:lnTo>
                  <a:lnTo>
                    <a:pt x="1182" y="650"/>
                  </a:lnTo>
                  <a:lnTo>
                    <a:pt x="1184" y="650"/>
                  </a:lnTo>
                  <a:lnTo>
                    <a:pt x="1185" y="652"/>
                  </a:lnTo>
                  <a:lnTo>
                    <a:pt x="1189" y="653"/>
                  </a:lnTo>
                  <a:lnTo>
                    <a:pt x="1192" y="655"/>
                  </a:lnTo>
                  <a:lnTo>
                    <a:pt x="1192" y="657"/>
                  </a:lnTo>
                  <a:lnTo>
                    <a:pt x="1194" y="660"/>
                  </a:lnTo>
                  <a:lnTo>
                    <a:pt x="1194" y="664"/>
                  </a:lnTo>
                  <a:lnTo>
                    <a:pt x="1192" y="666"/>
                  </a:lnTo>
                  <a:lnTo>
                    <a:pt x="1191" y="666"/>
                  </a:lnTo>
                  <a:lnTo>
                    <a:pt x="1189" y="662"/>
                  </a:lnTo>
                  <a:lnTo>
                    <a:pt x="1187" y="662"/>
                  </a:lnTo>
                  <a:lnTo>
                    <a:pt x="1185" y="664"/>
                  </a:lnTo>
                  <a:lnTo>
                    <a:pt x="1184" y="664"/>
                  </a:lnTo>
                  <a:lnTo>
                    <a:pt x="1184" y="662"/>
                  </a:lnTo>
                  <a:lnTo>
                    <a:pt x="1182" y="662"/>
                  </a:lnTo>
                  <a:lnTo>
                    <a:pt x="1178" y="662"/>
                  </a:lnTo>
                  <a:lnTo>
                    <a:pt x="1175" y="657"/>
                  </a:lnTo>
                  <a:lnTo>
                    <a:pt x="1175" y="657"/>
                  </a:lnTo>
                  <a:lnTo>
                    <a:pt x="1173" y="657"/>
                  </a:lnTo>
                  <a:lnTo>
                    <a:pt x="1170" y="657"/>
                  </a:lnTo>
                  <a:lnTo>
                    <a:pt x="1166" y="655"/>
                  </a:lnTo>
                  <a:lnTo>
                    <a:pt x="1168" y="657"/>
                  </a:lnTo>
                  <a:lnTo>
                    <a:pt x="1170" y="659"/>
                  </a:lnTo>
                  <a:lnTo>
                    <a:pt x="1175" y="659"/>
                  </a:lnTo>
                  <a:lnTo>
                    <a:pt x="1173" y="660"/>
                  </a:lnTo>
                  <a:lnTo>
                    <a:pt x="1168" y="660"/>
                  </a:lnTo>
                  <a:lnTo>
                    <a:pt x="1166" y="662"/>
                  </a:lnTo>
                  <a:lnTo>
                    <a:pt x="1163" y="662"/>
                  </a:lnTo>
                  <a:lnTo>
                    <a:pt x="1159" y="664"/>
                  </a:lnTo>
                  <a:lnTo>
                    <a:pt x="1161" y="666"/>
                  </a:lnTo>
                  <a:lnTo>
                    <a:pt x="1163" y="666"/>
                  </a:lnTo>
                  <a:lnTo>
                    <a:pt x="1163" y="664"/>
                  </a:lnTo>
                  <a:lnTo>
                    <a:pt x="1168" y="664"/>
                  </a:lnTo>
                  <a:lnTo>
                    <a:pt x="1170" y="662"/>
                  </a:lnTo>
                  <a:lnTo>
                    <a:pt x="1173" y="662"/>
                  </a:lnTo>
                  <a:lnTo>
                    <a:pt x="1175" y="666"/>
                  </a:lnTo>
                  <a:lnTo>
                    <a:pt x="1175" y="666"/>
                  </a:lnTo>
                  <a:lnTo>
                    <a:pt x="1175" y="666"/>
                  </a:lnTo>
                  <a:lnTo>
                    <a:pt x="1178" y="669"/>
                  </a:lnTo>
                  <a:lnTo>
                    <a:pt x="1175" y="669"/>
                  </a:lnTo>
                  <a:lnTo>
                    <a:pt x="1173" y="669"/>
                  </a:lnTo>
                  <a:lnTo>
                    <a:pt x="1170" y="671"/>
                  </a:lnTo>
                  <a:lnTo>
                    <a:pt x="1170" y="669"/>
                  </a:lnTo>
                  <a:lnTo>
                    <a:pt x="1170" y="666"/>
                  </a:lnTo>
                  <a:lnTo>
                    <a:pt x="1168" y="666"/>
                  </a:lnTo>
                  <a:lnTo>
                    <a:pt x="1166" y="669"/>
                  </a:lnTo>
                  <a:lnTo>
                    <a:pt x="1170" y="671"/>
                  </a:lnTo>
                  <a:lnTo>
                    <a:pt x="1170" y="671"/>
                  </a:lnTo>
                  <a:lnTo>
                    <a:pt x="1173" y="671"/>
                  </a:lnTo>
                  <a:lnTo>
                    <a:pt x="1173" y="674"/>
                  </a:lnTo>
                  <a:lnTo>
                    <a:pt x="1175" y="676"/>
                  </a:lnTo>
                  <a:lnTo>
                    <a:pt x="1170" y="676"/>
                  </a:lnTo>
                  <a:lnTo>
                    <a:pt x="1164" y="674"/>
                  </a:lnTo>
                  <a:lnTo>
                    <a:pt x="1161" y="674"/>
                  </a:lnTo>
                  <a:lnTo>
                    <a:pt x="1156" y="671"/>
                  </a:lnTo>
                  <a:lnTo>
                    <a:pt x="1152" y="671"/>
                  </a:lnTo>
                  <a:lnTo>
                    <a:pt x="1152" y="674"/>
                  </a:lnTo>
                  <a:lnTo>
                    <a:pt x="1156" y="674"/>
                  </a:lnTo>
                  <a:lnTo>
                    <a:pt x="1166" y="678"/>
                  </a:lnTo>
                  <a:lnTo>
                    <a:pt x="1166" y="680"/>
                  </a:lnTo>
                  <a:lnTo>
                    <a:pt x="1164" y="681"/>
                  </a:lnTo>
                  <a:lnTo>
                    <a:pt x="1159" y="678"/>
                  </a:lnTo>
                  <a:lnTo>
                    <a:pt x="1158" y="678"/>
                  </a:lnTo>
                  <a:lnTo>
                    <a:pt x="1156" y="681"/>
                  </a:lnTo>
                  <a:lnTo>
                    <a:pt x="1158" y="680"/>
                  </a:lnTo>
                  <a:lnTo>
                    <a:pt x="1159" y="681"/>
                  </a:lnTo>
                  <a:lnTo>
                    <a:pt x="1161" y="683"/>
                  </a:lnTo>
                  <a:lnTo>
                    <a:pt x="1163" y="683"/>
                  </a:lnTo>
                  <a:lnTo>
                    <a:pt x="1164" y="683"/>
                  </a:lnTo>
                  <a:lnTo>
                    <a:pt x="1164" y="685"/>
                  </a:lnTo>
                  <a:lnTo>
                    <a:pt x="1166" y="688"/>
                  </a:lnTo>
                  <a:lnTo>
                    <a:pt x="1166" y="686"/>
                  </a:lnTo>
                  <a:lnTo>
                    <a:pt x="1168" y="685"/>
                  </a:lnTo>
                  <a:lnTo>
                    <a:pt x="1170" y="685"/>
                  </a:lnTo>
                  <a:lnTo>
                    <a:pt x="1170" y="686"/>
                  </a:lnTo>
                  <a:lnTo>
                    <a:pt x="1170" y="688"/>
                  </a:lnTo>
                  <a:lnTo>
                    <a:pt x="1170" y="690"/>
                  </a:lnTo>
                  <a:lnTo>
                    <a:pt x="1170" y="690"/>
                  </a:lnTo>
                  <a:lnTo>
                    <a:pt x="1170" y="686"/>
                  </a:lnTo>
                  <a:lnTo>
                    <a:pt x="1173" y="686"/>
                  </a:lnTo>
                  <a:lnTo>
                    <a:pt x="1175" y="688"/>
                  </a:lnTo>
                  <a:lnTo>
                    <a:pt x="1178" y="688"/>
                  </a:lnTo>
                  <a:lnTo>
                    <a:pt x="1182" y="688"/>
                  </a:lnTo>
                  <a:lnTo>
                    <a:pt x="1182" y="692"/>
                  </a:lnTo>
                  <a:lnTo>
                    <a:pt x="1182" y="693"/>
                  </a:lnTo>
                  <a:lnTo>
                    <a:pt x="1178" y="692"/>
                  </a:lnTo>
                  <a:lnTo>
                    <a:pt x="1175" y="690"/>
                  </a:lnTo>
                  <a:lnTo>
                    <a:pt x="1170" y="692"/>
                  </a:lnTo>
                  <a:lnTo>
                    <a:pt x="1166" y="693"/>
                  </a:lnTo>
                  <a:lnTo>
                    <a:pt x="1166" y="697"/>
                  </a:lnTo>
                  <a:lnTo>
                    <a:pt x="1170" y="693"/>
                  </a:lnTo>
                  <a:lnTo>
                    <a:pt x="1173" y="693"/>
                  </a:lnTo>
                  <a:lnTo>
                    <a:pt x="1175" y="693"/>
                  </a:lnTo>
                  <a:lnTo>
                    <a:pt x="1173" y="693"/>
                  </a:lnTo>
                  <a:lnTo>
                    <a:pt x="1173" y="697"/>
                  </a:lnTo>
                  <a:lnTo>
                    <a:pt x="1175" y="697"/>
                  </a:lnTo>
                  <a:lnTo>
                    <a:pt x="1178" y="697"/>
                  </a:lnTo>
                  <a:lnTo>
                    <a:pt x="1178" y="697"/>
                  </a:lnTo>
                  <a:lnTo>
                    <a:pt x="1178" y="699"/>
                  </a:lnTo>
                  <a:lnTo>
                    <a:pt x="1182" y="699"/>
                  </a:lnTo>
                  <a:lnTo>
                    <a:pt x="1182" y="702"/>
                  </a:lnTo>
                  <a:lnTo>
                    <a:pt x="1182" y="706"/>
                  </a:lnTo>
                  <a:lnTo>
                    <a:pt x="1182" y="707"/>
                  </a:lnTo>
                  <a:lnTo>
                    <a:pt x="1182" y="709"/>
                  </a:lnTo>
                  <a:lnTo>
                    <a:pt x="1182" y="709"/>
                  </a:lnTo>
                  <a:lnTo>
                    <a:pt x="1182" y="706"/>
                  </a:lnTo>
                  <a:lnTo>
                    <a:pt x="1184" y="706"/>
                  </a:lnTo>
                  <a:lnTo>
                    <a:pt x="1187" y="706"/>
                  </a:lnTo>
                  <a:lnTo>
                    <a:pt x="1187" y="706"/>
                  </a:lnTo>
                  <a:lnTo>
                    <a:pt x="1185" y="707"/>
                  </a:lnTo>
                  <a:lnTo>
                    <a:pt x="1182" y="714"/>
                  </a:lnTo>
                  <a:lnTo>
                    <a:pt x="1182" y="716"/>
                  </a:lnTo>
                  <a:lnTo>
                    <a:pt x="1182" y="720"/>
                  </a:lnTo>
                  <a:lnTo>
                    <a:pt x="1182" y="718"/>
                  </a:lnTo>
                  <a:lnTo>
                    <a:pt x="1185" y="714"/>
                  </a:lnTo>
                  <a:lnTo>
                    <a:pt x="1185" y="713"/>
                  </a:lnTo>
                  <a:lnTo>
                    <a:pt x="1187" y="709"/>
                  </a:lnTo>
                  <a:lnTo>
                    <a:pt x="1191" y="707"/>
                  </a:lnTo>
                  <a:lnTo>
                    <a:pt x="1191" y="707"/>
                  </a:lnTo>
                  <a:lnTo>
                    <a:pt x="1191" y="706"/>
                  </a:lnTo>
                  <a:lnTo>
                    <a:pt x="1194" y="702"/>
                  </a:lnTo>
                  <a:lnTo>
                    <a:pt x="1194" y="706"/>
                  </a:lnTo>
                  <a:lnTo>
                    <a:pt x="1194" y="706"/>
                  </a:lnTo>
                  <a:lnTo>
                    <a:pt x="1191" y="711"/>
                  </a:lnTo>
                  <a:lnTo>
                    <a:pt x="1189" y="713"/>
                  </a:lnTo>
                  <a:lnTo>
                    <a:pt x="1189" y="716"/>
                  </a:lnTo>
                  <a:lnTo>
                    <a:pt x="1189" y="720"/>
                  </a:lnTo>
                  <a:lnTo>
                    <a:pt x="1191" y="720"/>
                  </a:lnTo>
                  <a:lnTo>
                    <a:pt x="1191" y="716"/>
                  </a:lnTo>
                  <a:lnTo>
                    <a:pt x="1191" y="713"/>
                  </a:lnTo>
                  <a:lnTo>
                    <a:pt x="1192" y="711"/>
                  </a:lnTo>
                  <a:lnTo>
                    <a:pt x="1194" y="709"/>
                  </a:lnTo>
                  <a:lnTo>
                    <a:pt x="1197" y="706"/>
                  </a:lnTo>
                  <a:lnTo>
                    <a:pt x="1201" y="706"/>
                  </a:lnTo>
                  <a:lnTo>
                    <a:pt x="1201" y="706"/>
                  </a:lnTo>
                  <a:lnTo>
                    <a:pt x="1201" y="709"/>
                  </a:lnTo>
                  <a:lnTo>
                    <a:pt x="1201" y="711"/>
                  </a:lnTo>
                  <a:lnTo>
                    <a:pt x="1197" y="711"/>
                  </a:lnTo>
                  <a:lnTo>
                    <a:pt x="1196" y="714"/>
                  </a:lnTo>
                  <a:lnTo>
                    <a:pt x="1196" y="716"/>
                  </a:lnTo>
                  <a:lnTo>
                    <a:pt x="1196" y="718"/>
                  </a:lnTo>
                  <a:lnTo>
                    <a:pt x="1197" y="716"/>
                  </a:lnTo>
                  <a:lnTo>
                    <a:pt x="1197" y="718"/>
                  </a:lnTo>
                  <a:lnTo>
                    <a:pt x="1201" y="716"/>
                  </a:lnTo>
                  <a:lnTo>
                    <a:pt x="1204" y="714"/>
                  </a:lnTo>
                  <a:lnTo>
                    <a:pt x="1204" y="716"/>
                  </a:lnTo>
                  <a:lnTo>
                    <a:pt x="1204" y="721"/>
                  </a:lnTo>
                  <a:lnTo>
                    <a:pt x="1204" y="721"/>
                  </a:lnTo>
                  <a:lnTo>
                    <a:pt x="1204" y="725"/>
                  </a:lnTo>
                  <a:lnTo>
                    <a:pt x="1204" y="725"/>
                  </a:lnTo>
                  <a:lnTo>
                    <a:pt x="1204" y="725"/>
                  </a:lnTo>
                  <a:lnTo>
                    <a:pt x="1206" y="728"/>
                  </a:lnTo>
                  <a:lnTo>
                    <a:pt x="1204" y="728"/>
                  </a:lnTo>
                  <a:lnTo>
                    <a:pt x="1201" y="728"/>
                  </a:lnTo>
                  <a:lnTo>
                    <a:pt x="1204" y="728"/>
                  </a:lnTo>
                  <a:lnTo>
                    <a:pt x="1206" y="730"/>
                  </a:lnTo>
                  <a:lnTo>
                    <a:pt x="1201" y="733"/>
                  </a:lnTo>
                  <a:lnTo>
                    <a:pt x="1197" y="733"/>
                  </a:lnTo>
                  <a:lnTo>
                    <a:pt x="1197" y="733"/>
                  </a:lnTo>
                  <a:lnTo>
                    <a:pt x="1201" y="733"/>
                  </a:lnTo>
                  <a:lnTo>
                    <a:pt x="1206" y="733"/>
                  </a:lnTo>
                  <a:lnTo>
                    <a:pt x="1210" y="733"/>
                  </a:lnTo>
                  <a:lnTo>
                    <a:pt x="1211" y="733"/>
                  </a:lnTo>
                  <a:lnTo>
                    <a:pt x="1211" y="733"/>
                  </a:lnTo>
                  <a:lnTo>
                    <a:pt x="1210" y="735"/>
                  </a:lnTo>
                  <a:lnTo>
                    <a:pt x="1210" y="739"/>
                  </a:lnTo>
                  <a:lnTo>
                    <a:pt x="1210" y="735"/>
                  </a:lnTo>
                  <a:lnTo>
                    <a:pt x="1213" y="735"/>
                  </a:lnTo>
                  <a:lnTo>
                    <a:pt x="1215" y="733"/>
                  </a:lnTo>
                  <a:lnTo>
                    <a:pt x="1218" y="730"/>
                  </a:lnTo>
                  <a:lnTo>
                    <a:pt x="1220" y="733"/>
                  </a:lnTo>
                  <a:lnTo>
                    <a:pt x="1220" y="733"/>
                  </a:lnTo>
                  <a:lnTo>
                    <a:pt x="1218" y="735"/>
                  </a:lnTo>
                  <a:lnTo>
                    <a:pt x="1217" y="735"/>
                  </a:lnTo>
                  <a:lnTo>
                    <a:pt x="1215" y="739"/>
                  </a:lnTo>
                  <a:lnTo>
                    <a:pt x="1213" y="742"/>
                  </a:lnTo>
                  <a:lnTo>
                    <a:pt x="1210" y="744"/>
                  </a:lnTo>
                  <a:lnTo>
                    <a:pt x="1210" y="746"/>
                  </a:lnTo>
                  <a:lnTo>
                    <a:pt x="1210" y="749"/>
                  </a:lnTo>
                  <a:lnTo>
                    <a:pt x="1210" y="749"/>
                  </a:lnTo>
                  <a:lnTo>
                    <a:pt x="1213" y="746"/>
                  </a:lnTo>
                  <a:lnTo>
                    <a:pt x="1213" y="744"/>
                  </a:lnTo>
                  <a:lnTo>
                    <a:pt x="1217" y="740"/>
                  </a:lnTo>
                  <a:lnTo>
                    <a:pt x="1220" y="739"/>
                  </a:lnTo>
                  <a:lnTo>
                    <a:pt x="1220" y="742"/>
                  </a:lnTo>
                  <a:lnTo>
                    <a:pt x="1217" y="746"/>
                  </a:lnTo>
                  <a:lnTo>
                    <a:pt x="1217" y="749"/>
                  </a:lnTo>
                  <a:lnTo>
                    <a:pt x="1215" y="753"/>
                  </a:lnTo>
                  <a:lnTo>
                    <a:pt x="1218" y="751"/>
                  </a:lnTo>
                  <a:lnTo>
                    <a:pt x="1220" y="746"/>
                  </a:lnTo>
                  <a:lnTo>
                    <a:pt x="1220" y="744"/>
                  </a:lnTo>
                  <a:lnTo>
                    <a:pt x="1220" y="742"/>
                  </a:lnTo>
                  <a:lnTo>
                    <a:pt x="1220" y="744"/>
                  </a:lnTo>
                  <a:lnTo>
                    <a:pt x="1224" y="749"/>
                  </a:lnTo>
                  <a:lnTo>
                    <a:pt x="1224" y="751"/>
                  </a:lnTo>
                  <a:lnTo>
                    <a:pt x="1224" y="751"/>
                  </a:lnTo>
                  <a:lnTo>
                    <a:pt x="1224" y="746"/>
                  </a:lnTo>
                  <a:lnTo>
                    <a:pt x="1227" y="744"/>
                  </a:lnTo>
                  <a:lnTo>
                    <a:pt x="1229" y="742"/>
                  </a:lnTo>
                  <a:lnTo>
                    <a:pt x="1232" y="742"/>
                  </a:lnTo>
                  <a:lnTo>
                    <a:pt x="1229" y="746"/>
                  </a:lnTo>
                  <a:lnTo>
                    <a:pt x="1232" y="746"/>
                  </a:lnTo>
                  <a:lnTo>
                    <a:pt x="1232" y="746"/>
                  </a:lnTo>
                  <a:lnTo>
                    <a:pt x="1234" y="747"/>
                  </a:lnTo>
                  <a:lnTo>
                    <a:pt x="1234" y="751"/>
                  </a:lnTo>
                  <a:lnTo>
                    <a:pt x="1236" y="751"/>
                  </a:lnTo>
                  <a:lnTo>
                    <a:pt x="1237" y="753"/>
                  </a:lnTo>
                  <a:lnTo>
                    <a:pt x="1237" y="753"/>
                  </a:lnTo>
                  <a:lnTo>
                    <a:pt x="1239" y="756"/>
                  </a:lnTo>
                  <a:lnTo>
                    <a:pt x="1241" y="758"/>
                  </a:lnTo>
                  <a:lnTo>
                    <a:pt x="1239" y="758"/>
                  </a:lnTo>
                  <a:lnTo>
                    <a:pt x="1237" y="760"/>
                  </a:lnTo>
                  <a:lnTo>
                    <a:pt x="1234" y="760"/>
                  </a:lnTo>
                  <a:lnTo>
                    <a:pt x="1234" y="758"/>
                  </a:lnTo>
                  <a:lnTo>
                    <a:pt x="1232" y="756"/>
                  </a:lnTo>
                  <a:lnTo>
                    <a:pt x="1232" y="756"/>
                  </a:lnTo>
                  <a:lnTo>
                    <a:pt x="1232" y="753"/>
                  </a:lnTo>
                  <a:lnTo>
                    <a:pt x="1229" y="756"/>
                  </a:lnTo>
                  <a:lnTo>
                    <a:pt x="1229" y="756"/>
                  </a:lnTo>
                  <a:lnTo>
                    <a:pt x="1229" y="756"/>
                  </a:lnTo>
                  <a:lnTo>
                    <a:pt x="1232" y="756"/>
                  </a:lnTo>
                  <a:lnTo>
                    <a:pt x="1232" y="758"/>
                  </a:lnTo>
                  <a:lnTo>
                    <a:pt x="1232" y="758"/>
                  </a:lnTo>
                  <a:lnTo>
                    <a:pt x="1232" y="760"/>
                  </a:lnTo>
                  <a:lnTo>
                    <a:pt x="1232" y="761"/>
                  </a:lnTo>
                  <a:lnTo>
                    <a:pt x="1232" y="761"/>
                  </a:lnTo>
                  <a:lnTo>
                    <a:pt x="1229" y="761"/>
                  </a:lnTo>
                  <a:lnTo>
                    <a:pt x="1229" y="763"/>
                  </a:lnTo>
                  <a:lnTo>
                    <a:pt x="1229" y="763"/>
                  </a:lnTo>
                  <a:lnTo>
                    <a:pt x="1232" y="763"/>
                  </a:lnTo>
                  <a:lnTo>
                    <a:pt x="1234" y="763"/>
                  </a:lnTo>
                  <a:lnTo>
                    <a:pt x="1234" y="765"/>
                  </a:lnTo>
                  <a:lnTo>
                    <a:pt x="1232" y="766"/>
                  </a:lnTo>
                  <a:lnTo>
                    <a:pt x="1232" y="766"/>
                  </a:lnTo>
                  <a:lnTo>
                    <a:pt x="1229" y="768"/>
                  </a:lnTo>
                  <a:lnTo>
                    <a:pt x="1224" y="766"/>
                  </a:lnTo>
                  <a:lnTo>
                    <a:pt x="1220" y="766"/>
                  </a:lnTo>
                  <a:lnTo>
                    <a:pt x="1224" y="763"/>
                  </a:lnTo>
                  <a:lnTo>
                    <a:pt x="1224" y="763"/>
                  </a:lnTo>
                  <a:lnTo>
                    <a:pt x="1220" y="761"/>
                  </a:lnTo>
                  <a:lnTo>
                    <a:pt x="1220" y="760"/>
                  </a:lnTo>
                  <a:lnTo>
                    <a:pt x="1218" y="760"/>
                  </a:lnTo>
                  <a:lnTo>
                    <a:pt x="1218" y="761"/>
                  </a:lnTo>
                  <a:lnTo>
                    <a:pt x="1220" y="763"/>
                  </a:lnTo>
                  <a:lnTo>
                    <a:pt x="1220" y="766"/>
                  </a:lnTo>
                  <a:lnTo>
                    <a:pt x="1220" y="768"/>
                  </a:lnTo>
                  <a:lnTo>
                    <a:pt x="1218" y="768"/>
                  </a:lnTo>
                  <a:lnTo>
                    <a:pt x="1215" y="766"/>
                  </a:lnTo>
                  <a:lnTo>
                    <a:pt x="1215" y="765"/>
                  </a:lnTo>
                  <a:lnTo>
                    <a:pt x="1215" y="768"/>
                  </a:lnTo>
                  <a:lnTo>
                    <a:pt x="1217" y="770"/>
                  </a:lnTo>
                  <a:lnTo>
                    <a:pt x="1220" y="770"/>
                  </a:lnTo>
                  <a:lnTo>
                    <a:pt x="1220" y="772"/>
                  </a:lnTo>
                  <a:lnTo>
                    <a:pt x="1224" y="772"/>
                  </a:lnTo>
                  <a:lnTo>
                    <a:pt x="1224" y="773"/>
                  </a:lnTo>
                  <a:lnTo>
                    <a:pt x="1224" y="775"/>
                  </a:lnTo>
                  <a:lnTo>
                    <a:pt x="1218" y="775"/>
                  </a:lnTo>
                  <a:lnTo>
                    <a:pt x="1217" y="773"/>
                  </a:lnTo>
                  <a:lnTo>
                    <a:pt x="1213" y="772"/>
                  </a:lnTo>
                  <a:lnTo>
                    <a:pt x="1211" y="770"/>
                  </a:lnTo>
                  <a:lnTo>
                    <a:pt x="1211" y="770"/>
                  </a:lnTo>
                  <a:lnTo>
                    <a:pt x="1211" y="772"/>
                  </a:lnTo>
                  <a:lnTo>
                    <a:pt x="1215" y="775"/>
                  </a:lnTo>
                  <a:lnTo>
                    <a:pt x="1217" y="775"/>
                  </a:lnTo>
                  <a:lnTo>
                    <a:pt x="1217" y="780"/>
                  </a:lnTo>
                  <a:lnTo>
                    <a:pt x="1215" y="784"/>
                  </a:lnTo>
                  <a:lnTo>
                    <a:pt x="1213" y="780"/>
                  </a:lnTo>
                  <a:lnTo>
                    <a:pt x="1213" y="780"/>
                  </a:lnTo>
                  <a:lnTo>
                    <a:pt x="1211" y="779"/>
                  </a:lnTo>
                  <a:lnTo>
                    <a:pt x="1210" y="775"/>
                  </a:lnTo>
                  <a:lnTo>
                    <a:pt x="1210" y="779"/>
                  </a:lnTo>
                  <a:lnTo>
                    <a:pt x="1210" y="780"/>
                  </a:lnTo>
                  <a:lnTo>
                    <a:pt x="1210" y="784"/>
                  </a:lnTo>
                  <a:lnTo>
                    <a:pt x="1210" y="786"/>
                  </a:lnTo>
                  <a:lnTo>
                    <a:pt x="1210" y="786"/>
                  </a:lnTo>
                  <a:lnTo>
                    <a:pt x="1210" y="786"/>
                  </a:lnTo>
                  <a:lnTo>
                    <a:pt x="1206" y="786"/>
                  </a:lnTo>
                  <a:lnTo>
                    <a:pt x="1206" y="784"/>
                  </a:lnTo>
                  <a:lnTo>
                    <a:pt x="1204" y="784"/>
                  </a:lnTo>
                  <a:lnTo>
                    <a:pt x="1204" y="784"/>
                  </a:lnTo>
                  <a:lnTo>
                    <a:pt x="1204" y="786"/>
                  </a:lnTo>
                  <a:lnTo>
                    <a:pt x="1201" y="784"/>
                  </a:lnTo>
                  <a:lnTo>
                    <a:pt x="1201" y="784"/>
                  </a:lnTo>
                  <a:lnTo>
                    <a:pt x="1201" y="780"/>
                  </a:lnTo>
                  <a:lnTo>
                    <a:pt x="1201" y="779"/>
                  </a:lnTo>
                  <a:lnTo>
                    <a:pt x="1201" y="775"/>
                  </a:lnTo>
                  <a:lnTo>
                    <a:pt x="1197" y="779"/>
                  </a:lnTo>
                  <a:lnTo>
                    <a:pt x="1197" y="784"/>
                  </a:lnTo>
                  <a:lnTo>
                    <a:pt x="1197" y="784"/>
                  </a:lnTo>
                  <a:lnTo>
                    <a:pt x="1196" y="784"/>
                  </a:lnTo>
                  <a:lnTo>
                    <a:pt x="1197" y="784"/>
                  </a:lnTo>
                  <a:lnTo>
                    <a:pt x="1197" y="786"/>
                  </a:lnTo>
                  <a:lnTo>
                    <a:pt x="1197" y="786"/>
                  </a:lnTo>
                  <a:lnTo>
                    <a:pt x="1197" y="787"/>
                  </a:lnTo>
                  <a:lnTo>
                    <a:pt x="1196" y="787"/>
                  </a:lnTo>
                  <a:lnTo>
                    <a:pt x="1194" y="787"/>
                  </a:lnTo>
                  <a:lnTo>
                    <a:pt x="1194" y="787"/>
                  </a:lnTo>
                  <a:lnTo>
                    <a:pt x="1196" y="789"/>
                  </a:lnTo>
                  <a:lnTo>
                    <a:pt x="1197" y="789"/>
                  </a:lnTo>
                  <a:lnTo>
                    <a:pt x="1197" y="791"/>
                  </a:lnTo>
                  <a:lnTo>
                    <a:pt x="1197" y="793"/>
                  </a:lnTo>
                  <a:lnTo>
                    <a:pt x="1196" y="794"/>
                  </a:lnTo>
                  <a:lnTo>
                    <a:pt x="1196" y="796"/>
                  </a:lnTo>
                  <a:lnTo>
                    <a:pt x="1197" y="798"/>
                  </a:lnTo>
                  <a:lnTo>
                    <a:pt x="1197" y="799"/>
                  </a:lnTo>
                  <a:lnTo>
                    <a:pt x="1196" y="799"/>
                  </a:lnTo>
                  <a:lnTo>
                    <a:pt x="1194" y="799"/>
                  </a:lnTo>
                  <a:lnTo>
                    <a:pt x="1194" y="799"/>
                  </a:lnTo>
                  <a:lnTo>
                    <a:pt x="1196" y="801"/>
                  </a:lnTo>
                  <a:lnTo>
                    <a:pt x="1197" y="803"/>
                  </a:lnTo>
                  <a:lnTo>
                    <a:pt x="1196" y="806"/>
                  </a:lnTo>
                  <a:lnTo>
                    <a:pt x="1192" y="808"/>
                  </a:lnTo>
                  <a:lnTo>
                    <a:pt x="1192" y="808"/>
                  </a:lnTo>
                  <a:lnTo>
                    <a:pt x="1191" y="808"/>
                  </a:lnTo>
                  <a:lnTo>
                    <a:pt x="1191" y="806"/>
                  </a:lnTo>
                  <a:lnTo>
                    <a:pt x="1189" y="806"/>
                  </a:lnTo>
                  <a:lnTo>
                    <a:pt x="1189" y="803"/>
                  </a:lnTo>
                  <a:lnTo>
                    <a:pt x="1187" y="803"/>
                  </a:lnTo>
                  <a:lnTo>
                    <a:pt x="1187" y="803"/>
                  </a:lnTo>
                  <a:lnTo>
                    <a:pt x="1189" y="801"/>
                  </a:lnTo>
                  <a:lnTo>
                    <a:pt x="1189" y="799"/>
                  </a:lnTo>
                  <a:lnTo>
                    <a:pt x="1187" y="799"/>
                  </a:lnTo>
                  <a:lnTo>
                    <a:pt x="1185" y="801"/>
                  </a:lnTo>
                  <a:lnTo>
                    <a:pt x="1184" y="803"/>
                  </a:lnTo>
                  <a:lnTo>
                    <a:pt x="1184" y="803"/>
                  </a:lnTo>
                  <a:lnTo>
                    <a:pt x="1182" y="801"/>
                  </a:lnTo>
                  <a:lnTo>
                    <a:pt x="1182" y="799"/>
                  </a:lnTo>
                  <a:lnTo>
                    <a:pt x="1182" y="798"/>
                  </a:lnTo>
                  <a:lnTo>
                    <a:pt x="1182" y="796"/>
                  </a:lnTo>
                  <a:lnTo>
                    <a:pt x="1182" y="794"/>
                  </a:lnTo>
                  <a:lnTo>
                    <a:pt x="1182" y="794"/>
                  </a:lnTo>
                  <a:lnTo>
                    <a:pt x="1184" y="793"/>
                  </a:lnTo>
                  <a:lnTo>
                    <a:pt x="1182" y="791"/>
                  </a:lnTo>
                  <a:lnTo>
                    <a:pt x="1182" y="794"/>
                  </a:lnTo>
                  <a:lnTo>
                    <a:pt x="1178" y="796"/>
                  </a:lnTo>
                  <a:lnTo>
                    <a:pt x="1178" y="799"/>
                  </a:lnTo>
                  <a:lnTo>
                    <a:pt x="1178" y="798"/>
                  </a:lnTo>
                  <a:lnTo>
                    <a:pt x="1178" y="796"/>
                  </a:lnTo>
                  <a:lnTo>
                    <a:pt x="1175" y="794"/>
                  </a:lnTo>
                  <a:lnTo>
                    <a:pt x="1175" y="793"/>
                  </a:lnTo>
                  <a:lnTo>
                    <a:pt x="1175" y="791"/>
                  </a:lnTo>
                  <a:lnTo>
                    <a:pt x="1178" y="789"/>
                  </a:lnTo>
                  <a:lnTo>
                    <a:pt x="1178" y="789"/>
                  </a:lnTo>
                  <a:lnTo>
                    <a:pt x="1182" y="787"/>
                  </a:lnTo>
                  <a:lnTo>
                    <a:pt x="1182" y="787"/>
                  </a:lnTo>
                  <a:lnTo>
                    <a:pt x="1178" y="787"/>
                  </a:lnTo>
                  <a:lnTo>
                    <a:pt x="1175" y="787"/>
                  </a:lnTo>
                  <a:lnTo>
                    <a:pt x="1175" y="787"/>
                  </a:lnTo>
                  <a:lnTo>
                    <a:pt x="1175" y="786"/>
                  </a:lnTo>
                  <a:lnTo>
                    <a:pt x="1175" y="784"/>
                  </a:lnTo>
                  <a:lnTo>
                    <a:pt x="1178" y="784"/>
                  </a:lnTo>
                  <a:lnTo>
                    <a:pt x="1178" y="780"/>
                  </a:lnTo>
                  <a:lnTo>
                    <a:pt x="1178" y="780"/>
                  </a:lnTo>
                  <a:lnTo>
                    <a:pt x="1175" y="784"/>
                  </a:lnTo>
                  <a:lnTo>
                    <a:pt x="1175" y="780"/>
                  </a:lnTo>
                  <a:lnTo>
                    <a:pt x="1175" y="780"/>
                  </a:lnTo>
                  <a:lnTo>
                    <a:pt x="1175" y="780"/>
                  </a:lnTo>
                  <a:lnTo>
                    <a:pt x="1178" y="779"/>
                  </a:lnTo>
                  <a:lnTo>
                    <a:pt x="1182" y="779"/>
                  </a:lnTo>
                  <a:lnTo>
                    <a:pt x="1178" y="775"/>
                  </a:lnTo>
                  <a:lnTo>
                    <a:pt x="1175" y="775"/>
                  </a:lnTo>
                  <a:lnTo>
                    <a:pt x="1175" y="779"/>
                  </a:lnTo>
                  <a:lnTo>
                    <a:pt x="1173" y="775"/>
                  </a:lnTo>
                  <a:lnTo>
                    <a:pt x="1173" y="775"/>
                  </a:lnTo>
                  <a:lnTo>
                    <a:pt x="1175" y="772"/>
                  </a:lnTo>
                  <a:lnTo>
                    <a:pt x="1178" y="772"/>
                  </a:lnTo>
                  <a:lnTo>
                    <a:pt x="1182" y="772"/>
                  </a:lnTo>
                  <a:lnTo>
                    <a:pt x="1184" y="768"/>
                  </a:lnTo>
                  <a:lnTo>
                    <a:pt x="1185" y="766"/>
                  </a:lnTo>
                  <a:lnTo>
                    <a:pt x="1187" y="765"/>
                  </a:lnTo>
                  <a:lnTo>
                    <a:pt x="1189" y="761"/>
                  </a:lnTo>
                  <a:lnTo>
                    <a:pt x="1191" y="761"/>
                  </a:lnTo>
                  <a:lnTo>
                    <a:pt x="1191" y="760"/>
                  </a:lnTo>
                  <a:lnTo>
                    <a:pt x="1189" y="760"/>
                  </a:lnTo>
                  <a:lnTo>
                    <a:pt x="1185" y="761"/>
                  </a:lnTo>
                  <a:lnTo>
                    <a:pt x="1184" y="763"/>
                  </a:lnTo>
                  <a:lnTo>
                    <a:pt x="1182" y="766"/>
                  </a:lnTo>
                  <a:lnTo>
                    <a:pt x="1178" y="768"/>
                  </a:lnTo>
                  <a:lnTo>
                    <a:pt x="1175" y="768"/>
                  </a:lnTo>
                  <a:lnTo>
                    <a:pt x="1173" y="772"/>
                  </a:lnTo>
                  <a:lnTo>
                    <a:pt x="1170" y="772"/>
                  </a:lnTo>
                  <a:lnTo>
                    <a:pt x="1168" y="770"/>
                  </a:lnTo>
                  <a:lnTo>
                    <a:pt x="1168" y="770"/>
                  </a:lnTo>
                  <a:lnTo>
                    <a:pt x="1170" y="765"/>
                  </a:lnTo>
                  <a:lnTo>
                    <a:pt x="1175" y="761"/>
                  </a:lnTo>
                  <a:lnTo>
                    <a:pt x="1175" y="761"/>
                  </a:lnTo>
                  <a:lnTo>
                    <a:pt x="1178" y="760"/>
                  </a:lnTo>
                  <a:lnTo>
                    <a:pt x="1178" y="756"/>
                  </a:lnTo>
                  <a:lnTo>
                    <a:pt x="1175" y="760"/>
                  </a:lnTo>
                  <a:lnTo>
                    <a:pt x="1168" y="765"/>
                  </a:lnTo>
                  <a:lnTo>
                    <a:pt x="1166" y="765"/>
                  </a:lnTo>
                  <a:lnTo>
                    <a:pt x="1164" y="765"/>
                  </a:lnTo>
                  <a:lnTo>
                    <a:pt x="1164" y="763"/>
                  </a:lnTo>
                  <a:lnTo>
                    <a:pt x="1164" y="761"/>
                  </a:lnTo>
                  <a:lnTo>
                    <a:pt x="1163" y="760"/>
                  </a:lnTo>
                  <a:lnTo>
                    <a:pt x="1161" y="761"/>
                  </a:lnTo>
                  <a:lnTo>
                    <a:pt x="1159" y="760"/>
                  </a:lnTo>
                  <a:lnTo>
                    <a:pt x="1161" y="758"/>
                  </a:lnTo>
                  <a:lnTo>
                    <a:pt x="1163" y="758"/>
                  </a:lnTo>
                  <a:lnTo>
                    <a:pt x="1163" y="756"/>
                  </a:lnTo>
                  <a:lnTo>
                    <a:pt x="1161" y="756"/>
                  </a:lnTo>
                  <a:lnTo>
                    <a:pt x="1159" y="756"/>
                  </a:lnTo>
                  <a:lnTo>
                    <a:pt x="1159" y="756"/>
                  </a:lnTo>
                  <a:lnTo>
                    <a:pt x="1159" y="753"/>
                  </a:lnTo>
                  <a:lnTo>
                    <a:pt x="1161" y="751"/>
                  </a:lnTo>
                  <a:lnTo>
                    <a:pt x="1161" y="749"/>
                  </a:lnTo>
                  <a:lnTo>
                    <a:pt x="1159" y="749"/>
                  </a:lnTo>
                  <a:lnTo>
                    <a:pt x="1158" y="747"/>
                  </a:lnTo>
                  <a:lnTo>
                    <a:pt x="1156" y="747"/>
                  </a:lnTo>
                  <a:lnTo>
                    <a:pt x="1156" y="749"/>
                  </a:lnTo>
                  <a:lnTo>
                    <a:pt x="1158" y="751"/>
                  </a:lnTo>
                  <a:lnTo>
                    <a:pt x="1156" y="753"/>
                  </a:lnTo>
                  <a:lnTo>
                    <a:pt x="1152" y="751"/>
                  </a:lnTo>
                  <a:lnTo>
                    <a:pt x="1151" y="749"/>
                  </a:lnTo>
                  <a:lnTo>
                    <a:pt x="1147" y="749"/>
                  </a:lnTo>
                  <a:lnTo>
                    <a:pt x="1151" y="751"/>
                  </a:lnTo>
                  <a:lnTo>
                    <a:pt x="1152" y="753"/>
                  </a:lnTo>
                  <a:lnTo>
                    <a:pt x="1156" y="756"/>
                  </a:lnTo>
                  <a:lnTo>
                    <a:pt x="1151" y="756"/>
                  </a:lnTo>
                  <a:lnTo>
                    <a:pt x="1151" y="756"/>
                  </a:lnTo>
                  <a:lnTo>
                    <a:pt x="1151" y="758"/>
                  </a:lnTo>
                  <a:lnTo>
                    <a:pt x="1151" y="758"/>
                  </a:lnTo>
                  <a:lnTo>
                    <a:pt x="1147" y="756"/>
                  </a:lnTo>
                  <a:lnTo>
                    <a:pt x="1147" y="753"/>
                  </a:lnTo>
                  <a:lnTo>
                    <a:pt x="1147" y="753"/>
                  </a:lnTo>
                  <a:lnTo>
                    <a:pt x="1145" y="753"/>
                  </a:lnTo>
                  <a:lnTo>
                    <a:pt x="1147" y="756"/>
                  </a:lnTo>
                  <a:lnTo>
                    <a:pt x="1147" y="756"/>
                  </a:lnTo>
                  <a:lnTo>
                    <a:pt x="1147" y="760"/>
                  </a:lnTo>
                  <a:lnTo>
                    <a:pt x="1147" y="760"/>
                  </a:lnTo>
                  <a:lnTo>
                    <a:pt x="1151" y="761"/>
                  </a:lnTo>
                  <a:lnTo>
                    <a:pt x="1151" y="765"/>
                  </a:lnTo>
                  <a:lnTo>
                    <a:pt x="1151" y="766"/>
                  </a:lnTo>
                  <a:lnTo>
                    <a:pt x="1151" y="768"/>
                  </a:lnTo>
                  <a:lnTo>
                    <a:pt x="1151" y="770"/>
                  </a:lnTo>
                  <a:lnTo>
                    <a:pt x="1151" y="770"/>
                  </a:lnTo>
                  <a:lnTo>
                    <a:pt x="1147" y="770"/>
                  </a:lnTo>
                  <a:lnTo>
                    <a:pt x="1145" y="768"/>
                  </a:lnTo>
                  <a:lnTo>
                    <a:pt x="1145" y="770"/>
                  </a:lnTo>
                  <a:lnTo>
                    <a:pt x="1144" y="770"/>
                  </a:lnTo>
                  <a:lnTo>
                    <a:pt x="1140" y="766"/>
                  </a:lnTo>
                  <a:lnTo>
                    <a:pt x="1140" y="765"/>
                  </a:lnTo>
                  <a:lnTo>
                    <a:pt x="1140" y="763"/>
                  </a:lnTo>
                  <a:lnTo>
                    <a:pt x="1140" y="760"/>
                  </a:lnTo>
                  <a:lnTo>
                    <a:pt x="1137" y="758"/>
                  </a:lnTo>
                  <a:lnTo>
                    <a:pt x="1135" y="758"/>
                  </a:lnTo>
                  <a:lnTo>
                    <a:pt x="1133" y="756"/>
                  </a:lnTo>
                  <a:lnTo>
                    <a:pt x="1133" y="756"/>
                  </a:lnTo>
                  <a:lnTo>
                    <a:pt x="1131" y="756"/>
                  </a:lnTo>
                  <a:lnTo>
                    <a:pt x="1128" y="756"/>
                  </a:lnTo>
                  <a:lnTo>
                    <a:pt x="1124" y="756"/>
                  </a:lnTo>
                  <a:lnTo>
                    <a:pt x="1124" y="758"/>
                  </a:lnTo>
                  <a:lnTo>
                    <a:pt x="1130" y="758"/>
                  </a:lnTo>
                  <a:lnTo>
                    <a:pt x="1131" y="760"/>
                  </a:lnTo>
                  <a:lnTo>
                    <a:pt x="1137" y="761"/>
                  </a:lnTo>
                  <a:lnTo>
                    <a:pt x="1137" y="765"/>
                  </a:lnTo>
                  <a:lnTo>
                    <a:pt x="1133" y="766"/>
                  </a:lnTo>
                  <a:lnTo>
                    <a:pt x="1133" y="768"/>
                  </a:lnTo>
                  <a:lnTo>
                    <a:pt x="1137" y="768"/>
                  </a:lnTo>
                  <a:lnTo>
                    <a:pt x="1137" y="770"/>
                  </a:lnTo>
                  <a:lnTo>
                    <a:pt x="1137" y="772"/>
                  </a:lnTo>
                  <a:lnTo>
                    <a:pt x="1137" y="772"/>
                  </a:lnTo>
                  <a:lnTo>
                    <a:pt x="1140" y="772"/>
                  </a:lnTo>
                  <a:lnTo>
                    <a:pt x="1140" y="773"/>
                  </a:lnTo>
                  <a:lnTo>
                    <a:pt x="1138" y="775"/>
                  </a:lnTo>
                  <a:lnTo>
                    <a:pt x="1133" y="780"/>
                  </a:lnTo>
                  <a:lnTo>
                    <a:pt x="1131" y="784"/>
                  </a:lnTo>
                  <a:lnTo>
                    <a:pt x="1137" y="780"/>
                  </a:lnTo>
                  <a:lnTo>
                    <a:pt x="1138" y="780"/>
                  </a:lnTo>
                  <a:lnTo>
                    <a:pt x="1140" y="779"/>
                  </a:lnTo>
                  <a:lnTo>
                    <a:pt x="1145" y="779"/>
                  </a:lnTo>
                  <a:lnTo>
                    <a:pt x="1147" y="780"/>
                  </a:lnTo>
                  <a:lnTo>
                    <a:pt x="1147" y="780"/>
                  </a:lnTo>
                  <a:lnTo>
                    <a:pt x="1144" y="784"/>
                  </a:lnTo>
                  <a:lnTo>
                    <a:pt x="1142" y="784"/>
                  </a:lnTo>
                  <a:lnTo>
                    <a:pt x="1144" y="784"/>
                  </a:lnTo>
                  <a:lnTo>
                    <a:pt x="1145" y="786"/>
                  </a:lnTo>
                  <a:lnTo>
                    <a:pt x="1147" y="787"/>
                  </a:lnTo>
                  <a:lnTo>
                    <a:pt x="1147" y="787"/>
                  </a:lnTo>
                  <a:lnTo>
                    <a:pt x="1144" y="789"/>
                  </a:lnTo>
                  <a:lnTo>
                    <a:pt x="1142" y="789"/>
                  </a:lnTo>
                  <a:lnTo>
                    <a:pt x="1144" y="791"/>
                  </a:lnTo>
                  <a:lnTo>
                    <a:pt x="1144" y="793"/>
                  </a:lnTo>
                  <a:lnTo>
                    <a:pt x="1144" y="793"/>
                  </a:lnTo>
                  <a:lnTo>
                    <a:pt x="1144" y="794"/>
                  </a:lnTo>
                  <a:lnTo>
                    <a:pt x="1145" y="794"/>
                  </a:lnTo>
                  <a:lnTo>
                    <a:pt x="1145" y="798"/>
                  </a:lnTo>
                  <a:lnTo>
                    <a:pt x="1147" y="798"/>
                  </a:lnTo>
                  <a:lnTo>
                    <a:pt x="1147" y="799"/>
                  </a:lnTo>
                  <a:lnTo>
                    <a:pt x="1147" y="803"/>
                  </a:lnTo>
                  <a:lnTo>
                    <a:pt x="1147" y="803"/>
                  </a:lnTo>
                  <a:lnTo>
                    <a:pt x="1147" y="803"/>
                  </a:lnTo>
                  <a:lnTo>
                    <a:pt x="1147" y="799"/>
                  </a:lnTo>
                  <a:lnTo>
                    <a:pt x="1151" y="798"/>
                  </a:lnTo>
                  <a:lnTo>
                    <a:pt x="1152" y="799"/>
                  </a:lnTo>
                  <a:lnTo>
                    <a:pt x="1152" y="803"/>
                  </a:lnTo>
                  <a:lnTo>
                    <a:pt x="1156" y="806"/>
                  </a:lnTo>
                  <a:lnTo>
                    <a:pt x="1152" y="806"/>
                  </a:lnTo>
                  <a:lnTo>
                    <a:pt x="1151" y="808"/>
                  </a:lnTo>
                  <a:lnTo>
                    <a:pt x="1151" y="808"/>
                  </a:lnTo>
                  <a:lnTo>
                    <a:pt x="1156" y="808"/>
                  </a:lnTo>
                  <a:lnTo>
                    <a:pt x="1156" y="808"/>
                  </a:lnTo>
                  <a:lnTo>
                    <a:pt x="1156" y="808"/>
                  </a:lnTo>
                  <a:lnTo>
                    <a:pt x="1158" y="808"/>
                  </a:lnTo>
                  <a:lnTo>
                    <a:pt x="1158" y="806"/>
                  </a:lnTo>
                  <a:lnTo>
                    <a:pt x="1159" y="806"/>
                  </a:lnTo>
                  <a:lnTo>
                    <a:pt x="1161" y="808"/>
                  </a:lnTo>
                  <a:lnTo>
                    <a:pt x="1161" y="812"/>
                  </a:lnTo>
                  <a:lnTo>
                    <a:pt x="1159" y="815"/>
                  </a:lnTo>
                  <a:lnTo>
                    <a:pt x="1158" y="815"/>
                  </a:lnTo>
                  <a:lnTo>
                    <a:pt x="1158" y="817"/>
                  </a:lnTo>
                  <a:lnTo>
                    <a:pt x="1159" y="817"/>
                  </a:lnTo>
                  <a:lnTo>
                    <a:pt x="1163" y="817"/>
                  </a:lnTo>
                  <a:lnTo>
                    <a:pt x="1166" y="817"/>
                  </a:lnTo>
                  <a:lnTo>
                    <a:pt x="1166" y="817"/>
                  </a:lnTo>
                  <a:lnTo>
                    <a:pt x="1164" y="820"/>
                  </a:lnTo>
                  <a:lnTo>
                    <a:pt x="1163" y="820"/>
                  </a:lnTo>
                  <a:lnTo>
                    <a:pt x="1159" y="822"/>
                  </a:lnTo>
                  <a:lnTo>
                    <a:pt x="1161" y="824"/>
                  </a:lnTo>
                  <a:lnTo>
                    <a:pt x="1164" y="827"/>
                  </a:lnTo>
                  <a:lnTo>
                    <a:pt x="1163" y="831"/>
                  </a:lnTo>
                  <a:lnTo>
                    <a:pt x="1164" y="831"/>
                  </a:lnTo>
                  <a:lnTo>
                    <a:pt x="1164" y="834"/>
                  </a:lnTo>
                  <a:lnTo>
                    <a:pt x="1170" y="839"/>
                  </a:lnTo>
                  <a:lnTo>
                    <a:pt x="1170" y="843"/>
                  </a:lnTo>
                  <a:lnTo>
                    <a:pt x="1168" y="843"/>
                  </a:lnTo>
                  <a:lnTo>
                    <a:pt x="1168" y="846"/>
                  </a:lnTo>
                  <a:lnTo>
                    <a:pt x="1166" y="852"/>
                  </a:lnTo>
                  <a:lnTo>
                    <a:pt x="1166" y="855"/>
                  </a:lnTo>
                  <a:lnTo>
                    <a:pt x="1166" y="855"/>
                  </a:lnTo>
                  <a:lnTo>
                    <a:pt x="1161" y="850"/>
                  </a:lnTo>
                  <a:lnTo>
                    <a:pt x="1159" y="846"/>
                  </a:lnTo>
                  <a:lnTo>
                    <a:pt x="1161" y="843"/>
                  </a:lnTo>
                  <a:lnTo>
                    <a:pt x="1159" y="839"/>
                  </a:lnTo>
                  <a:lnTo>
                    <a:pt x="1159" y="843"/>
                  </a:lnTo>
                  <a:lnTo>
                    <a:pt x="1158" y="848"/>
                  </a:lnTo>
                  <a:lnTo>
                    <a:pt x="1161" y="853"/>
                  </a:lnTo>
                  <a:lnTo>
                    <a:pt x="1161" y="859"/>
                  </a:lnTo>
                  <a:lnTo>
                    <a:pt x="1159" y="862"/>
                  </a:lnTo>
                  <a:lnTo>
                    <a:pt x="1161" y="866"/>
                  </a:lnTo>
                  <a:lnTo>
                    <a:pt x="1159" y="866"/>
                  </a:lnTo>
                  <a:lnTo>
                    <a:pt x="1158" y="866"/>
                  </a:lnTo>
                  <a:lnTo>
                    <a:pt x="1156" y="862"/>
                  </a:lnTo>
                  <a:lnTo>
                    <a:pt x="1152" y="862"/>
                  </a:lnTo>
                  <a:lnTo>
                    <a:pt x="1156" y="871"/>
                  </a:lnTo>
                  <a:lnTo>
                    <a:pt x="1156" y="873"/>
                  </a:lnTo>
                  <a:lnTo>
                    <a:pt x="1156" y="874"/>
                  </a:lnTo>
                  <a:lnTo>
                    <a:pt x="1156" y="876"/>
                  </a:lnTo>
                  <a:lnTo>
                    <a:pt x="1152" y="876"/>
                  </a:lnTo>
                  <a:lnTo>
                    <a:pt x="1151" y="874"/>
                  </a:lnTo>
                  <a:lnTo>
                    <a:pt x="1151" y="867"/>
                  </a:lnTo>
                  <a:lnTo>
                    <a:pt x="1151" y="866"/>
                  </a:lnTo>
                  <a:lnTo>
                    <a:pt x="1151" y="862"/>
                  </a:lnTo>
                  <a:lnTo>
                    <a:pt x="1151" y="866"/>
                  </a:lnTo>
                  <a:lnTo>
                    <a:pt x="1147" y="866"/>
                  </a:lnTo>
                  <a:lnTo>
                    <a:pt x="1145" y="862"/>
                  </a:lnTo>
                  <a:lnTo>
                    <a:pt x="1145" y="859"/>
                  </a:lnTo>
                  <a:lnTo>
                    <a:pt x="1144" y="860"/>
                  </a:lnTo>
                  <a:lnTo>
                    <a:pt x="1144" y="862"/>
                  </a:lnTo>
                  <a:lnTo>
                    <a:pt x="1144" y="862"/>
                  </a:lnTo>
                  <a:lnTo>
                    <a:pt x="1144" y="860"/>
                  </a:lnTo>
                  <a:lnTo>
                    <a:pt x="1142" y="857"/>
                  </a:lnTo>
                  <a:lnTo>
                    <a:pt x="1140" y="855"/>
                  </a:lnTo>
                  <a:lnTo>
                    <a:pt x="1140" y="857"/>
                  </a:lnTo>
                  <a:lnTo>
                    <a:pt x="1140" y="859"/>
                  </a:lnTo>
                  <a:lnTo>
                    <a:pt x="1140" y="860"/>
                  </a:lnTo>
                  <a:lnTo>
                    <a:pt x="1138" y="860"/>
                  </a:lnTo>
                  <a:lnTo>
                    <a:pt x="1137" y="859"/>
                  </a:lnTo>
                  <a:lnTo>
                    <a:pt x="1135" y="857"/>
                  </a:lnTo>
                  <a:lnTo>
                    <a:pt x="1137" y="853"/>
                  </a:lnTo>
                  <a:lnTo>
                    <a:pt x="1133" y="848"/>
                  </a:lnTo>
                  <a:lnTo>
                    <a:pt x="1133" y="845"/>
                  </a:lnTo>
                  <a:lnTo>
                    <a:pt x="1133" y="848"/>
                  </a:lnTo>
                  <a:lnTo>
                    <a:pt x="1133" y="853"/>
                  </a:lnTo>
                  <a:lnTo>
                    <a:pt x="1135" y="857"/>
                  </a:lnTo>
                  <a:lnTo>
                    <a:pt x="1131" y="859"/>
                  </a:lnTo>
                  <a:lnTo>
                    <a:pt x="1130" y="853"/>
                  </a:lnTo>
                  <a:lnTo>
                    <a:pt x="1128" y="852"/>
                  </a:lnTo>
                  <a:lnTo>
                    <a:pt x="1128" y="850"/>
                  </a:lnTo>
                  <a:lnTo>
                    <a:pt x="1124" y="848"/>
                  </a:lnTo>
                  <a:lnTo>
                    <a:pt x="1124" y="843"/>
                  </a:lnTo>
                  <a:lnTo>
                    <a:pt x="1123" y="843"/>
                  </a:lnTo>
                  <a:lnTo>
                    <a:pt x="1123" y="839"/>
                  </a:lnTo>
                  <a:lnTo>
                    <a:pt x="1121" y="839"/>
                  </a:lnTo>
                  <a:lnTo>
                    <a:pt x="1119" y="839"/>
                  </a:lnTo>
                  <a:lnTo>
                    <a:pt x="1119" y="839"/>
                  </a:lnTo>
                  <a:lnTo>
                    <a:pt x="1121" y="845"/>
                  </a:lnTo>
                  <a:lnTo>
                    <a:pt x="1121" y="846"/>
                  </a:lnTo>
                  <a:lnTo>
                    <a:pt x="1119" y="845"/>
                  </a:lnTo>
                  <a:lnTo>
                    <a:pt x="1119" y="843"/>
                  </a:lnTo>
                  <a:lnTo>
                    <a:pt x="1118" y="843"/>
                  </a:lnTo>
                  <a:lnTo>
                    <a:pt x="1114" y="839"/>
                  </a:lnTo>
                  <a:lnTo>
                    <a:pt x="1112" y="834"/>
                  </a:lnTo>
                  <a:lnTo>
                    <a:pt x="1111" y="833"/>
                  </a:lnTo>
                  <a:lnTo>
                    <a:pt x="1107" y="833"/>
                  </a:lnTo>
                  <a:lnTo>
                    <a:pt x="1105" y="834"/>
                  </a:lnTo>
                  <a:lnTo>
                    <a:pt x="1105" y="833"/>
                  </a:lnTo>
                  <a:lnTo>
                    <a:pt x="1105" y="834"/>
                  </a:lnTo>
                  <a:lnTo>
                    <a:pt x="1105" y="839"/>
                  </a:lnTo>
                  <a:lnTo>
                    <a:pt x="1109" y="843"/>
                  </a:lnTo>
                  <a:lnTo>
                    <a:pt x="1109" y="845"/>
                  </a:lnTo>
                  <a:lnTo>
                    <a:pt x="1111" y="848"/>
                  </a:lnTo>
                  <a:lnTo>
                    <a:pt x="1111" y="852"/>
                  </a:lnTo>
                  <a:lnTo>
                    <a:pt x="1112" y="852"/>
                  </a:lnTo>
                  <a:lnTo>
                    <a:pt x="1116" y="852"/>
                  </a:lnTo>
                  <a:lnTo>
                    <a:pt x="1118" y="855"/>
                  </a:lnTo>
                  <a:lnTo>
                    <a:pt x="1118" y="857"/>
                  </a:lnTo>
                  <a:lnTo>
                    <a:pt x="1119" y="857"/>
                  </a:lnTo>
                  <a:lnTo>
                    <a:pt x="1121" y="857"/>
                  </a:lnTo>
                  <a:lnTo>
                    <a:pt x="1119" y="860"/>
                  </a:lnTo>
                  <a:lnTo>
                    <a:pt x="1123" y="860"/>
                  </a:lnTo>
                  <a:lnTo>
                    <a:pt x="1124" y="862"/>
                  </a:lnTo>
                  <a:lnTo>
                    <a:pt x="1124" y="866"/>
                  </a:lnTo>
                  <a:lnTo>
                    <a:pt x="1124" y="867"/>
                  </a:lnTo>
                  <a:lnTo>
                    <a:pt x="1128" y="867"/>
                  </a:lnTo>
                  <a:lnTo>
                    <a:pt x="1128" y="867"/>
                  </a:lnTo>
                  <a:lnTo>
                    <a:pt x="1128" y="873"/>
                  </a:lnTo>
                  <a:lnTo>
                    <a:pt x="1128" y="876"/>
                  </a:lnTo>
                  <a:lnTo>
                    <a:pt x="1128" y="874"/>
                  </a:lnTo>
                  <a:lnTo>
                    <a:pt x="1128" y="878"/>
                  </a:lnTo>
                  <a:lnTo>
                    <a:pt x="1128" y="879"/>
                  </a:lnTo>
                  <a:lnTo>
                    <a:pt x="1131" y="876"/>
                  </a:lnTo>
                  <a:lnTo>
                    <a:pt x="1133" y="878"/>
                  </a:lnTo>
                  <a:lnTo>
                    <a:pt x="1131" y="881"/>
                  </a:lnTo>
                  <a:lnTo>
                    <a:pt x="1133" y="883"/>
                  </a:lnTo>
                  <a:lnTo>
                    <a:pt x="1135" y="881"/>
                  </a:lnTo>
                  <a:lnTo>
                    <a:pt x="1137" y="883"/>
                  </a:lnTo>
                  <a:lnTo>
                    <a:pt x="1135" y="886"/>
                  </a:lnTo>
                  <a:lnTo>
                    <a:pt x="1131" y="885"/>
                  </a:lnTo>
                  <a:lnTo>
                    <a:pt x="1131" y="886"/>
                  </a:lnTo>
                  <a:lnTo>
                    <a:pt x="1131" y="888"/>
                  </a:lnTo>
                  <a:lnTo>
                    <a:pt x="1135" y="890"/>
                  </a:lnTo>
                  <a:lnTo>
                    <a:pt x="1135" y="893"/>
                  </a:lnTo>
                  <a:lnTo>
                    <a:pt x="1133" y="893"/>
                  </a:lnTo>
                  <a:lnTo>
                    <a:pt x="1133" y="893"/>
                  </a:lnTo>
                  <a:lnTo>
                    <a:pt x="1133" y="893"/>
                  </a:lnTo>
                  <a:lnTo>
                    <a:pt x="1133" y="893"/>
                  </a:lnTo>
                  <a:close/>
                  <a:moveTo>
                    <a:pt x="848" y="808"/>
                  </a:moveTo>
                  <a:lnTo>
                    <a:pt x="848" y="808"/>
                  </a:lnTo>
                  <a:lnTo>
                    <a:pt x="852" y="808"/>
                  </a:lnTo>
                  <a:lnTo>
                    <a:pt x="852" y="806"/>
                  </a:lnTo>
                  <a:lnTo>
                    <a:pt x="853" y="806"/>
                  </a:lnTo>
                  <a:lnTo>
                    <a:pt x="853" y="806"/>
                  </a:lnTo>
                  <a:lnTo>
                    <a:pt x="857" y="808"/>
                  </a:lnTo>
                  <a:lnTo>
                    <a:pt x="859" y="808"/>
                  </a:lnTo>
                  <a:lnTo>
                    <a:pt x="860" y="806"/>
                  </a:lnTo>
                  <a:lnTo>
                    <a:pt x="862" y="806"/>
                  </a:lnTo>
                  <a:lnTo>
                    <a:pt x="864" y="808"/>
                  </a:lnTo>
                  <a:lnTo>
                    <a:pt x="864" y="808"/>
                  </a:lnTo>
                  <a:lnTo>
                    <a:pt x="862" y="812"/>
                  </a:lnTo>
                  <a:lnTo>
                    <a:pt x="862" y="815"/>
                  </a:lnTo>
                  <a:lnTo>
                    <a:pt x="860" y="819"/>
                  </a:lnTo>
                  <a:lnTo>
                    <a:pt x="860" y="824"/>
                  </a:lnTo>
                  <a:lnTo>
                    <a:pt x="860" y="824"/>
                  </a:lnTo>
                  <a:lnTo>
                    <a:pt x="864" y="824"/>
                  </a:lnTo>
                  <a:lnTo>
                    <a:pt x="864" y="824"/>
                  </a:lnTo>
                  <a:lnTo>
                    <a:pt x="867" y="826"/>
                  </a:lnTo>
                  <a:lnTo>
                    <a:pt x="869" y="824"/>
                  </a:lnTo>
                  <a:lnTo>
                    <a:pt x="871" y="824"/>
                  </a:lnTo>
                  <a:lnTo>
                    <a:pt x="871" y="822"/>
                  </a:lnTo>
                  <a:lnTo>
                    <a:pt x="874" y="820"/>
                  </a:lnTo>
                  <a:lnTo>
                    <a:pt x="876" y="820"/>
                  </a:lnTo>
                  <a:lnTo>
                    <a:pt x="879" y="819"/>
                  </a:lnTo>
                  <a:lnTo>
                    <a:pt x="879" y="815"/>
                  </a:lnTo>
                  <a:lnTo>
                    <a:pt x="883" y="812"/>
                  </a:lnTo>
                  <a:lnTo>
                    <a:pt x="885" y="812"/>
                  </a:lnTo>
                  <a:lnTo>
                    <a:pt x="886" y="808"/>
                  </a:lnTo>
                  <a:lnTo>
                    <a:pt x="888" y="812"/>
                  </a:lnTo>
                  <a:lnTo>
                    <a:pt x="890" y="808"/>
                  </a:lnTo>
                  <a:lnTo>
                    <a:pt x="892" y="808"/>
                  </a:lnTo>
                  <a:lnTo>
                    <a:pt x="893" y="808"/>
                  </a:lnTo>
                  <a:lnTo>
                    <a:pt x="893" y="803"/>
                  </a:lnTo>
                  <a:lnTo>
                    <a:pt x="893" y="801"/>
                  </a:lnTo>
                  <a:lnTo>
                    <a:pt x="897" y="798"/>
                  </a:lnTo>
                  <a:lnTo>
                    <a:pt x="897" y="796"/>
                  </a:lnTo>
                  <a:lnTo>
                    <a:pt x="900" y="796"/>
                  </a:lnTo>
                  <a:lnTo>
                    <a:pt x="902" y="798"/>
                  </a:lnTo>
                  <a:lnTo>
                    <a:pt x="906" y="796"/>
                  </a:lnTo>
                  <a:lnTo>
                    <a:pt x="906" y="794"/>
                  </a:lnTo>
                  <a:lnTo>
                    <a:pt x="907" y="796"/>
                  </a:lnTo>
                  <a:lnTo>
                    <a:pt x="907" y="799"/>
                  </a:lnTo>
                  <a:lnTo>
                    <a:pt x="906" y="801"/>
                  </a:lnTo>
                  <a:lnTo>
                    <a:pt x="906" y="803"/>
                  </a:lnTo>
                  <a:lnTo>
                    <a:pt x="907" y="803"/>
                  </a:lnTo>
                  <a:lnTo>
                    <a:pt x="911" y="803"/>
                  </a:lnTo>
                  <a:lnTo>
                    <a:pt x="914" y="803"/>
                  </a:lnTo>
                  <a:lnTo>
                    <a:pt x="914" y="808"/>
                  </a:lnTo>
                  <a:lnTo>
                    <a:pt x="913" y="812"/>
                  </a:lnTo>
                  <a:lnTo>
                    <a:pt x="911" y="812"/>
                  </a:lnTo>
                  <a:lnTo>
                    <a:pt x="911" y="815"/>
                  </a:lnTo>
                  <a:lnTo>
                    <a:pt x="913" y="815"/>
                  </a:lnTo>
                  <a:lnTo>
                    <a:pt x="914" y="815"/>
                  </a:lnTo>
                  <a:lnTo>
                    <a:pt x="916" y="815"/>
                  </a:lnTo>
                  <a:lnTo>
                    <a:pt x="916" y="815"/>
                  </a:lnTo>
                  <a:lnTo>
                    <a:pt x="919" y="815"/>
                  </a:lnTo>
                  <a:lnTo>
                    <a:pt x="921" y="817"/>
                  </a:lnTo>
                  <a:lnTo>
                    <a:pt x="925" y="817"/>
                  </a:lnTo>
                  <a:lnTo>
                    <a:pt x="925" y="819"/>
                  </a:lnTo>
                  <a:lnTo>
                    <a:pt x="928" y="819"/>
                  </a:lnTo>
                  <a:lnTo>
                    <a:pt x="930" y="822"/>
                  </a:lnTo>
                  <a:lnTo>
                    <a:pt x="932" y="820"/>
                  </a:lnTo>
                  <a:lnTo>
                    <a:pt x="933" y="817"/>
                  </a:lnTo>
                  <a:lnTo>
                    <a:pt x="937" y="817"/>
                  </a:lnTo>
                  <a:lnTo>
                    <a:pt x="939" y="815"/>
                  </a:lnTo>
                  <a:lnTo>
                    <a:pt x="942" y="815"/>
                  </a:lnTo>
                  <a:lnTo>
                    <a:pt x="942" y="812"/>
                  </a:lnTo>
                  <a:lnTo>
                    <a:pt x="940" y="812"/>
                  </a:lnTo>
                  <a:lnTo>
                    <a:pt x="939" y="808"/>
                  </a:lnTo>
                  <a:lnTo>
                    <a:pt x="940" y="808"/>
                  </a:lnTo>
                  <a:lnTo>
                    <a:pt x="942" y="806"/>
                  </a:lnTo>
                  <a:lnTo>
                    <a:pt x="940" y="806"/>
                  </a:lnTo>
                  <a:lnTo>
                    <a:pt x="939" y="803"/>
                  </a:lnTo>
                  <a:lnTo>
                    <a:pt x="937" y="803"/>
                  </a:lnTo>
                  <a:lnTo>
                    <a:pt x="937" y="806"/>
                  </a:lnTo>
                  <a:lnTo>
                    <a:pt x="935" y="806"/>
                  </a:lnTo>
                  <a:lnTo>
                    <a:pt x="935" y="806"/>
                  </a:lnTo>
                  <a:lnTo>
                    <a:pt x="932" y="803"/>
                  </a:lnTo>
                  <a:lnTo>
                    <a:pt x="932" y="803"/>
                  </a:lnTo>
                  <a:lnTo>
                    <a:pt x="930" y="803"/>
                  </a:lnTo>
                  <a:lnTo>
                    <a:pt x="928" y="803"/>
                  </a:lnTo>
                  <a:lnTo>
                    <a:pt x="921" y="803"/>
                  </a:lnTo>
                  <a:lnTo>
                    <a:pt x="921" y="803"/>
                  </a:lnTo>
                  <a:lnTo>
                    <a:pt x="925" y="801"/>
                  </a:lnTo>
                  <a:lnTo>
                    <a:pt x="925" y="801"/>
                  </a:lnTo>
                  <a:lnTo>
                    <a:pt x="928" y="799"/>
                  </a:lnTo>
                  <a:lnTo>
                    <a:pt x="928" y="798"/>
                  </a:lnTo>
                  <a:lnTo>
                    <a:pt x="928" y="796"/>
                  </a:lnTo>
                  <a:lnTo>
                    <a:pt x="928" y="793"/>
                  </a:lnTo>
                  <a:lnTo>
                    <a:pt x="928" y="791"/>
                  </a:lnTo>
                  <a:lnTo>
                    <a:pt x="928" y="787"/>
                  </a:lnTo>
                  <a:lnTo>
                    <a:pt x="928" y="786"/>
                  </a:lnTo>
                  <a:lnTo>
                    <a:pt x="928" y="784"/>
                  </a:lnTo>
                  <a:lnTo>
                    <a:pt x="921" y="780"/>
                  </a:lnTo>
                  <a:lnTo>
                    <a:pt x="916" y="779"/>
                  </a:lnTo>
                  <a:lnTo>
                    <a:pt x="916" y="775"/>
                  </a:lnTo>
                  <a:lnTo>
                    <a:pt x="916" y="773"/>
                  </a:lnTo>
                  <a:lnTo>
                    <a:pt x="914" y="773"/>
                  </a:lnTo>
                  <a:lnTo>
                    <a:pt x="913" y="770"/>
                  </a:lnTo>
                  <a:lnTo>
                    <a:pt x="914" y="766"/>
                  </a:lnTo>
                  <a:lnTo>
                    <a:pt x="913" y="763"/>
                  </a:lnTo>
                  <a:lnTo>
                    <a:pt x="907" y="763"/>
                  </a:lnTo>
                  <a:lnTo>
                    <a:pt x="902" y="761"/>
                  </a:lnTo>
                  <a:lnTo>
                    <a:pt x="900" y="758"/>
                  </a:lnTo>
                  <a:lnTo>
                    <a:pt x="902" y="756"/>
                  </a:lnTo>
                  <a:lnTo>
                    <a:pt x="902" y="756"/>
                  </a:lnTo>
                  <a:lnTo>
                    <a:pt x="899" y="753"/>
                  </a:lnTo>
                  <a:lnTo>
                    <a:pt x="899" y="751"/>
                  </a:lnTo>
                  <a:lnTo>
                    <a:pt x="897" y="751"/>
                  </a:lnTo>
                  <a:lnTo>
                    <a:pt x="893" y="753"/>
                  </a:lnTo>
                  <a:lnTo>
                    <a:pt x="893" y="756"/>
                  </a:lnTo>
                  <a:lnTo>
                    <a:pt x="893" y="758"/>
                  </a:lnTo>
                  <a:lnTo>
                    <a:pt x="892" y="756"/>
                  </a:lnTo>
                  <a:lnTo>
                    <a:pt x="892" y="753"/>
                  </a:lnTo>
                  <a:lnTo>
                    <a:pt x="890" y="751"/>
                  </a:lnTo>
                  <a:lnTo>
                    <a:pt x="892" y="749"/>
                  </a:lnTo>
                  <a:lnTo>
                    <a:pt x="893" y="749"/>
                  </a:lnTo>
                  <a:lnTo>
                    <a:pt x="893" y="749"/>
                  </a:lnTo>
                  <a:lnTo>
                    <a:pt x="893" y="746"/>
                  </a:lnTo>
                  <a:lnTo>
                    <a:pt x="893" y="744"/>
                  </a:lnTo>
                  <a:lnTo>
                    <a:pt x="893" y="740"/>
                  </a:lnTo>
                  <a:lnTo>
                    <a:pt x="892" y="740"/>
                  </a:lnTo>
                  <a:lnTo>
                    <a:pt x="892" y="739"/>
                  </a:lnTo>
                  <a:lnTo>
                    <a:pt x="893" y="735"/>
                  </a:lnTo>
                  <a:lnTo>
                    <a:pt x="892" y="735"/>
                  </a:lnTo>
                  <a:lnTo>
                    <a:pt x="885" y="737"/>
                  </a:lnTo>
                  <a:lnTo>
                    <a:pt x="881" y="740"/>
                  </a:lnTo>
                  <a:lnTo>
                    <a:pt x="879" y="747"/>
                  </a:lnTo>
                  <a:lnTo>
                    <a:pt x="876" y="753"/>
                  </a:lnTo>
                  <a:lnTo>
                    <a:pt x="876" y="753"/>
                  </a:lnTo>
                  <a:lnTo>
                    <a:pt x="874" y="756"/>
                  </a:lnTo>
                  <a:lnTo>
                    <a:pt x="874" y="758"/>
                  </a:lnTo>
                  <a:lnTo>
                    <a:pt x="871" y="765"/>
                  </a:lnTo>
                  <a:lnTo>
                    <a:pt x="871" y="766"/>
                  </a:lnTo>
                  <a:lnTo>
                    <a:pt x="871" y="768"/>
                  </a:lnTo>
                  <a:lnTo>
                    <a:pt x="869" y="772"/>
                  </a:lnTo>
                  <a:lnTo>
                    <a:pt x="869" y="773"/>
                  </a:lnTo>
                  <a:lnTo>
                    <a:pt x="864" y="779"/>
                  </a:lnTo>
                  <a:lnTo>
                    <a:pt x="864" y="780"/>
                  </a:lnTo>
                  <a:lnTo>
                    <a:pt x="864" y="784"/>
                  </a:lnTo>
                  <a:lnTo>
                    <a:pt x="862" y="786"/>
                  </a:lnTo>
                  <a:lnTo>
                    <a:pt x="862" y="791"/>
                  </a:lnTo>
                  <a:lnTo>
                    <a:pt x="860" y="794"/>
                  </a:lnTo>
                  <a:lnTo>
                    <a:pt x="855" y="794"/>
                  </a:lnTo>
                  <a:lnTo>
                    <a:pt x="852" y="796"/>
                  </a:lnTo>
                  <a:lnTo>
                    <a:pt x="852" y="799"/>
                  </a:lnTo>
                  <a:lnTo>
                    <a:pt x="848" y="806"/>
                  </a:lnTo>
                  <a:lnTo>
                    <a:pt x="848" y="808"/>
                  </a:lnTo>
                  <a:lnTo>
                    <a:pt x="848" y="808"/>
                  </a:lnTo>
                  <a:lnTo>
                    <a:pt x="848" y="808"/>
                  </a:lnTo>
                  <a:lnTo>
                    <a:pt x="848" y="808"/>
                  </a:lnTo>
                  <a:close/>
                  <a:moveTo>
                    <a:pt x="876" y="859"/>
                  </a:moveTo>
                  <a:lnTo>
                    <a:pt x="876" y="859"/>
                  </a:lnTo>
                  <a:lnTo>
                    <a:pt x="878" y="860"/>
                  </a:lnTo>
                  <a:lnTo>
                    <a:pt x="878" y="859"/>
                  </a:lnTo>
                  <a:lnTo>
                    <a:pt x="881" y="855"/>
                  </a:lnTo>
                  <a:lnTo>
                    <a:pt x="885" y="855"/>
                  </a:lnTo>
                  <a:lnTo>
                    <a:pt x="886" y="855"/>
                  </a:lnTo>
                  <a:lnTo>
                    <a:pt x="886" y="857"/>
                  </a:lnTo>
                  <a:lnTo>
                    <a:pt x="888" y="857"/>
                  </a:lnTo>
                  <a:lnTo>
                    <a:pt x="893" y="853"/>
                  </a:lnTo>
                  <a:lnTo>
                    <a:pt x="897" y="853"/>
                  </a:lnTo>
                  <a:lnTo>
                    <a:pt x="899" y="850"/>
                  </a:lnTo>
                  <a:lnTo>
                    <a:pt x="900" y="846"/>
                  </a:lnTo>
                  <a:lnTo>
                    <a:pt x="906" y="846"/>
                  </a:lnTo>
                  <a:lnTo>
                    <a:pt x="907" y="843"/>
                  </a:lnTo>
                  <a:lnTo>
                    <a:pt x="907" y="843"/>
                  </a:lnTo>
                  <a:lnTo>
                    <a:pt x="911" y="839"/>
                  </a:lnTo>
                  <a:lnTo>
                    <a:pt x="909" y="838"/>
                  </a:lnTo>
                  <a:lnTo>
                    <a:pt x="907" y="838"/>
                  </a:lnTo>
                  <a:lnTo>
                    <a:pt x="906" y="838"/>
                  </a:lnTo>
                  <a:lnTo>
                    <a:pt x="902" y="838"/>
                  </a:lnTo>
                  <a:lnTo>
                    <a:pt x="900" y="838"/>
                  </a:lnTo>
                  <a:lnTo>
                    <a:pt x="899" y="838"/>
                  </a:lnTo>
                  <a:lnTo>
                    <a:pt x="897" y="838"/>
                  </a:lnTo>
                  <a:lnTo>
                    <a:pt x="893" y="839"/>
                  </a:lnTo>
                  <a:lnTo>
                    <a:pt x="893" y="839"/>
                  </a:lnTo>
                  <a:lnTo>
                    <a:pt x="892" y="834"/>
                  </a:lnTo>
                  <a:lnTo>
                    <a:pt x="890" y="834"/>
                  </a:lnTo>
                  <a:lnTo>
                    <a:pt x="888" y="838"/>
                  </a:lnTo>
                  <a:lnTo>
                    <a:pt x="883" y="843"/>
                  </a:lnTo>
                  <a:lnTo>
                    <a:pt x="883" y="843"/>
                  </a:lnTo>
                  <a:lnTo>
                    <a:pt x="881" y="845"/>
                  </a:lnTo>
                  <a:lnTo>
                    <a:pt x="876" y="846"/>
                  </a:lnTo>
                  <a:lnTo>
                    <a:pt x="874" y="848"/>
                  </a:lnTo>
                  <a:lnTo>
                    <a:pt x="876" y="850"/>
                  </a:lnTo>
                  <a:lnTo>
                    <a:pt x="878" y="853"/>
                  </a:lnTo>
                  <a:lnTo>
                    <a:pt x="876" y="855"/>
                  </a:lnTo>
                  <a:lnTo>
                    <a:pt x="876" y="859"/>
                  </a:lnTo>
                  <a:lnTo>
                    <a:pt x="876" y="859"/>
                  </a:lnTo>
                  <a:lnTo>
                    <a:pt x="876" y="859"/>
                  </a:lnTo>
                  <a:lnTo>
                    <a:pt x="876" y="859"/>
                  </a:lnTo>
                  <a:close/>
                  <a:moveTo>
                    <a:pt x="1151" y="881"/>
                  </a:moveTo>
                  <a:lnTo>
                    <a:pt x="1151" y="881"/>
                  </a:lnTo>
                  <a:lnTo>
                    <a:pt x="1156" y="881"/>
                  </a:lnTo>
                  <a:lnTo>
                    <a:pt x="1158" y="885"/>
                  </a:lnTo>
                  <a:lnTo>
                    <a:pt x="1159" y="883"/>
                  </a:lnTo>
                  <a:lnTo>
                    <a:pt x="1159" y="881"/>
                  </a:lnTo>
                  <a:lnTo>
                    <a:pt x="1161" y="879"/>
                  </a:lnTo>
                  <a:lnTo>
                    <a:pt x="1161" y="878"/>
                  </a:lnTo>
                  <a:lnTo>
                    <a:pt x="1159" y="878"/>
                  </a:lnTo>
                  <a:lnTo>
                    <a:pt x="1156" y="878"/>
                  </a:lnTo>
                  <a:lnTo>
                    <a:pt x="1152" y="879"/>
                  </a:lnTo>
                  <a:lnTo>
                    <a:pt x="1151" y="881"/>
                  </a:lnTo>
                  <a:lnTo>
                    <a:pt x="1151" y="881"/>
                  </a:lnTo>
                  <a:lnTo>
                    <a:pt x="1151" y="881"/>
                  </a:lnTo>
                  <a:lnTo>
                    <a:pt x="1151" y="881"/>
                  </a:lnTo>
                  <a:close/>
                  <a:moveTo>
                    <a:pt x="1065" y="859"/>
                  </a:moveTo>
                  <a:lnTo>
                    <a:pt x="1067" y="859"/>
                  </a:lnTo>
                  <a:lnTo>
                    <a:pt x="1071" y="860"/>
                  </a:lnTo>
                  <a:lnTo>
                    <a:pt x="1071" y="862"/>
                  </a:lnTo>
                  <a:lnTo>
                    <a:pt x="1071" y="862"/>
                  </a:lnTo>
                  <a:lnTo>
                    <a:pt x="1071" y="866"/>
                  </a:lnTo>
                  <a:lnTo>
                    <a:pt x="1074" y="866"/>
                  </a:lnTo>
                  <a:lnTo>
                    <a:pt x="1074" y="866"/>
                  </a:lnTo>
                  <a:lnTo>
                    <a:pt x="1078" y="866"/>
                  </a:lnTo>
                  <a:lnTo>
                    <a:pt x="1078" y="866"/>
                  </a:lnTo>
                  <a:lnTo>
                    <a:pt x="1078" y="866"/>
                  </a:lnTo>
                  <a:lnTo>
                    <a:pt x="1078" y="862"/>
                  </a:lnTo>
                  <a:lnTo>
                    <a:pt x="1074" y="862"/>
                  </a:lnTo>
                  <a:lnTo>
                    <a:pt x="1074" y="860"/>
                  </a:lnTo>
                  <a:lnTo>
                    <a:pt x="1071" y="860"/>
                  </a:lnTo>
                  <a:lnTo>
                    <a:pt x="1069" y="859"/>
                  </a:lnTo>
                  <a:lnTo>
                    <a:pt x="1067" y="859"/>
                  </a:lnTo>
                  <a:lnTo>
                    <a:pt x="1065" y="859"/>
                  </a:lnTo>
                  <a:lnTo>
                    <a:pt x="1065" y="859"/>
                  </a:lnTo>
                  <a:lnTo>
                    <a:pt x="1065" y="859"/>
                  </a:lnTo>
                  <a:lnTo>
                    <a:pt x="1065" y="859"/>
                  </a:lnTo>
                  <a:close/>
                  <a:moveTo>
                    <a:pt x="1147" y="902"/>
                  </a:moveTo>
                  <a:lnTo>
                    <a:pt x="1145" y="902"/>
                  </a:lnTo>
                  <a:lnTo>
                    <a:pt x="1145" y="899"/>
                  </a:lnTo>
                  <a:lnTo>
                    <a:pt x="1144" y="897"/>
                  </a:lnTo>
                  <a:lnTo>
                    <a:pt x="1144" y="897"/>
                  </a:lnTo>
                  <a:lnTo>
                    <a:pt x="1145" y="893"/>
                  </a:lnTo>
                  <a:lnTo>
                    <a:pt x="1147" y="897"/>
                  </a:lnTo>
                  <a:lnTo>
                    <a:pt x="1147" y="897"/>
                  </a:lnTo>
                  <a:lnTo>
                    <a:pt x="1147" y="899"/>
                  </a:lnTo>
                  <a:lnTo>
                    <a:pt x="1147" y="902"/>
                  </a:lnTo>
                  <a:lnTo>
                    <a:pt x="1147" y="902"/>
                  </a:lnTo>
                  <a:lnTo>
                    <a:pt x="1147" y="902"/>
                  </a:lnTo>
                  <a:lnTo>
                    <a:pt x="1147" y="902"/>
                  </a:lnTo>
                  <a:lnTo>
                    <a:pt x="1147" y="902"/>
                  </a:lnTo>
                  <a:close/>
                  <a:moveTo>
                    <a:pt x="1145" y="913"/>
                  </a:moveTo>
                  <a:lnTo>
                    <a:pt x="1144" y="913"/>
                  </a:lnTo>
                  <a:lnTo>
                    <a:pt x="1144" y="911"/>
                  </a:lnTo>
                  <a:lnTo>
                    <a:pt x="1142" y="909"/>
                  </a:lnTo>
                  <a:lnTo>
                    <a:pt x="1140" y="909"/>
                  </a:lnTo>
                  <a:lnTo>
                    <a:pt x="1138" y="906"/>
                  </a:lnTo>
                  <a:lnTo>
                    <a:pt x="1138" y="904"/>
                  </a:lnTo>
                  <a:lnTo>
                    <a:pt x="1140" y="904"/>
                  </a:lnTo>
                  <a:lnTo>
                    <a:pt x="1142" y="902"/>
                  </a:lnTo>
                  <a:lnTo>
                    <a:pt x="1147" y="904"/>
                  </a:lnTo>
                  <a:lnTo>
                    <a:pt x="1151" y="906"/>
                  </a:lnTo>
                  <a:lnTo>
                    <a:pt x="1151" y="907"/>
                  </a:lnTo>
                  <a:lnTo>
                    <a:pt x="1147" y="909"/>
                  </a:lnTo>
                  <a:lnTo>
                    <a:pt x="1147" y="911"/>
                  </a:lnTo>
                  <a:lnTo>
                    <a:pt x="1147" y="911"/>
                  </a:lnTo>
                  <a:lnTo>
                    <a:pt x="1145" y="913"/>
                  </a:lnTo>
                  <a:lnTo>
                    <a:pt x="1145" y="913"/>
                  </a:lnTo>
                  <a:lnTo>
                    <a:pt x="1145" y="913"/>
                  </a:lnTo>
                  <a:lnTo>
                    <a:pt x="1145" y="913"/>
                  </a:lnTo>
                  <a:lnTo>
                    <a:pt x="1145" y="913"/>
                  </a:lnTo>
                  <a:close/>
                  <a:moveTo>
                    <a:pt x="1060" y="965"/>
                  </a:moveTo>
                  <a:lnTo>
                    <a:pt x="1060" y="966"/>
                  </a:lnTo>
                  <a:lnTo>
                    <a:pt x="1060" y="966"/>
                  </a:lnTo>
                  <a:lnTo>
                    <a:pt x="1060" y="965"/>
                  </a:lnTo>
                  <a:lnTo>
                    <a:pt x="1060" y="965"/>
                  </a:lnTo>
                  <a:lnTo>
                    <a:pt x="1060" y="965"/>
                  </a:lnTo>
                  <a:lnTo>
                    <a:pt x="1060" y="965"/>
                  </a:lnTo>
                  <a:close/>
                  <a:moveTo>
                    <a:pt x="1062" y="965"/>
                  </a:moveTo>
                  <a:lnTo>
                    <a:pt x="1062" y="968"/>
                  </a:lnTo>
                  <a:lnTo>
                    <a:pt x="1062" y="968"/>
                  </a:lnTo>
                  <a:lnTo>
                    <a:pt x="1062" y="965"/>
                  </a:lnTo>
                  <a:lnTo>
                    <a:pt x="1062" y="965"/>
                  </a:lnTo>
                  <a:lnTo>
                    <a:pt x="1062" y="965"/>
                  </a:lnTo>
                  <a:lnTo>
                    <a:pt x="1062" y="965"/>
                  </a:lnTo>
                  <a:close/>
                  <a:moveTo>
                    <a:pt x="1064" y="965"/>
                  </a:moveTo>
                  <a:lnTo>
                    <a:pt x="1064" y="966"/>
                  </a:lnTo>
                  <a:lnTo>
                    <a:pt x="1064" y="970"/>
                  </a:lnTo>
                  <a:lnTo>
                    <a:pt x="1064" y="972"/>
                  </a:lnTo>
                  <a:lnTo>
                    <a:pt x="1065" y="972"/>
                  </a:lnTo>
                  <a:lnTo>
                    <a:pt x="1065" y="968"/>
                  </a:lnTo>
                  <a:lnTo>
                    <a:pt x="1064" y="965"/>
                  </a:lnTo>
                  <a:lnTo>
                    <a:pt x="1064" y="965"/>
                  </a:lnTo>
                  <a:lnTo>
                    <a:pt x="1064" y="965"/>
                  </a:lnTo>
                  <a:lnTo>
                    <a:pt x="1064" y="965"/>
                  </a:lnTo>
                  <a:close/>
                  <a:moveTo>
                    <a:pt x="1086" y="940"/>
                  </a:moveTo>
                  <a:lnTo>
                    <a:pt x="1086" y="937"/>
                  </a:lnTo>
                  <a:lnTo>
                    <a:pt x="1086" y="935"/>
                  </a:lnTo>
                  <a:lnTo>
                    <a:pt x="1088" y="933"/>
                  </a:lnTo>
                  <a:lnTo>
                    <a:pt x="1088" y="932"/>
                  </a:lnTo>
                  <a:lnTo>
                    <a:pt x="1093" y="928"/>
                  </a:lnTo>
                  <a:lnTo>
                    <a:pt x="1097" y="928"/>
                  </a:lnTo>
                  <a:lnTo>
                    <a:pt x="1097" y="928"/>
                  </a:lnTo>
                  <a:lnTo>
                    <a:pt x="1097" y="930"/>
                  </a:lnTo>
                  <a:lnTo>
                    <a:pt x="1097" y="932"/>
                  </a:lnTo>
                  <a:lnTo>
                    <a:pt x="1097" y="933"/>
                  </a:lnTo>
                  <a:lnTo>
                    <a:pt x="1093" y="935"/>
                  </a:lnTo>
                  <a:lnTo>
                    <a:pt x="1093" y="937"/>
                  </a:lnTo>
                  <a:lnTo>
                    <a:pt x="1091" y="937"/>
                  </a:lnTo>
                  <a:lnTo>
                    <a:pt x="1088" y="940"/>
                  </a:lnTo>
                  <a:lnTo>
                    <a:pt x="1086" y="940"/>
                  </a:lnTo>
                  <a:lnTo>
                    <a:pt x="1086" y="940"/>
                  </a:lnTo>
                  <a:lnTo>
                    <a:pt x="1086" y="940"/>
                  </a:lnTo>
                  <a:lnTo>
                    <a:pt x="1086" y="940"/>
                  </a:lnTo>
                  <a:close/>
                  <a:moveTo>
                    <a:pt x="1012" y="855"/>
                  </a:moveTo>
                  <a:lnTo>
                    <a:pt x="1015" y="857"/>
                  </a:lnTo>
                  <a:lnTo>
                    <a:pt x="1017" y="859"/>
                  </a:lnTo>
                  <a:lnTo>
                    <a:pt x="1020" y="860"/>
                  </a:lnTo>
                  <a:lnTo>
                    <a:pt x="1024" y="860"/>
                  </a:lnTo>
                  <a:lnTo>
                    <a:pt x="1020" y="860"/>
                  </a:lnTo>
                  <a:lnTo>
                    <a:pt x="1020" y="859"/>
                  </a:lnTo>
                  <a:lnTo>
                    <a:pt x="1015" y="855"/>
                  </a:lnTo>
                  <a:lnTo>
                    <a:pt x="1013" y="855"/>
                  </a:lnTo>
                  <a:lnTo>
                    <a:pt x="1012" y="855"/>
                  </a:lnTo>
                  <a:lnTo>
                    <a:pt x="1012" y="855"/>
                  </a:lnTo>
                  <a:lnTo>
                    <a:pt x="1012" y="855"/>
                  </a:lnTo>
                  <a:lnTo>
                    <a:pt x="1012" y="855"/>
                  </a:lnTo>
                  <a:close/>
                  <a:moveTo>
                    <a:pt x="987" y="833"/>
                  </a:moveTo>
                  <a:lnTo>
                    <a:pt x="987" y="833"/>
                  </a:lnTo>
                  <a:lnTo>
                    <a:pt x="989" y="833"/>
                  </a:lnTo>
                  <a:lnTo>
                    <a:pt x="991" y="834"/>
                  </a:lnTo>
                  <a:lnTo>
                    <a:pt x="992" y="833"/>
                  </a:lnTo>
                  <a:lnTo>
                    <a:pt x="992" y="833"/>
                  </a:lnTo>
                  <a:lnTo>
                    <a:pt x="994" y="833"/>
                  </a:lnTo>
                  <a:lnTo>
                    <a:pt x="994" y="831"/>
                  </a:lnTo>
                  <a:lnTo>
                    <a:pt x="992" y="829"/>
                  </a:lnTo>
                  <a:lnTo>
                    <a:pt x="994" y="827"/>
                  </a:lnTo>
                  <a:lnTo>
                    <a:pt x="994" y="827"/>
                  </a:lnTo>
                  <a:lnTo>
                    <a:pt x="991" y="824"/>
                  </a:lnTo>
                  <a:lnTo>
                    <a:pt x="989" y="824"/>
                  </a:lnTo>
                  <a:lnTo>
                    <a:pt x="987" y="822"/>
                  </a:lnTo>
                  <a:lnTo>
                    <a:pt x="987" y="822"/>
                  </a:lnTo>
                  <a:lnTo>
                    <a:pt x="985" y="822"/>
                  </a:lnTo>
                  <a:lnTo>
                    <a:pt x="984" y="820"/>
                  </a:lnTo>
                  <a:lnTo>
                    <a:pt x="982" y="822"/>
                  </a:lnTo>
                  <a:lnTo>
                    <a:pt x="980" y="822"/>
                  </a:lnTo>
                  <a:lnTo>
                    <a:pt x="982" y="826"/>
                  </a:lnTo>
                  <a:lnTo>
                    <a:pt x="982" y="826"/>
                  </a:lnTo>
                  <a:lnTo>
                    <a:pt x="984" y="826"/>
                  </a:lnTo>
                  <a:lnTo>
                    <a:pt x="985" y="827"/>
                  </a:lnTo>
                  <a:lnTo>
                    <a:pt x="987" y="829"/>
                  </a:lnTo>
                  <a:lnTo>
                    <a:pt x="987" y="833"/>
                  </a:lnTo>
                  <a:lnTo>
                    <a:pt x="987" y="833"/>
                  </a:lnTo>
                  <a:lnTo>
                    <a:pt x="987" y="833"/>
                  </a:lnTo>
                  <a:lnTo>
                    <a:pt x="987" y="833"/>
                  </a:lnTo>
                  <a:close/>
                  <a:moveTo>
                    <a:pt x="970" y="839"/>
                  </a:moveTo>
                  <a:lnTo>
                    <a:pt x="973" y="839"/>
                  </a:lnTo>
                  <a:lnTo>
                    <a:pt x="975" y="839"/>
                  </a:lnTo>
                  <a:lnTo>
                    <a:pt x="975" y="839"/>
                  </a:lnTo>
                  <a:lnTo>
                    <a:pt x="979" y="838"/>
                  </a:lnTo>
                  <a:lnTo>
                    <a:pt x="979" y="834"/>
                  </a:lnTo>
                  <a:lnTo>
                    <a:pt x="979" y="834"/>
                  </a:lnTo>
                  <a:lnTo>
                    <a:pt x="979" y="831"/>
                  </a:lnTo>
                  <a:lnTo>
                    <a:pt x="975" y="829"/>
                  </a:lnTo>
                  <a:lnTo>
                    <a:pt x="970" y="829"/>
                  </a:lnTo>
                  <a:lnTo>
                    <a:pt x="970" y="827"/>
                  </a:lnTo>
                  <a:lnTo>
                    <a:pt x="968" y="826"/>
                  </a:lnTo>
                  <a:lnTo>
                    <a:pt x="966" y="826"/>
                  </a:lnTo>
                  <a:lnTo>
                    <a:pt x="965" y="826"/>
                  </a:lnTo>
                  <a:lnTo>
                    <a:pt x="963" y="826"/>
                  </a:lnTo>
                  <a:lnTo>
                    <a:pt x="961" y="827"/>
                  </a:lnTo>
                  <a:lnTo>
                    <a:pt x="963" y="831"/>
                  </a:lnTo>
                  <a:lnTo>
                    <a:pt x="965" y="833"/>
                  </a:lnTo>
                  <a:lnTo>
                    <a:pt x="966" y="834"/>
                  </a:lnTo>
                  <a:lnTo>
                    <a:pt x="968" y="838"/>
                  </a:lnTo>
                  <a:lnTo>
                    <a:pt x="968" y="839"/>
                  </a:lnTo>
                  <a:lnTo>
                    <a:pt x="970" y="839"/>
                  </a:lnTo>
                  <a:lnTo>
                    <a:pt x="970" y="839"/>
                  </a:lnTo>
                  <a:lnTo>
                    <a:pt x="970" y="839"/>
                  </a:lnTo>
                  <a:lnTo>
                    <a:pt x="970" y="839"/>
                  </a:lnTo>
                  <a:close/>
                  <a:moveTo>
                    <a:pt x="966" y="855"/>
                  </a:moveTo>
                  <a:lnTo>
                    <a:pt x="966" y="855"/>
                  </a:lnTo>
                  <a:lnTo>
                    <a:pt x="968" y="853"/>
                  </a:lnTo>
                  <a:lnTo>
                    <a:pt x="963" y="853"/>
                  </a:lnTo>
                  <a:lnTo>
                    <a:pt x="963" y="853"/>
                  </a:lnTo>
                  <a:lnTo>
                    <a:pt x="963" y="855"/>
                  </a:lnTo>
                  <a:lnTo>
                    <a:pt x="966" y="855"/>
                  </a:lnTo>
                  <a:lnTo>
                    <a:pt x="966" y="855"/>
                  </a:lnTo>
                  <a:lnTo>
                    <a:pt x="966" y="855"/>
                  </a:lnTo>
                  <a:lnTo>
                    <a:pt x="966" y="855"/>
                  </a:lnTo>
                  <a:close/>
                  <a:moveTo>
                    <a:pt x="928" y="881"/>
                  </a:moveTo>
                  <a:lnTo>
                    <a:pt x="928" y="881"/>
                  </a:lnTo>
                  <a:lnTo>
                    <a:pt x="930" y="879"/>
                  </a:lnTo>
                  <a:lnTo>
                    <a:pt x="930" y="878"/>
                  </a:lnTo>
                  <a:lnTo>
                    <a:pt x="932" y="876"/>
                  </a:lnTo>
                  <a:lnTo>
                    <a:pt x="932" y="876"/>
                  </a:lnTo>
                  <a:lnTo>
                    <a:pt x="932" y="874"/>
                  </a:lnTo>
                  <a:lnTo>
                    <a:pt x="932" y="873"/>
                  </a:lnTo>
                  <a:lnTo>
                    <a:pt x="935" y="871"/>
                  </a:lnTo>
                  <a:lnTo>
                    <a:pt x="937" y="867"/>
                  </a:lnTo>
                  <a:lnTo>
                    <a:pt x="939" y="867"/>
                  </a:lnTo>
                  <a:lnTo>
                    <a:pt x="940" y="866"/>
                  </a:lnTo>
                  <a:lnTo>
                    <a:pt x="939" y="866"/>
                  </a:lnTo>
                  <a:lnTo>
                    <a:pt x="939" y="862"/>
                  </a:lnTo>
                  <a:lnTo>
                    <a:pt x="940" y="862"/>
                  </a:lnTo>
                  <a:lnTo>
                    <a:pt x="942" y="860"/>
                  </a:lnTo>
                  <a:lnTo>
                    <a:pt x="942" y="859"/>
                  </a:lnTo>
                  <a:lnTo>
                    <a:pt x="942" y="857"/>
                  </a:lnTo>
                  <a:lnTo>
                    <a:pt x="940" y="855"/>
                  </a:lnTo>
                  <a:lnTo>
                    <a:pt x="939" y="855"/>
                  </a:lnTo>
                  <a:lnTo>
                    <a:pt x="937" y="855"/>
                  </a:lnTo>
                  <a:lnTo>
                    <a:pt x="935" y="853"/>
                  </a:lnTo>
                  <a:lnTo>
                    <a:pt x="933" y="853"/>
                  </a:lnTo>
                  <a:lnTo>
                    <a:pt x="933" y="855"/>
                  </a:lnTo>
                  <a:lnTo>
                    <a:pt x="930" y="859"/>
                  </a:lnTo>
                  <a:lnTo>
                    <a:pt x="928" y="859"/>
                  </a:lnTo>
                  <a:lnTo>
                    <a:pt x="928" y="860"/>
                  </a:lnTo>
                  <a:lnTo>
                    <a:pt x="925" y="862"/>
                  </a:lnTo>
                  <a:lnTo>
                    <a:pt x="928" y="866"/>
                  </a:lnTo>
                  <a:lnTo>
                    <a:pt x="925" y="866"/>
                  </a:lnTo>
                  <a:lnTo>
                    <a:pt x="925" y="871"/>
                  </a:lnTo>
                  <a:lnTo>
                    <a:pt x="925" y="871"/>
                  </a:lnTo>
                  <a:lnTo>
                    <a:pt x="921" y="874"/>
                  </a:lnTo>
                  <a:lnTo>
                    <a:pt x="925" y="874"/>
                  </a:lnTo>
                  <a:lnTo>
                    <a:pt x="925" y="876"/>
                  </a:lnTo>
                  <a:lnTo>
                    <a:pt x="928" y="878"/>
                  </a:lnTo>
                  <a:lnTo>
                    <a:pt x="928" y="878"/>
                  </a:lnTo>
                  <a:lnTo>
                    <a:pt x="928" y="881"/>
                  </a:lnTo>
                  <a:lnTo>
                    <a:pt x="928" y="881"/>
                  </a:lnTo>
                  <a:lnTo>
                    <a:pt x="928" y="881"/>
                  </a:lnTo>
                  <a:lnTo>
                    <a:pt x="928" y="881"/>
                  </a:lnTo>
                  <a:close/>
                  <a:moveTo>
                    <a:pt x="893" y="1026"/>
                  </a:moveTo>
                  <a:lnTo>
                    <a:pt x="893" y="1026"/>
                  </a:lnTo>
                  <a:lnTo>
                    <a:pt x="897" y="1026"/>
                  </a:lnTo>
                  <a:lnTo>
                    <a:pt x="897" y="1024"/>
                  </a:lnTo>
                  <a:lnTo>
                    <a:pt x="893" y="1026"/>
                  </a:lnTo>
                  <a:lnTo>
                    <a:pt x="893" y="1026"/>
                  </a:lnTo>
                  <a:lnTo>
                    <a:pt x="893" y="1026"/>
                  </a:lnTo>
                  <a:lnTo>
                    <a:pt x="893" y="1026"/>
                  </a:lnTo>
                  <a:close/>
                  <a:moveTo>
                    <a:pt x="897" y="1039"/>
                  </a:moveTo>
                  <a:lnTo>
                    <a:pt x="899" y="1036"/>
                  </a:lnTo>
                  <a:lnTo>
                    <a:pt x="899" y="1034"/>
                  </a:lnTo>
                  <a:lnTo>
                    <a:pt x="900" y="1034"/>
                  </a:lnTo>
                  <a:lnTo>
                    <a:pt x="900" y="1036"/>
                  </a:lnTo>
                  <a:lnTo>
                    <a:pt x="897" y="1039"/>
                  </a:lnTo>
                  <a:lnTo>
                    <a:pt x="897" y="1039"/>
                  </a:lnTo>
                  <a:lnTo>
                    <a:pt x="897" y="1039"/>
                  </a:lnTo>
                  <a:lnTo>
                    <a:pt x="897" y="1039"/>
                  </a:lnTo>
                  <a:lnTo>
                    <a:pt x="897" y="1039"/>
                  </a:lnTo>
                  <a:lnTo>
                    <a:pt x="897" y="1039"/>
                  </a:lnTo>
                  <a:close/>
                  <a:moveTo>
                    <a:pt x="876" y="1034"/>
                  </a:moveTo>
                  <a:lnTo>
                    <a:pt x="878" y="1031"/>
                  </a:lnTo>
                  <a:lnTo>
                    <a:pt x="879" y="1031"/>
                  </a:lnTo>
                  <a:lnTo>
                    <a:pt x="881" y="1031"/>
                  </a:lnTo>
                  <a:lnTo>
                    <a:pt x="883" y="1031"/>
                  </a:lnTo>
                  <a:lnTo>
                    <a:pt x="885" y="1029"/>
                  </a:lnTo>
                  <a:lnTo>
                    <a:pt x="886" y="1027"/>
                  </a:lnTo>
                  <a:lnTo>
                    <a:pt x="885" y="1031"/>
                  </a:lnTo>
                  <a:lnTo>
                    <a:pt x="879" y="1034"/>
                  </a:lnTo>
                  <a:lnTo>
                    <a:pt x="876" y="1034"/>
                  </a:lnTo>
                  <a:lnTo>
                    <a:pt x="876" y="1034"/>
                  </a:lnTo>
                  <a:lnTo>
                    <a:pt x="876" y="1034"/>
                  </a:lnTo>
                  <a:lnTo>
                    <a:pt x="876" y="1034"/>
                  </a:lnTo>
                  <a:lnTo>
                    <a:pt x="876" y="1034"/>
                  </a:lnTo>
                  <a:close/>
                  <a:moveTo>
                    <a:pt x="890" y="1041"/>
                  </a:moveTo>
                  <a:lnTo>
                    <a:pt x="893" y="1034"/>
                  </a:lnTo>
                  <a:lnTo>
                    <a:pt x="893" y="1034"/>
                  </a:lnTo>
                  <a:lnTo>
                    <a:pt x="897" y="1034"/>
                  </a:lnTo>
                  <a:lnTo>
                    <a:pt x="897" y="1034"/>
                  </a:lnTo>
                  <a:lnTo>
                    <a:pt x="892" y="1039"/>
                  </a:lnTo>
                  <a:lnTo>
                    <a:pt x="892" y="1043"/>
                  </a:lnTo>
                  <a:lnTo>
                    <a:pt x="893" y="1041"/>
                  </a:lnTo>
                  <a:lnTo>
                    <a:pt x="897" y="1036"/>
                  </a:lnTo>
                  <a:lnTo>
                    <a:pt x="897" y="1034"/>
                  </a:lnTo>
                  <a:lnTo>
                    <a:pt x="897" y="1031"/>
                  </a:lnTo>
                  <a:lnTo>
                    <a:pt x="897" y="1031"/>
                  </a:lnTo>
                  <a:lnTo>
                    <a:pt x="897" y="1031"/>
                  </a:lnTo>
                  <a:lnTo>
                    <a:pt x="897" y="1029"/>
                  </a:lnTo>
                  <a:lnTo>
                    <a:pt x="893" y="1027"/>
                  </a:lnTo>
                  <a:lnTo>
                    <a:pt x="893" y="1029"/>
                  </a:lnTo>
                  <a:lnTo>
                    <a:pt x="892" y="1034"/>
                  </a:lnTo>
                  <a:lnTo>
                    <a:pt x="888" y="1034"/>
                  </a:lnTo>
                  <a:lnTo>
                    <a:pt x="886" y="1036"/>
                  </a:lnTo>
                  <a:lnTo>
                    <a:pt x="886" y="1034"/>
                  </a:lnTo>
                  <a:lnTo>
                    <a:pt x="890" y="1031"/>
                  </a:lnTo>
                  <a:lnTo>
                    <a:pt x="890" y="1029"/>
                  </a:lnTo>
                  <a:lnTo>
                    <a:pt x="890" y="1029"/>
                  </a:lnTo>
                  <a:lnTo>
                    <a:pt x="888" y="1031"/>
                  </a:lnTo>
                  <a:lnTo>
                    <a:pt x="885" y="1034"/>
                  </a:lnTo>
                  <a:lnTo>
                    <a:pt x="881" y="1039"/>
                  </a:lnTo>
                  <a:lnTo>
                    <a:pt x="881" y="1039"/>
                  </a:lnTo>
                  <a:lnTo>
                    <a:pt x="878" y="1043"/>
                  </a:lnTo>
                  <a:lnTo>
                    <a:pt x="879" y="1045"/>
                  </a:lnTo>
                  <a:lnTo>
                    <a:pt x="879" y="1045"/>
                  </a:lnTo>
                  <a:lnTo>
                    <a:pt x="883" y="1039"/>
                  </a:lnTo>
                  <a:lnTo>
                    <a:pt x="886" y="1039"/>
                  </a:lnTo>
                  <a:lnTo>
                    <a:pt x="885" y="1041"/>
                  </a:lnTo>
                  <a:lnTo>
                    <a:pt x="883" y="1045"/>
                  </a:lnTo>
                  <a:lnTo>
                    <a:pt x="883" y="1045"/>
                  </a:lnTo>
                  <a:lnTo>
                    <a:pt x="886" y="1043"/>
                  </a:lnTo>
                  <a:lnTo>
                    <a:pt x="888" y="1043"/>
                  </a:lnTo>
                  <a:lnTo>
                    <a:pt x="888" y="1043"/>
                  </a:lnTo>
                  <a:lnTo>
                    <a:pt x="890" y="1041"/>
                  </a:lnTo>
                  <a:lnTo>
                    <a:pt x="890" y="1041"/>
                  </a:lnTo>
                  <a:lnTo>
                    <a:pt x="890" y="1041"/>
                  </a:lnTo>
                  <a:lnTo>
                    <a:pt x="890" y="1041"/>
                  </a:lnTo>
                  <a:close/>
                  <a:moveTo>
                    <a:pt x="886" y="1041"/>
                  </a:moveTo>
                  <a:lnTo>
                    <a:pt x="888" y="1039"/>
                  </a:lnTo>
                  <a:lnTo>
                    <a:pt x="892" y="1034"/>
                  </a:lnTo>
                  <a:lnTo>
                    <a:pt x="890" y="1039"/>
                  </a:lnTo>
                  <a:lnTo>
                    <a:pt x="888" y="1039"/>
                  </a:lnTo>
                  <a:lnTo>
                    <a:pt x="886" y="1041"/>
                  </a:lnTo>
                  <a:lnTo>
                    <a:pt x="886" y="1041"/>
                  </a:lnTo>
                  <a:lnTo>
                    <a:pt x="886" y="1041"/>
                  </a:lnTo>
                  <a:lnTo>
                    <a:pt x="886" y="1041"/>
                  </a:lnTo>
                  <a:close/>
                  <a:moveTo>
                    <a:pt x="1116" y="1276"/>
                  </a:moveTo>
                  <a:lnTo>
                    <a:pt x="1116" y="1276"/>
                  </a:lnTo>
                  <a:lnTo>
                    <a:pt x="1114" y="1274"/>
                  </a:lnTo>
                  <a:lnTo>
                    <a:pt x="1116" y="1274"/>
                  </a:lnTo>
                  <a:lnTo>
                    <a:pt x="1116" y="1271"/>
                  </a:lnTo>
                  <a:lnTo>
                    <a:pt x="1119" y="1269"/>
                  </a:lnTo>
                  <a:lnTo>
                    <a:pt x="1119" y="1269"/>
                  </a:lnTo>
                  <a:lnTo>
                    <a:pt x="1119" y="1269"/>
                  </a:lnTo>
                  <a:lnTo>
                    <a:pt x="1119" y="1269"/>
                  </a:lnTo>
                  <a:lnTo>
                    <a:pt x="1116" y="1271"/>
                  </a:lnTo>
                  <a:lnTo>
                    <a:pt x="1114" y="1274"/>
                  </a:lnTo>
                  <a:lnTo>
                    <a:pt x="1114" y="1276"/>
                  </a:lnTo>
                  <a:lnTo>
                    <a:pt x="1116" y="1276"/>
                  </a:lnTo>
                  <a:lnTo>
                    <a:pt x="1116" y="1276"/>
                  </a:lnTo>
                  <a:lnTo>
                    <a:pt x="1116" y="1276"/>
                  </a:lnTo>
                  <a:lnTo>
                    <a:pt x="1116" y="1276"/>
                  </a:lnTo>
                  <a:lnTo>
                    <a:pt x="1116" y="1276"/>
                  </a:lnTo>
                  <a:close/>
                  <a:moveTo>
                    <a:pt x="1201" y="1290"/>
                  </a:moveTo>
                  <a:lnTo>
                    <a:pt x="1201" y="1290"/>
                  </a:lnTo>
                  <a:lnTo>
                    <a:pt x="1201" y="1286"/>
                  </a:lnTo>
                  <a:lnTo>
                    <a:pt x="1201" y="1283"/>
                  </a:lnTo>
                  <a:lnTo>
                    <a:pt x="1197" y="1281"/>
                  </a:lnTo>
                  <a:lnTo>
                    <a:pt x="1201" y="1281"/>
                  </a:lnTo>
                  <a:lnTo>
                    <a:pt x="1201" y="1278"/>
                  </a:lnTo>
                  <a:lnTo>
                    <a:pt x="1201" y="1281"/>
                  </a:lnTo>
                  <a:lnTo>
                    <a:pt x="1201" y="1281"/>
                  </a:lnTo>
                  <a:lnTo>
                    <a:pt x="1201" y="1283"/>
                  </a:lnTo>
                  <a:lnTo>
                    <a:pt x="1201" y="1286"/>
                  </a:lnTo>
                  <a:lnTo>
                    <a:pt x="1201" y="1286"/>
                  </a:lnTo>
                  <a:lnTo>
                    <a:pt x="1201" y="1286"/>
                  </a:lnTo>
                  <a:lnTo>
                    <a:pt x="1201" y="1290"/>
                  </a:lnTo>
                  <a:lnTo>
                    <a:pt x="1201" y="1290"/>
                  </a:lnTo>
                  <a:lnTo>
                    <a:pt x="1201" y="1290"/>
                  </a:lnTo>
                  <a:lnTo>
                    <a:pt x="1201" y="1290"/>
                  </a:lnTo>
                  <a:lnTo>
                    <a:pt x="1201" y="1290"/>
                  </a:lnTo>
                  <a:lnTo>
                    <a:pt x="1201" y="1290"/>
                  </a:lnTo>
                  <a:close/>
                  <a:moveTo>
                    <a:pt x="1204" y="1292"/>
                  </a:moveTo>
                  <a:lnTo>
                    <a:pt x="1204" y="1290"/>
                  </a:lnTo>
                  <a:lnTo>
                    <a:pt x="1204" y="1290"/>
                  </a:lnTo>
                  <a:lnTo>
                    <a:pt x="1204" y="1292"/>
                  </a:lnTo>
                  <a:lnTo>
                    <a:pt x="1204" y="1293"/>
                  </a:lnTo>
                  <a:lnTo>
                    <a:pt x="1204" y="1292"/>
                  </a:lnTo>
                  <a:lnTo>
                    <a:pt x="1204" y="1292"/>
                  </a:lnTo>
                  <a:lnTo>
                    <a:pt x="1204" y="1292"/>
                  </a:lnTo>
                  <a:lnTo>
                    <a:pt x="1204" y="1292"/>
                  </a:lnTo>
                  <a:close/>
                  <a:moveTo>
                    <a:pt x="1236" y="1172"/>
                  </a:moveTo>
                  <a:lnTo>
                    <a:pt x="1237" y="1168"/>
                  </a:lnTo>
                  <a:lnTo>
                    <a:pt x="1239" y="1168"/>
                  </a:lnTo>
                  <a:lnTo>
                    <a:pt x="1239" y="1168"/>
                  </a:lnTo>
                  <a:lnTo>
                    <a:pt x="1239" y="1172"/>
                  </a:lnTo>
                  <a:lnTo>
                    <a:pt x="1237" y="1172"/>
                  </a:lnTo>
                  <a:lnTo>
                    <a:pt x="1237" y="1172"/>
                  </a:lnTo>
                  <a:lnTo>
                    <a:pt x="1236" y="1172"/>
                  </a:lnTo>
                  <a:lnTo>
                    <a:pt x="1236" y="1172"/>
                  </a:lnTo>
                  <a:lnTo>
                    <a:pt x="1236" y="1172"/>
                  </a:lnTo>
                  <a:lnTo>
                    <a:pt x="1236" y="1172"/>
                  </a:lnTo>
                  <a:close/>
                  <a:moveTo>
                    <a:pt x="1227" y="1196"/>
                  </a:moveTo>
                  <a:lnTo>
                    <a:pt x="1227" y="1199"/>
                  </a:lnTo>
                  <a:lnTo>
                    <a:pt x="1229" y="1199"/>
                  </a:lnTo>
                  <a:lnTo>
                    <a:pt x="1229" y="1199"/>
                  </a:lnTo>
                  <a:lnTo>
                    <a:pt x="1229" y="1199"/>
                  </a:lnTo>
                  <a:lnTo>
                    <a:pt x="1229" y="1196"/>
                  </a:lnTo>
                  <a:lnTo>
                    <a:pt x="1229" y="1196"/>
                  </a:lnTo>
                  <a:lnTo>
                    <a:pt x="1227" y="1196"/>
                  </a:lnTo>
                  <a:lnTo>
                    <a:pt x="1227" y="1196"/>
                  </a:lnTo>
                  <a:lnTo>
                    <a:pt x="1227" y="1196"/>
                  </a:lnTo>
                  <a:lnTo>
                    <a:pt x="1227" y="1196"/>
                  </a:lnTo>
                  <a:close/>
                  <a:moveTo>
                    <a:pt x="1244" y="1227"/>
                  </a:moveTo>
                  <a:lnTo>
                    <a:pt x="1243" y="1222"/>
                  </a:lnTo>
                  <a:lnTo>
                    <a:pt x="1243" y="1222"/>
                  </a:lnTo>
                  <a:lnTo>
                    <a:pt x="1244" y="1222"/>
                  </a:lnTo>
                  <a:lnTo>
                    <a:pt x="1246" y="1222"/>
                  </a:lnTo>
                  <a:lnTo>
                    <a:pt x="1246" y="1222"/>
                  </a:lnTo>
                  <a:lnTo>
                    <a:pt x="1248" y="1222"/>
                  </a:lnTo>
                  <a:lnTo>
                    <a:pt x="1248" y="1226"/>
                  </a:lnTo>
                  <a:lnTo>
                    <a:pt x="1246" y="1227"/>
                  </a:lnTo>
                  <a:lnTo>
                    <a:pt x="1246" y="1227"/>
                  </a:lnTo>
                  <a:lnTo>
                    <a:pt x="1244" y="1227"/>
                  </a:lnTo>
                  <a:lnTo>
                    <a:pt x="1244" y="1227"/>
                  </a:lnTo>
                  <a:lnTo>
                    <a:pt x="1244" y="1227"/>
                  </a:lnTo>
                  <a:lnTo>
                    <a:pt x="1244" y="1227"/>
                  </a:lnTo>
                  <a:close/>
                  <a:moveTo>
                    <a:pt x="1236" y="1226"/>
                  </a:moveTo>
                  <a:lnTo>
                    <a:pt x="1237" y="1227"/>
                  </a:lnTo>
                  <a:lnTo>
                    <a:pt x="1239" y="1226"/>
                  </a:lnTo>
                  <a:lnTo>
                    <a:pt x="1239" y="1222"/>
                  </a:lnTo>
                  <a:lnTo>
                    <a:pt x="1239" y="1222"/>
                  </a:lnTo>
                  <a:lnTo>
                    <a:pt x="1239" y="1222"/>
                  </a:lnTo>
                  <a:lnTo>
                    <a:pt x="1241" y="1226"/>
                  </a:lnTo>
                  <a:lnTo>
                    <a:pt x="1239" y="1227"/>
                  </a:lnTo>
                  <a:lnTo>
                    <a:pt x="1236" y="1227"/>
                  </a:lnTo>
                  <a:lnTo>
                    <a:pt x="1234" y="1227"/>
                  </a:lnTo>
                  <a:lnTo>
                    <a:pt x="1234" y="1227"/>
                  </a:lnTo>
                  <a:lnTo>
                    <a:pt x="1236" y="1226"/>
                  </a:lnTo>
                  <a:lnTo>
                    <a:pt x="1236" y="1226"/>
                  </a:lnTo>
                  <a:lnTo>
                    <a:pt x="1236" y="1226"/>
                  </a:lnTo>
                  <a:lnTo>
                    <a:pt x="1236" y="1226"/>
                  </a:lnTo>
                  <a:close/>
                  <a:moveTo>
                    <a:pt x="1210" y="1269"/>
                  </a:moveTo>
                  <a:lnTo>
                    <a:pt x="1210" y="1267"/>
                  </a:lnTo>
                  <a:lnTo>
                    <a:pt x="1210" y="1269"/>
                  </a:lnTo>
                  <a:lnTo>
                    <a:pt x="1210" y="1269"/>
                  </a:lnTo>
                  <a:lnTo>
                    <a:pt x="1210" y="1269"/>
                  </a:lnTo>
                  <a:lnTo>
                    <a:pt x="1210" y="1269"/>
                  </a:lnTo>
                  <a:lnTo>
                    <a:pt x="1210" y="1269"/>
                  </a:lnTo>
                  <a:lnTo>
                    <a:pt x="1210" y="1269"/>
                  </a:lnTo>
                  <a:close/>
                  <a:moveTo>
                    <a:pt x="1244" y="1259"/>
                  </a:moveTo>
                  <a:lnTo>
                    <a:pt x="1244" y="1260"/>
                  </a:lnTo>
                  <a:lnTo>
                    <a:pt x="1246" y="1260"/>
                  </a:lnTo>
                  <a:lnTo>
                    <a:pt x="1250" y="1260"/>
                  </a:lnTo>
                  <a:lnTo>
                    <a:pt x="1250" y="1260"/>
                  </a:lnTo>
                  <a:lnTo>
                    <a:pt x="1246" y="1259"/>
                  </a:lnTo>
                  <a:lnTo>
                    <a:pt x="1244" y="1259"/>
                  </a:lnTo>
                  <a:lnTo>
                    <a:pt x="1244" y="1259"/>
                  </a:lnTo>
                  <a:lnTo>
                    <a:pt x="1244" y="1259"/>
                  </a:lnTo>
                  <a:lnTo>
                    <a:pt x="1244" y="1259"/>
                  </a:lnTo>
                  <a:close/>
                  <a:moveTo>
                    <a:pt x="1206" y="1194"/>
                  </a:moveTo>
                  <a:lnTo>
                    <a:pt x="1204" y="1196"/>
                  </a:lnTo>
                  <a:lnTo>
                    <a:pt x="1201" y="1199"/>
                  </a:lnTo>
                  <a:lnTo>
                    <a:pt x="1201" y="1199"/>
                  </a:lnTo>
                  <a:lnTo>
                    <a:pt x="1201" y="1199"/>
                  </a:lnTo>
                  <a:lnTo>
                    <a:pt x="1201" y="1203"/>
                  </a:lnTo>
                  <a:lnTo>
                    <a:pt x="1197" y="1203"/>
                  </a:lnTo>
                  <a:lnTo>
                    <a:pt x="1197" y="1203"/>
                  </a:lnTo>
                  <a:lnTo>
                    <a:pt x="1197" y="1203"/>
                  </a:lnTo>
                  <a:lnTo>
                    <a:pt x="1197" y="1205"/>
                  </a:lnTo>
                  <a:lnTo>
                    <a:pt x="1196" y="1205"/>
                  </a:lnTo>
                  <a:lnTo>
                    <a:pt x="1194" y="1206"/>
                  </a:lnTo>
                  <a:lnTo>
                    <a:pt x="1194" y="1208"/>
                  </a:lnTo>
                  <a:lnTo>
                    <a:pt x="1196" y="1208"/>
                  </a:lnTo>
                  <a:lnTo>
                    <a:pt x="1196" y="1210"/>
                  </a:lnTo>
                  <a:lnTo>
                    <a:pt x="1194" y="1210"/>
                  </a:lnTo>
                  <a:lnTo>
                    <a:pt x="1192" y="1210"/>
                  </a:lnTo>
                  <a:lnTo>
                    <a:pt x="1191" y="1213"/>
                  </a:lnTo>
                  <a:lnTo>
                    <a:pt x="1191" y="1215"/>
                  </a:lnTo>
                  <a:lnTo>
                    <a:pt x="1187" y="1222"/>
                  </a:lnTo>
                  <a:lnTo>
                    <a:pt x="1187" y="1222"/>
                  </a:lnTo>
                  <a:lnTo>
                    <a:pt x="1187" y="1222"/>
                  </a:lnTo>
                  <a:lnTo>
                    <a:pt x="1187" y="1226"/>
                  </a:lnTo>
                  <a:lnTo>
                    <a:pt x="1187" y="1227"/>
                  </a:lnTo>
                  <a:lnTo>
                    <a:pt x="1185" y="1226"/>
                  </a:lnTo>
                  <a:lnTo>
                    <a:pt x="1185" y="1226"/>
                  </a:lnTo>
                  <a:lnTo>
                    <a:pt x="1182" y="1227"/>
                  </a:lnTo>
                  <a:lnTo>
                    <a:pt x="1182" y="1227"/>
                  </a:lnTo>
                  <a:lnTo>
                    <a:pt x="1182" y="1231"/>
                  </a:lnTo>
                  <a:lnTo>
                    <a:pt x="1182" y="1231"/>
                  </a:lnTo>
                  <a:lnTo>
                    <a:pt x="1184" y="1231"/>
                  </a:lnTo>
                  <a:lnTo>
                    <a:pt x="1182" y="1232"/>
                  </a:lnTo>
                  <a:lnTo>
                    <a:pt x="1182" y="1234"/>
                  </a:lnTo>
                  <a:lnTo>
                    <a:pt x="1182" y="1236"/>
                  </a:lnTo>
                  <a:lnTo>
                    <a:pt x="1178" y="1234"/>
                  </a:lnTo>
                  <a:lnTo>
                    <a:pt x="1175" y="1236"/>
                  </a:lnTo>
                  <a:lnTo>
                    <a:pt x="1175" y="1238"/>
                  </a:lnTo>
                  <a:lnTo>
                    <a:pt x="1175" y="1239"/>
                  </a:lnTo>
                  <a:lnTo>
                    <a:pt x="1173" y="1243"/>
                  </a:lnTo>
                  <a:lnTo>
                    <a:pt x="1170" y="1245"/>
                  </a:lnTo>
                  <a:lnTo>
                    <a:pt x="1170" y="1245"/>
                  </a:lnTo>
                  <a:lnTo>
                    <a:pt x="1170" y="1243"/>
                  </a:lnTo>
                  <a:lnTo>
                    <a:pt x="1168" y="1245"/>
                  </a:lnTo>
                  <a:lnTo>
                    <a:pt x="1168" y="1243"/>
                  </a:lnTo>
                  <a:lnTo>
                    <a:pt x="1168" y="1241"/>
                  </a:lnTo>
                  <a:lnTo>
                    <a:pt x="1170" y="1239"/>
                  </a:lnTo>
                  <a:lnTo>
                    <a:pt x="1170" y="1238"/>
                  </a:lnTo>
                  <a:lnTo>
                    <a:pt x="1170" y="1239"/>
                  </a:lnTo>
                  <a:lnTo>
                    <a:pt x="1168" y="1241"/>
                  </a:lnTo>
                  <a:lnTo>
                    <a:pt x="1163" y="1243"/>
                  </a:lnTo>
                  <a:lnTo>
                    <a:pt x="1161" y="1248"/>
                  </a:lnTo>
                  <a:lnTo>
                    <a:pt x="1163" y="1248"/>
                  </a:lnTo>
                  <a:lnTo>
                    <a:pt x="1164" y="1246"/>
                  </a:lnTo>
                  <a:lnTo>
                    <a:pt x="1170" y="1246"/>
                  </a:lnTo>
                  <a:lnTo>
                    <a:pt x="1175" y="1246"/>
                  </a:lnTo>
                  <a:lnTo>
                    <a:pt x="1170" y="1248"/>
                  </a:lnTo>
                  <a:lnTo>
                    <a:pt x="1168" y="1253"/>
                  </a:lnTo>
                  <a:lnTo>
                    <a:pt x="1166" y="1255"/>
                  </a:lnTo>
                  <a:lnTo>
                    <a:pt x="1163" y="1259"/>
                  </a:lnTo>
                  <a:lnTo>
                    <a:pt x="1159" y="1260"/>
                  </a:lnTo>
                  <a:lnTo>
                    <a:pt x="1156" y="1260"/>
                  </a:lnTo>
                  <a:lnTo>
                    <a:pt x="1156" y="1262"/>
                  </a:lnTo>
                  <a:lnTo>
                    <a:pt x="1156" y="1264"/>
                  </a:lnTo>
                  <a:lnTo>
                    <a:pt x="1156" y="1266"/>
                  </a:lnTo>
                  <a:lnTo>
                    <a:pt x="1156" y="1267"/>
                  </a:lnTo>
                  <a:lnTo>
                    <a:pt x="1159" y="1267"/>
                  </a:lnTo>
                  <a:lnTo>
                    <a:pt x="1163" y="1269"/>
                  </a:lnTo>
                  <a:lnTo>
                    <a:pt x="1166" y="1269"/>
                  </a:lnTo>
                  <a:lnTo>
                    <a:pt x="1168" y="1267"/>
                  </a:lnTo>
                  <a:lnTo>
                    <a:pt x="1170" y="1266"/>
                  </a:lnTo>
                  <a:lnTo>
                    <a:pt x="1173" y="1264"/>
                  </a:lnTo>
                  <a:lnTo>
                    <a:pt x="1175" y="1262"/>
                  </a:lnTo>
                  <a:lnTo>
                    <a:pt x="1175" y="1264"/>
                  </a:lnTo>
                  <a:lnTo>
                    <a:pt x="1173" y="1266"/>
                  </a:lnTo>
                  <a:lnTo>
                    <a:pt x="1175" y="1267"/>
                  </a:lnTo>
                  <a:lnTo>
                    <a:pt x="1178" y="1266"/>
                  </a:lnTo>
                  <a:lnTo>
                    <a:pt x="1178" y="1267"/>
                  </a:lnTo>
                  <a:lnTo>
                    <a:pt x="1184" y="1267"/>
                  </a:lnTo>
                  <a:lnTo>
                    <a:pt x="1187" y="1267"/>
                  </a:lnTo>
                  <a:lnTo>
                    <a:pt x="1187" y="1269"/>
                  </a:lnTo>
                  <a:lnTo>
                    <a:pt x="1189" y="1271"/>
                  </a:lnTo>
                  <a:lnTo>
                    <a:pt x="1192" y="1271"/>
                  </a:lnTo>
                  <a:lnTo>
                    <a:pt x="1192" y="1269"/>
                  </a:lnTo>
                  <a:lnTo>
                    <a:pt x="1194" y="1271"/>
                  </a:lnTo>
                  <a:lnTo>
                    <a:pt x="1196" y="1271"/>
                  </a:lnTo>
                  <a:lnTo>
                    <a:pt x="1197" y="1269"/>
                  </a:lnTo>
                  <a:lnTo>
                    <a:pt x="1197" y="1269"/>
                  </a:lnTo>
                  <a:lnTo>
                    <a:pt x="1197" y="1269"/>
                  </a:lnTo>
                  <a:lnTo>
                    <a:pt x="1201" y="1269"/>
                  </a:lnTo>
                  <a:lnTo>
                    <a:pt x="1201" y="1269"/>
                  </a:lnTo>
                  <a:lnTo>
                    <a:pt x="1204" y="1267"/>
                  </a:lnTo>
                  <a:lnTo>
                    <a:pt x="1204" y="1267"/>
                  </a:lnTo>
                  <a:lnTo>
                    <a:pt x="1206" y="1269"/>
                  </a:lnTo>
                  <a:lnTo>
                    <a:pt x="1206" y="1267"/>
                  </a:lnTo>
                  <a:lnTo>
                    <a:pt x="1206" y="1266"/>
                  </a:lnTo>
                  <a:lnTo>
                    <a:pt x="1206" y="1264"/>
                  </a:lnTo>
                  <a:lnTo>
                    <a:pt x="1206" y="1264"/>
                  </a:lnTo>
                  <a:lnTo>
                    <a:pt x="1210" y="1262"/>
                  </a:lnTo>
                  <a:lnTo>
                    <a:pt x="1210" y="1262"/>
                  </a:lnTo>
                  <a:lnTo>
                    <a:pt x="1210" y="1262"/>
                  </a:lnTo>
                  <a:lnTo>
                    <a:pt x="1210" y="1266"/>
                  </a:lnTo>
                  <a:lnTo>
                    <a:pt x="1210" y="1267"/>
                  </a:lnTo>
                  <a:lnTo>
                    <a:pt x="1210" y="1266"/>
                  </a:lnTo>
                  <a:lnTo>
                    <a:pt x="1211" y="1264"/>
                  </a:lnTo>
                  <a:lnTo>
                    <a:pt x="1211" y="1262"/>
                  </a:lnTo>
                  <a:lnTo>
                    <a:pt x="1211" y="1266"/>
                  </a:lnTo>
                  <a:lnTo>
                    <a:pt x="1211" y="1267"/>
                  </a:lnTo>
                  <a:lnTo>
                    <a:pt x="1211" y="1269"/>
                  </a:lnTo>
                  <a:lnTo>
                    <a:pt x="1213" y="1267"/>
                  </a:lnTo>
                  <a:lnTo>
                    <a:pt x="1213" y="1267"/>
                  </a:lnTo>
                  <a:lnTo>
                    <a:pt x="1213" y="1269"/>
                  </a:lnTo>
                  <a:lnTo>
                    <a:pt x="1210" y="1271"/>
                  </a:lnTo>
                  <a:lnTo>
                    <a:pt x="1206" y="1272"/>
                  </a:lnTo>
                  <a:lnTo>
                    <a:pt x="1210" y="1272"/>
                  </a:lnTo>
                  <a:lnTo>
                    <a:pt x="1210" y="1272"/>
                  </a:lnTo>
                  <a:lnTo>
                    <a:pt x="1211" y="1272"/>
                  </a:lnTo>
                  <a:lnTo>
                    <a:pt x="1211" y="1272"/>
                  </a:lnTo>
                  <a:lnTo>
                    <a:pt x="1213" y="1272"/>
                  </a:lnTo>
                  <a:lnTo>
                    <a:pt x="1215" y="1274"/>
                  </a:lnTo>
                  <a:lnTo>
                    <a:pt x="1215" y="1272"/>
                  </a:lnTo>
                  <a:lnTo>
                    <a:pt x="1218" y="1272"/>
                  </a:lnTo>
                  <a:lnTo>
                    <a:pt x="1218" y="1271"/>
                  </a:lnTo>
                  <a:lnTo>
                    <a:pt x="1218" y="1267"/>
                  </a:lnTo>
                  <a:lnTo>
                    <a:pt x="1220" y="1269"/>
                  </a:lnTo>
                  <a:lnTo>
                    <a:pt x="1224" y="1269"/>
                  </a:lnTo>
                  <a:lnTo>
                    <a:pt x="1224" y="1271"/>
                  </a:lnTo>
                  <a:lnTo>
                    <a:pt x="1224" y="1271"/>
                  </a:lnTo>
                  <a:lnTo>
                    <a:pt x="1227" y="1269"/>
                  </a:lnTo>
                  <a:lnTo>
                    <a:pt x="1229" y="1271"/>
                  </a:lnTo>
                  <a:lnTo>
                    <a:pt x="1229" y="1271"/>
                  </a:lnTo>
                  <a:lnTo>
                    <a:pt x="1229" y="1272"/>
                  </a:lnTo>
                  <a:lnTo>
                    <a:pt x="1224" y="1274"/>
                  </a:lnTo>
                  <a:lnTo>
                    <a:pt x="1220" y="1274"/>
                  </a:lnTo>
                  <a:lnTo>
                    <a:pt x="1220" y="1276"/>
                  </a:lnTo>
                  <a:lnTo>
                    <a:pt x="1220" y="1278"/>
                  </a:lnTo>
                  <a:lnTo>
                    <a:pt x="1218" y="1278"/>
                  </a:lnTo>
                  <a:lnTo>
                    <a:pt x="1218" y="1278"/>
                  </a:lnTo>
                  <a:lnTo>
                    <a:pt x="1217" y="1278"/>
                  </a:lnTo>
                  <a:lnTo>
                    <a:pt x="1215" y="1278"/>
                  </a:lnTo>
                  <a:lnTo>
                    <a:pt x="1215" y="1281"/>
                  </a:lnTo>
                  <a:lnTo>
                    <a:pt x="1213" y="1281"/>
                  </a:lnTo>
                  <a:lnTo>
                    <a:pt x="1210" y="1281"/>
                  </a:lnTo>
                  <a:lnTo>
                    <a:pt x="1210" y="1283"/>
                  </a:lnTo>
                  <a:lnTo>
                    <a:pt x="1206" y="1286"/>
                  </a:lnTo>
                  <a:lnTo>
                    <a:pt x="1210" y="1286"/>
                  </a:lnTo>
                  <a:lnTo>
                    <a:pt x="1210" y="1286"/>
                  </a:lnTo>
                  <a:lnTo>
                    <a:pt x="1211" y="1286"/>
                  </a:lnTo>
                  <a:lnTo>
                    <a:pt x="1211" y="1286"/>
                  </a:lnTo>
                  <a:lnTo>
                    <a:pt x="1213" y="1286"/>
                  </a:lnTo>
                  <a:lnTo>
                    <a:pt x="1215" y="1286"/>
                  </a:lnTo>
                  <a:lnTo>
                    <a:pt x="1215" y="1286"/>
                  </a:lnTo>
                  <a:lnTo>
                    <a:pt x="1215" y="1286"/>
                  </a:lnTo>
                  <a:lnTo>
                    <a:pt x="1218" y="1286"/>
                  </a:lnTo>
                  <a:lnTo>
                    <a:pt x="1220" y="1286"/>
                  </a:lnTo>
                  <a:lnTo>
                    <a:pt x="1220" y="1283"/>
                  </a:lnTo>
                  <a:lnTo>
                    <a:pt x="1220" y="1283"/>
                  </a:lnTo>
                  <a:lnTo>
                    <a:pt x="1220" y="1281"/>
                  </a:lnTo>
                  <a:lnTo>
                    <a:pt x="1220" y="1278"/>
                  </a:lnTo>
                  <a:lnTo>
                    <a:pt x="1224" y="1278"/>
                  </a:lnTo>
                  <a:lnTo>
                    <a:pt x="1227" y="1276"/>
                  </a:lnTo>
                  <a:lnTo>
                    <a:pt x="1229" y="1274"/>
                  </a:lnTo>
                  <a:lnTo>
                    <a:pt x="1229" y="1276"/>
                  </a:lnTo>
                  <a:lnTo>
                    <a:pt x="1232" y="1276"/>
                  </a:lnTo>
                  <a:lnTo>
                    <a:pt x="1229" y="1278"/>
                  </a:lnTo>
                  <a:lnTo>
                    <a:pt x="1232" y="1278"/>
                  </a:lnTo>
                  <a:lnTo>
                    <a:pt x="1232" y="1276"/>
                  </a:lnTo>
                  <a:lnTo>
                    <a:pt x="1234" y="1272"/>
                  </a:lnTo>
                  <a:lnTo>
                    <a:pt x="1236" y="1269"/>
                  </a:lnTo>
                  <a:lnTo>
                    <a:pt x="1236" y="1266"/>
                  </a:lnTo>
                  <a:lnTo>
                    <a:pt x="1236" y="1264"/>
                  </a:lnTo>
                  <a:lnTo>
                    <a:pt x="1237" y="1264"/>
                  </a:lnTo>
                  <a:lnTo>
                    <a:pt x="1237" y="1266"/>
                  </a:lnTo>
                  <a:lnTo>
                    <a:pt x="1239" y="1266"/>
                  </a:lnTo>
                  <a:lnTo>
                    <a:pt x="1241" y="1267"/>
                  </a:lnTo>
                  <a:lnTo>
                    <a:pt x="1241" y="1271"/>
                  </a:lnTo>
                  <a:lnTo>
                    <a:pt x="1241" y="1272"/>
                  </a:lnTo>
                  <a:lnTo>
                    <a:pt x="1241" y="1274"/>
                  </a:lnTo>
                  <a:lnTo>
                    <a:pt x="1241" y="1276"/>
                  </a:lnTo>
                  <a:lnTo>
                    <a:pt x="1241" y="1278"/>
                  </a:lnTo>
                  <a:lnTo>
                    <a:pt x="1237" y="1281"/>
                  </a:lnTo>
                  <a:lnTo>
                    <a:pt x="1236" y="1286"/>
                  </a:lnTo>
                  <a:lnTo>
                    <a:pt x="1236" y="1286"/>
                  </a:lnTo>
                  <a:lnTo>
                    <a:pt x="1234" y="1290"/>
                  </a:lnTo>
                  <a:lnTo>
                    <a:pt x="1234" y="1290"/>
                  </a:lnTo>
                  <a:lnTo>
                    <a:pt x="1236" y="1290"/>
                  </a:lnTo>
                  <a:lnTo>
                    <a:pt x="1239" y="1290"/>
                  </a:lnTo>
                  <a:lnTo>
                    <a:pt x="1241" y="1286"/>
                  </a:lnTo>
                  <a:lnTo>
                    <a:pt x="1243" y="1286"/>
                  </a:lnTo>
                  <a:lnTo>
                    <a:pt x="1244" y="1281"/>
                  </a:lnTo>
                  <a:lnTo>
                    <a:pt x="1246" y="1281"/>
                  </a:lnTo>
                  <a:lnTo>
                    <a:pt x="1246" y="1281"/>
                  </a:lnTo>
                  <a:lnTo>
                    <a:pt x="1250" y="1281"/>
                  </a:lnTo>
                  <a:lnTo>
                    <a:pt x="1250" y="1281"/>
                  </a:lnTo>
                  <a:lnTo>
                    <a:pt x="1248" y="1281"/>
                  </a:lnTo>
                  <a:lnTo>
                    <a:pt x="1244" y="1286"/>
                  </a:lnTo>
                  <a:lnTo>
                    <a:pt x="1244" y="1286"/>
                  </a:lnTo>
                  <a:lnTo>
                    <a:pt x="1244" y="1290"/>
                  </a:lnTo>
                  <a:lnTo>
                    <a:pt x="1244" y="1290"/>
                  </a:lnTo>
                  <a:lnTo>
                    <a:pt x="1244" y="1293"/>
                  </a:lnTo>
                  <a:lnTo>
                    <a:pt x="1246" y="1295"/>
                  </a:lnTo>
                  <a:lnTo>
                    <a:pt x="1248" y="1293"/>
                  </a:lnTo>
                  <a:lnTo>
                    <a:pt x="1250" y="1292"/>
                  </a:lnTo>
                  <a:lnTo>
                    <a:pt x="1250" y="1292"/>
                  </a:lnTo>
                  <a:lnTo>
                    <a:pt x="1251" y="1292"/>
                  </a:lnTo>
                  <a:lnTo>
                    <a:pt x="1251" y="1292"/>
                  </a:lnTo>
                  <a:lnTo>
                    <a:pt x="1251" y="1293"/>
                  </a:lnTo>
                  <a:lnTo>
                    <a:pt x="1251" y="1293"/>
                  </a:lnTo>
                  <a:lnTo>
                    <a:pt x="1255" y="1293"/>
                  </a:lnTo>
                  <a:lnTo>
                    <a:pt x="1255" y="1292"/>
                  </a:lnTo>
                  <a:lnTo>
                    <a:pt x="1255" y="1290"/>
                  </a:lnTo>
                  <a:lnTo>
                    <a:pt x="1257" y="1290"/>
                  </a:lnTo>
                  <a:lnTo>
                    <a:pt x="1257" y="1286"/>
                  </a:lnTo>
                  <a:lnTo>
                    <a:pt x="1257" y="1286"/>
                  </a:lnTo>
                  <a:lnTo>
                    <a:pt x="1257" y="1286"/>
                  </a:lnTo>
                  <a:lnTo>
                    <a:pt x="1257" y="1283"/>
                  </a:lnTo>
                  <a:lnTo>
                    <a:pt x="1257" y="1281"/>
                  </a:lnTo>
                  <a:lnTo>
                    <a:pt x="1260" y="1278"/>
                  </a:lnTo>
                  <a:lnTo>
                    <a:pt x="1262" y="1274"/>
                  </a:lnTo>
                  <a:lnTo>
                    <a:pt x="1262" y="1269"/>
                  </a:lnTo>
                  <a:lnTo>
                    <a:pt x="1262" y="1267"/>
                  </a:lnTo>
                  <a:lnTo>
                    <a:pt x="1260" y="1267"/>
                  </a:lnTo>
                  <a:lnTo>
                    <a:pt x="1260" y="1269"/>
                  </a:lnTo>
                  <a:lnTo>
                    <a:pt x="1260" y="1271"/>
                  </a:lnTo>
                  <a:lnTo>
                    <a:pt x="1257" y="1272"/>
                  </a:lnTo>
                  <a:lnTo>
                    <a:pt x="1255" y="1276"/>
                  </a:lnTo>
                  <a:lnTo>
                    <a:pt x="1255" y="1276"/>
                  </a:lnTo>
                  <a:lnTo>
                    <a:pt x="1251" y="1274"/>
                  </a:lnTo>
                  <a:lnTo>
                    <a:pt x="1255" y="1271"/>
                  </a:lnTo>
                  <a:lnTo>
                    <a:pt x="1255" y="1269"/>
                  </a:lnTo>
                  <a:lnTo>
                    <a:pt x="1255" y="1266"/>
                  </a:lnTo>
                  <a:lnTo>
                    <a:pt x="1257" y="1266"/>
                  </a:lnTo>
                  <a:lnTo>
                    <a:pt x="1258" y="1262"/>
                  </a:lnTo>
                  <a:lnTo>
                    <a:pt x="1260" y="1262"/>
                  </a:lnTo>
                  <a:lnTo>
                    <a:pt x="1262" y="1262"/>
                  </a:lnTo>
                  <a:lnTo>
                    <a:pt x="1260" y="1260"/>
                  </a:lnTo>
                  <a:lnTo>
                    <a:pt x="1258" y="1262"/>
                  </a:lnTo>
                  <a:lnTo>
                    <a:pt x="1258" y="1262"/>
                  </a:lnTo>
                  <a:lnTo>
                    <a:pt x="1255" y="1262"/>
                  </a:lnTo>
                  <a:lnTo>
                    <a:pt x="1255" y="1264"/>
                  </a:lnTo>
                  <a:lnTo>
                    <a:pt x="1251" y="1266"/>
                  </a:lnTo>
                  <a:lnTo>
                    <a:pt x="1251" y="1267"/>
                  </a:lnTo>
                  <a:lnTo>
                    <a:pt x="1248" y="1269"/>
                  </a:lnTo>
                  <a:lnTo>
                    <a:pt x="1248" y="1271"/>
                  </a:lnTo>
                  <a:lnTo>
                    <a:pt x="1246" y="1272"/>
                  </a:lnTo>
                  <a:lnTo>
                    <a:pt x="1244" y="1271"/>
                  </a:lnTo>
                  <a:lnTo>
                    <a:pt x="1244" y="1269"/>
                  </a:lnTo>
                  <a:lnTo>
                    <a:pt x="1243" y="1266"/>
                  </a:lnTo>
                  <a:lnTo>
                    <a:pt x="1243" y="1264"/>
                  </a:lnTo>
                  <a:lnTo>
                    <a:pt x="1244" y="1266"/>
                  </a:lnTo>
                  <a:lnTo>
                    <a:pt x="1244" y="1266"/>
                  </a:lnTo>
                  <a:lnTo>
                    <a:pt x="1248" y="1262"/>
                  </a:lnTo>
                  <a:lnTo>
                    <a:pt x="1246" y="1264"/>
                  </a:lnTo>
                  <a:lnTo>
                    <a:pt x="1243" y="1262"/>
                  </a:lnTo>
                  <a:lnTo>
                    <a:pt x="1244" y="1262"/>
                  </a:lnTo>
                  <a:lnTo>
                    <a:pt x="1248" y="1262"/>
                  </a:lnTo>
                  <a:lnTo>
                    <a:pt x="1244" y="1262"/>
                  </a:lnTo>
                  <a:lnTo>
                    <a:pt x="1244" y="1260"/>
                  </a:lnTo>
                  <a:lnTo>
                    <a:pt x="1244" y="1259"/>
                  </a:lnTo>
                  <a:lnTo>
                    <a:pt x="1244" y="1259"/>
                  </a:lnTo>
                  <a:lnTo>
                    <a:pt x="1248" y="1259"/>
                  </a:lnTo>
                  <a:lnTo>
                    <a:pt x="1248" y="1259"/>
                  </a:lnTo>
                  <a:lnTo>
                    <a:pt x="1251" y="1255"/>
                  </a:lnTo>
                  <a:lnTo>
                    <a:pt x="1251" y="1253"/>
                  </a:lnTo>
                  <a:lnTo>
                    <a:pt x="1255" y="1253"/>
                  </a:lnTo>
                  <a:lnTo>
                    <a:pt x="1255" y="1255"/>
                  </a:lnTo>
                  <a:lnTo>
                    <a:pt x="1258" y="1250"/>
                  </a:lnTo>
                  <a:lnTo>
                    <a:pt x="1258" y="1250"/>
                  </a:lnTo>
                  <a:lnTo>
                    <a:pt x="1258" y="1248"/>
                  </a:lnTo>
                  <a:lnTo>
                    <a:pt x="1258" y="1245"/>
                  </a:lnTo>
                  <a:lnTo>
                    <a:pt x="1255" y="1248"/>
                  </a:lnTo>
                  <a:lnTo>
                    <a:pt x="1255" y="1250"/>
                  </a:lnTo>
                  <a:lnTo>
                    <a:pt x="1255" y="1248"/>
                  </a:lnTo>
                  <a:lnTo>
                    <a:pt x="1251" y="1248"/>
                  </a:lnTo>
                  <a:lnTo>
                    <a:pt x="1251" y="1250"/>
                  </a:lnTo>
                  <a:lnTo>
                    <a:pt x="1251" y="1250"/>
                  </a:lnTo>
                  <a:lnTo>
                    <a:pt x="1251" y="1250"/>
                  </a:lnTo>
                  <a:lnTo>
                    <a:pt x="1250" y="1250"/>
                  </a:lnTo>
                  <a:lnTo>
                    <a:pt x="1248" y="1253"/>
                  </a:lnTo>
                  <a:lnTo>
                    <a:pt x="1246" y="1255"/>
                  </a:lnTo>
                  <a:lnTo>
                    <a:pt x="1246" y="1255"/>
                  </a:lnTo>
                  <a:lnTo>
                    <a:pt x="1244" y="1255"/>
                  </a:lnTo>
                  <a:lnTo>
                    <a:pt x="1244" y="1255"/>
                  </a:lnTo>
                  <a:lnTo>
                    <a:pt x="1244" y="1253"/>
                  </a:lnTo>
                  <a:lnTo>
                    <a:pt x="1244" y="1255"/>
                  </a:lnTo>
                  <a:lnTo>
                    <a:pt x="1243" y="1255"/>
                  </a:lnTo>
                  <a:lnTo>
                    <a:pt x="1244" y="1253"/>
                  </a:lnTo>
                  <a:lnTo>
                    <a:pt x="1246" y="1250"/>
                  </a:lnTo>
                  <a:lnTo>
                    <a:pt x="1246" y="1250"/>
                  </a:lnTo>
                  <a:lnTo>
                    <a:pt x="1244" y="1250"/>
                  </a:lnTo>
                  <a:lnTo>
                    <a:pt x="1246" y="1248"/>
                  </a:lnTo>
                  <a:lnTo>
                    <a:pt x="1248" y="1246"/>
                  </a:lnTo>
                  <a:lnTo>
                    <a:pt x="1246" y="1245"/>
                  </a:lnTo>
                  <a:lnTo>
                    <a:pt x="1244" y="1246"/>
                  </a:lnTo>
                  <a:lnTo>
                    <a:pt x="1246" y="1245"/>
                  </a:lnTo>
                  <a:lnTo>
                    <a:pt x="1246" y="1243"/>
                  </a:lnTo>
                  <a:lnTo>
                    <a:pt x="1244" y="1243"/>
                  </a:lnTo>
                  <a:lnTo>
                    <a:pt x="1243" y="1243"/>
                  </a:lnTo>
                  <a:lnTo>
                    <a:pt x="1239" y="1243"/>
                  </a:lnTo>
                  <a:lnTo>
                    <a:pt x="1243" y="1243"/>
                  </a:lnTo>
                  <a:lnTo>
                    <a:pt x="1244" y="1243"/>
                  </a:lnTo>
                  <a:lnTo>
                    <a:pt x="1246" y="1241"/>
                  </a:lnTo>
                  <a:lnTo>
                    <a:pt x="1250" y="1241"/>
                  </a:lnTo>
                  <a:lnTo>
                    <a:pt x="1250" y="1239"/>
                  </a:lnTo>
                  <a:lnTo>
                    <a:pt x="1251" y="1239"/>
                  </a:lnTo>
                  <a:lnTo>
                    <a:pt x="1251" y="1238"/>
                  </a:lnTo>
                  <a:lnTo>
                    <a:pt x="1251" y="1236"/>
                  </a:lnTo>
                  <a:lnTo>
                    <a:pt x="1255" y="1234"/>
                  </a:lnTo>
                  <a:lnTo>
                    <a:pt x="1255" y="1232"/>
                  </a:lnTo>
                  <a:lnTo>
                    <a:pt x="1251" y="1231"/>
                  </a:lnTo>
                  <a:lnTo>
                    <a:pt x="1250" y="1227"/>
                  </a:lnTo>
                  <a:lnTo>
                    <a:pt x="1248" y="1227"/>
                  </a:lnTo>
                  <a:lnTo>
                    <a:pt x="1244" y="1231"/>
                  </a:lnTo>
                  <a:lnTo>
                    <a:pt x="1243" y="1231"/>
                  </a:lnTo>
                  <a:lnTo>
                    <a:pt x="1243" y="1231"/>
                  </a:lnTo>
                  <a:lnTo>
                    <a:pt x="1241" y="1232"/>
                  </a:lnTo>
                  <a:lnTo>
                    <a:pt x="1241" y="1236"/>
                  </a:lnTo>
                  <a:lnTo>
                    <a:pt x="1239" y="1238"/>
                  </a:lnTo>
                  <a:lnTo>
                    <a:pt x="1239" y="1236"/>
                  </a:lnTo>
                  <a:lnTo>
                    <a:pt x="1241" y="1232"/>
                  </a:lnTo>
                  <a:lnTo>
                    <a:pt x="1239" y="1231"/>
                  </a:lnTo>
                  <a:lnTo>
                    <a:pt x="1241" y="1231"/>
                  </a:lnTo>
                  <a:lnTo>
                    <a:pt x="1241" y="1227"/>
                  </a:lnTo>
                  <a:lnTo>
                    <a:pt x="1241" y="1227"/>
                  </a:lnTo>
                  <a:lnTo>
                    <a:pt x="1237" y="1231"/>
                  </a:lnTo>
                  <a:lnTo>
                    <a:pt x="1237" y="1231"/>
                  </a:lnTo>
                  <a:lnTo>
                    <a:pt x="1236" y="1232"/>
                  </a:lnTo>
                  <a:lnTo>
                    <a:pt x="1234" y="1231"/>
                  </a:lnTo>
                  <a:lnTo>
                    <a:pt x="1232" y="1232"/>
                  </a:lnTo>
                  <a:lnTo>
                    <a:pt x="1232" y="1232"/>
                  </a:lnTo>
                  <a:lnTo>
                    <a:pt x="1232" y="1231"/>
                  </a:lnTo>
                  <a:lnTo>
                    <a:pt x="1229" y="1232"/>
                  </a:lnTo>
                  <a:lnTo>
                    <a:pt x="1229" y="1236"/>
                  </a:lnTo>
                  <a:lnTo>
                    <a:pt x="1227" y="1238"/>
                  </a:lnTo>
                  <a:lnTo>
                    <a:pt x="1229" y="1236"/>
                  </a:lnTo>
                  <a:lnTo>
                    <a:pt x="1229" y="1232"/>
                  </a:lnTo>
                  <a:lnTo>
                    <a:pt x="1229" y="1231"/>
                  </a:lnTo>
                  <a:lnTo>
                    <a:pt x="1229" y="1231"/>
                  </a:lnTo>
                  <a:lnTo>
                    <a:pt x="1229" y="1231"/>
                  </a:lnTo>
                  <a:lnTo>
                    <a:pt x="1227" y="1231"/>
                  </a:lnTo>
                  <a:lnTo>
                    <a:pt x="1224" y="1232"/>
                  </a:lnTo>
                  <a:lnTo>
                    <a:pt x="1224" y="1232"/>
                  </a:lnTo>
                  <a:lnTo>
                    <a:pt x="1224" y="1231"/>
                  </a:lnTo>
                  <a:lnTo>
                    <a:pt x="1227" y="1231"/>
                  </a:lnTo>
                  <a:lnTo>
                    <a:pt x="1224" y="1227"/>
                  </a:lnTo>
                  <a:lnTo>
                    <a:pt x="1224" y="1231"/>
                  </a:lnTo>
                  <a:lnTo>
                    <a:pt x="1220" y="1231"/>
                  </a:lnTo>
                  <a:lnTo>
                    <a:pt x="1220" y="1231"/>
                  </a:lnTo>
                  <a:lnTo>
                    <a:pt x="1218" y="1227"/>
                  </a:lnTo>
                  <a:lnTo>
                    <a:pt x="1218" y="1227"/>
                  </a:lnTo>
                  <a:lnTo>
                    <a:pt x="1215" y="1231"/>
                  </a:lnTo>
                  <a:lnTo>
                    <a:pt x="1213" y="1231"/>
                  </a:lnTo>
                  <a:lnTo>
                    <a:pt x="1213" y="1231"/>
                  </a:lnTo>
                  <a:lnTo>
                    <a:pt x="1217" y="1227"/>
                  </a:lnTo>
                  <a:lnTo>
                    <a:pt x="1218" y="1226"/>
                  </a:lnTo>
                  <a:lnTo>
                    <a:pt x="1218" y="1222"/>
                  </a:lnTo>
                  <a:lnTo>
                    <a:pt x="1218" y="1222"/>
                  </a:lnTo>
                  <a:lnTo>
                    <a:pt x="1217" y="1222"/>
                  </a:lnTo>
                  <a:lnTo>
                    <a:pt x="1213" y="1226"/>
                  </a:lnTo>
                  <a:lnTo>
                    <a:pt x="1215" y="1222"/>
                  </a:lnTo>
                  <a:lnTo>
                    <a:pt x="1218" y="1220"/>
                  </a:lnTo>
                  <a:lnTo>
                    <a:pt x="1220" y="1220"/>
                  </a:lnTo>
                  <a:lnTo>
                    <a:pt x="1220" y="1220"/>
                  </a:lnTo>
                  <a:lnTo>
                    <a:pt x="1224" y="1219"/>
                  </a:lnTo>
                  <a:lnTo>
                    <a:pt x="1227" y="1217"/>
                  </a:lnTo>
                  <a:lnTo>
                    <a:pt x="1227" y="1215"/>
                  </a:lnTo>
                  <a:lnTo>
                    <a:pt x="1224" y="1217"/>
                  </a:lnTo>
                  <a:lnTo>
                    <a:pt x="1220" y="1217"/>
                  </a:lnTo>
                  <a:lnTo>
                    <a:pt x="1220" y="1217"/>
                  </a:lnTo>
                  <a:lnTo>
                    <a:pt x="1218" y="1215"/>
                  </a:lnTo>
                  <a:lnTo>
                    <a:pt x="1217" y="1215"/>
                  </a:lnTo>
                  <a:lnTo>
                    <a:pt x="1215" y="1217"/>
                  </a:lnTo>
                  <a:lnTo>
                    <a:pt x="1217" y="1213"/>
                  </a:lnTo>
                  <a:lnTo>
                    <a:pt x="1218" y="1212"/>
                  </a:lnTo>
                  <a:lnTo>
                    <a:pt x="1217" y="1212"/>
                  </a:lnTo>
                  <a:lnTo>
                    <a:pt x="1215" y="1212"/>
                  </a:lnTo>
                  <a:lnTo>
                    <a:pt x="1213" y="1213"/>
                  </a:lnTo>
                  <a:lnTo>
                    <a:pt x="1211" y="1215"/>
                  </a:lnTo>
                  <a:lnTo>
                    <a:pt x="1210" y="1219"/>
                  </a:lnTo>
                  <a:lnTo>
                    <a:pt x="1210" y="1219"/>
                  </a:lnTo>
                  <a:lnTo>
                    <a:pt x="1210" y="1220"/>
                  </a:lnTo>
                  <a:lnTo>
                    <a:pt x="1204" y="1222"/>
                  </a:lnTo>
                  <a:lnTo>
                    <a:pt x="1204" y="1226"/>
                  </a:lnTo>
                  <a:lnTo>
                    <a:pt x="1204" y="1222"/>
                  </a:lnTo>
                  <a:lnTo>
                    <a:pt x="1204" y="1220"/>
                  </a:lnTo>
                  <a:lnTo>
                    <a:pt x="1204" y="1217"/>
                  </a:lnTo>
                  <a:lnTo>
                    <a:pt x="1204" y="1215"/>
                  </a:lnTo>
                  <a:lnTo>
                    <a:pt x="1206" y="1212"/>
                  </a:lnTo>
                  <a:lnTo>
                    <a:pt x="1210" y="1210"/>
                  </a:lnTo>
                  <a:lnTo>
                    <a:pt x="1210" y="1208"/>
                  </a:lnTo>
                  <a:lnTo>
                    <a:pt x="1210" y="1206"/>
                  </a:lnTo>
                  <a:lnTo>
                    <a:pt x="1211" y="1206"/>
                  </a:lnTo>
                  <a:lnTo>
                    <a:pt x="1213" y="1203"/>
                  </a:lnTo>
                  <a:lnTo>
                    <a:pt x="1215" y="1203"/>
                  </a:lnTo>
                  <a:lnTo>
                    <a:pt x="1217" y="1199"/>
                  </a:lnTo>
                  <a:lnTo>
                    <a:pt x="1218" y="1199"/>
                  </a:lnTo>
                  <a:lnTo>
                    <a:pt x="1218" y="1199"/>
                  </a:lnTo>
                  <a:lnTo>
                    <a:pt x="1218" y="1196"/>
                  </a:lnTo>
                  <a:lnTo>
                    <a:pt x="1220" y="1196"/>
                  </a:lnTo>
                  <a:lnTo>
                    <a:pt x="1220" y="1194"/>
                  </a:lnTo>
                  <a:lnTo>
                    <a:pt x="1220" y="1196"/>
                  </a:lnTo>
                  <a:lnTo>
                    <a:pt x="1220" y="1196"/>
                  </a:lnTo>
                  <a:lnTo>
                    <a:pt x="1220" y="1199"/>
                  </a:lnTo>
                  <a:lnTo>
                    <a:pt x="1224" y="1196"/>
                  </a:lnTo>
                  <a:lnTo>
                    <a:pt x="1227" y="1191"/>
                  </a:lnTo>
                  <a:lnTo>
                    <a:pt x="1227" y="1191"/>
                  </a:lnTo>
                  <a:lnTo>
                    <a:pt x="1227" y="1189"/>
                  </a:lnTo>
                  <a:lnTo>
                    <a:pt x="1224" y="1189"/>
                  </a:lnTo>
                  <a:lnTo>
                    <a:pt x="1224" y="1189"/>
                  </a:lnTo>
                  <a:lnTo>
                    <a:pt x="1224" y="1187"/>
                  </a:lnTo>
                  <a:lnTo>
                    <a:pt x="1220" y="1186"/>
                  </a:lnTo>
                  <a:lnTo>
                    <a:pt x="1224" y="1184"/>
                  </a:lnTo>
                  <a:lnTo>
                    <a:pt x="1224" y="1184"/>
                  </a:lnTo>
                  <a:lnTo>
                    <a:pt x="1227" y="1184"/>
                  </a:lnTo>
                  <a:lnTo>
                    <a:pt x="1229" y="1186"/>
                  </a:lnTo>
                  <a:lnTo>
                    <a:pt x="1229" y="1186"/>
                  </a:lnTo>
                  <a:lnTo>
                    <a:pt x="1232" y="1184"/>
                  </a:lnTo>
                  <a:lnTo>
                    <a:pt x="1232" y="1180"/>
                  </a:lnTo>
                  <a:lnTo>
                    <a:pt x="1229" y="1180"/>
                  </a:lnTo>
                  <a:lnTo>
                    <a:pt x="1229" y="1180"/>
                  </a:lnTo>
                  <a:lnTo>
                    <a:pt x="1229" y="1180"/>
                  </a:lnTo>
                  <a:lnTo>
                    <a:pt x="1227" y="1180"/>
                  </a:lnTo>
                  <a:lnTo>
                    <a:pt x="1227" y="1180"/>
                  </a:lnTo>
                  <a:lnTo>
                    <a:pt x="1227" y="1180"/>
                  </a:lnTo>
                  <a:lnTo>
                    <a:pt x="1224" y="1180"/>
                  </a:lnTo>
                  <a:lnTo>
                    <a:pt x="1224" y="1180"/>
                  </a:lnTo>
                  <a:lnTo>
                    <a:pt x="1220" y="1180"/>
                  </a:lnTo>
                  <a:lnTo>
                    <a:pt x="1220" y="1182"/>
                  </a:lnTo>
                  <a:lnTo>
                    <a:pt x="1218" y="1184"/>
                  </a:lnTo>
                  <a:lnTo>
                    <a:pt x="1215" y="1184"/>
                  </a:lnTo>
                  <a:lnTo>
                    <a:pt x="1211" y="1186"/>
                  </a:lnTo>
                  <a:lnTo>
                    <a:pt x="1210" y="1189"/>
                  </a:lnTo>
                  <a:lnTo>
                    <a:pt x="1210" y="1191"/>
                  </a:lnTo>
                  <a:lnTo>
                    <a:pt x="1206" y="1191"/>
                  </a:lnTo>
                  <a:lnTo>
                    <a:pt x="1204" y="1191"/>
                  </a:lnTo>
                  <a:lnTo>
                    <a:pt x="1204" y="1191"/>
                  </a:lnTo>
                  <a:lnTo>
                    <a:pt x="1206" y="1191"/>
                  </a:lnTo>
                  <a:lnTo>
                    <a:pt x="1206" y="1194"/>
                  </a:lnTo>
                  <a:lnTo>
                    <a:pt x="1206" y="1194"/>
                  </a:lnTo>
                  <a:lnTo>
                    <a:pt x="1206" y="1194"/>
                  </a:lnTo>
                  <a:lnTo>
                    <a:pt x="1206" y="1194"/>
                  </a:lnTo>
                  <a:close/>
                  <a:moveTo>
                    <a:pt x="1097" y="1226"/>
                  </a:moveTo>
                  <a:lnTo>
                    <a:pt x="1100" y="1227"/>
                  </a:lnTo>
                  <a:lnTo>
                    <a:pt x="1105" y="1231"/>
                  </a:lnTo>
                  <a:lnTo>
                    <a:pt x="1109" y="1231"/>
                  </a:lnTo>
                  <a:lnTo>
                    <a:pt x="1114" y="1231"/>
                  </a:lnTo>
                  <a:lnTo>
                    <a:pt x="1116" y="1232"/>
                  </a:lnTo>
                  <a:lnTo>
                    <a:pt x="1119" y="1232"/>
                  </a:lnTo>
                  <a:lnTo>
                    <a:pt x="1121" y="1234"/>
                  </a:lnTo>
                  <a:lnTo>
                    <a:pt x="1124" y="1232"/>
                  </a:lnTo>
                  <a:lnTo>
                    <a:pt x="1124" y="1231"/>
                  </a:lnTo>
                  <a:lnTo>
                    <a:pt x="1124" y="1231"/>
                  </a:lnTo>
                  <a:lnTo>
                    <a:pt x="1123" y="1227"/>
                  </a:lnTo>
                  <a:lnTo>
                    <a:pt x="1121" y="1227"/>
                  </a:lnTo>
                  <a:lnTo>
                    <a:pt x="1119" y="1227"/>
                  </a:lnTo>
                  <a:lnTo>
                    <a:pt x="1116" y="1222"/>
                  </a:lnTo>
                  <a:lnTo>
                    <a:pt x="1112" y="1220"/>
                  </a:lnTo>
                  <a:lnTo>
                    <a:pt x="1111" y="1220"/>
                  </a:lnTo>
                  <a:lnTo>
                    <a:pt x="1107" y="1217"/>
                  </a:lnTo>
                  <a:lnTo>
                    <a:pt x="1105" y="1215"/>
                  </a:lnTo>
                  <a:lnTo>
                    <a:pt x="1100" y="1215"/>
                  </a:lnTo>
                  <a:lnTo>
                    <a:pt x="1091" y="1212"/>
                  </a:lnTo>
                  <a:lnTo>
                    <a:pt x="1088" y="1210"/>
                  </a:lnTo>
                  <a:lnTo>
                    <a:pt x="1085" y="1212"/>
                  </a:lnTo>
                  <a:lnTo>
                    <a:pt x="1086" y="1215"/>
                  </a:lnTo>
                  <a:lnTo>
                    <a:pt x="1090" y="1217"/>
                  </a:lnTo>
                  <a:lnTo>
                    <a:pt x="1093" y="1222"/>
                  </a:lnTo>
                  <a:lnTo>
                    <a:pt x="1097" y="1226"/>
                  </a:lnTo>
                  <a:lnTo>
                    <a:pt x="1097" y="1226"/>
                  </a:lnTo>
                  <a:lnTo>
                    <a:pt x="1097" y="1226"/>
                  </a:lnTo>
                  <a:lnTo>
                    <a:pt x="1097" y="1226"/>
                  </a:lnTo>
                  <a:lnTo>
                    <a:pt x="1097" y="1226"/>
                  </a:lnTo>
                  <a:close/>
                  <a:moveTo>
                    <a:pt x="1097" y="1304"/>
                  </a:moveTo>
                  <a:lnTo>
                    <a:pt x="1093" y="1302"/>
                  </a:lnTo>
                  <a:lnTo>
                    <a:pt x="1093" y="1299"/>
                  </a:lnTo>
                  <a:lnTo>
                    <a:pt x="1085" y="1297"/>
                  </a:lnTo>
                  <a:lnTo>
                    <a:pt x="1083" y="1297"/>
                  </a:lnTo>
                  <a:lnTo>
                    <a:pt x="1083" y="1293"/>
                  </a:lnTo>
                  <a:lnTo>
                    <a:pt x="1083" y="1292"/>
                  </a:lnTo>
                  <a:lnTo>
                    <a:pt x="1079" y="1292"/>
                  </a:lnTo>
                  <a:lnTo>
                    <a:pt x="1078" y="1290"/>
                  </a:lnTo>
                  <a:lnTo>
                    <a:pt x="1078" y="1290"/>
                  </a:lnTo>
                  <a:lnTo>
                    <a:pt x="1078" y="1286"/>
                  </a:lnTo>
                  <a:lnTo>
                    <a:pt x="1074" y="1286"/>
                  </a:lnTo>
                  <a:lnTo>
                    <a:pt x="1074" y="1286"/>
                  </a:lnTo>
                  <a:lnTo>
                    <a:pt x="1074" y="1286"/>
                  </a:lnTo>
                  <a:lnTo>
                    <a:pt x="1074" y="1281"/>
                  </a:lnTo>
                  <a:lnTo>
                    <a:pt x="1079" y="1278"/>
                  </a:lnTo>
                  <a:lnTo>
                    <a:pt x="1083" y="1281"/>
                  </a:lnTo>
                  <a:lnTo>
                    <a:pt x="1078" y="1281"/>
                  </a:lnTo>
                  <a:lnTo>
                    <a:pt x="1078" y="1283"/>
                  </a:lnTo>
                  <a:lnTo>
                    <a:pt x="1079" y="1286"/>
                  </a:lnTo>
                  <a:lnTo>
                    <a:pt x="1079" y="1290"/>
                  </a:lnTo>
                  <a:lnTo>
                    <a:pt x="1083" y="1290"/>
                  </a:lnTo>
                  <a:lnTo>
                    <a:pt x="1083" y="1290"/>
                  </a:lnTo>
                  <a:lnTo>
                    <a:pt x="1086" y="1290"/>
                  </a:lnTo>
                  <a:lnTo>
                    <a:pt x="1090" y="1292"/>
                  </a:lnTo>
                  <a:lnTo>
                    <a:pt x="1091" y="1292"/>
                  </a:lnTo>
                  <a:lnTo>
                    <a:pt x="1093" y="1293"/>
                  </a:lnTo>
                  <a:lnTo>
                    <a:pt x="1097" y="1293"/>
                  </a:lnTo>
                  <a:lnTo>
                    <a:pt x="1100" y="1292"/>
                  </a:lnTo>
                  <a:lnTo>
                    <a:pt x="1102" y="1292"/>
                  </a:lnTo>
                  <a:lnTo>
                    <a:pt x="1107" y="1292"/>
                  </a:lnTo>
                  <a:lnTo>
                    <a:pt x="1105" y="1293"/>
                  </a:lnTo>
                  <a:lnTo>
                    <a:pt x="1102" y="1293"/>
                  </a:lnTo>
                  <a:lnTo>
                    <a:pt x="1102" y="1297"/>
                  </a:lnTo>
                  <a:lnTo>
                    <a:pt x="1102" y="1300"/>
                  </a:lnTo>
                  <a:lnTo>
                    <a:pt x="1102" y="1304"/>
                  </a:lnTo>
                  <a:lnTo>
                    <a:pt x="1097" y="1304"/>
                  </a:lnTo>
                  <a:lnTo>
                    <a:pt x="1097" y="1304"/>
                  </a:lnTo>
                  <a:lnTo>
                    <a:pt x="1097" y="1304"/>
                  </a:lnTo>
                  <a:lnTo>
                    <a:pt x="1097" y="1304"/>
                  </a:lnTo>
                  <a:close/>
                  <a:moveTo>
                    <a:pt x="1123" y="1314"/>
                  </a:moveTo>
                  <a:lnTo>
                    <a:pt x="1123" y="1312"/>
                  </a:lnTo>
                  <a:lnTo>
                    <a:pt x="1116" y="1309"/>
                  </a:lnTo>
                  <a:lnTo>
                    <a:pt x="1116" y="1305"/>
                  </a:lnTo>
                  <a:lnTo>
                    <a:pt x="1114" y="1304"/>
                  </a:lnTo>
                  <a:lnTo>
                    <a:pt x="1116" y="1300"/>
                  </a:lnTo>
                  <a:lnTo>
                    <a:pt x="1121" y="1299"/>
                  </a:lnTo>
                  <a:lnTo>
                    <a:pt x="1124" y="1293"/>
                  </a:lnTo>
                  <a:lnTo>
                    <a:pt x="1124" y="1292"/>
                  </a:lnTo>
                  <a:lnTo>
                    <a:pt x="1128" y="1286"/>
                  </a:lnTo>
                  <a:lnTo>
                    <a:pt x="1131" y="1283"/>
                  </a:lnTo>
                  <a:lnTo>
                    <a:pt x="1133" y="1281"/>
                  </a:lnTo>
                  <a:lnTo>
                    <a:pt x="1135" y="1281"/>
                  </a:lnTo>
                  <a:lnTo>
                    <a:pt x="1135" y="1281"/>
                  </a:lnTo>
                  <a:lnTo>
                    <a:pt x="1135" y="1286"/>
                  </a:lnTo>
                  <a:lnTo>
                    <a:pt x="1137" y="1286"/>
                  </a:lnTo>
                  <a:lnTo>
                    <a:pt x="1137" y="1286"/>
                  </a:lnTo>
                  <a:lnTo>
                    <a:pt x="1133" y="1293"/>
                  </a:lnTo>
                  <a:lnTo>
                    <a:pt x="1131" y="1297"/>
                  </a:lnTo>
                  <a:lnTo>
                    <a:pt x="1135" y="1297"/>
                  </a:lnTo>
                  <a:lnTo>
                    <a:pt x="1137" y="1300"/>
                  </a:lnTo>
                  <a:lnTo>
                    <a:pt x="1135" y="1302"/>
                  </a:lnTo>
                  <a:lnTo>
                    <a:pt x="1135" y="1304"/>
                  </a:lnTo>
                  <a:lnTo>
                    <a:pt x="1138" y="1302"/>
                  </a:lnTo>
                  <a:lnTo>
                    <a:pt x="1138" y="1300"/>
                  </a:lnTo>
                  <a:lnTo>
                    <a:pt x="1140" y="1299"/>
                  </a:lnTo>
                  <a:lnTo>
                    <a:pt x="1144" y="1300"/>
                  </a:lnTo>
                  <a:lnTo>
                    <a:pt x="1144" y="1304"/>
                  </a:lnTo>
                  <a:lnTo>
                    <a:pt x="1145" y="1305"/>
                  </a:lnTo>
                  <a:lnTo>
                    <a:pt x="1142" y="1307"/>
                  </a:lnTo>
                  <a:lnTo>
                    <a:pt x="1140" y="1309"/>
                  </a:lnTo>
                  <a:lnTo>
                    <a:pt x="1135" y="1309"/>
                  </a:lnTo>
                  <a:lnTo>
                    <a:pt x="1130" y="1312"/>
                  </a:lnTo>
                  <a:lnTo>
                    <a:pt x="1128" y="1312"/>
                  </a:lnTo>
                  <a:lnTo>
                    <a:pt x="1124" y="1312"/>
                  </a:lnTo>
                  <a:lnTo>
                    <a:pt x="1124" y="1312"/>
                  </a:lnTo>
                  <a:lnTo>
                    <a:pt x="1124" y="1314"/>
                  </a:lnTo>
                  <a:lnTo>
                    <a:pt x="1123" y="1314"/>
                  </a:lnTo>
                  <a:lnTo>
                    <a:pt x="1123" y="1314"/>
                  </a:lnTo>
                  <a:lnTo>
                    <a:pt x="1123" y="1314"/>
                  </a:lnTo>
                  <a:lnTo>
                    <a:pt x="1123" y="1314"/>
                  </a:lnTo>
                  <a:close/>
                  <a:moveTo>
                    <a:pt x="859" y="1109"/>
                  </a:moveTo>
                  <a:lnTo>
                    <a:pt x="859" y="1112"/>
                  </a:lnTo>
                  <a:lnTo>
                    <a:pt x="860" y="1112"/>
                  </a:lnTo>
                  <a:lnTo>
                    <a:pt x="860" y="1112"/>
                  </a:lnTo>
                  <a:lnTo>
                    <a:pt x="860" y="1107"/>
                  </a:lnTo>
                  <a:lnTo>
                    <a:pt x="860" y="1109"/>
                  </a:lnTo>
                  <a:lnTo>
                    <a:pt x="859" y="1109"/>
                  </a:lnTo>
                  <a:lnTo>
                    <a:pt x="859" y="1109"/>
                  </a:lnTo>
                  <a:lnTo>
                    <a:pt x="859" y="1109"/>
                  </a:lnTo>
                  <a:lnTo>
                    <a:pt x="859" y="1109"/>
                  </a:lnTo>
                  <a:close/>
                  <a:moveTo>
                    <a:pt x="859" y="1146"/>
                  </a:moveTo>
                  <a:lnTo>
                    <a:pt x="860" y="1144"/>
                  </a:lnTo>
                  <a:lnTo>
                    <a:pt x="862" y="1144"/>
                  </a:lnTo>
                  <a:lnTo>
                    <a:pt x="864" y="1144"/>
                  </a:lnTo>
                  <a:lnTo>
                    <a:pt x="864" y="1144"/>
                  </a:lnTo>
                  <a:lnTo>
                    <a:pt x="860" y="1149"/>
                  </a:lnTo>
                  <a:lnTo>
                    <a:pt x="859" y="1146"/>
                  </a:lnTo>
                  <a:lnTo>
                    <a:pt x="859" y="1146"/>
                  </a:lnTo>
                  <a:lnTo>
                    <a:pt x="859" y="1146"/>
                  </a:lnTo>
                  <a:lnTo>
                    <a:pt x="859" y="1146"/>
                  </a:lnTo>
                  <a:close/>
                  <a:moveTo>
                    <a:pt x="827" y="1121"/>
                  </a:moveTo>
                  <a:lnTo>
                    <a:pt x="831" y="1116"/>
                  </a:lnTo>
                  <a:lnTo>
                    <a:pt x="833" y="1116"/>
                  </a:lnTo>
                  <a:lnTo>
                    <a:pt x="833" y="1112"/>
                  </a:lnTo>
                  <a:lnTo>
                    <a:pt x="834" y="1112"/>
                  </a:lnTo>
                  <a:lnTo>
                    <a:pt x="838" y="1112"/>
                  </a:lnTo>
                  <a:lnTo>
                    <a:pt x="840" y="1112"/>
                  </a:lnTo>
                  <a:lnTo>
                    <a:pt x="843" y="1112"/>
                  </a:lnTo>
                  <a:lnTo>
                    <a:pt x="846" y="1118"/>
                  </a:lnTo>
                  <a:lnTo>
                    <a:pt x="846" y="1121"/>
                  </a:lnTo>
                  <a:lnTo>
                    <a:pt x="846" y="1121"/>
                  </a:lnTo>
                  <a:lnTo>
                    <a:pt x="846" y="1125"/>
                  </a:lnTo>
                  <a:lnTo>
                    <a:pt x="840" y="1123"/>
                  </a:lnTo>
                  <a:lnTo>
                    <a:pt x="836" y="1121"/>
                  </a:lnTo>
                  <a:lnTo>
                    <a:pt x="833" y="1121"/>
                  </a:lnTo>
                  <a:lnTo>
                    <a:pt x="833" y="1123"/>
                  </a:lnTo>
                  <a:lnTo>
                    <a:pt x="833" y="1123"/>
                  </a:lnTo>
                  <a:lnTo>
                    <a:pt x="831" y="1121"/>
                  </a:lnTo>
                  <a:lnTo>
                    <a:pt x="831" y="1121"/>
                  </a:lnTo>
                  <a:lnTo>
                    <a:pt x="827" y="1121"/>
                  </a:lnTo>
                  <a:lnTo>
                    <a:pt x="827" y="1121"/>
                  </a:lnTo>
                  <a:lnTo>
                    <a:pt x="827" y="1121"/>
                  </a:lnTo>
                  <a:lnTo>
                    <a:pt x="827" y="1121"/>
                  </a:lnTo>
                  <a:lnTo>
                    <a:pt x="827" y="1121"/>
                  </a:lnTo>
                  <a:close/>
                  <a:moveTo>
                    <a:pt x="131" y="1133"/>
                  </a:moveTo>
                  <a:lnTo>
                    <a:pt x="134" y="1137"/>
                  </a:lnTo>
                  <a:lnTo>
                    <a:pt x="136" y="1140"/>
                  </a:lnTo>
                  <a:lnTo>
                    <a:pt x="136" y="1144"/>
                  </a:lnTo>
                  <a:lnTo>
                    <a:pt x="131" y="1139"/>
                  </a:lnTo>
                  <a:lnTo>
                    <a:pt x="131" y="1133"/>
                  </a:lnTo>
                  <a:lnTo>
                    <a:pt x="131" y="1133"/>
                  </a:lnTo>
                  <a:lnTo>
                    <a:pt x="131" y="1133"/>
                  </a:lnTo>
                  <a:lnTo>
                    <a:pt x="131" y="1133"/>
                  </a:lnTo>
                  <a:close/>
                  <a:moveTo>
                    <a:pt x="124" y="1125"/>
                  </a:moveTo>
                  <a:lnTo>
                    <a:pt x="124" y="1121"/>
                  </a:lnTo>
                  <a:lnTo>
                    <a:pt x="125" y="1121"/>
                  </a:lnTo>
                  <a:lnTo>
                    <a:pt x="124" y="1125"/>
                  </a:lnTo>
                  <a:lnTo>
                    <a:pt x="124" y="1125"/>
                  </a:lnTo>
                  <a:lnTo>
                    <a:pt x="124" y="1125"/>
                  </a:lnTo>
                  <a:lnTo>
                    <a:pt x="124" y="1125"/>
                  </a:lnTo>
                  <a:close/>
                  <a:moveTo>
                    <a:pt x="105" y="1109"/>
                  </a:moveTo>
                  <a:lnTo>
                    <a:pt x="112" y="1112"/>
                  </a:lnTo>
                  <a:lnTo>
                    <a:pt x="112" y="1109"/>
                  </a:lnTo>
                  <a:lnTo>
                    <a:pt x="105" y="1109"/>
                  </a:lnTo>
                  <a:lnTo>
                    <a:pt x="105" y="1109"/>
                  </a:lnTo>
                  <a:lnTo>
                    <a:pt x="105" y="1109"/>
                  </a:lnTo>
                  <a:lnTo>
                    <a:pt x="105" y="1109"/>
                  </a:lnTo>
                  <a:close/>
                  <a:moveTo>
                    <a:pt x="77" y="1097"/>
                  </a:moveTo>
                  <a:lnTo>
                    <a:pt x="77" y="1102"/>
                  </a:lnTo>
                  <a:lnTo>
                    <a:pt x="80" y="1102"/>
                  </a:lnTo>
                  <a:lnTo>
                    <a:pt x="82" y="1106"/>
                  </a:lnTo>
                  <a:lnTo>
                    <a:pt x="89" y="1107"/>
                  </a:lnTo>
                  <a:lnTo>
                    <a:pt x="85" y="1109"/>
                  </a:lnTo>
                  <a:lnTo>
                    <a:pt x="82" y="1109"/>
                  </a:lnTo>
                  <a:lnTo>
                    <a:pt x="80" y="1112"/>
                  </a:lnTo>
                  <a:lnTo>
                    <a:pt x="82" y="1112"/>
                  </a:lnTo>
                  <a:lnTo>
                    <a:pt x="80" y="1118"/>
                  </a:lnTo>
                  <a:lnTo>
                    <a:pt x="82" y="1118"/>
                  </a:lnTo>
                  <a:lnTo>
                    <a:pt x="85" y="1118"/>
                  </a:lnTo>
                  <a:lnTo>
                    <a:pt x="85" y="1121"/>
                  </a:lnTo>
                  <a:lnTo>
                    <a:pt x="89" y="1121"/>
                  </a:lnTo>
                  <a:lnTo>
                    <a:pt x="89" y="1123"/>
                  </a:lnTo>
                  <a:lnTo>
                    <a:pt x="92" y="1126"/>
                  </a:lnTo>
                  <a:lnTo>
                    <a:pt x="96" y="1125"/>
                  </a:lnTo>
                  <a:lnTo>
                    <a:pt x="91" y="1130"/>
                  </a:lnTo>
                  <a:lnTo>
                    <a:pt x="94" y="1133"/>
                  </a:lnTo>
                  <a:lnTo>
                    <a:pt x="96" y="1133"/>
                  </a:lnTo>
                  <a:lnTo>
                    <a:pt x="96" y="1130"/>
                  </a:lnTo>
                  <a:lnTo>
                    <a:pt x="101" y="1128"/>
                  </a:lnTo>
                  <a:lnTo>
                    <a:pt x="99" y="1133"/>
                  </a:lnTo>
                  <a:lnTo>
                    <a:pt x="98" y="1135"/>
                  </a:lnTo>
                  <a:lnTo>
                    <a:pt x="98" y="1139"/>
                  </a:lnTo>
                  <a:lnTo>
                    <a:pt x="99" y="1139"/>
                  </a:lnTo>
                  <a:lnTo>
                    <a:pt x="99" y="1140"/>
                  </a:lnTo>
                  <a:lnTo>
                    <a:pt x="105" y="1140"/>
                  </a:lnTo>
                  <a:lnTo>
                    <a:pt x="105" y="1144"/>
                  </a:lnTo>
                  <a:lnTo>
                    <a:pt x="108" y="1144"/>
                  </a:lnTo>
                  <a:lnTo>
                    <a:pt x="108" y="1149"/>
                  </a:lnTo>
                  <a:lnTo>
                    <a:pt x="108" y="1151"/>
                  </a:lnTo>
                  <a:lnTo>
                    <a:pt x="112" y="1154"/>
                  </a:lnTo>
                  <a:lnTo>
                    <a:pt x="113" y="1151"/>
                  </a:lnTo>
                  <a:lnTo>
                    <a:pt x="117" y="1152"/>
                  </a:lnTo>
                  <a:lnTo>
                    <a:pt x="118" y="1152"/>
                  </a:lnTo>
                  <a:lnTo>
                    <a:pt x="113" y="1158"/>
                  </a:lnTo>
                  <a:lnTo>
                    <a:pt x="120" y="1165"/>
                  </a:lnTo>
                  <a:lnTo>
                    <a:pt x="122" y="1166"/>
                  </a:lnTo>
                  <a:lnTo>
                    <a:pt x="124" y="1168"/>
                  </a:lnTo>
                  <a:lnTo>
                    <a:pt x="136" y="1173"/>
                  </a:lnTo>
                  <a:lnTo>
                    <a:pt x="136" y="1172"/>
                  </a:lnTo>
                  <a:lnTo>
                    <a:pt x="139" y="1172"/>
                  </a:lnTo>
                  <a:lnTo>
                    <a:pt x="136" y="1165"/>
                  </a:lnTo>
                  <a:lnTo>
                    <a:pt x="136" y="1159"/>
                  </a:lnTo>
                  <a:lnTo>
                    <a:pt x="136" y="1158"/>
                  </a:lnTo>
                  <a:lnTo>
                    <a:pt x="136" y="1151"/>
                  </a:lnTo>
                  <a:lnTo>
                    <a:pt x="134" y="1146"/>
                  </a:lnTo>
                  <a:lnTo>
                    <a:pt x="127" y="1140"/>
                  </a:lnTo>
                  <a:lnTo>
                    <a:pt x="125" y="1132"/>
                  </a:lnTo>
                  <a:lnTo>
                    <a:pt x="122" y="1125"/>
                  </a:lnTo>
                  <a:lnTo>
                    <a:pt x="122" y="1121"/>
                  </a:lnTo>
                  <a:lnTo>
                    <a:pt x="118" y="1118"/>
                  </a:lnTo>
                  <a:lnTo>
                    <a:pt x="117" y="1118"/>
                  </a:lnTo>
                  <a:lnTo>
                    <a:pt x="112" y="1112"/>
                  </a:lnTo>
                  <a:lnTo>
                    <a:pt x="108" y="1112"/>
                  </a:lnTo>
                  <a:lnTo>
                    <a:pt x="103" y="1112"/>
                  </a:lnTo>
                  <a:lnTo>
                    <a:pt x="101" y="1109"/>
                  </a:lnTo>
                  <a:lnTo>
                    <a:pt x="96" y="1107"/>
                  </a:lnTo>
                  <a:lnTo>
                    <a:pt x="92" y="1104"/>
                  </a:lnTo>
                  <a:lnTo>
                    <a:pt x="92" y="1100"/>
                  </a:lnTo>
                  <a:lnTo>
                    <a:pt x="89" y="1100"/>
                  </a:lnTo>
                  <a:lnTo>
                    <a:pt x="85" y="1097"/>
                  </a:lnTo>
                  <a:lnTo>
                    <a:pt x="82" y="1095"/>
                  </a:lnTo>
                  <a:lnTo>
                    <a:pt x="82" y="1097"/>
                  </a:lnTo>
                  <a:lnTo>
                    <a:pt x="77" y="1097"/>
                  </a:lnTo>
                  <a:lnTo>
                    <a:pt x="77" y="1097"/>
                  </a:lnTo>
                  <a:lnTo>
                    <a:pt x="77" y="1097"/>
                  </a:lnTo>
                  <a:lnTo>
                    <a:pt x="77" y="1097"/>
                  </a:lnTo>
                  <a:close/>
                  <a:moveTo>
                    <a:pt x="108" y="1104"/>
                  </a:moveTo>
                  <a:lnTo>
                    <a:pt x="112" y="1104"/>
                  </a:lnTo>
                  <a:lnTo>
                    <a:pt x="112" y="1102"/>
                  </a:lnTo>
                  <a:lnTo>
                    <a:pt x="113" y="1104"/>
                  </a:lnTo>
                  <a:lnTo>
                    <a:pt x="112" y="1107"/>
                  </a:lnTo>
                  <a:lnTo>
                    <a:pt x="108" y="1107"/>
                  </a:lnTo>
                  <a:lnTo>
                    <a:pt x="108" y="1104"/>
                  </a:lnTo>
                  <a:lnTo>
                    <a:pt x="108" y="1104"/>
                  </a:lnTo>
                  <a:lnTo>
                    <a:pt x="108" y="1104"/>
                  </a:lnTo>
                  <a:lnTo>
                    <a:pt x="108" y="1104"/>
                  </a:lnTo>
                  <a:close/>
                  <a:moveTo>
                    <a:pt x="105" y="1102"/>
                  </a:moveTo>
                  <a:lnTo>
                    <a:pt x="108" y="1099"/>
                  </a:lnTo>
                  <a:lnTo>
                    <a:pt x="108" y="1102"/>
                  </a:lnTo>
                  <a:lnTo>
                    <a:pt x="105" y="1102"/>
                  </a:lnTo>
                  <a:lnTo>
                    <a:pt x="105" y="1102"/>
                  </a:lnTo>
                  <a:lnTo>
                    <a:pt x="105" y="1102"/>
                  </a:lnTo>
                  <a:lnTo>
                    <a:pt x="105" y="1102"/>
                  </a:lnTo>
                  <a:close/>
                  <a:moveTo>
                    <a:pt x="85" y="1027"/>
                  </a:moveTo>
                  <a:lnTo>
                    <a:pt x="85" y="1031"/>
                  </a:lnTo>
                  <a:lnTo>
                    <a:pt x="89" y="1029"/>
                  </a:lnTo>
                  <a:lnTo>
                    <a:pt x="85" y="1027"/>
                  </a:lnTo>
                  <a:lnTo>
                    <a:pt x="85" y="1027"/>
                  </a:lnTo>
                  <a:lnTo>
                    <a:pt x="85" y="1027"/>
                  </a:lnTo>
                  <a:lnTo>
                    <a:pt x="85" y="1027"/>
                  </a:lnTo>
                  <a:close/>
                  <a:moveTo>
                    <a:pt x="94" y="1062"/>
                  </a:moveTo>
                  <a:lnTo>
                    <a:pt x="94" y="1059"/>
                  </a:lnTo>
                  <a:lnTo>
                    <a:pt x="96" y="1059"/>
                  </a:lnTo>
                  <a:lnTo>
                    <a:pt x="96" y="1059"/>
                  </a:lnTo>
                  <a:lnTo>
                    <a:pt x="96" y="1062"/>
                  </a:lnTo>
                  <a:lnTo>
                    <a:pt x="94" y="1062"/>
                  </a:lnTo>
                  <a:lnTo>
                    <a:pt x="94" y="1062"/>
                  </a:lnTo>
                  <a:lnTo>
                    <a:pt x="94" y="1062"/>
                  </a:lnTo>
                  <a:lnTo>
                    <a:pt x="94" y="1062"/>
                  </a:lnTo>
                  <a:close/>
                  <a:moveTo>
                    <a:pt x="92" y="1072"/>
                  </a:moveTo>
                  <a:lnTo>
                    <a:pt x="91" y="1074"/>
                  </a:lnTo>
                  <a:lnTo>
                    <a:pt x="91" y="1078"/>
                  </a:lnTo>
                  <a:lnTo>
                    <a:pt x="92" y="1079"/>
                  </a:lnTo>
                  <a:lnTo>
                    <a:pt x="94" y="1074"/>
                  </a:lnTo>
                  <a:lnTo>
                    <a:pt x="92" y="1072"/>
                  </a:lnTo>
                  <a:lnTo>
                    <a:pt x="92" y="1072"/>
                  </a:lnTo>
                  <a:lnTo>
                    <a:pt x="92" y="1072"/>
                  </a:lnTo>
                  <a:lnTo>
                    <a:pt x="92" y="1072"/>
                  </a:lnTo>
                  <a:close/>
                  <a:moveTo>
                    <a:pt x="96" y="1067"/>
                  </a:moveTo>
                  <a:lnTo>
                    <a:pt x="99" y="1064"/>
                  </a:lnTo>
                  <a:lnTo>
                    <a:pt x="98" y="1062"/>
                  </a:lnTo>
                  <a:lnTo>
                    <a:pt x="92" y="1064"/>
                  </a:lnTo>
                  <a:lnTo>
                    <a:pt x="92" y="1067"/>
                  </a:lnTo>
                  <a:lnTo>
                    <a:pt x="94" y="1067"/>
                  </a:lnTo>
                  <a:lnTo>
                    <a:pt x="94" y="1067"/>
                  </a:lnTo>
                  <a:lnTo>
                    <a:pt x="96" y="1067"/>
                  </a:lnTo>
                  <a:lnTo>
                    <a:pt x="96" y="1067"/>
                  </a:lnTo>
                  <a:lnTo>
                    <a:pt x="96" y="1067"/>
                  </a:lnTo>
                  <a:lnTo>
                    <a:pt x="96" y="1067"/>
                  </a:lnTo>
                  <a:close/>
                  <a:moveTo>
                    <a:pt x="99" y="1064"/>
                  </a:moveTo>
                  <a:lnTo>
                    <a:pt x="105" y="1059"/>
                  </a:lnTo>
                  <a:lnTo>
                    <a:pt x="105" y="1059"/>
                  </a:lnTo>
                  <a:lnTo>
                    <a:pt x="108" y="1057"/>
                  </a:lnTo>
                  <a:lnTo>
                    <a:pt x="113" y="1055"/>
                  </a:lnTo>
                  <a:lnTo>
                    <a:pt x="112" y="1057"/>
                  </a:lnTo>
                  <a:lnTo>
                    <a:pt x="108" y="1062"/>
                  </a:lnTo>
                  <a:lnTo>
                    <a:pt x="105" y="1062"/>
                  </a:lnTo>
                  <a:lnTo>
                    <a:pt x="101" y="1064"/>
                  </a:lnTo>
                  <a:lnTo>
                    <a:pt x="99" y="1064"/>
                  </a:lnTo>
                  <a:lnTo>
                    <a:pt x="99" y="1064"/>
                  </a:lnTo>
                  <a:lnTo>
                    <a:pt x="99" y="1064"/>
                  </a:lnTo>
                  <a:lnTo>
                    <a:pt x="99" y="1064"/>
                  </a:lnTo>
                  <a:close/>
                  <a:moveTo>
                    <a:pt x="98" y="1046"/>
                  </a:moveTo>
                  <a:lnTo>
                    <a:pt x="98" y="1043"/>
                  </a:lnTo>
                  <a:lnTo>
                    <a:pt x="99" y="1039"/>
                  </a:lnTo>
                  <a:lnTo>
                    <a:pt x="101" y="1043"/>
                  </a:lnTo>
                  <a:lnTo>
                    <a:pt x="98" y="1045"/>
                  </a:lnTo>
                  <a:lnTo>
                    <a:pt x="98" y="1045"/>
                  </a:lnTo>
                  <a:lnTo>
                    <a:pt x="98" y="1046"/>
                  </a:lnTo>
                  <a:lnTo>
                    <a:pt x="98" y="1046"/>
                  </a:lnTo>
                  <a:lnTo>
                    <a:pt x="98" y="1046"/>
                  </a:lnTo>
                  <a:lnTo>
                    <a:pt x="98" y="1046"/>
                  </a:lnTo>
                  <a:close/>
                  <a:moveTo>
                    <a:pt x="89" y="1045"/>
                  </a:moveTo>
                  <a:lnTo>
                    <a:pt x="94" y="1046"/>
                  </a:lnTo>
                  <a:lnTo>
                    <a:pt x="94" y="1045"/>
                  </a:lnTo>
                  <a:lnTo>
                    <a:pt x="94" y="1043"/>
                  </a:lnTo>
                  <a:lnTo>
                    <a:pt x="89" y="1045"/>
                  </a:lnTo>
                  <a:lnTo>
                    <a:pt x="89" y="1045"/>
                  </a:lnTo>
                  <a:lnTo>
                    <a:pt x="89" y="1045"/>
                  </a:lnTo>
                  <a:lnTo>
                    <a:pt x="89" y="1045"/>
                  </a:lnTo>
                  <a:close/>
                  <a:moveTo>
                    <a:pt x="85" y="1034"/>
                  </a:moveTo>
                  <a:lnTo>
                    <a:pt x="85" y="1041"/>
                  </a:lnTo>
                  <a:lnTo>
                    <a:pt x="85" y="1043"/>
                  </a:lnTo>
                  <a:lnTo>
                    <a:pt x="85" y="1045"/>
                  </a:lnTo>
                  <a:lnTo>
                    <a:pt x="89" y="1041"/>
                  </a:lnTo>
                  <a:lnTo>
                    <a:pt x="89" y="1039"/>
                  </a:lnTo>
                  <a:lnTo>
                    <a:pt x="85" y="1034"/>
                  </a:lnTo>
                  <a:lnTo>
                    <a:pt x="85" y="1034"/>
                  </a:lnTo>
                  <a:lnTo>
                    <a:pt x="85" y="1034"/>
                  </a:lnTo>
                  <a:lnTo>
                    <a:pt x="85" y="1034"/>
                  </a:lnTo>
                  <a:close/>
                  <a:moveTo>
                    <a:pt x="89" y="1031"/>
                  </a:moveTo>
                  <a:lnTo>
                    <a:pt x="89" y="1034"/>
                  </a:lnTo>
                  <a:lnTo>
                    <a:pt x="89" y="1034"/>
                  </a:lnTo>
                  <a:lnTo>
                    <a:pt x="89" y="1036"/>
                  </a:lnTo>
                  <a:lnTo>
                    <a:pt x="92" y="1039"/>
                  </a:lnTo>
                  <a:lnTo>
                    <a:pt x="96" y="1034"/>
                  </a:lnTo>
                  <a:lnTo>
                    <a:pt x="94" y="1039"/>
                  </a:lnTo>
                  <a:lnTo>
                    <a:pt x="94" y="1041"/>
                  </a:lnTo>
                  <a:lnTo>
                    <a:pt x="98" y="1039"/>
                  </a:lnTo>
                  <a:lnTo>
                    <a:pt x="98" y="1031"/>
                  </a:lnTo>
                  <a:lnTo>
                    <a:pt x="94" y="1029"/>
                  </a:lnTo>
                  <a:lnTo>
                    <a:pt x="91" y="1029"/>
                  </a:lnTo>
                  <a:lnTo>
                    <a:pt x="89" y="1031"/>
                  </a:lnTo>
                  <a:lnTo>
                    <a:pt x="89" y="1031"/>
                  </a:lnTo>
                  <a:lnTo>
                    <a:pt x="89" y="1031"/>
                  </a:lnTo>
                  <a:lnTo>
                    <a:pt x="89" y="1031"/>
                  </a:lnTo>
                  <a:close/>
                  <a:moveTo>
                    <a:pt x="89" y="1026"/>
                  </a:moveTo>
                  <a:lnTo>
                    <a:pt x="89" y="1027"/>
                  </a:lnTo>
                  <a:lnTo>
                    <a:pt x="91" y="1026"/>
                  </a:lnTo>
                  <a:lnTo>
                    <a:pt x="89" y="1024"/>
                  </a:lnTo>
                  <a:lnTo>
                    <a:pt x="89" y="1026"/>
                  </a:lnTo>
                  <a:lnTo>
                    <a:pt x="89" y="1026"/>
                  </a:lnTo>
                  <a:lnTo>
                    <a:pt x="89" y="1026"/>
                  </a:lnTo>
                  <a:lnTo>
                    <a:pt x="89" y="1026"/>
                  </a:lnTo>
                  <a:close/>
                  <a:moveTo>
                    <a:pt x="94" y="1019"/>
                  </a:moveTo>
                  <a:lnTo>
                    <a:pt x="94" y="1015"/>
                  </a:lnTo>
                  <a:lnTo>
                    <a:pt x="99" y="1013"/>
                  </a:lnTo>
                  <a:lnTo>
                    <a:pt x="101" y="1013"/>
                  </a:lnTo>
                  <a:lnTo>
                    <a:pt x="99" y="1015"/>
                  </a:lnTo>
                  <a:lnTo>
                    <a:pt x="96" y="1017"/>
                  </a:lnTo>
                  <a:lnTo>
                    <a:pt x="94" y="1019"/>
                  </a:lnTo>
                  <a:lnTo>
                    <a:pt x="94" y="1019"/>
                  </a:lnTo>
                  <a:lnTo>
                    <a:pt x="94" y="1019"/>
                  </a:lnTo>
                  <a:lnTo>
                    <a:pt x="94" y="1019"/>
                  </a:lnTo>
                  <a:close/>
                  <a:moveTo>
                    <a:pt x="73" y="1008"/>
                  </a:moveTo>
                  <a:lnTo>
                    <a:pt x="80" y="1017"/>
                  </a:lnTo>
                  <a:lnTo>
                    <a:pt x="82" y="1022"/>
                  </a:lnTo>
                  <a:lnTo>
                    <a:pt x="82" y="1026"/>
                  </a:lnTo>
                  <a:lnTo>
                    <a:pt x="77" y="1024"/>
                  </a:lnTo>
                  <a:lnTo>
                    <a:pt x="77" y="1020"/>
                  </a:lnTo>
                  <a:lnTo>
                    <a:pt x="73" y="1015"/>
                  </a:lnTo>
                  <a:lnTo>
                    <a:pt x="72" y="1012"/>
                  </a:lnTo>
                  <a:lnTo>
                    <a:pt x="72" y="1012"/>
                  </a:lnTo>
                  <a:lnTo>
                    <a:pt x="73" y="1008"/>
                  </a:lnTo>
                  <a:lnTo>
                    <a:pt x="73" y="1008"/>
                  </a:lnTo>
                  <a:lnTo>
                    <a:pt x="73" y="1008"/>
                  </a:lnTo>
                  <a:lnTo>
                    <a:pt x="73" y="1008"/>
                  </a:lnTo>
                  <a:close/>
                  <a:moveTo>
                    <a:pt x="80" y="1006"/>
                  </a:moveTo>
                  <a:lnTo>
                    <a:pt x="80" y="1012"/>
                  </a:lnTo>
                  <a:lnTo>
                    <a:pt x="82" y="1013"/>
                  </a:lnTo>
                  <a:lnTo>
                    <a:pt x="82" y="1019"/>
                  </a:lnTo>
                  <a:lnTo>
                    <a:pt x="85" y="1022"/>
                  </a:lnTo>
                  <a:lnTo>
                    <a:pt x="89" y="1017"/>
                  </a:lnTo>
                  <a:lnTo>
                    <a:pt x="85" y="1008"/>
                  </a:lnTo>
                  <a:lnTo>
                    <a:pt x="82" y="1006"/>
                  </a:lnTo>
                  <a:lnTo>
                    <a:pt x="82" y="1003"/>
                  </a:lnTo>
                  <a:lnTo>
                    <a:pt x="80" y="1006"/>
                  </a:lnTo>
                  <a:lnTo>
                    <a:pt x="80" y="1006"/>
                  </a:lnTo>
                  <a:lnTo>
                    <a:pt x="80" y="1006"/>
                  </a:lnTo>
                  <a:lnTo>
                    <a:pt x="80" y="1006"/>
                  </a:lnTo>
                  <a:close/>
                  <a:moveTo>
                    <a:pt x="73" y="999"/>
                  </a:moveTo>
                  <a:lnTo>
                    <a:pt x="77" y="999"/>
                  </a:lnTo>
                  <a:lnTo>
                    <a:pt x="77" y="1003"/>
                  </a:lnTo>
                  <a:lnTo>
                    <a:pt x="82" y="1003"/>
                  </a:lnTo>
                  <a:lnTo>
                    <a:pt x="82" y="999"/>
                  </a:lnTo>
                  <a:lnTo>
                    <a:pt x="80" y="996"/>
                  </a:lnTo>
                  <a:lnTo>
                    <a:pt x="77" y="999"/>
                  </a:lnTo>
                  <a:lnTo>
                    <a:pt x="73" y="999"/>
                  </a:lnTo>
                  <a:lnTo>
                    <a:pt x="73" y="999"/>
                  </a:lnTo>
                  <a:lnTo>
                    <a:pt x="73" y="999"/>
                  </a:lnTo>
                  <a:lnTo>
                    <a:pt x="73" y="999"/>
                  </a:lnTo>
                  <a:close/>
                  <a:moveTo>
                    <a:pt x="37" y="1003"/>
                  </a:moveTo>
                  <a:lnTo>
                    <a:pt x="37" y="998"/>
                  </a:lnTo>
                  <a:lnTo>
                    <a:pt x="42" y="987"/>
                  </a:lnTo>
                  <a:lnTo>
                    <a:pt x="47" y="989"/>
                  </a:lnTo>
                  <a:lnTo>
                    <a:pt x="47" y="994"/>
                  </a:lnTo>
                  <a:lnTo>
                    <a:pt x="49" y="993"/>
                  </a:lnTo>
                  <a:lnTo>
                    <a:pt x="51" y="991"/>
                  </a:lnTo>
                  <a:lnTo>
                    <a:pt x="54" y="993"/>
                  </a:lnTo>
                  <a:lnTo>
                    <a:pt x="54" y="994"/>
                  </a:lnTo>
                  <a:lnTo>
                    <a:pt x="54" y="999"/>
                  </a:lnTo>
                  <a:lnTo>
                    <a:pt x="51" y="999"/>
                  </a:lnTo>
                  <a:lnTo>
                    <a:pt x="44" y="1003"/>
                  </a:lnTo>
                  <a:lnTo>
                    <a:pt x="46" y="1006"/>
                  </a:lnTo>
                  <a:lnTo>
                    <a:pt x="46" y="1006"/>
                  </a:lnTo>
                  <a:lnTo>
                    <a:pt x="51" y="1006"/>
                  </a:lnTo>
                  <a:lnTo>
                    <a:pt x="52" y="999"/>
                  </a:lnTo>
                  <a:lnTo>
                    <a:pt x="58" y="996"/>
                  </a:lnTo>
                  <a:lnTo>
                    <a:pt x="63" y="994"/>
                  </a:lnTo>
                  <a:lnTo>
                    <a:pt x="63" y="994"/>
                  </a:lnTo>
                  <a:lnTo>
                    <a:pt x="58" y="999"/>
                  </a:lnTo>
                  <a:lnTo>
                    <a:pt x="54" y="1006"/>
                  </a:lnTo>
                  <a:lnTo>
                    <a:pt x="52" y="1008"/>
                  </a:lnTo>
                  <a:lnTo>
                    <a:pt x="52" y="1015"/>
                  </a:lnTo>
                  <a:lnTo>
                    <a:pt x="49" y="1019"/>
                  </a:lnTo>
                  <a:lnTo>
                    <a:pt x="46" y="1019"/>
                  </a:lnTo>
                  <a:lnTo>
                    <a:pt x="44" y="1022"/>
                  </a:lnTo>
                  <a:lnTo>
                    <a:pt x="46" y="1022"/>
                  </a:lnTo>
                  <a:lnTo>
                    <a:pt x="49" y="1020"/>
                  </a:lnTo>
                  <a:lnTo>
                    <a:pt x="52" y="1020"/>
                  </a:lnTo>
                  <a:lnTo>
                    <a:pt x="52" y="1026"/>
                  </a:lnTo>
                  <a:lnTo>
                    <a:pt x="47" y="1026"/>
                  </a:lnTo>
                  <a:lnTo>
                    <a:pt x="46" y="1029"/>
                  </a:lnTo>
                  <a:lnTo>
                    <a:pt x="47" y="1031"/>
                  </a:lnTo>
                  <a:lnTo>
                    <a:pt x="46" y="1036"/>
                  </a:lnTo>
                  <a:lnTo>
                    <a:pt x="47" y="1043"/>
                  </a:lnTo>
                  <a:lnTo>
                    <a:pt x="49" y="1046"/>
                  </a:lnTo>
                  <a:lnTo>
                    <a:pt x="52" y="1046"/>
                  </a:lnTo>
                  <a:lnTo>
                    <a:pt x="52" y="1050"/>
                  </a:lnTo>
                  <a:lnTo>
                    <a:pt x="51" y="1052"/>
                  </a:lnTo>
                  <a:lnTo>
                    <a:pt x="47" y="1052"/>
                  </a:lnTo>
                  <a:lnTo>
                    <a:pt x="40" y="1039"/>
                  </a:lnTo>
                  <a:lnTo>
                    <a:pt x="40" y="1034"/>
                  </a:lnTo>
                  <a:lnTo>
                    <a:pt x="42" y="1034"/>
                  </a:lnTo>
                  <a:lnTo>
                    <a:pt x="37" y="1031"/>
                  </a:lnTo>
                  <a:lnTo>
                    <a:pt x="37" y="1029"/>
                  </a:lnTo>
                  <a:lnTo>
                    <a:pt x="39" y="1027"/>
                  </a:lnTo>
                  <a:lnTo>
                    <a:pt x="42" y="1027"/>
                  </a:lnTo>
                  <a:lnTo>
                    <a:pt x="39" y="1024"/>
                  </a:lnTo>
                  <a:lnTo>
                    <a:pt x="37" y="1024"/>
                  </a:lnTo>
                  <a:lnTo>
                    <a:pt x="39" y="1019"/>
                  </a:lnTo>
                  <a:lnTo>
                    <a:pt x="35" y="1017"/>
                  </a:lnTo>
                  <a:lnTo>
                    <a:pt x="37" y="1013"/>
                  </a:lnTo>
                  <a:lnTo>
                    <a:pt x="39" y="1015"/>
                  </a:lnTo>
                  <a:lnTo>
                    <a:pt x="40" y="1015"/>
                  </a:lnTo>
                  <a:lnTo>
                    <a:pt x="40" y="1012"/>
                  </a:lnTo>
                  <a:lnTo>
                    <a:pt x="39" y="1012"/>
                  </a:lnTo>
                  <a:lnTo>
                    <a:pt x="35" y="1008"/>
                  </a:lnTo>
                  <a:lnTo>
                    <a:pt x="35" y="1006"/>
                  </a:lnTo>
                  <a:lnTo>
                    <a:pt x="37" y="1003"/>
                  </a:lnTo>
                  <a:lnTo>
                    <a:pt x="37" y="1003"/>
                  </a:lnTo>
                  <a:lnTo>
                    <a:pt x="37" y="1003"/>
                  </a:lnTo>
                  <a:lnTo>
                    <a:pt x="37" y="1003"/>
                  </a:lnTo>
                  <a:close/>
                  <a:moveTo>
                    <a:pt x="80" y="986"/>
                  </a:moveTo>
                  <a:lnTo>
                    <a:pt x="77" y="980"/>
                  </a:lnTo>
                  <a:lnTo>
                    <a:pt x="82" y="980"/>
                  </a:lnTo>
                  <a:lnTo>
                    <a:pt x="82" y="984"/>
                  </a:lnTo>
                  <a:lnTo>
                    <a:pt x="80" y="986"/>
                  </a:lnTo>
                  <a:lnTo>
                    <a:pt x="80" y="986"/>
                  </a:lnTo>
                  <a:lnTo>
                    <a:pt x="80" y="986"/>
                  </a:lnTo>
                  <a:lnTo>
                    <a:pt x="80" y="986"/>
                  </a:lnTo>
                  <a:close/>
                  <a:moveTo>
                    <a:pt x="426" y="462"/>
                  </a:moveTo>
                  <a:lnTo>
                    <a:pt x="428" y="466"/>
                  </a:lnTo>
                  <a:lnTo>
                    <a:pt x="429" y="464"/>
                  </a:lnTo>
                  <a:lnTo>
                    <a:pt x="429" y="462"/>
                  </a:lnTo>
                  <a:lnTo>
                    <a:pt x="431" y="462"/>
                  </a:lnTo>
                  <a:lnTo>
                    <a:pt x="428" y="460"/>
                  </a:lnTo>
                  <a:lnTo>
                    <a:pt x="426" y="462"/>
                  </a:lnTo>
                  <a:lnTo>
                    <a:pt x="426" y="462"/>
                  </a:lnTo>
                  <a:lnTo>
                    <a:pt x="426" y="462"/>
                  </a:lnTo>
                  <a:lnTo>
                    <a:pt x="426" y="462"/>
                  </a:lnTo>
                  <a:close/>
                  <a:moveTo>
                    <a:pt x="393" y="429"/>
                  </a:moveTo>
                  <a:lnTo>
                    <a:pt x="395" y="431"/>
                  </a:lnTo>
                  <a:lnTo>
                    <a:pt x="398" y="429"/>
                  </a:lnTo>
                  <a:lnTo>
                    <a:pt x="398" y="427"/>
                  </a:lnTo>
                  <a:lnTo>
                    <a:pt x="395" y="427"/>
                  </a:lnTo>
                  <a:lnTo>
                    <a:pt x="393" y="429"/>
                  </a:lnTo>
                  <a:lnTo>
                    <a:pt x="393" y="429"/>
                  </a:lnTo>
                  <a:lnTo>
                    <a:pt x="393" y="429"/>
                  </a:lnTo>
                  <a:lnTo>
                    <a:pt x="393" y="429"/>
                  </a:lnTo>
                  <a:close/>
                  <a:moveTo>
                    <a:pt x="273" y="441"/>
                  </a:moveTo>
                  <a:lnTo>
                    <a:pt x="275" y="441"/>
                  </a:lnTo>
                  <a:lnTo>
                    <a:pt x="277" y="440"/>
                  </a:lnTo>
                  <a:lnTo>
                    <a:pt x="275" y="438"/>
                  </a:lnTo>
                  <a:lnTo>
                    <a:pt x="275" y="438"/>
                  </a:lnTo>
                  <a:lnTo>
                    <a:pt x="273" y="441"/>
                  </a:lnTo>
                  <a:lnTo>
                    <a:pt x="273" y="441"/>
                  </a:lnTo>
                  <a:lnTo>
                    <a:pt x="273" y="441"/>
                  </a:lnTo>
                  <a:lnTo>
                    <a:pt x="273" y="441"/>
                  </a:lnTo>
                  <a:close/>
                  <a:moveTo>
                    <a:pt x="273" y="447"/>
                  </a:moveTo>
                  <a:lnTo>
                    <a:pt x="271" y="445"/>
                  </a:lnTo>
                  <a:lnTo>
                    <a:pt x="273" y="445"/>
                  </a:lnTo>
                  <a:lnTo>
                    <a:pt x="275" y="447"/>
                  </a:lnTo>
                  <a:lnTo>
                    <a:pt x="273" y="447"/>
                  </a:lnTo>
                  <a:lnTo>
                    <a:pt x="273" y="447"/>
                  </a:lnTo>
                  <a:lnTo>
                    <a:pt x="273" y="447"/>
                  </a:lnTo>
                  <a:lnTo>
                    <a:pt x="273" y="447"/>
                  </a:lnTo>
                  <a:close/>
                  <a:moveTo>
                    <a:pt x="266" y="457"/>
                  </a:moveTo>
                  <a:lnTo>
                    <a:pt x="266" y="462"/>
                  </a:lnTo>
                  <a:lnTo>
                    <a:pt x="266" y="466"/>
                  </a:lnTo>
                  <a:lnTo>
                    <a:pt x="266" y="467"/>
                  </a:lnTo>
                  <a:lnTo>
                    <a:pt x="268" y="469"/>
                  </a:lnTo>
                  <a:lnTo>
                    <a:pt x="271" y="466"/>
                  </a:lnTo>
                  <a:lnTo>
                    <a:pt x="273" y="466"/>
                  </a:lnTo>
                  <a:lnTo>
                    <a:pt x="285" y="455"/>
                  </a:lnTo>
                  <a:lnTo>
                    <a:pt x="290" y="455"/>
                  </a:lnTo>
                  <a:lnTo>
                    <a:pt x="294" y="450"/>
                  </a:lnTo>
                  <a:lnTo>
                    <a:pt x="290" y="450"/>
                  </a:lnTo>
                  <a:lnTo>
                    <a:pt x="289" y="450"/>
                  </a:lnTo>
                  <a:lnTo>
                    <a:pt x="289" y="443"/>
                  </a:lnTo>
                  <a:lnTo>
                    <a:pt x="285" y="445"/>
                  </a:lnTo>
                  <a:lnTo>
                    <a:pt x="284" y="447"/>
                  </a:lnTo>
                  <a:lnTo>
                    <a:pt x="280" y="450"/>
                  </a:lnTo>
                  <a:lnTo>
                    <a:pt x="282" y="452"/>
                  </a:lnTo>
                  <a:lnTo>
                    <a:pt x="278" y="450"/>
                  </a:lnTo>
                  <a:lnTo>
                    <a:pt x="277" y="452"/>
                  </a:lnTo>
                  <a:lnTo>
                    <a:pt x="275" y="455"/>
                  </a:lnTo>
                  <a:lnTo>
                    <a:pt x="273" y="452"/>
                  </a:lnTo>
                  <a:lnTo>
                    <a:pt x="275" y="450"/>
                  </a:lnTo>
                  <a:lnTo>
                    <a:pt x="273" y="450"/>
                  </a:lnTo>
                  <a:lnTo>
                    <a:pt x="271" y="450"/>
                  </a:lnTo>
                  <a:lnTo>
                    <a:pt x="270" y="450"/>
                  </a:lnTo>
                  <a:lnTo>
                    <a:pt x="268" y="455"/>
                  </a:lnTo>
                  <a:lnTo>
                    <a:pt x="266" y="457"/>
                  </a:lnTo>
                  <a:lnTo>
                    <a:pt x="266" y="457"/>
                  </a:lnTo>
                  <a:lnTo>
                    <a:pt x="266" y="457"/>
                  </a:lnTo>
                  <a:lnTo>
                    <a:pt x="266" y="457"/>
                  </a:lnTo>
                  <a:close/>
                  <a:moveTo>
                    <a:pt x="254" y="467"/>
                  </a:moveTo>
                  <a:lnTo>
                    <a:pt x="254" y="464"/>
                  </a:lnTo>
                  <a:lnTo>
                    <a:pt x="254" y="457"/>
                  </a:lnTo>
                  <a:lnTo>
                    <a:pt x="252" y="460"/>
                  </a:lnTo>
                  <a:lnTo>
                    <a:pt x="250" y="464"/>
                  </a:lnTo>
                  <a:lnTo>
                    <a:pt x="250" y="464"/>
                  </a:lnTo>
                  <a:lnTo>
                    <a:pt x="250" y="466"/>
                  </a:lnTo>
                  <a:lnTo>
                    <a:pt x="250" y="466"/>
                  </a:lnTo>
                  <a:lnTo>
                    <a:pt x="254" y="467"/>
                  </a:lnTo>
                  <a:lnTo>
                    <a:pt x="254" y="467"/>
                  </a:lnTo>
                  <a:lnTo>
                    <a:pt x="254" y="467"/>
                  </a:lnTo>
                  <a:lnTo>
                    <a:pt x="254" y="467"/>
                  </a:lnTo>
                  <a:close/>
                  <a:moveTo>
                    <a:pt x="254" y="469"/>
                  </a:moveTo>
                  <a:lnTo>
                    <a:pt x="257" y="469"/>
                  </a:lnTo>
                  <a:lnTo>
                    <a:pt x="259" y="466"/>
                  </a:lnTo>
                  <a:lnTo>
                    <a:pt x="257" y="462"/>
                  </a:lnTo>
                  <a:lnTo>
                    <a:pt x="257" y="455"/>
                  </a:lnTo>
                  <a:lnTo>
                    <a:pt x="259" y="455"/>
                  </a:lnTo>
                  <a:lnTo>
                    <a:pt x="261" y="455"/>
                  </a:lnTo>
                  <a:lnTo>
                    <a:pt x="263" y="452"/>
                  </a:lnTo>
                  <a:lnTo>
                    <a:pt x="263" y="452"/>
                  </a:lnTo>
                  <a:lnTo>
                    <a:pt x="266" y="455"/>
                  </a:lnTo>
                  <a:lnTo>
                    <a:pt x="263" y="464"/>
                  </a:lnTo>
                  <a:lnTo>
                    <a:pt x="263" y="467"/>
                  </a:lnTo>
                  <a:lnTo>
                    <a:pt x="263" y="469"/>
                  </a:lnTo>
                  <a:lnTo>
                    <a:pt x="259" y="473"/>
                  </a:lnTo>
                  <a:lnTo>
                    <a:pt x="254" y="469"/>
                  </a:lnTo>
                  <a:lnTo>
                    <a:pt x="254" y="469"/>
                  </a:lnTo>
                  <a:lnTo>
                    <a:pt x="254" y="469"/>
                  </a:lnTo>
                  <a:lnTo>
                    <a:pt x="254" y="469"/>
                  </a:lnTo>
                  <a:close/>
                  <a:moveTo>
                    <a:pt x="261" y="487"/>
                  </a:moveTo>
                  <a:lnTo>
                    <a:pt x="263" y="483"/>
                  </a:lnTo>
                  <a:lnTo>
                    <a:pt x="261" y="478"/>
                  </a:lnTo>
                  <a:lnTo>
                    <a:pt x="261" y="474"/>
                  </a:lnTo>
                  <a:lnTo>
                    <a:pt x="257" y="474"/>
                  </a:lnTo>
                  <a:lnTo>
                    <a:pt x="252" y="469"/>
                  </a:lnTo>
                  <a:lnTo>
                    <a:pt x="250" y="469"/>
                  </a:lnTo>
                  <a:lnTo>
                    <a:pt x="250" y="473"/>
                  </a:lnTo>
                  <a:lnTo>
                    <a:pt x="257" y="478"/>
                  </a:lnTo>
                  <a:lnTo>
                    <a:pt x="252" y="474"/>
                  </a:lnTo>
                  <a:lnTo>
                    <a:pt x="252" y="478"/>
                  </a:lnTo>
                  <a:lnTo>
                    <a:pt x="254" y="480"/>
                  </a:lnTo>
                  <a:lnTo>
                    <a:pt x="261" y="487"/>
                  </a:lnTo>
                  <a:lnTo>
                    <a:pt x="261" y="487"/>
                  </a:lnTo>
                  <a:lnTo>
                    <a:pt x="261" y="487"/>
                  </a:lnTo>
                  <a:lnTo>
                    <a:pt x="261" y="487"/>
                  </a:lnTo>
                  <a:close/>
                  <a:moveTo>
                    <a:pt x="223" y="424"/>
                  </a:moveTo>
                  <a:lnTo>
                    <a:pt x="224" y="429"/>
                  </a:lnTo>
                  <a:lnTo>
                    <a:pt x="226" y="427"/>
                  </a:lnTo>
                  <a:lnTo>
                    <a:pt x="230" y="429"/>
                  </a:lnTo>
                  <a:lnTo>
                    <a:pt x="231" y="429"/>
                  </a:lnTo>
                  <a:lnTo>
                    <a:pt x="228" y="424"/>
                  </a:lnTo>
                  <a:lnTo>
                    <a:pt x="224" y="424"/>
                  </a:lnTo>
                  <a:lnTo>
                    <a:pt x="223" y="424"/>
                  </a:lnTo>
                  <a:lnTo>
                    <a:pt x="223" y="424"/>
                  </a:lnTo>
                  <a:lnTo>
                    <a:pt x="223" y="424"/>
                  </a:lnTo>
                  <a:lnTo>
                    <a:pt x="223" y="424"/>
                  </a:lnTo>
                  <a:close/>
                  <a:moveTo>
                    <a:pt x="152" y="1156"/>
                  </a:moveTo>
                  <a:lnTo>
                    <a:pt x="152" y="1156"/>
                  </a:lnTo>
                  <a:lnTo>
                    <a:pt x="148" y="1156"/>
                  </a:lnTo>
                  <a:lnTo>
                    <a:pt x="148" y="1149"/>
                  </a:lnTo>
                  <a:lnTo>
                    <a:pt x="152" y="1144"/>
                  </a:lnTo>
                  <a:lnTo>
                    <a:pt x="152" y="1139"/>
                  </a:lnTo>
                  <a:lnTo>
                    <a:pt x="150" y="1140"/>
                  </a:lnTo>
                  <a:lnTo>
                    <a:pt x="146" y="1144"/>
                  </a:lnTo>
                  <a:lnTo>
                    <a:pt x="141" y="1144"/>
                  </a:lnTo>
                  <a:lnTo>
                    <a:pt x="139" y="1140"/>
                  </a:lnTo>
                  <a:lnTo>
                    <a:pt x="139" y="1137"/>
                  </a:lnTo>
                  <a:lnTo>
                    <a:pt x="139" y="1137"/>
                  </a:lnTo>
                  <a:lnTo>
                    <a:pt x="141" y="1140"/>
                  </a:lnTo>
                  <a:lnTo>
                    <a:pt x="143" y="1140"/>
                  </a:lnTo>
                  <a:lnTo>
                    <a:pt x="143" y="1139"/>
                  </a:lnTo>
                  <a:lnTo>
                    <a:pt x="141" y="1135"/>
                  </a:lnTo>
                  <a:lnTo>
                    <a:pt x="141" y="1133"/>
                  </a:lnTo>
                  <a:lnTo>
                    <a:pt x="139" y="1133"/>
                  </a:lnTo>
                  <a:lnTo>
                    <a:pt x="136" y="1135"/>
                  </a:lnTo>
                  <a:lnTo>
                    <a:pt x="134" y="1132"/>
                  </a:lnTo>
                  <a:lnTo>
                    <a:pt x="131" y="1128"/>
                  </a:lnTo>
                  <a:lnTo>
                    <a:pt x="131" y="1126"/>
                  </a:lnTo>
                  <a:lnTo>
                    <a:pt x="136" y="1123"/>
                  </a:lnTo>
                  <a:lnTo>
                    <a:pt x="136" y="1118"/>
                  </a:lnTo>
                  <a:lnTo>
                    <a:pt x="139" y="1118"/>
                  </a:lnTo>
                  <a:lnTo>
                    <a:pt x="139" y="1118"/>
                  </a:lnTo>
                  <a:lnTo>
                    <a:pt x="136" y="1118"/>
                  </a:lnTo>
                  <a:lnTo>
                    <a:pt x="131" y="1118"/>
                  </a:lnTo>
                  <a:lnTo>
                    <a:pt x="131" y="1116"/>
                  </a:lnTo>
                  <a:lnTo>
                    <a:pt x="131" y="1112"/>
                  </a:lnTo>
                  <a:lnTo>
                    <a:pt x="136" y="1109"/>
                  </a:lnTo>
                  <a:lnTo>
                    <a:pt x="136" y="1104"/>
                  </a:lnTo>
                  <a:lnTo>
                    <a:pt x="136" y="1102"/>
                  </a:lnTo>
                  <a:lnTo>
                    <a:pt x="136" y="1100"/>
                  </a:lnTo>
                  <a:lnTo>
                    <a:pt x="136" y="1100"/>
                  </a:lnTo>
                  <a:lnTo>
                    <a:pt x="134" y="1104"/>
                  </a:lnTo>
                  <a:lnTo>
                    <a:pt x="134" y="1109"/>
                  </a:lnTo>
                  <a:lnTo>
                    <a:pt x="131" y="1116"/>
                  </a:lnTo>
                  <a:lnTo>
                    <a:pt x="127" y="1116"/>
                  </a:lnTo>
                  <a:lnTo>
                    <a:pt x="125" y="1112"/>
                  </a:lnTo>
                  <a:lnTo>
                    <a:pt x="124" y="1112"/>
                  </a:lnTo>
                  <a:lnTo>
                    <a:pt x="124" y="1109"/>
                  </a:lnTo>
                  <a:lnTo>
                    <a:pt x="125" y="1109"/>
                  </a:lnTo>
                  <a:lnTo>
                    <a:pt x="125" y="1109"/>
                  </a:lnTo>
                  <a:lnTo>
                    <a:pt x="122" y="1109"/>
                  </a:lnTo>
                  <a:lnTo>
                    <a:pt x="120" y="1112"/>
                  </a:lnTo>
                  <a:lnTo>
                    <a:pt x="118" y="1112"/>
                  </a:lnTo>
                  <a:lnTo>
                    <a:pt x="118" y="1109"/>
                  </a:lnTo>
                  <a:lnTo>
                    <a:pt x="117" y="1109"/>
                  </a:lnTo>
                  <a:lnTo>
                    <a:pt x="117" y="1112"/>
                  </a:lnTo>
                  <a:lnTo>
                    <a:pt x="112" y="1109"/>
                  </a:lnTo>
                  <a:lnTo>
                    <a:pt x="112" y="1109"/>
                  </a:lnTo>
                  <a:lnTo>
                    <a:pt x="117" y="1107"/>
                  </a:lnTo>
                  <a:lnTo>
                    <a:pt x="117" y="1107"/>
                  </a:lnTo>
                  <a:lnTo>
                    <a:pt x="122" y="1106"/>
                  </a:lnTo>
                  <a:lnTo>
                    <a:pt x="125" y="1102"/>
                  </a:lnTo>
                  <a:lnTo>
                    <a:pt x="127" y="1099"/>
                  </a:lnTo>
                  <a:lnTo>
                    <a:pt x="127" y="1095"/>
                  </a:lnTo>
                  <a:lnTo>
                    <a:pt x="127" y="1099"/>
                  </a:lnTo>
                  <a:lnTo>
                    <a:pt x="124" y="1100"/>
                  </a:lnTo>
                  <a:lnTo>
                    <a:pt x="122" y="1104"/>
                  </a:lnTo>
                  <a:lnTo>
                    <a:pt x="120" y="1106"/>
                  </a:lnTo>
                  <a:lnTo>
                    <a:pt x="117" y="1104"/>
                  </a:lnTo>
                  <a:lnTo>
                    <a:pt x="113" y="1102"/>
                  </a:lnTo>
                  <a:lnTo>
                    <a:pt x="112" y="1100"/>
                  </a:lnTo>
                  <a:lnTo>
                    <a:pt x="112" y="1100"/>
                  </a:lnTo>
                  <a:lnTo>
                    <a:pt x="113" y="1099"/>
                  </a:lnTo>
                  <a:lnTo>
                    <a:pt x="112" y="1097"/>
                  </a:lnTo>
                  <a:lnTo>
                    <a:pt x="108" y="1099"/>
                  </a:lnTo>
                  <a:lnTo>
                    <a:pt x="105" y="1097"/>
                  </a:lnTo>
                  <a:lnTo>
                    <a:pt x="103" y="1097"/>
                  </a:lnTo>
                  <a:lnTo>
                    <a:pt x="103" y="1100"/>
                  </a:lnTo>
                  <a:lnTo>
                    <a:pt x="99" y="1097"/>
                  </a:lnTo>
                  <a:lnTo>
                    <a:pt x="98" y="1093"/>
                  </a:lnTo>
                  <a:lnTo>
                    <a:pt x="98" y="1093"/>
                  </a:lnTo>
                  <a:lnTo>
                    <a:pt x="101" y="1093"/>
                  </a:lnTo>
                  <a:lnTo>
                    <a:pt x="105" y="1095"/>
                  </a:lnTo>
                  <a:lnTo>
                    <a:pt x="108" y="1093"/>
                  </a:lnTo>
                  <a:lnTo>
                    <a:pt x="108" y="1093"/>
                  </a:lnTo>
                  <a:lnTo>
                    <a:pt x="108" y="1093"/>
                  </a:lnTo>
                  <a:lnTo>
                    <a:pt x="103" y="1093"/>
                  </a:lnTo>
                  <a:lnTo>
                    <a:pt x="101" y="1093"/>
                  </a:lnTo>
                  <a:lnTo>
                    <a:pt x="101" y="1090"/>
                  </a:lnTo>
                  <a:lnTo>
                    <a:pt x="105" y="1093"/>
                  </a:lnTo>
                  <a:lnTo>
                    <a:pt x="108" y="1090"/>
                  </a:lnTo>
                  <a:lnTo>
                    <a:pt x="108" y="1090"/>
                  </a:lnTo>
                  <a:lnTo>
                    <a:pt x="105" y="1090"/>
                  </a:lnTo>
                  <a:lnTo>
                    <a:pt x="103" y="1090"/>
                  </a:lnTo>
                  <a:lnTo>
                    <a:pt x="98" y="1090"/>
                  </a:lnTo>
                  <a:lnTo>
                    <a:pt x="96" y="1090"/>
                  </a:lnTo>
                  <a:lnTo>
                    <a:pt x="94" y="1086"/>
                  </a:lnTo>
                  <a:lnTo>
                    <a:pt x="94" y="1086"/>
                  </a:lnTo>
                  <a:lnTo>
                    <a:pt x="98" y="1085"/>
                  </a:lnTo>
                  <a:lnTo>
                    <a:pt x="101" y="1086"/>
                  </a:lnTo>
                  <a:lnTo>
                    <a:pt x="105" y="1086"/>
                  </a:lnTo>
                  <a:lnTo>
                    <a:pt x="105" y="1085"/>
                  </a:lnTo>
                  <a:lnTo>
                    <a:pt x="103" y="1085"/>
                  </a:lnTo>
                  <a:lnTo>
                    <a:pt x="99" y="1081"/>
                  </a:lnTo>
                  <a:lnTo>
                    <a:pt x="96" y="1081"/>
                  </a:lnTo>
                  <a:lnTo>
                    <a:pt x="96" y="1081"/>
                  </a:lnTo>
                  <a:lnTo>
                    <a:pt x="101" y="1081"/>
                  </a:lnTo>
                  <a:lnTo>
                    <a:pt x="103" y="1081"/>
                  </a:lnTo>
                  <a:lnTo>
                    <a:pt x="105" y="1081"/>
                  </a:lnTo>
                  <a:lnTo>
                    <a:pt x="105" y="1079"/>
                  </a:lnTo>
                  <a:lnTo>
                    <a:pt x="105" y="1078"/>
                  </a:lnTo>
                  <a:lnTo>
                    <a:pt x="105" y="1076"/>
                  </a:lnTo>
                  <a:lnTo>
                    <a:pt x="112" y="1076"/>
                  </a:lnTo>
                  <a:lnTo>
                    <a:pt x="113" y="1076"/>
                  </a:lnTo>
                  <a:lnTo>
                    <a:pt x="113" y="1074"/>
                  </a:lnTo>
                  <a:lnTo>
                    <a:pt x="108" y="1074"/>
                  </a:lnTo>
                  <a:lnTo>
                    <a:pt x="108" y="1072"/>
                  </a:lnTo>
                  <a:lnTo>
                    <a:pt x="105" y="1072"/>
                  </a:lnTo>
                  <a:lnTo>
                    <a:pt x="105" y="1074"/>
                  </a:lnTo>
                  <a:lnTo>
                    <a:pt x="101" y="1076"/>
                  </a:lnTo>
                  <a:lnTo>
                    <a:pt x="99" y="1078"/>
                  </a:lnTo>
                  <a:lnTo>
                    <a:pt x="98" y="1076"/>
                  </a:lnTo>
                  <a:lnTo>
                    <a:pt x="98" y="1074"/>
                  </a:lnTo>
                  <a:lnTo>
                    <a:pt x="98" y="1071"/>
                  </a:lnTo>
                  <a:lnTo>
                    <a:pt x="99" y="1071"/>
                  </a:lnTo>
                  <a:lnTo>
                    <a:pt x="103" y="1067"/>
                  </a:lnTo>
                  <a:lnTo>
                    <a:pt x="105" y="1064"/>
                  </a:lnTo>
                  <a:lnTo>
                    <a:pt x="112" y="1059"/>
                  </a:lnTo>
                  <a:lnTo>
                    <a:pt x="117" y="1059"/>
                  </a:lnTo>
                  <a:lnTo>
                    <a:pt x="117" y="1059"/>
                  </a:lnTo>
                  <a:lnTo>
                    <a:pt x="117" y="1064"/>
                  </a:lnTo>
                  <a:lnTo>
                    <a:pt x="118" y="1067"/>
                  </a:lnTo>
                  <a:lnTo>
                    <a:pt x="118" y="1066"/>
                  </a:lnTo>
                  <a:lnTo>
                    <a:pt x="118" y="1062"/>
                  </a:lnTo>
                  <a:lnTo>
                    <a:pt x="118" y="1057"/>
                  </a:lnTo>
                  <a:lnTo>
                    <a:pt x="122" y="1057"/>
                  </a:lnTo>
                  <a:lnTo>
                    <a:pt x="125" y="1057"/>
                  </a:lnTo>
                  <a:lnTo>
                    <a:pt x="122" y="1055"/>
                  </a:lnTo>
                  <a:lnTo>
                    <a:pt x="118" y="1055"/>
                  </a:lnTo>
                  <a:lnTo>
                    <a:pt x="117" y="1057"/>
                  </a:lnTo>
                  <a:lnTo>
                    <a:pt x="113" y="1053"/>
                  </a:lnTo>
                  <a:lnTo>
                    <a:pt x="117" y="1052"/>
                  </a:lnTo>
                  <a:lnTo>
                    <a:pt x="118" y="1050"/>
                  </a:lnTo>
                  <a:lnTo>
                    <a:pt x="122" y="1048"/>
                  </a:lnTo>
                  <a:lnTo>
                    <a:pt x="125" y="1043"/>
                  </a:lnTo>
                  <a:lnTo>
                    <a:pt x="124" y="1039"/>
                  </a:lnTo>
                  <a:lnTo>
                    <a:pt x="124" y="1041"/>
                  </a:lnTo>
                  <a:lnTo>
                    <a:pt x="122" y="1045"/>
                  </a:lnTo>
                  <a:lnTo>
                    <a:pt x="118" y="1046"/>
                  </a:lnTo>
                  <a:lnTo>
                    <a:pt x="117" y="1046"/>
                  </a:lnTo>
                  <a:lnTo>
                    <a:pt x="112" y="1052"/>
                  </a:lnTo>
                  <a:lnTo>
                    <a:pt x="108" y="1055"/>
                  </a:lnTo>
                  <a:lnTo>
                    <a:pt x="103" y="1057"/>
                  </a:lnTo>
                  <a:lnTo>
                    <a:pt x="101" y="1053"/>
                  </a:lnTo>
                  <a:lnTo>
                    <a:pt x="101" y="1052"/>
                  </a:lnTo>
                  <a:lnTo>
                    <a:pt x="105" y="1052"/>
                  </a:lnTo>
                  <a:lnTo>
                    <a:pt x="101" y="1052"/>
                  </a:lnTo>
                  <a:lnTo>
                    <a:pt x="96" y="1053"/>
                  </a:lnTo>
                  <a:lnTo>
                    <a:pt x="94" y="1052"/>
                  </a:lnTo>
                  <a:lnTo>
                    <a:pt x="96" y="1050"/>
                  </a:lnTo>
                  <a:lnTo>
                    <a:pt x="99" y="1046"/>
                  </a:lnTo>
                  <a:lnTo>
                    <a:pt x="103" y="1045"/>
                  </a:lnTo>
                  <a:lnTo>
                    <a:pt x="105" y="1045"/>
                  </a:lnTo>
                  <a:lnTo>
                    <a:pt x="108" y="1045"/>
                  </a:lnTo>
                  <a:lnTo>
                    <a:pt x="108" y="1043"/>
                  </a:lnTo>
                  <a:lnTo>
                    <a:pt x="105" y="1041"/>
                  </a:lnTo>
                  <a:lnTo>
                    <a:pt x="105" y="1039"/>
                  </a:lnTo>
                  <a:lnTo>
                    <a:pt x="108" y="1039"/>
                  </a:lnTo>
                  <a:lnTo>
                    <a:pt x="105" y="1036"/>
                  </a:lnTo>
                  <a:lnTo>
                    <a:pt x="103" y="1039"/>
                  </a:lnTo>
                  <a:lnTo>
                    <a:pt x="101" y="1039"/>
                  </a:lnTo>
                  <a:lnTo>
                    <a:pt x="101" y="1034"/>
                  </a:lnTo>
                  <a:lnTo>
                    <a:pt x="99" y="1029"/>
                  </a:lnTo>
                  <a:lnTo>
                    <a:pt x="98" y="1027"/>
                  </a:lnTo>
                  <a:lnTo>
                    <a:pt x="98" y="1024"/>
                  </a:lnTo>
                  <a:lnTo>
                    <a:pt x="99" y="1020"/>
                  </a:lnTo>
                  <a:lnTo>
                    <a:pt x="105" y="1022"/>
                  </a:lnTo>
                  <a:lnTo>
                    <a:pt x="108" y="1024"/>
                  </a:lnTo>
                  <a:lnTo>
                    <a:pt x="112" y="1022"/>
                  </a:lnTo>
                  <a:lnTo>
                    <a:pt x="113" y="1026"/>
                  </a:lnTo>
                  <a:lnTo>
                    <a:pt x="113" y="1022"/>
                  </a:lnTo>
                  <a:lnTo>
                    <a:pt x="112" y="1022"/>
                  </a:lnTo>
                  <a:lnTo>
                    <a:pt x="108" y="1022"/>
                  </a:lnTo>
                  <a:lnTo>
                    <a:pt x="105" y="1019"/>
                  </a:lnTo>
                  <a:lnTo>
                    <a:pt x="103" y="1017"/>
                  </a:lnTo>
                  <a:lnTo>
                    <a:pt x="103" y="1015"/>
                  </a:lnTo>
                  <a:lnTo>
                    <a:pt x="105" y="1012"/>
                  </a:lnTo>
                  <a:lnTo>
                    <a:pt x="105" y="1012"/>
                  </a:lnTo>
                  <a:lnTo>
                    <a:pt x="108" y="1008"/>
                  </a:lnTo>
                  <a:lnTo>
                    <a:pt x="108" y="1003"/>
                  </a:lnTo>
                  <a:lnTo>
                    <a:pt x="105" y="1006"/>
                  </a:lnTo>
                  <a:lnTo>
                    <a:pt x="103" y="1008"/>
                  </a:lnTo>
                  <a:lnTo>
                    <a:pt x="99" y="1012"/>
                  </a:lnTo>
                  <a:lnTo>
                    <a:pt x="94" y="1012"/>
                  </a:lnTo>
                  <a:lnTo>
                    <a:pt x="92" y="1015"/>
                  </a:lnTo>
                  <a:lnTo>
                    <a:pt x="91" y="1017"/>
                  </a:lnTo>
                  <a:lnTo>
                    <a:pt x="89" y="1017"/>
                  </a:lnTo>
                  <a:lnTo>
                    <a:pt x="89" y="1012"/>
                  </a:lnTo>
                  <a:lnTo>
                    <a:pt x="85" y="1006"/>
                  </a:lnTo>
                  <a:lnTo>
                    <a:pt x="85" y="999"/>
                  </a:lnTo>
                  <a:lnTo>
                    <a:pt x="89" y="993"/>
                  </a:lnTo>
                  <a:lnTo>
                    <a:pt x="89" y="991"/>
                  </a:lnTo>
                  <a:lnTo>
                    <a:pt x="85" y="991"/>
                  </a:lnTo>
                  <a:lnTo>
                    <a:pt x="85" y="986"/>
                  </a:lnTo>
                  <a:lnTo>
                    <a:pt x="85" y="984"/>
                  </a:lnTo>
                  <a:lnTo>
                    <a:pt x="89" y="986"/>
                  </a:lnTo>
                  <a:lnTo>
                    <a:pt x="89" y="986"/>
                  </a:lnTo>
                  <a:lnTo>
                    <a:pt x="89" y="984"/>
                  </a:lnTo>
                  <a:lnTo>
                    <a:pt x="92" y="980"/>
                  </a:lnTo>
                  <a:lnTo>
                    <a:pt x="94" y="975"/>
                  </a:lnTo>
                  <a:lnTo>
                    <a:pt x="98" y="975"/>
                  </a:lnTo>
                  <a:lnTo>
                    <a:pt x="101" y="975"/>
                  </a:lnTo>
                  <a:lnTo>
                    <a:pt x="103" y="975"/>
                  </a:lnTo>
                  <a:lnTo>
                    <a:pt x="101" y="972"/>
                  </a:lnTo>
                  <a:lnTo>
                    <a:pt x="99" y="972"/>
                  </a:lnTo>
                  <a:lnTo>
                    <a:pt x="105" y="966"/>
                  </a:lnTo>
                  <a:lnTo>
                    <a:pt x="105" y="965"/>
                  </a:lnTo>
                  <a:lnTo>
                    <a:pt x="112" y="961"/>
                  </a:lnTo>
                  <a:lnTo>
                    <a:pt x="112" y="959"/>
                  </a:lnTo>
                  <a:lnTo>
                    <a:pt x="108" y="959"/>
                  </a:lnTo>
                  <a:lnTo>
                    <a:pt x="108" y="958"/>
                  </a:lnTo>
                  <a:lnTo>
                    <a:pt x="105" y="961"/>
                  </a:lnTo>
                  <a:lnTo>
                    <a:pt x="105" y="965"/>
                  </a:lnTo>
                  <a:lnTo>
                    <a:pt x="98" y="972"/>
                  </a:lnTo>
                  <a:lnTo>
                    <a:pt x="98" y="972"/>
                  </a:lnTo>
                  <a:lnTo>
                    <a:pt x="98" y="968"/>
                  </a:lnTo>
                  <a:lnTo>
                    <a:pt x="101" y="965"/>
                  </a:lnTo>
                  <a:lnTo>
                    <a:pt x="101" y="958"/>
                  </a:lnTo>
                  <a:lnTo>
                    <a:pt x="105" y="949"/>
                  </a:lnTo>
                  <a:lnTo>
                    <a:pt x="108" y="947"/>
                  </a:lnTo>
                  <a:lnTo>
                    <a:pt x="108" y="944"/>
                  </a:lnTo>
                  <a:lnTo>
                    <a:pt x="108" y="944"/>
                  </a:lnTo>
                  <a:lnTo>
                    <a:pt x="108" y="942"/>
                  </a:lnTo>
                  <a:lnTo>
                    <a:pt x="108" y="942"/>
                  </a:lnTo>
                  <a:lnTo>
                    <a:pt x="108" y="940"/>
                  </a:lnTo>
                  <a:lnTo>
                    <a:pt x="108" y="939"/>
                  </a:lnTo>
                  <a:lnTo>
                    <a:pt x="108" y="937"/>
                  </a:lnTo>
                  <a:lnTo>
                    <a:pt x="105" y="935"/>
                  </a:lnTo>
                  <a:lnTo>
                    <a:pt x="105" y="932"/>
                  </a:lnTo>
                  <a:lnTo>
                    <a:pt x="105" y="928"/>
                  </a:lnTo>
                  <a:lnTo>
                    <a:pt x="101" y="926"/>
                  </a:lnTo>
                  <a:lnTo>
                    <a:pt x="99" y="925"/>
                  </a:lnTo>
                  <a:lnTo>
                    <a:pt x="98" y="921"/>
                  </a:lnTo>
                  <a:lnTo>
                    <a:pt x="94" y="919"/>
                  </a:lnTo>
                  <a:lnTo>
                    <a:pt x="92" y="918"/>
                  </a:lnTo>
                  <a:lnTo>
                    <a:pt x="89" y="918"/>
                  </a:lnTo>
                  <a:lnTo>
                    <a:pt x="89" y="916"/>
                  </a:lnTo>
                  <a:lnTo>
                    <a:pt x="91" y="913"/>
                  </a:lnTo>
                  <a:lnTo>
                    <a:pt x="89" y="913"/>
                  </a:lnTo>
                  <a:lnTo>
                    <a:pt x="89" y="911"/>
                  </a:lnTo>
                  <a:lnTo>
                    <a:pt x="89" y="909"/>
                  </a:lnTo>
                  <a:lnTo>
                    <a:pt x="89" y="907"/>
                  </a:lnTo>
                  <a:lnTo>
                    <a:pt x="91" y="906"/>
                  </a:lnTo>
                  <a:lnTo>
                    <a:pt x="89" y="904"/>
                  </a:lnTo>
                  <a:lnTo>
                    <a:pt x="89" y="904"/>
                  </a:lnTo>
                  <a:lnTo>
                    <a:pt x="85" y="904"/>
                  </a:lnTo>
                  <a:lnTo>
                    <a:pt x="85" y="902"/>
                  </a:lnTo>
                  <a:lnTo>
                    <a:pt x="89" y="899"/>
                  </a:lnTo>
                  <a:lnTo>
                    <a:pt x="89" y="888"/>
                  </a:lnTo>
                  <a:lnTo>
                    <a:pt x="89" y="874"/>
                  </a:lnTo>
                  <a:lnTo>
                    <a:pt x="89" y="866"/>
                  </a:lnTo>
                  <a:lnTo>
                    <a:pt x="89" y="862"/>
                  </a:lnTo>
                  <a:lnTo>
                    <a:pt x="89" y="859"/>
                  </a:lnTo>
                  <a:lnTo>
                    <a:pt x="89" y="857"/>
                  </a:lnTo>
                  <a:lnTo>
                    <a:pt x="89" y="853"/>
                  </a:lnTo>
                  <a:lnTo>
                    <a:pt x="89" y="850"/>
                  </a:lnTo>
                  <a:lnTo>
                    <a:pt x="89" y="843"/>
                  </a:lnTo>
                  <a:lnTo>
                    <a:pt x="82" y="839"/>
                  </a:lnTo>
                  <a:lnTo>
                    <a:pt x="82" y="834"/>
                  </a:lnTo>
                  <a:lnTo>
                    <a:pt x="82" y="831"/>
                  </a:lnTo>
                  <a:lnTo>
                    <a:pt x="80" y="820"/>
                  </a:lnTo>
                  <a:lnTo>
                    <a:pt x="82" y="817"/>
                  </a:lnTo>
                  <a:lnTo>
                    <a:pt x="82" y="815"/>
                  </a:lnTo>
                  <a:lnTo>
                    <a:pt x="82" y="812"/>
                  </a:lnTo>
                  <a:lnTo>
                    <a:pt x="82" y="808"/>
                  </a:lnTo>
                  <a:lnTo>
                    <a:pt x="77" y="803"/>
                  </a:lnTo>
                  <a:lnTo>
                    <a:pt x="73" y="806"/>
                  </a:lnTo>
                  <a:lnTo>
                    <a:pt x="68" y="808"/>
                  </a:lnTo>
                  <a:lnTo>
                    <a:pt x="66" y="808"/>
                  </a:lnTo>
                  <a:lnTo>
                    <a:pt x="59" y="808"/>
                  </a:lnTo>
                  <a:lnTo>
                    <a:pt x="58" y="815"/>
                  </a:lnTo>
                  <a:lnTo>
                    <a:pt x="52" y="820"/>
                  </a:lnTo>
                  <a:lnTo>
                    <a:pt x="47" y="822"/>
                  </a:lnTo>
                  <a:lnTo>
                    <a:pt x="42" y="824"/>
                  </a:lnTo>
                  <a:lnTo>
                    <a:pt x="35" y="826"/>
                  </a:lnTo>
                  <a:lnTo>
                    <a:pt x="35" y="826"/>
                  </a:lnTo>
                  <a:lnTo>
                    <a:pt x="35" y="822"/>
                  </a:lnTo>
                  <a:lnTo>
                    <a:pt x="37" y="817"/>
                  </a:lnTo>
                  <a:lnTo>
                    <a:pt x="35" y="815"/>
                  </a:lnTo>
                  <a:lnTo>
                    <a:pt x="32" y="794"/>
                  </a:lnTo>
                  <a:lnTo>
                    <a:pt x="28" y="784"/>
                  </a:lnTo>
                  <a:lnTo>
                    <a:pt x="26" y="780"/>
                  </a:lnTo>
                  <a:lnTo>
                    <a:pt x="30" y="773"/>
                  </a:lnTo>
                  <a:lnTo>
                    <a:pt x="21" y="772"/>
                  </a:lnTo>
                  <a:lnTo>
                    <a:pt x="14" y="775"/>
                  </a:lnTo>
                  <a:lnTo>
                    <a:pt x="13" y="773"/>
                  </a:lnTo>
                  <a:lnTo>
                    <a:pt x="0" y="773"/>
                  </a:lnTo>
                  <a:lnTo>
                    <a:pt x="197" y="412"/>
                  </a:lnTo>
                  <a:lnTo>
                    <a:pt x="198" y="413"/>
                  </a:lnTo>
                  <a:lnTo>
                    <a:pt x="200" y="413"/>
                  </a:lnTo>
                  <a:lnTo>
                    <a:pt x="209" y="422"/>
                  </a:lnTo>
                  <a:lnTo>
                    <a:pt x="212" y="422"/>
                  </a:lnTo>
                  <a:lnTo>
                    <a:pt x="216" y="424"/>
                  </a:lnTo>
                  <a:lnTo>
                    <a:pt x="216" y="427"/>
                  </a:lnTo>
                  <a:lnTo>
                    <a:pt x="217" y="427"/>
                  </a:lnTo>
                  <a:lnTo>
                    <a:pt x="221" y="427"/>
                  </a:lnTo>
                  <a:lnTo>
                    <a:pt x="221" y="431"/>
                  </a:lnTo>
                  <a:lnTo>
                    <a:pt x="226" y="436"/>
                  </a:lnTo>
                  <a:lnTo>
                    <a:pt x="224" y="438"/>
                  </a:lnTo>
                  <a:lnTo>
                    <a:pt x="224" y="440"/>
                  </a:lnTo>
                  <a:lnTo>
                    <a:pt x="223" y="443"/>
                  </a:lnTo>
                  <a:lnTo>
                    <a:pt x="224" y="447"/>
                  </a:lnTo>
                  <a:lnTo>
                    <a:pt x="226" y="447"/>
                  </a:lnTo>
                  <a:lnTo>
                    <a:pt x="228" y="447"/>
                  </a:lnTo>
                  <a:lnTo>
                    <a:pt x="230" y="447"/>
                  </a:lnTo>
                  <a:lnTo>
                    <a:pt x="230" y="450"/>
                  </a:lnTo>
                  <a:lnTo>
                    <a:pt x="230" y="455"/>
                  </a:lnTo>
                  <a:lnTo>
                    <a:pt x="235" y="462"/>
                  </a:lnTo>
                  <a:lnTo>
                    <a:pt x="240" y="464"/>
                  </a:lnTo>
                  <a:lnTo>
                    <a:pt x="240" y="464"/>
                  </a:lnTo>
                  <a:lnTo>
                    <a:pt x="244" y="466"/>
                  </a:lnTo>
                  <a:lnTo>
                    <a:pt x="244" y="467"/>
                  </a:lnTo>
                  <a:lnTo>
                    <a:pt x="244" y="469"/>
                  </a:lnTo>
                  <a:lnTo>
                    <a:pt x="245" y="469"/>
                  </a:lnTo>
                  <a:lnTo>
                    <a:pt x="249" y="474"/>
                  </a:lnTo>
                  <a:lnTo>
                    <a:pt x="249" y="478"/>
                  </a:lnTo>
                  <a:lnTo>
                    <a:pt x="252" y="478"/>
                  </a:lnTo>
                  <a:lnTo>
                    <a:pt x="254" y="481"/>
                  </a:lnTo>
                  <a:lnTo>
                    <a:pt x="254" y="481"/>
                  </a:lnTo>
                  <a:lnTo>
                    <a:pt x="259" y="487"/>
                  </a:lnTo>
                  <a:lnTo>
                    <a:pt x="259" y="490"/>
                  </a:lnTo>
                  <a:lnTo>
                    <a:pt x="261" y="490"/>
                  </a:lnTo>
                  <a:lnTo>
                    <a:pt x="261" y="493"/>
                  </a:lnTo>
                  <a:lnTo>
                    <a:pt x="257" y="497"/>
                  </a:lnTo>
                  <a:lnTo>
                    <a:pt x="254" y="500"/>
                  </a:lnTo>
                  <a:lnTo>
                    <a:pt x="263" y="493"/>
                  </a:lnTo>
                  <a:lnTo>
                    <a:pt x="266" y="492"/>
                  </a:lnTo>
                  <a:lnTo>
                    <a:pt x="266" y="493"/>
                  </a:lnTo>
                  <a:lnTo>
                    <a:pt x="266" y="488"/>
                  </a:lnTo>
                  <a:lnTo>
                    <a:pt x="266" y="478"/>
                  </a:lnTo>
                  <a:lnTo>
                    <a:pt x="266" y="474"/>
                  </a:lnTo>
                  <a:lnTo>
                    <a:pt x="268" y="471"/>
                  </a:lnTo>
                  <a:lnTo>
                    <a:pt x="275" y="469"/>
                  </a:lnTo>
                  <a:lnTo>
                    <a:pt x="278" y="466"/>
                  </a:lnTo>
                  <a:lnTo>
                    <a:pt x="282" y="464"/>
                  </a:lnTo>
                  <a:lnTo>
                    <a:pt x="285" y="462"/>
                  </a:lnTo>
                  <a:lnTo>
                    <a:pt x="285" y="460"/>
                  </a:lnTo>
                  <a:lnTo>
                    <a:pt x="289" y="460"/>
                  </a:lnTo>
                  <a:lnTo>
                    <a:pt x="290" y="459"/>
                  </a:lnTo>
                  <a:lnTo>
                    <a:pt x="294" y="459"/>
                  </a:lnTo>
                  <a:lnTo>
                    <a:pt x="296" y="459"/>
                  </a:lnTo>
                  <a:lnTo>
                    <a:pt x="299" y="459"/>
                  </a:lnTo>
                  <a:lnTo>
                    <a:pt x="301" y="460"/>
                  </a:lnTo>
                  <a:lnTo>
                    <a:pt x="306" y="455"/>
                  </a:lnTo>
                  <a:lnTo>
                    <a:pt x="306" y="452"/>
                  </a:lnTo>
                  <a:lnTo>
                    <a:pt x="308" y="450"/>
                  </a:lnTo>
                  <a:lnTo>
                    <a:pt x="313" y="452"/>
                  </a:lnTo>
                  <a:lnTo>
                    <a:pt x="313" y="450"/>
                  </a:lnTo>
                  <a:lnTo>
                    <a:pt x="313" y="450"/>
                  </a:lnTo>
                  <a:lnTo>
                    <a:pt x="317" y="450"/>
                  </a:lnTo>
                  <a:lnTo>
                    <a:pt x="317" y="450"/>
                  </a:lnTo>
                  <a:lnTo>
                    <a:pt x="327" y="450"/>
                  </a:lnTo>
                  <a:lnTo>
                    <a:pt x="336" y="447"/>
                  </a:lnTo>
                  <a:lnTo>
                    <a:pt x="339" y="447"/>
                  </a:lnTo>
                  <a:lnTo>
                    <a:pt x="339" y="447"/>
                  </a:lnTo>
                  <a:lnTo>
                    <a:pt x="341" y="450"/>
                  </a:lnTo>
                  <a:lnTo>
                    <a:pt x="343" y="447"/>
                  </a:lnTo>
                  <a:lnTo>
                    <a:pt x="344" y="445"/>
                  </a:lnTo>
                  <a:lnTo>
                    <a:pt x="350" y="441"/>
                  </a:lnTo>
                  <a:lnTo>
                    <a:pt x="353" y="441"/>
                  </a:lnTo>
                  <a:lnTo>
                    <a:pt x="355" y="443"/>
                  </a:lnTo>
                  <a:lnTo>
                    <a:pt x="356" y="443"/>
                  </a:lnTo>
                  <a:lnTo>
                    <a:pt x="358" y="445"/>
                  </a:lnTo>
                  <a:lnTo>
                    <a:pt x="358" y="445"/>
                  </a:lnTo>
                  <a:lnTo>
                    <a:pt x="358" y="441"/>
                  </a:lnTo>
                  <a:lnTo>
                    <a:pt x="362" y="440"/>
                  </a:lnTo>
                  <a:lnTo>
                    <a:pt x="363" y="441"/>
                  </a:lnTo>
                  <a:lnTo>
                    <a:pt x="363" y="445"/>
                  </a:lnTo>
                  <a:lnTo>
                    <a:pt x="367" y="447"/>
                  </a:lnTo>
                  <a:lnTo>
                    <a:pt x="363" y="447"/>
                  </a:lnTo>
                  <a:lnTo>
                    <a:pt x="362" y="447"/>
                  </a:lnTo>
                  <a:lnTo>
                    <a:pt x="362" y="450"/>
                  </a:lnTo>
                  <a:lnTo>
                    <a:pt x="355" y="452"/>
                  </a:lnTo>
                  <a:lnTo>
                    <a:pt x="348" y="455"/>
                  </a:lnTo>
                  <a:lnTo>
                    <a:pt x="344" y="457"/>
                  </a:lnTo>
                  <a:lnTo>
                    <a:pt x="341" y="459"/>
                  </a:lnTo>
                  <a:lnTo>
                    <a:pt x="339" y="459"/>
                  </a:lnTo>
                  <a:lnTo>
                    <a:pt x="336" y="460"/>
                  </a:lnTo>
                  <a:lnTo>
                    <a:pt x="336" y="460"/>
                  </a:lnTo>
                  <a:lnTo>
                    <a:pt x="334" y="459"/>
                  </a:lnTo>
                  <a:lnTo>
                    <a:pt x="329" y="460"/>
                  </a:lnTo>
                  <a:lnTo>
                    <a:pt x="322" y="460"/>
                  </a:lnTo>
                  <a:lnTo>
                    <a:pt x="322" y="462"/>
                  </a:lnTo>
                  <a:lnTo>
                    <a:pt x="317" y="460"/>
                  </a:lnTo>
                  <a:lnTo>
                    <a:pt x="313" y="462"/>
                  </a:lnTo>
                  <a:lnTo>
                    <a:pt x="308" y="467"/>
                  </a:lnTo>
                  <a:lnTo>
                    <a:pt x="301" y="471"/>
                  </a:lnTo>
                  <a:lnTo>
                    <a:pt x="301" y="469"/>
                  </a:lnTo>
                  <a:lnTo>
                    <a:pt x="297" y="473"/>
                  </a:lnTo>
                  <a:lnTo>
                    <a:pt x="296" y="474"/>
                  </a:lnTo>
                  <a:lnTo>
                    <a:pt x="294" y="474"/>
                  </a:lnTo>
                  <a:lnTo>
                    <a:pt x="294" y="474"/>
                  </a:lnTo>
                  <a:lnTo>
                    <a:pt x="289" y="478"/>
                  </a:lnTo>
                  <a:lnTo>
                    <a:pt x="285" y="480"/>
                  </a:lnTo>
                  <a:lnTo>
                    <a:pt x="285" y="480"/>
                  </a:lnTo>
                  <a:lnTo>
                    <a:pt x="284" y="481"/>
                  </a:lnTo>
                  <a:lnTo>
                    <a:pt x="285" y="487"/>
                  </a:lnTo>
                  <a:lnTo>
                    <a:pt x="289" y="488"/>
                  </a:lnTo>
                  <a:lnTo>
                    <a:pt x="285" y="483"/>
                  </a:lnTo>
                  <a:lnTo>
                    <a:pt x="285" y="483"/>
                  </a:lnTo>
                  <a:lnTo>
                    <a:pt x="289" y="483"/>
                  </a:lnTo>
                  <a:lnTo>
                    <a:pt x="290" y="481"/>
                  </a:lnTo>
                  <a:lnTo>
                    <a:pt x="294" y="483"/>
                  </a:lnTo>
                  <a:lnTo>
                    <a:pt x="294" y="480"/>
                  </a:lnTo>
                  <a:lnTo>
                    <a:pt x="297" y="478"/>
                  </a:lnTo>
                  <a:lnTo>
                    <a:pt x="303" y="474"/>
                  </a:lnTo>
                  <a:lnTo>
                    <a:pt x="306" y="474"/>
                  </a:lnTo>
                  <a:lnTo>
                    <a:pt x="313" y="469"/>
                  </a:lnTo>
                  <a:lnTo>
                    <a:pt x="317" y="466"/>
                  </a:lnTo>
                  <a:lnTo>
                    <a:pt x="318" y="466"/>
                  </a:lnTo>
                  <a:lnTo>
                    <a:pt x="320" y="469"/>
                  </a:lnTo>
                  <a:lnTo>
                    <a:pt x="322" y="466"/>
                  </a:lnTo>
                  <a:lnTo>
                    <a:pt x="325" y="466"/>
                  </a:lnTo>
                  <a:lnTo>
                    <a:pt x="325" y="467"/>
                  </a:lnTo>
                  <a:lnTo>
                    <a:pt x="330" y="464"/>
                  </a:lnTo>
                  <a:lnTo>
                    <a:pt x="332" y="466"/>
                  </a:lnTo>
                  <a:lnTo>
                    <a:pt x="327" y="473"/>
                  </a:lnTo>
                  <a:lnTo>
                    <a:pt x="329" y="474"/>
                  </a:lnTo>
                  <a:lnTo>
                    <a:pt x="332" y="469"/>
                  </a:lnTo>
                  <a:lnTo>
                    <a:pt x="336" y="467"/>
                  </a:lnTo>
                  <a:lnTo>
                    <a:pt x="348" y="459"/>
                  </a:lnTo>
                  <a:lnTo>
                    <a:pt x="353" y="459"/>
                  </a:lnTo>
                  <a:lnTo>
                    <a:pt x="356" y="457"/>
                  </a:lnTo>
                  <a:lnTo>
                    <a:pt x="362" y="457"/>
                  </a:lnTo>
                  <a:lnTo>
                    <a:pt x="367" y="455"/>
                  </a:lnTo>
                  <a:lnTo>
                    <a:pt x="367" y="455"/>
                  </a:lnTo>
                  <a:lnTo>
                    <a:pt x="367" y="459"/>
                  </a:lnTo>
                  <a:lnTo>
                    <a:pt x="362" y="460"/>
                  </a:lnTo>
                  <a:lnTo>
                    <a:pt x="362" y="462"/>
                  </a:lnTo>
                  <a:lnTo>
                    <a:pt x="367" y="464"/>
                  </a:lnTo>
                  <a:lnTo>
                    <a:pt x="370" y="460"/>
                  </a:lnTo>
                  <a:lnTo>
                    <a:pt x="377" y="455"/>
                  </a:lnTo>
                  <a:lnTo>
                    <a:pt x="379" y="455"/>
                  </a:lnTo>
                  <a:lnTo>
                    <a:pt x="379" y="455"/>
                  </a:lnTo>
                  <a:lnTo>
                    <a:pt x="381" y="452"/>
                  </a:lnTo>
                  <a:lnTo>
                    <a:pt x="386" y="452"/>
                  </a:lnTo>
                  <a:lnTo>
                    <a:pt x="386" y="450"/>
                  </a:lnTo>
                  <a:lnTo>
                    <a:pt x="386" y="447"/>
                  </a:lnTo>
                  <a:lnTo>
                    <a:pt x="389" y="450"/>
                  </a:lnTo>
                  <a:lnTo>
                    <a:pt x="389" y="450"/>
                  </a:lnTo>
                  <a:lnTo>
                    <a:pt x="393" y="447"/>
                  </a:lnTo>
                  <a:lnTo>
                    <a:pt x="389" y="443"/>
                  </a:lnTo>
                  <a:lnTo>
                    <a:pt x="393" y="441"/>
                  </a:lnTo>
                  <a:lnTo>
                    <a:pt x="389" y="438"/>
                  </a:lnTo>
                  <a:lnTo>
                    <a:pt x="393" y="434"/>
                  </a:lnTo>
                  <a:lnTo>
                    <a:pt x="398" y="431"/>
                  </a:lnTo>
                  <a:lnTo>
                    <a:pt x="398" y="436"/>
                  </a:lnTo>
                  <a:lnTo>
                    <a:pt x="398" y="450"/>
                  </a:lnTo>
                  <a:lnTo>
                    <a:pt x="396" y="452"/>
                  </a:lnTo>
                  <a:lnTo>
                    <a:pt x="396" y="464"/>
                  </a:lnTo>
                  <a:lnTo>
                    <a:pt x="395" y="471"/>
                  </a:lnTo>
                  <a:lnTo>
                    <a:pt x="393" y="485"/>
                  </a:lnTo>
                  <a:lnTo>
                    <a:pt x="395" y="490"/>
                  </a:lnTo>
                  <a:lnTo>
                    <a:pt x="400" y="490"/>
                  </a:lnTo>
                  <a:lnTo>
                    <a:pt x="402" y="495"/>
                  </a:lnTo>
                  <a:lnTo>
                    <a:pt x="407" y="492"/>
                  </a:lnTo>
                  <a:lnTo>
                    <a:pt x="405" y="490"/>
                  </a:lnTo>
                  <a:lnTo>
                    <a:pt x="402" y="490"/>
                  </a:lnTo>
                  <a:lnTo>
                    <a:pt x="402" y="488"/>
                  </a:lnTo>
                  <a:lnTo>
                    <a:pt x="405" y="485"/>
                  </a:lnTo>
                  <a:lnTo>
                    <a:pt x="409" y="487"/>
                  </a:lnTo>
                  <a:lnTo>
                    <a:pt x="409" y="483"/>
                  </a:lnTo>
                  <a:lnTo>
                    <a:pt x="407" y="481"/>
                  </a:lnTo>
                  <a:lnTo>
                    <a:pt x="410" y="480"/>
                  </a:lnTo>
                  <a:lnTo>
                    <a:pt x="416" y="480"/>
                  </a:lnTo>
                  <a:lnTo>
                    <a:pt x="416" y="481"/>
                  </a:lnTo>
                  <a:lnTo>
                    <a:pt x="417" y="480"/>
                  </a:lnTo>
                  <a:lnTo>
                    <a:pt x="416" y="474"/>
                  </a:lnTo>
                  <a:lnTo>
                    <a:pt x="417" y="474"/>
                  </a:lnTo>
                  <a:lnTo>
                    <a:pt x="424" y="471"/>
                  </a:lnTo>
                  <a:lnTo>
                    <a:pt x="424" y="467"/>
                  </a:lnTo>
                  <a:lnTo>
                    <a:pt x="428" y="467"/>
                  </a:lnTo>
                  <a:lnTo>
                    <a:pt x="428" y="471"/>
                  </a:lnTo>
                  <a:lnTo>
                    <a:pt x="428" y="474"/>
                  </a:lnTo>
                  <a:lnTo>
                    <a:pt x="424" y="474"/>
                  </a:lnTo>
                  <a:lnTo>
                    <a:pt x="426" y="478"/>
                  </a:lnTo>
                  <a:lnTo>
                    <a:pt x="423" y="480"/>
                  </a:lnTo>
                  <a:lnTo>
                    <a:pt x="421" y="483"/>
                  </a:lnTo>
                  <a:lnTo>
                    <a:pt x="423" y="483"/>
                  </a:lnTo>
                  <a:lnTo>
                    <a:pt x="426" y="483"/>
                  </a:lnTo>
                  <a:lnTo>
                    <a:pt x="426" y="485"/>
                  </a:lnTo>
                  <a:lnTo>
                    <a:pt x="426" y="487"/>
                  </a:lnTo>
                  <a:lnTo>
                    <a:pt x="423" y="488"/>
                  </a:lnTo>
                  <a:lnTo>
                    <a:pt x="421" y="492"/>
                  </a:lnTo>
                  <a:lnTo>
                    <a:pt x="417" y="490"/>
                  </a:lnTo>
                  <a:lnTo>
                    <a:pt x="416" y="492"/>
                  </a:lnTo>
                  <a:lnTo>
                    <a:pt x="416" y="495"/>
                  </a:lnTo>
                  <a:lnTo>
                    <a:pt x="416" y="497"/>
                  </a:lnTo>
                  <a:lnTo>
                    <a:pt x="421" y="497"/>
                  </a:lnTo>
                  <a:lnTo>
                    <a:pt x="424" y="500"/>
                  </a:lnTo>
                  <a:lnTo>
                    <a:pt x="428" y="500"/>
                  </a:lnTo>
                  <a:lnTo>
                    <a:pt x="429" y="497"/>
                  </a:lnTo>
                  <a:lnTo>
                    <a:pt x="435" y="497"/>
                  </a:lnTo>
                  <a:lnTo>
                    <a:pt x="438" y="490"/>
                  </a:lnTo>
                  <a:lnTo>
                    <a:pt x="440" y="487"/>
                  </a:lnTo>
                  <a:lnTo>
                    <a:pt x="443" y="485"/>
                  </a:lnTo>
                  <a:lnTo>
                    <a:pt x="447" y="487"/>
                  </a:lnTo>
                  <a:lnTo>
                    <a:pt x="450" y="487"/>
                  </a:lnTo>
                  <a:lnTo>
                    <a:pt x="452" y="490"/>
                  </a:lnTo>
                  <a:lnTo>
                    <a:pt x="456" y="490"/>
                  </a:lnTo>
                  <a:lnTo>
                    <a:pt x="461" y="493"/>
                  </a:lnTo>
                  <a:lnTo>
                    <a:pt x="462" y="493"/>
                  </a:lnTo>
                  <a:lnTo>
                    <a:pt x="462" y="497"/>
                  </a:lnTo>
                  <a:lnTo>
                    <a:pt x="466" y="506"/>
                  </a:lnTo>
                  <a:lnTo>
                    <a:pt x="466" y="509"/>
                  </a:lnTo>
                  <a:lnTo>
                    <a:pt x="469" y="514"/>
                  </a:lnTo>
                  <a:lnTo>
                    <a:pt x="483" y="525"/>
                  </a:lnTo>
                  <a:lnTo>
                    <a:pt x="485" y="525"/>
                  </a:lnTo>
                  <a:lnTo>
                    <a:pt x="489" y="528"/>
                  </a:lnTo>
                  <a:lnTo>
                    <a:pt x="494" y="533"/>
                  </a:lnTo>
                  <a:lnTo>
                    <a:pt x="497" y="533"/>
                  </a:lnTo>
                  <a:lnTo>
                    <a:pt x="499" y="537"/>
                  </a:lnTo>
                  <a:lnTo>
                    <a:pt x="501" y="539"/>
                  </a:lnTo>
                  <a:lnTo>
                    <a:pt x="502" y="540"/>
                  </a:lnTo>
                  <a:lnTo>
                    <a:pt x="504" y="539"/>
                  </a:lnTo>
                  <a:lnTo>
                    <a:pt x="506" y="542"/>
                  </a:lnTo>
                  <a:lnTo>
                    <a:pt x="511" y="546"/>
                  </a:lnTo>
                  <a:lnTo>
                    <a:pt x="513" y="546"/>
                  </a:lnTo>
                  <a:lnTo>
                    <a:pt x="513" y="549"/>
                  </a:lnTo>
                  <a:lnTo>
                    <a:pt x="516" y="553"/>
                  </a:lnTo>
                  <a:lnTo>
                    <a:pt x="516" y="549"/>
                  </a:lnTo>
                  <a:lnTo>
                    <a:pt x="516" y="546"/>
                  </a:lnTo>
                  <a:lnTo>
                    <a:pt x="516" y="544"/>
                  </a:lnTo>
                  <a:lnTo>
                    <a:pt x="513" y="542"/>
                  </a:lnTo>
                  <a:lnTo>
                    <a:pt x="513" y="540"/>
                  </a:lnTo>
                  <a:lnTo>
                    <a:pt x="520" y="542"/>
                  </a:lnTo>
                  <a:lnTo>
                    <a:pt x="520" y="546"/>
                  </a:lnTo>
                  <a:lnTo>
                    <a:pt x="520" y="546"/>
                  </a:lnTo>
                  <a:lnTo>
                    <a:pt x="522" y="542"/>
                  </a:lnTo>
                  <a:lnTo>
                    <a:pt x="523" y="542"/>
                  </a:lnTo>
                  <a:lnTo>
                    <a:pt x="527" y="547"/>
                  </a:lnTo>
                  <a:lnTo>
                    <a:pt x="529" y="549"/>
                  </a:lnTo>
                  <a:lnTo>
                    <a:pt x="530" y="551"/>
                  </a:lnTo>
                  <a:lnTo>
                    <a:pt x="532" y="554"/>
                  </a:lnTo>
                  <a:lnTo>
                    <a:pt x="534" y="556"/>
                  </a:lnTo>
                  <a:lnTo>
                    <a:pt x="535" y="561"/>
                  </a:lnTo>
                  <a:lnTo>
                    <a:pt x="537" y="565"/>
                  </a:lnTo>
                  <a:lnTo>
                    <a:pt x="535" y="568"/>
                  </a:lnTo>
                  <a:lnTo>
                    <a:pt x="534" y="572"/>
                  </a:lnTo>
                  <a:lnTo>
                    <a:pt x="530" y="575"/>
                  </a:lnTo>
                  <a:lnTo>
                    <a:pt x="523" y="573"/>
                  </a:lnTo>
                  <a:lnTo>
                    <a:pt x="520" y="573"/>
                  </a:lnTo>
                  <a:lnTo>
                    <a:pt x="520" y="573"/>
                  </a:lnTo>
                  <a:lnTo>
                    <a:pt x="516" y="575"/>
                  </a:lnTo>
                  <a:lnTo>
                    <a:pt x="513" y="573"/>
                  </a:lnTo>
                  <a:lnTo>
                    <a:pt x="511" y="573"/>
                  </a:lnTo>
                  <a:lnTo>
                    <a:pt x="513" y="577"/>
                  </a:lnTo>
                  <a:lnTo>
                    <a:pt x="509" y="579"/>
                  </a:lnTo>
                  <a:lnTo>
                    <a:pt x="509" y="582"/>
                  </a:lnTo>
                  <a:lnTo>
                    <a:pt x="506" y="582"/>
                  </a:lnTo>
                  <a:lnTo>
                    <a:pt x="502" y="582"/>
                  </a:lnTo>
                  <a:lnTo>
                    <a:pt x="502" y="584"/>
                  </a:lnTo>
                  <a:lnTo>
                    <a:pt x="506" y="584"/>
                  </a:lnTo>
                  <a:lnTo>
                    <a:pt x="508" y="589"/>
                  </a:lnTo>
                  <a:lnTo>
                    <a:pt x="511" y="591"/>
                  </a:lnTo>
                  <a:lnTo>
                    <a:pt x="513" y="589"/>
                  </a:lnTo>
                  <a:lnTo>
                    <a:pt x="516" y="593"/>
                  </a:lnTo>
                  <a:lnTo>
                    <a:pt x="516" y="596"/>
                  </a:lnTo>
                  <a:lnTo>
                    <a:pt x="520" y="596"/>
                  </a:lnTo>
                  <a:lnTo>
                    <a:pt x="527" y="600"/>
                  </a:lnTo>
                  <a:lnTo>
                    <a:pt x="532" y="600"/>
                  </a:lnTo>
                  <a:lnTo>
                    <a:pt x="539" y="603"/>
                  </a:lnTo>
                  <a:lnTo>
                    <a:pt x="542" y="603"/>
                  </a:lnTo>
                  <a:lnTo>
                    <a:pt x="542" y="601"/>
                  </a:lnTo>
                  <a:lnTo>
                    <a:pt x="544" y="601"/>
                  </a:lnTo>
                  <a:lnTo>
                    <a:pt x="548" y="603"/>
                  </a:lnTo>
                  <a:lnTo>
                    <a:pt x="548" y="606"/>
                  </a:lnTo>
                  <a:lnTo>
                    <a:pt x="553" y="601"/>
                  </a:lnTo>
                  <a:lnTo>
                    <a:pt x="555" y="605"/>
                  </a:lnTo>
                  <a:lnTo>
                    <a:pt x="556" y="603"/>
                  </a:lnTo>
                  <a:lnTo>
                    <a:pt x="560" y="601"/>
                  </a:lnTo>
                  <a:lnTo>
                    <a:pt x="562" y="601"/>
                  </a:lnTo>
                  <a:lnTo>
                    <a:pt x="562" y="603"/>
                  </a:lnTo>
                  <a:lnTo>
                    <a:pt x="563" y="603"/>
                  </a:lnTo>
                  <a:lnTo>
                    <a:pt x="567" y="601"/>
                  </a:lnTo>
                  <a:lnTo>
                    <a:pt x="577" y="596"/>
                  </a:lnTo>
                  <a:lnTo>
                    <a:pt x="581" y="596"/>
                  </a:lnTo>
                  <a:lnTo>
                    <a:pt x="579" y="600"/>
                  </a:lnTo>
                  <a:lnTo>
                    <a:pt x="579" y="601"/>
                  </a:lnTo>
                  <a:lnTo>
                    <a:pt x="579" y="603"/>
                  </a:lnTo>
                  <a:lnTo>
                    <a:pt x="581" y="603"/>
                  </a:lnTo>
                  <a:lnTo>
                    <a:pt x="581" y="606"/>
                  </a:lnTo>
                  <a:lnTo>
                    <a:pt x="581" y="610"/>
                  </a:lnTo>
                  <a:lnTo>
                    <a:pt x="581" y="612"/>
                  </a:lnTo>
                  <a:lnTo>
                    <a:pt x="582" y="612"/>
                  </a:lnTo>
                  <a:lnTo>
                    <a:pt x="584" y="610"/>
                  </a:lnTo>
                  <a:lnTo>
                    <a:pt x="586" y="612"/>
                  </a:lnTo>
                  <a:lnTo>
                    <a:pt x="586" y="615"/>
                  </a:lnTo>
                  <a:lnTo>
                    <a:pt x="584" y="619"/>
                  </a:lnTo>
                  <a:lnTo>
                    <a:pt x="584" y="624"/>
                  </a:lnTo>
                  <a:lnTo>
                    <a:pt x="586" y="624"/>
                  </a:lnTo>
                  <a:lnTo>
                    <a:pt x="588" y="620"/>
                  </a:lnTo>
                  <a:lnTo>
                    <a:pt x="589" y="619"/>
                  </a:lnTo>
                  <a:lnTo>
                    <a:pt x="589" y="615"/>
                  </a:lnTo>
                  <a:lnTo>
                    <a:pt x="589" y="615"/>
                  </a:lnTo>
                  <a:lnTo>
                    <a:pt x="589" y="619"/>
                  </a:lnTo>
                  <a:lnTo>
                    <a:pt x="588" y="626"/>
                  </a:lnTo>
                  <a:lnTo>
                    <a:pt x="586" y="629"/>
                  </a:lnTo>
                  <a:lnTo>
                    <a:pt x="586" y="634"/>
                  </a:lnTo>
                  <a:lnTo>
                    <a:pt x="588" y="640"/>
                  </a:lnTo>
                  <a:lnTo>
                    <a:pt x="588" y="646"/>
                  </a:lnTo>
                  <a:lnTo>
                    <a:pt x="586" y="648"/>
                  </a:lnTo>
                  <a:lnTo>
                    <a:pt x="589" y="652"/>
                  </a:lnTo>
                  <a:lnTo>
                    <a:pt x="589" y="653"/>
                  </a:lnTo>
                  <a:lnTo>
                    <a:pt x="589" y="657"/>
                  </a:lnTo>
                  <a:lnTo>
                    <a:pt x="589" y="659"/>
                  </a:lnTo>
                  <a:lnTo>
                    <a:pt x="593" y="664"/>
                  </a:lnTo>
                  <a:lnTo>
                    <a:pt x="593" y="674"/>
                  </a:lnTo>
                  <a:lnTo>
                    <a:pt x="593" y="664"/>
                  </a:lnTo>
                  <a:lnTo>
                    <a:pt x="589" y="655"/>
                  </a:lnTo>
                  <a:lnTo>
                    <a:pt x="593" y="646"/>
                  </a:lnTo>
                  <a:lnTo>
                    <a:pt x="595" y="641"/>
                  </a:lnTo>
                  <a:lnTo>
                    <a:pt x="598" y="641"/>
                  </a:lnTo>
                  <a:lnTo>
                    <a:pt x="598" y="643"/>
                  </a:lnTo>
                  <a:lnTo>
                    <a:pt x="596" y="643"/>
                  </a:lnTo>
                  <a:lnTo>
                    <a:pt x="596" y="646"/>
                  </a:lnTo>
                  <a:lnTo>
                    <a:pt x="596" y="646"/>
                  </a:lnTo>
                  <a:lnTo>
                    <a:pt x="600" y="646"/>
                  </a:lnTo>
                  <a:lnTo>
                    <a:pt x="600" y="646"/>
                  </a:lnTo>
                  <a:lnTo>
                    <a:pt x="601" y="646"/>
                  </a:lnTo>
                  <a:lnTo>
                    <a:pt x="601" y="643"/>
                  </a:lnTo>
                  <a:lnTo>
                    <a:pt x="600" y="640"/>
                  </a:lnTo>
                  <a:lnTo>
                    <a:pt x="600" y="638"/>
                  </a:lnTo>
                  <a:lnTo>
                    <a:pt x="603" y="634"/>
                  </a:lnTo>
                  <a:lnTo>
                    <a:pt x="603" y="634"/>
                  </a:lnTo>
                  <a:lnTo>
                    <a:pt x="600" y="633"/>
                  </a:lnTo>
                  <a:lnTo>
                    <a:pt x="601" y="629"/>
                  </a:lnTo>
                  <a:lnTo>
                    <a:pt x="603" y="624"/>
                  </a:lnTo>
                  <a:lnTo>
                    <a:pt x="605" y="615"/>
                  </a:lnTo>
                  <a:lnTo>
                    <a:pt x="605" y="612"/>
                  </a:lnTo>
                  <a:lnTo>
                    <a:pt x="605" y="610"/>
                  </a:lnTo>
                  <a:lnTo>
                    <a:pt x="607" y="608"/>
                  </a:lnTo>
                  <a:lnTo>
                    <a:pt x="612" y="608"/>
                  </a:lnTo>
                  <a:lnTo>
                    <a:pt x="612" y="606"/>
                  </a:lnTo>
                  <a:lnTo>
                    <a:pt x="612" y="605"/>
                  </a:lnTo>
                  <a:lnTo>
                    <a:pt x="617" y="603"/>
                  </a:lnTo>
                  <a:lnTo>
                    <a:pt x="617" y="605"/>
                  </a:lnTo>
                  <a:lnTo>
                    <a:pt x="621" y="605"/>
                  </a:lnTo>
                  <a:lnTo>
                    <a:pt x="621" y="601"/>
                  </a:lnTo>
                  <a:lnTo>
                    <a:pt x="624" y="601"/>
                  </a:lnTo>
                  <a:lnTo>
                    <a:pt x="624" y="603"/>
                  </a:lnTo>
                  <a:lnTo>
                    <a:pt x="624" y="603"/>
                  </a:lnTo>
                  <a:lnTo>
                    <a:pt x="629" y="603"/>
                  </a:lnTo>
                  <a:lnTo>
                    <a:pt x="631" y="598"/>
                  </a:lnTo>
                  <a:lnTo>
                    <a:pt x="633" y="598"/>
                  </a:lnTo>
                  <a:lnTo>
                    <a:pt x="634" y="601"/>
                  </a:lnTo>
                  <a:lnTo>
                    <a:pt x="636" y="601"/>
                  </a:lnTo>
                  <a:lnTo>
                    <a:pt x="636" y="606"/>
                  </a:lnTo>
                  <a:lnTo>
                    <a:pt x="636" y="601"/>
                  </a:lnTo>
                  <a:lnTo>
                    <a:pt x="634" y="598"/>
                  </a:lnTo>
                  <a:lnTo>
                    <a:pt x="638" y="593"/>
                  </a:lnTo>
                  <a:lnTo>
                    <a:pt x="640" y="593"/>
                  </a:lnTo>
                  <a:lnTo>
                    <a:pt x="640" y="596"/>
                  </a:lnTo>
                  <a:lnTo>
                    <a:pt x="643" y="593"/>
                  </a:lnTo>
                  <a:lnTo>
                    <a:pt x="647" y="593"/>
                  </a:lnTo>
                  <a:lnTo>
                    <a:pt x="648" y="596"/>
                  </a:lnTo>
                  <a:lnTo>
                    <a:pt x="652" y="589"/>
                  </a:lnTo>
                  <a:lnTo>
                    <a:pt x="650" y="587"/>
                  </a:lnTo>
                  <a:lnTo>
                    <a:pt x="654" y="584"/>
                  </a:lnTo>
                  <a:lnTo>
                    <a:pt x="650" y="584"/>
                  </a:lnTo>
                  <a:lnTo>
                    <a:pt x="648" y="584"/>
                  </a:lnTo>
                  <a:lnTo>
                    <a:pt x="647" y="584"/>
                  </a:lnTo>
                  <a:lnTo>
                    <a:pt x="640" y="587"/>
                  </a:lnTo>
                  <a:lnTo>
                    <a:pt x="638" y="587"/>
                  </a:lnTo>
                  <a:lnTo>
                    <a:pt x="638" y="587"/>
                  </a:lnTo>
                  <a:lnTo>
                    <a:pt x="634" y="589"/>
                  </a:lnTo>
                  <a:lnTo>
                    <a:pt x="634" y="591"/>
                  </a:lnTo>
                  <a:lnTo>
                    <a:pt x="634" y="593"/>
                  </a:lnTo>
                  <a:lnTo>
                    <a:pt x="631" y="589"/>
                  </a:lnTo>
                  <a:lnTo>
                    <a:pt x="631" y="587"/>
                  </a:lnTo>
                  <a:lnTo>
                    <a:pt x="629" y="587"/>
                  </a:lnTo>
                  <a:lnTo>
                    <a:pt x="628" y="591"/>
                  </a:lnTo>
                  <a:lnTo>
                    <a:pt x="626" y="593"/>
                  </a:lnTo>
                  <a:lnTo>
                    <a:pt x="624" y="589"/>
                  </a:lnTo>
                  <a:lnTo>
                    <a:pt x="621" y="589"/>
                  </a:lnTo>
                  <a:lnTo>
                    <a:pt x="621" y="587"/>
                  </a:lnTo>
                  <a:lnTo>
                    <a:pt x="617" y="589"/>
                  </a:lnTo>
                  <a:lnTo>
                    <a:pt x="617" y="591"/>
                  </a:lnTo>
                  <a:lnTo>
                    <a:pt x="621" y="593"/>
                  </a:lnTo>
                  <a:lnTo>
                    <a:pt x="621" y="596"/>
                  </a:lnTo>
                  <a:lnTo>
                    <a:pt x="617" y="596"/>
                  </a:lnTo>
                  <a:lnTo>
                    <a:pt x="615" y="596"/>
                  </a:lnTo>
                  <a:lnTo>
                    <a:pt x="610" y="596"/>
                  </a:lnTo>
                  <a:lnTo>
                    <a:pt x="610" y="593"/>
                  </a:lnTo>
                  <a:lnTo>
                    <a:pt x="612" y="591"/>
                  </a:lnTo>
                  <a:lnTo>
                    <a:pt x="612" y="587"/>
                  </a:lnTo>
                  <a:lnTo>
                    <a:pt x="612" y="587"/>
                  </a:lnTo>
                  <a:lnTo>
                    <a:pt x="610" y="587"/>
                  </a:lnTo>
                  <a:lnTo>
                    <a:pt x="607" y="587"/>
                  </a:lnTo>
                  <a:lnTo>
                    <a:pt x="608" y="584"/>
                  </a:lnTo>
                  <a:lnTo>
                    <a:pt x="612" y="584"/>
                  </a:lnTo>
                  <a:lnTo>
                    <a:pt x="617" y="577"/>
                  </a:lnTo>
                  <a:lnTo>
                    <a:pt x="617" y="577"/>
                  </a:lnTo>
                  <a:lnTo>
                    <a:pt x="624" y="579"/>
                  </a:lnTo>
                  <a:lnTo>
                    <a:pt x="634" y="577"/>
                  </a:lnTo>
                  <a:lnTo>
                    <a:pt x="643" y="575"/>
                  </a:lnTo>
                  <a:lnTo>
                    <a:pt x="647" y="575"/>
                  </a:lnTo>
                  <a:lnTo>
                    <a:pt x="650" y="573"/>
                  </a:lnTo>
                  <a:lnTo>
                    <a:pt x="652" y="577"/>
                  </a:lnTo>
                  <a:lnTo>
                    <a:pt x="654" y="579"/>
                  </a:lnTo>
                  <a:lnTo>
                    <a:pt x="655" y="579"/>
                  </a:lnTo>
                  <a:lnTo>
                    <a:pt x="657" y="580"/>
                  </a:lnTo>
                  <a:lnTo>
                    <a:pt x="655" y="587"/>
                  </a:lnTo>
                  <a:lnTo>
                    <a:pt x="655" y="589"/>
                  </a:lnTo>
                  <a:lnTo>
                    <a:pt x="657" y="591"/>
                  </a:lnTo>
                  <a:lnTo>
                    <a:pt x="655" y="591"/>
                  </a:lnTo>
                  <a:lnTo>
                    <a:pt x="654" y="596"/>
                  </a:lnTo>
                  <a:lnTo>
                    <a:pt x="654" y="596"/>
                  </a:lnTo>
                  <a:lnTo>
                    <a:pt x="655" y="596"/>
                  </a:lnTo>
                  <a:lnTo>
                    <a:pt x="655" y="603"/>
                  </a:lnTo>
                  <a:lnTo>
                    <a:pt x="659" y="603"/>
                  </a:lnTo>
                  <a:lnTo>
                    <a:pt x="661" y="605"/>
                  </a:lnTo>
                  <a:lnTo>
                    <a:pt x="661" y="606"/>
                  </a:lnTo>
                  <a:lnTo>
                    <a:pt x="657" y="608"/>
                  </a:lnTo>
                  <a:lnTo>
                    <a:pt x="657" y="612"/>
                  </a:lnTo>
                  <a:lnTo>
                    <a:pt x="655" y="612"/>
                  </a:lnTo>
                  <a:lnTo>
                    <a:pt x="661" y="612"/>
                  </a:lnTo>
                  <a:lnTo>
                    <a:pt x="662" y="615"/>
                  </a:lnTo>
                  <a:lnTo>
                    <a:pt x="662" y="615"/>
                  </a:lnTo>
                  <a:lnTo>
                    <a:pt x="666" y="615"/>
                  </a:lnTo>
                  <a:lnTo>
                    <a:pt x="666" y="619"/>
                  </a:lnTo>
                  <a:lnTo>
                    <a:pt x="671" y="619"/>
                  </a:lnTo>
                  <a:lnTo>
                    <a:pt x="674" y="615"/>
                  </a:lnTo>
                  <a:lnTo>
                    <a:pt x="674" y="615"/>
                  </a:lnTo>
                  <a:lnTo>
                    <a:pt x="674" y="619"/>
                  </a:lnTo>
                  <a:lnTo>
                    <a:pt x="674" y="619"/>
                  </a:lnTo>
                  <a:lnTo>
                    <a:pt x="676" y="619"/>
                  </a:lnTo>
                  <a:lnTo>
                    <a:pt x="678" y="620"/>
                  </a:lnTo>
                  <a:lnTo>
                    <a:pt x="678" y="624"/>
                  </a:lnTo>
                  <a:lnTo>
                    <a:pt x="678" y="624"/>
                  </a:lnTo>
                  <a:lnTo>
                    <a:pt x="680" y="626"/>
                  </a:lnTo>
                  <a:lnTo>
                    <a:pt x="680" y="627"/>
                  </a:lnTo>
                  <a:lnTo>
                    <a:pt x="685" y="633"/>
                  </a:lnTo>
                  <a:lnTo>
                    <a:pt x="685" y="634"/>
                  </a:lnTo>
                  <a:lnTo>
                    <a:pt x="688" y="633"/>
                  </a:lnTo>
                  <a:lnTo>
                    <a:pt x="690" y="633"/>
                  </a:lnTo>
                  <a:lnTo>
                    <a:pt x="690" y="634"/>
                  </a:lnTo>
                  <a:lnTo>
                    <a:pt x="692" y="634"/>
                  </a:lnTo>
                  <a:lnTo>
                    <a:pt x="694" y="640"/>
                  </a:lnTo>
                  <a:lnTo>
                    <a:pt x="697" y="638"/>
                  </a:lnTo>
                  <a:lnTo>
                    <a:pt x="704" y="638"/>
                  </a:lnTo>
                  <a:lnTo>
                    <a:pt x="706" y="634"/>
                  </a:lnTo>
                  <a:lnTo>
                    <a:pt x="711" y="633"/>
                  </a:lnTo>
                  <a:lnTo>
                    <a:pt x="711" y="633"/>
                  </a:lnTo>
                  <a:lnTo>
                    <a:pt x="713" y="634"/>
                  </a:lnTo>
                  <a:lnTo>
                    <a:pt x="720" y="634"/>
                  </a:lnTo>
                  <a:lnTo>
                    <a:pt x="725" y="640"/>
                  </a:lnTo>
                  <a:lnTo>
                    <a:pt x="727" y="640"/>
                  </a:lnTo>
                  <a:lnTo>
                    <a:pt x="728" y="643"/>
                  </a:lnTo>
                  <a:lnTo>
                    <a:pt x="730" y="641"/>
                  </a:lnTo>
                  <a:lnTo>
                    <a:pt x="737" y="640"/>
                  </a:lnTo>
                  <a:lnTo>
                    <a:pt x="739" y="643"/>
                  </a:lnTo>
                  <a:lnTo>
                    <a:pt x="742" y="641"/>
                  </a:lnTo>
                  <a:lnTo>
                    <a:pt x="739" y="638"/>
                  </a:lnTo>
                  <a:lnTo>
                    <a:pt x="739" y="634"/>
                  </a:lnTo>
                  <a:lnTo>
                    <a:pt x="737" y="629"/>
                  </a:lnTo>
                  <a:lnTo>
                    <a:pt x="739" y="627"/>
                  </a:lnTo>
                  <a:lnTo>
                    <a:pt x="739" y="629"/>
                  </a:lnTo>
                  <a:lnTo>
                    <a:pt x="742" y="634"/>
                  </a:lnTo>
                  <a:lnTo>
                    <a:pt x="744" y="640"/>
                  </a:lnTo>
                  <a:lnTo>
                    <a:pt x="747" y="643"/>
                  </a:lnTo>
                  <a:lnTo>
                    <a:pt x="749" y="646"/>
                  </a:lnTo>
                  <a:lnTo>
                    <a:pt x="751" y="650"/>
                  </a:lnTo>
                  <a:lnTo>
                    <a:pt x="751" y="643"/>
                  </a:lnTo>
                  <a:lnTo>
                    <a:pt x="749" y="641"/>
                  </a:lnTo>
                  <a:lnTo>
                    <a:pt x="744" y="640"/>
                  </a:lnTo>
                  <a:lnTo>
                    <a:pt x="744" y="634"/>
                  </a:lnTo>
                  <a:lnTo>
                    <a:pt x="742" y="626"/>
                  </a:lnTo>
                  <a:lnTo>
                    <a:pt x="744" y="624"/>
                  </a:lnTo>
                  <a:lnTo>
                    <a:pt x="744" y="624"/>
                  </a:lnTo>
                  <a:lnTo>
                    <a:pt x="744" y="627"/>
                  </a:lnTo>
                  <a:lnTo>
                    <a:pt x="744" y="627"/>
                  </a:lnTo>
                  <a:lnTo>
                    <a:pt x="747" y="627"/>
                  </a:lnTo>
                  <a:lnTo>
                    <a:pt x="747" y="624"/>
                  </a:lnTo>
                  <a:lnTo>
                    <a:pt x="747" y="620"/>
                  </a:lnTo>
                  <a:lnTo>
                    <a:pt x="747" y="619"/>
                  </a:lnTo>
                  <a:lnTo>
                    <a:pt x="747" y="619"/>
                  </a:lnTo>
                  <a:lnTo>
                    <a:pt x="747" y="615"/>
                  </a:lnTo>
                  <a:lnTo>
                    <a:pt x="749" y="615"/>
                  </a:lnTo>
                  <a:lnTo>
                    <a:pt x="751" y="619"/>
                  </a:lnTo>
                  <a:lnTo>
                    <a:pt x="751" y="620"/>
                  </a:lnTo>
                  <a:lnTo>
                    <a:pt x="753" y="620"/>
                  </a:lnTo>
                  <a:lnTo>
                    <a:pt x="753" y="620"/>
                  </a:lnTo>
                  <a:lnTo>
                    <a:pt x="756" y="619"/>
                  </a:lnTo>
                  <a:lnTo>
                    <a:pt x="758" y="615"/>
                  </a:lnTo>
                  <a:lnTo>
                    <a:pt x="761" y="615"/>
                  </a:lnTo>
                  <a:lnTo>
                    <a:pt x="763" y="619"/>
                  </a:lnTo>
                  <a:lnTo>
                    <a:pt x="761" y="619"/>
                  </a:lnTo>
                  <a:lnTo>
                    <a:pt x="761" y="620"/>
                  </a:lnTo>
                  <a:lnTo>
                    <a:pt x="761" y="619"/>
                  </a:lnTo>
                  <a:lnTo>
                    <a:pt x="765" y="619"/>
                  </a:lnTo>
                  <a:lnTo>
                    <a:pt x="767" y="620"/>
                  </a:lnTo>
                  <a:lnTo>
                    <a:pt x="767" y="624"/>
                  </a:lnTo>
                  <a:lnTo>
                    <a:pt x="765" y="627"/>
                  </a:lnTo>
                  <a:lnTo>
                    <a:pt x="767" y="629"/>
                  </a:lnTo>
                  <a:lnTo>
                    <a:pt x="770" y="629"/>
                  </a:lnTo>
                  <a:lnTo>
                    <a:pt x="770" y="629"/>
                  </a:lnTo>
                  <a:lnTo>
                    <a:pt x="770" y="633"/>
                  </a:lnTo>
                  <a:lnTo>
                    <a:pt x="767" y="634"/>
                  </a:lnTo>
                  <a:lnTo>
                    <a:pt x="767" y="634"/>
                  </a:lnTo>
                  <a:lnTo>
                    <a:pt x="767" y="638"/>
                  </a:lnTo>
                  <a:lnTo>
                    <a:pt x="772" y="634"/>
                  </a:lnTo>
                  <a:lnTo>
                    <a:pt x="773" y="631"/>
                  </a:lnTo>
                  <a:lnTo>
                    <a:pt x="779" y="629"/>
                  </a:lnTo>
                  <a:lnTo>
                    <a:pt x="782" y="629"/>
                  </a:lnTo>
                  <a:lnTo>
                    <a:pt x="782" y="631"/>
                  </a:lnTo>
                  <a:lnTo>
                    <a:pt x="779" y="633"/>
                  </a:lnTo>
                  <a:lnTo>
                    <a:pt x="779" y="634"/>
                  </a:lnTo>
                  <a:lnTo>
                    <a:pt x="779" y="638"/>
                  </a:lnTo>
                  <a:lnTo>
                    <a:pt x="772" y="641"/>
                  </a:lnTo>
                  <a:lnTo>
                    <a:pt x="770" y="643"/>
                  </a:lnTo>
                  <a:lnTo>
                    <a:pt x="767" y="646"/>
                  </a:lnTo>
                  <a:lnTo>
                    <a:pt x="767" y="650"/>
                  </a:lnTo>
                  <a:lnTo>
                    <a:pt x="767" y="652"/>
                  </a:lnTo>
                  <a:lnTo>
                    <a:pt x="765" y="648"/>
                  </a:lnTo>
                  <a:lnTo>
                    <a:pt x="763" y="652"/>
                  </a:lnTo>
                  <a:lnTo>
                    <a:pt x="761" y="657"/>
                  </a:lnTo>
                  <a:lnTo>
                    <a:pt x="761" y="660"/>
                  </a:lnTo>
                  <a:lnTo>
                    <a:pt x="765" y="659"/>
                  </a:lnTo>
                  <a:lnTo>
                    <a:pt x="767" y="659"/>
                  </a:lnTo>
                  <a:lnTo>
                    <a:pt x="767" y="662"/>
                  </a:lnTo>
                  <a:lnTo>
                    <a:pt x="763" y="664"/>
                  </a:lnTo>
                  <a:lnTo>
                    <a:pt x="763" y="666"/>
                  </a:lnTo>
                  <a:lnTo>
                    <a:pt x="767" y="664"/>
                  </a:lnTo>
                  <a:lnTo>
                    <a:pt x="770" y="662"/>
                  </a:lnTo>
                  <a:lnTo>
                    <a:pt x="770" y="662"/>
                  </a:lnTo>
                  <a:lnTo>
                    <a:pt x="770" y="666"/>
                  </a:lnTo>
                  <a:lnTo>
                    <a:pt x="767" y="666"/>
                  </a:lnTo>
                  <a:lnTo>
                    <a:pt x="770" y="669"/>
                  </a:lnTo>
                  <a:lnTo>
                    <a:pt x="772" y="666"/>
                  </a:lnTo>
                  <a:lnTo>
                    <a:pt x="770" y="671"/>
                  </a:lnTo>
                  <a:lnTo>
                    <a:pt x="770" y="674"/>
                  </a:lnTo>
                  <a:lnTo>
                    <a:pt x="767" y="676"/>
                  </a:lnTo>
                  <a:lnTo>
                    <a:pt x="765" y="674"/>
                  </a:lnTo>
                  <a:lnTo>
                    <a:pt x="763" y="671"/>
                  </a:lnTo>
                  <a:lnTo>
                    <a:pt x="758" y="674"/>
                  </a:lnTo>
                  <a:lnTo>
                    <a:pt x="756" y="669"/>
                  </a:lnTo>
                  <a:lnTo>
                    <a:pt x="756" y="669"/>
                  </a:lnTo>
                  <a:lnTo>
                    <a:pt x="754" y="674"/>
                  </a:lnTo>
                  <a:lnTo>
                    <a:pt x="756" y="676"/>
                  </a:lnTo>
                  <a:lnTo>
                    <a:pt x="758" y="681"/>
                  </a:lnTo>
                  <a:lnTo>
                    <a:pt x="756" y="688"/>
                  </a:lnTo>
                  <a:lnTo>
                    <a:pt x="760" y="681"/>
                  </a:lnTo>
                  <a:lnTo>
                    <a:pt x="760" y="676"/>
                  </a:lnTo>
                  <a:lnTo>
                    <a:pt x="761" y="674"/>
                  </a:lnTo>
                  <a:lnTo>
                    <a:pt x="763" y="676"/>
                  </a:lnTo>
                  <a:lnTo>
                    <a:pt x="767" y="676"/>
                  </a:lnTo>
                  <a:lnTo>
                    <a:pt x="770" y="680"/>
                  </a:lnTo>
                  <a:lnTo>
                    <a:pt x="772" y="676"/>
                  </a:lnTo>
                  <a:lnTo>
                    <a:pt x="772" y="674"/>
                  </a:lnTo>
                  <a:lnTo>
                    <a:pt x="775" y="671"/>
                  </a:lnTo>
                  <a:lnTo>
                    <a:pt x="779" y="669"/>
                  </a:lnTo>
                  <a:lnTo>
                    <a:pt x="782" y="669"/>
                  </a:lnTo>
                  <a:lnTo>
                    <a:pt x="786" y="666"/>
                  </a:lnTo>
                  <a:lnTo>
                    <a:pt x="782" y="666"/>
                  </a:lnTo>
                  <a:lnTo>
                    <a:pt x="779" y="666"/>
                  </a:lnTo>
                  <a:lnTo>
                    <a:pt x="779" y="671"/>
                  </a:lnTo>
                  <a:lnTo>
                    <a:pt x="775" y="671"/>
                  </a:lnTo>
                  <a:lnTo>
                    <a:pt x="773" y="671"/>
                  </a:lnTo>
                  <a:lnTo>
                    <a:pt x="775" y="666"/>
                  </a:lnTo>
                  <a:lnTo>
                    <a:pt x="779" y="666"/>
                  </a:lnTo>
                  <a:lnTo>
                    <a:pt x="775" y="664"/>
                  </a:lnTo>
                  <a:lnTo>
                    <a:pt x="779" y="660"/>
                  </a:lnTo>
                  <a:lnTo>
                    <a:pt x="779" y="655"/>
                  </a:lnTo>
                  <a:lnTo>
                    <a:pt x="779" y="653"/>
                  </a:lnTo>
                  <a:lnTo>
                    <a:pt x="779" y="650"/>
                  </a:lnTo>
                  <a:lnTo>
                    <a:pt x="779" y="650"/>
                  </a:lnTo>
                  <a:lnTo>
                    <a:pt x="780" y="646"/>
                  </a:lnTo>
                  <a:lnTo>
                    <a:pt x="782" y="641"/>
                  </a:lnTo>
                  <a:lnTo>
                    <a:pt x="786" y="640"/>
                  </a:lnTo>
                  <a:lnTo>
                    <a:pt x="786" y="640"/>
                  </a:lnTo>
                  <a:lnTo>
                    <a:pt x="786" y="641"/>
                  </a:lnTo>
                  <a:lnTo>
                    <a:pt x="787" y="641"/>
                  </a:lnTo>
                  <a:lnTo>
                    <a:pt x="789" y="638"/>
                  </a:lnTo>
                  <a:lnTo>
                    <a:pt x="789" y="640"/>
                  </a:lnTo>
                  <a:lnTo>
                    <a:pt x="793" y="640"/>
                  </a:lnTo>
                  <a:lnTo>
                    <a:pt x="793" y="641"/>
                  </a:lnTo>
                  <a:lnTo>
                    <a:pt x="796" y="641"/>
                  </a:lnTo>
                  <a:lnTo>
                    <a:pt x="798" y="638"/>
                  </a:lnTo>
                  <a:lnTo>
                    <a:pt x="805" y="634"/>
                  </a:lnTo>
                  <a:lnTo>
                    <a:pt x="807" y="631"/>
                  </a:lnTo>
                  <a:lnTo>
                    <a:pt x="807" y="629"/>
                  </a:lnTo>
                  <a:lnTo>
                    <a:pt x="808" y="629"/>
                  </a:lnTo>
                  <a:lnTo>
                    <a:pt x="812" y="626"/>
                  </a:lnTo>
                  <a:lnTo>
                    <a:pt x="817" y="626"/>
                  </a:lnTo>
                  <a:lnTo>
                    <a:pt x="820" y="624"/>
                  </a:lnTo>
                  <a:lnTo>
                    <a:pt x="819" y="620"/>
                  </a:lnTo>
                  <a:lnTo>
                    <a:pt x="820" y="615"/>
                  </a:lnTo>
                  <a:lnTo>
                    <a:pt x="820" y="612"/>
                  </a:lnTo>
                  <a:lnTo>
                    <a:pt x="824" y="610"/>
                  </a:lnTo>
                  <a:lnTo>
                    <a:pt x="820" y="608"/>
                  </a:lnTo>
                  <a:lnTo>
                    <a:pt x="820" y="610"/>
                  </a:lnTo>
                  <a:lnTo>
                    <a:pt x="817" y="610"/>
                  </a:lnTo>
                  <a:lnTo>
                    <a:pt x="817" y="612"/>
                  </a:lnTo>
                  <a:lnTo>
                    <a:pt x="817" y="612"/>
                  </a:lnTo>
                  <a:lnTo>
                    <a:pt x="813" y="615"/>
                  </a:lnTo>
                  <a:lnTo>
                    <a:pt x="812" y="612"/>
                  </a:lnTo>
                  <a:lnTo>
                    <a:pt x="808" y="612"/>
                  </a:lnTo>
                  <a:lnTo>
                    <a:pt x="808" y="612"/>
                  </a:lnTo>
                  <a:lnTo>
                    <a:pt x="810" y="606"/>
                  </a:lnTo>
                  <a:lnTo>
                    <a:pt x="812" y="606"/>
                  </a:lnTo>
                  <a:lnTo>
                    <a:pt x="815" y="605"/>
                  </a:lnTo>
                  <a:lnTo>
                    <a:pt x="819" y="603"/>
                  </a:lnTo>
                  <a:lnTo>
                    <a:pt x="819" y="600"/>
                  </a:lnTo>
                  <a:lnTo>
                    <a:pt x="817" y="598"/>
                  </a:lnTo>
                  <a:lnTo>
                    <a:pt x="820" y="596"/>
                  </a:lnTo>
                  <a:lnTo>
                    <a:pt x="824" y="596"/>
                  </a:lnTo>
                  <a:lnTo>
                    <a:pt x="827" y="596"/>
                  </a:lnTo>
                  <a:lnTo>
                    <a:pt x="824" y="598"/>
                  </a:lnTo>
                  <a:lnTo>
                    <a:pt x="824" y="601"/>
                  </a:lnTo>
                  <a:lnTo>
                    <a:pt x="824" y="601"/>
                  </a:lnTo>
                  <a:lnTo>
                    <a:pt x="829" y="600"/>
                  </a:lnTo>
                  <a:lnTo>
                    <a:pt x="831" y="593"/>
                  </a:lnTo>
                  <a:lnTo>
                    <a:pt x="831" y="589"/>
                  </a:lnTo>
                  <a:lnTo>
                    <a:pt x="827" y="589"/>
                  </a:lnTo>
                  <a:lnTo>
                    <a:pt x="824" y="589"/>
                  </a:lnTo>
                  <a:lnTo>
                    <a:pt x="824" y="587"/>
                  </a:lnTo>
                  <a:lnTo>
                    <a:pt x="819" y="587"/>
                  </a:lnTo>
                  <a:lnTo>
                    <a:pt x="817" y="582"/>
                  </a:lnTo>
                  <a:lnTo>
                    <a:pt x="819" y="579"/>
                  </a:lnTo>
                  <a:lnTo>
                    <a:pt x="815" y="582"/>
                  </a:lnTo>
                  <a:lnTo>
                    <a:pt x="813" y="582"/>
                  </a:lnTo>
                  <a:lnTo>
                    <a:pt x="812" y="579"/>
                  </a:lnTo>
                  <a:lnTo>
                    <a:pt x="808" y="577"/>
                  </a:lnTo>
                  <a:lnTo>
                    <a:pt x="808" y="573"/>
                  </a:lnTo>
                  <a:lnTo>
                    <a:pt x="807" y="572"/>
                  </a:lnTo>
                  <a:lnTo>
                    <a:pt x="803" y="573"/>
                  </a:lnTo>
                  <a:lnTo>
                    <a:pt x="803" y="570"/>
                  </a:lnTo>
                  <a:lnTo>
                    <a:pt x="801" y="568"/>
                  </a:lnTo>
                  <a:lnTo>
                    <a:pt x="803" y="565"/>
                  </a:lnTo>
                  <a:lnTo>
                    <a:pt x="803" y="565"/>
                  </a:lnTo>
                  <a:lnTo>
                    <a:pt x="801" y="560"/>
                  </a:lnTo>
                  <a:lnTo>
                    <a:pt x="801" y="553"/>
                  </a:lnTo>
                  <a:lnTo>
                    <a:pt x="805" y="549"/>
                  </a:lnTo>
                  <a:lnTo>
                    <a:pt x="810" y="544"/>
                  </a:lnTo>
                  <a:lnTo>
                    <a:pt x="813" y="542"/>
                  </a:lnTo>
                  <a:lnTo>
                    <a:pt x="817" y="542"/>
                  </a:lnTo>
                  <a:lnTo>
                    <a:pt x="817" y="540"/>
                  </a:lnTo>
                  <a:lnTo>
                    <a:pt x="820" y="539"/>
                  </a:lnTo>
                  <a:lnTo>
                    <a:pt x="820" y="537"/>
                  </a:lnTo>
                  <a:lnTo>
                    <a:pt x="819" y="537"/>
                  </a:lnTo>
                  <a:lnTo>
                    <a:pt x="815" y="539"/>
                  </a:lnTo>
                  <a:lnTo>
                    <a:pt x="813" y="537"/>
                  </a:lnTo>
                  <a:lnTo>
                    <a:pt x="813" y="537"/>
                  </a:lnTo>
                  <a:lnTo>
                    <a:pt x="812" y="533"/>
                  </a:lnTo>
                  <a:lnTo>
                    <a:pt x="813" y="528"/>
                  </a:lnTo>
                  <a:lnTo>
                    <a:pt x="817" y="525"/>
                  </a:lnTo>
                  <a:lnTo>
                    <a:pt x="820" y="518"/>
                  </a:lnTo>
                  <a:lnTo>
                    <a:pt x="820" y="518"/>
                  </a:lnTo>
                  <a:lnTo>
                    <a:pt x="824" y="513"/>
                  </a:lnTo>
                  <a:lnTo>
                    <a:pt x="826" y="513"/>
                  </a:lnTo>
                  <a:lnTo>
                    <a:pt x="829" y="509"/>
                  </a:lnTo>
                  <a:lnTo>
                    <a:pt x="833" y="506"/>
                  </a:lnTo>
                  <a:lnTo>
                    <a:pt x="836" y="509"/>
                  </a:lnTo>
                  <a:lnTo>
                    <a:pt x="834" y="513"/>
                  </a:lnTo>
                  <a:lnTo>
                    <a:pt x="836" y="514"/>
                  </a:lnTo>
                  <a:lnTo>
                    <a:pt x="836" y="516"/>
                  </a:lnTo>
                  <a:lnTo>
                    <a:pt x="840" y="514"/>
                  </a:lnTo>
                  <a:lnTo>
                    <a:pt x="840" y="513"/>
                  </a:lnTo>
                  <a:lnTo>
                    <a:pt x="843" y="506"/>
                  </a:lnTo>
                  <a:lnTo>
                    <a:pt x="843" y="506"/>
                  </a:lnTo>
                  <a:lnTo>
                    <a:pt x="841" y="506"/>
                  </a:lnTo>
                  <a:lnTo>
                    <a:pt x="838" y="506"/>
                  </a:lnTo>
                  <a:lnTo>
                    <a:pt x="836" y="502"/>
                  </a:lnTo>
                  <a:lnTo>
                    <a:pt x="838" y="497"/>
                  </a:lnTo>
                  <a:lnTo>
                    <a:pt x="843" y="497"/>
                  </a:lnTo>
                  <a:lnTo>
                    <a:pt x="843" y="497"/>
                  </a:lnTo>
                  <a:lnTo>
                    <a:pt x="848" y="493"/>
                  </a:lnTo>
                  <a:lnTo>
                    <a:pt x="848" y="490"/>
                  </a:lnTo>
                  <a:lnTo>
                    <a:pt x="852" y="488"/>
                  </a:lnTo>
                  <a:lnTo>
                    <a:pt x="855" y="490"/>
                  </a:lnTo>
                  <a:lnTo>
                    <a:pt x="860" y="492"/>
                  </a:lnTo>
                  <a:lnTo>
                    <a:pt x="860" y="495"/>
                  </a:lnTo>
                  <a:lnTo>
                    <a:pt x="860" y="497"/>
                  </a:lnTo>
                  <a:lnTo>
                    <a:pt x="862" y="497"/>
                  </a:lnTo>
                  <a:lnTo>
                    <a:pt x="866" y="500"/>
                  </a:lnTo>
                  <a:lnTo>
                    <a:pt x="867" y="502"/>
                  </a:lnTo>
                  <a:lnTo>
                    <a:pt x="867" y="506"/>
                  </a:lnTo>
                  <a:lnTo>
                    <a:pt x="866" y="506"/>
                  </a:lnTo>
                  <a:lnTo>
                    <a:pt x="866" y="509"/>
                  </a:lnTo>
                  <a:lnTo>
                    <a:pt x="866" y="511"/>
                  </a:lnTo>
                  <a:lnTo>
                    <a:pt x="867" y="514"/>
                  </a:lnTo>
                  <a:lnTo>
                    <a:pt x="869" y="516"/>
                  </a:lnTo>
                  <a:lnTo>
                    <a:pt x="869" y="523"/>
                  </a:lnTo>
                  <a:lnTo>
                    <a:pt x="871" y="525"/>
                  </a:lnTo>
                  <a:lnTo>
                    <a:pt x="871" y="525"/>
                  </a:lnTo>
                  <a:lnTo>
                    <a:pt x="867" y="528"/>
                  </a:lnTo>
                  <a:lnTo>
                    <a:pt x="867" y="532"/>
                  </a:lnTo>
                  <a:lnTo>
                    <a:pt x="866" y="537"/>
                  </a:lnTo>
                  <a:lnTo>
                    <a:pt x="866" y="539"/>
                  </a:lnTo>
                  <a:lnTo>
                    <a:pt x="864" y="540"/>
                  </a:lnTo>
                  <a:lnTo>
                    <a:pt x="866" y="544"/>
                  </a:lnTo>
                  <a:lnTo>
                    <a:pt x="864" y="547"/>
                  </a:lnTo>
                  <a:lnTo>
                    <a:pt x="867" y="553"/>
                  </a:lnTo>
                  <a:lnTo>
                    <a:pt x="867" y="554"/>
                  </a:lnTo>
                  <a:lnTo>
                    <a:pt x="866" y="556"/>
                  </a:lnTo>
                  <a:lnTo>
                    <a:pt x="867" y="560"/>
                  </a:lnTo>
                  <a:lnTo>
                    <a:pt x="866" y="561"/>
                  </a:lnTo>
                  <a:lnTo>
                    <a:pt x="866" y="565"/>
                  </a:lnTo>
                  <a:lnTo>
                    <a:pt x="869" y="565"/>
                  </a:lnTo>
                  <a:lnTo>
                    <a:pt x="871" y="566"/>
                  </a:lnTo>
                  <a:lnTo>
                    <a:pt x="871" y="570"/>
                  </a:lnTo>
                  <a:lnTo>
                    <a:pt x="867" y="572"/>
                  </a:lnTo>
                  <a:lnTo>
                    <a:pt x="866" y="572"/>
                  </a:lnTo>
                  <a:lnTo>
                    <a:pt x="862" y="572"/>
                  </a:lnTo>
                  <a:lnTo>
                    <a:pt x="860" y="568"/>
                  </a:lnTo>
                  <a:lnTo>
                    <a:pt x="862" y="565"/>
                  </a:lnTo>
                  <a:lnTo>
                    <a:pt x="857" y="566"/>
                  </a:lnTo>
                  <a:lnTo>
                    <a:pt x="855" y="570"/>
                  </a:lnTo>
                  <a:lnTo>
                    <a:pt x="853" y="572"/>
                  </a:lnTo>
                  <a:lnTo>
                    <a:pt x="853" y="573"/>
                  </a:lnTo>
                  <a:lnTo>
                    <a:pt x="857" y="572"/>
                  </a:lnTo>
                  <a:lnTo>
                    <a:pt x="860" y="573"/>
                  </a:lnTo>
                  <a:lnTo>
                    <a:pt x="859" y="577"/>
                  </a:lnTo>
                  <a:lnTo>
                    <a:pt x="852" y="582"/>
                  </a:lnTo>
                  <a:lnTo>
                    <a:pt x="846" y="584"/>
                  </a:lnTo>
                  <a:lnTo>
                    <a:pt x="846" y="584"/>
                  </a:lnTo>
                  <a:lnTo>
                    <a:pt x="846" y="584"/>
                  </a:lnTo>
                  <a:lnTo>
                    <a:pt x="843" y="587"/>
                  </a:lnTo>
                  <a:lnTo>
                    <a:pt x="846" y="591"/>
                  </a:lnTo>
                  <a:lnTo>
                    <a:pt x="848" y="589"/>
                  </a:lnTo>
                  <a:lnTo>
                    <a:pt x="852" y="591"/>
                  </a:lnTo>
                  <a:lnTo>
                    <a:pt x="852" y="593"/>
                  </a:lnTo>
                  <a:lnTo>
                    <a:pt x="855" y="596"/>
                  </a:lnTo>
                  <a:lnTo>
                    <a:pt x="859" y="596"/>
                  </a:lnTo>
                  <a:lnTo>
                    <a:pt x="860" y="593"/>
                  </a:lnTo>
                  <a:lnTo>
                    <a:pt x="862" y="593"/>
                  </a:lnTo>
                  <a:lnTo>
                    <a:pt x="864" y="593"/>
                  </a:lnTo>
                  <a:lnTo>
                    <a:pt x="862" y="596"/>
                  </a:lnTo>
                  <a:lnTo>
                    <a:pt x="862" y="596"/>
                  </a:lnTo>
                  <a:lnTo>
                    <a:pt x="866" y="598"/>
                  </a:lnTo>
                  <a:lnTo>
                    <a:pt x="867" y="600"/>
                  </a:lnTo>
                  <a:lnTo>
                    <a:pt x="871" y="596"/>
                  </a:lnTo>
                  <a:lnTo>
                    <a:pt x="871" y="598"/>
                  </a:lnTo>
                  <a:lnTo>
                    <a:pt x="871" y="601"/>
                  </a:lnTo>
                  <a:lnTo>
                    <a:pt x="867" y="601"/>
                  </a:lnTo>
                  <a:lnTo>
                    <a:pt x="864" y="605"/>
                  </a:lnTo>
                  <a:lnTo>
                    <a:pt x="862" y="606"/>
                  </a:lnTo>
                  <a:lnTo>
                    <a:pt x="862" y="601"/>
                  </a:lnTo>
                  <a:lnTo>
                    <a:pt x="860" y="603"/>
                  </a:lnTo>
                  <a:lnTo>
                    <a:pt x="859" y="601"/>
                  </a:lnTo>
                  <a:lnTo>
                    <a:pt x="859" y="603"/>
                  </a:lnTo>
                  <a:lnTo>
                    <a:pt x="860" y="606"/>
                  </a:lnTo>
                  <a:lnTo>
                    <a:pt x="860" y="610"/>
                  </a:lnTo>
                  <a:lnTo>
                    <a:pt x="864" y="615"/>
                  </a:lnTo>
                  <a:lnTo>
                    <a:pt x="864" y="619"/>
                  </a:lnTo>
                  <a:lnTo>
                    <a:pt x="864" y="619"/>
                  </a:lnTo>
                  <a:lnTo>
                    <a:pt x="864" y="624"/>
                  </a:lnTo>
                  <a:lnTo>
                    <a:pt x="860" y="624"/>
                  </a:lnTo>
                  <a:lnTo>
                    <a:pt x="860" y="627"/>
                  </a:lnTo>
                  <a:lnTo>
                    <a:pt x="860" y="631"/>
                  </a:lnTo>
                  <a:lnTo>
                    <a:pt x="857" y="634"/>
                  </a:lnTo>
                  <a:lnTo>
                    <a:pt x="857" y="634"/>
                  </a:lnTo>
                  <a:lnTo>
                    <a:pt x="859" y="641"/>
                  </a:lnTo>
                  <a:lnTo>
                    <a:pt x="855" y="641"/>
                  </a:lnTo>
                  <a:lnTo>
                    <a:pt x="857" y="643"/>
                  </a:lnTo>
                  <a:lnTo>
                    <a:pt x="859" y="643"/>
                  </a:lnTo>
                  <a:lnTo>
                    <a:pt x="860" y="641"/>
                  </a:lnTo>
                  <a:lnTo>
                    <a:pt x="862" y="638"/>
                  </a:lnTo>
                  <a:lnTo>
                    <a:pt x="867" y="634"/>
                  </a:lnTo>
                  <a:lnTo>
                    <a:pt x="867" y="634"/>
                  </a:lnTo>
                  <a:lnTo>
                    <a:pt x="867" y="633"/>
                  </a:lnTo>
                  <a:lnTo>
                    <a:pt x="869" y="631"/>
                  </a:lnTo>
                  <a:lnTo>
                    <a:pt x="871" y="633"/>
                  </a:lnTo>
                  <a:lnTo>
                    <a:pt x="871" y="631"/>
                  </a:lnTo>
                  <a:lnTo>
                    <a:pt x="871" y="624"/>
                  </a:lnTo>
                  <a:lnTo>
                    <a:pt x="874" y="620"/>
                  </a:lnTo>
                  <a:lnTo>
                    <a:pt x="876" y="619"/>
                  </a:lnTo>
                  <a:lnTo>
                    <a:pt x="881" y="612"/>
                  </a:lnTo>
                  <a:lnTo>
                    <a:pt x="883" y="608"/>
                  </a:lnTo>
                  <a:lnTo>
                    <a:pt x="883" y="608"/>
                  </a:lnTo>
                  <a:lnTo>
                    <a:pt x="885" y="610"/>
                  </a:lnTo>
                  <a:lnTo>
                    <a:pt x="886" y="612"/>
                  </a:lnTo>
                  <a:lnTo>
                    <a:pt x="888" y="619"/>
                  </a:lnTo>
                  <a:lnTo>
                    <a:pt x="890" y="624"/>
                  </a:lnTo>
                  <a:lnTo>
                    <a:pt x="893" y="626"/>
                  </a:lnTo>
                  <a:lnTo>
                    <a:pt x="893" y="631"/>
                  </a:lnTo>
                  <a:lnTo>
                    <a:pt x="892" y="634"/>
                  </a:lnTo>
                  <a:lnTo>
                    <a:pt x="893" y="641"/>
                  </a:lnTo>
                  <a:lnTo>
                    <a:pt x="890" y="643"/>
                  </a:lnTo>
                  <a:lnTo>
                    <a:pt x="888" y="646"/>
                  </a:lnTo>
                  <a:lnTo>
                    <a:pt x="886" y="643"/>
                  </a:lnTo>
                  <a:lnTo>
                    <a:pt x="883" y="646"/>
                  </a:lnTo>
                  <a:lnTo>
                    <a:pt x="881" y="648"/>
                  </a:lnTo>
                  <a:lnTo>
                    <a:pt x="883" y="652"/>
                  </a:lnTo>
                  <a:lnTo>
                    <a:pt x="879" y="655"/>
                  </a:lnTo>
                  <a:lnTo>
                    <a:pt x="879" y="659"/>
                  </a:lnTo>
                  <a:lnTo>
                    <a:pt x="879" y="660"/>
                  </a:lnTo>
                  <a:lnTo>
                    <a:pt x="879" y="666"/>
                  </a:lnTo>
                  <a:lnTo>
                    <a:pt x="883" y="678"/>
                  </a:lnTo>
                  <a:lnTo>
                    <a:pt x="886" y="683"/>
                  </a:lnTo>
                  <a:lnTo>
                    <a:pt x="885" y="686"/>
                  </a:lnTo>
                  <a:lnTo>
                    <a:pt x="886" y="690"/>
                  </a:lnTo>
                  <a:lnTo>
                    <a:pt x="890" y="690"/>
                  </a:lnTo>
                  <a:lnTo>
                    <a:pt x="890" y="685"/>
                  </a:lnTo>
                  <a:lnTo>
                    <a:pt x="888" y="685"/>
                  </a:lnTo>
                  <a:lnTo>
                    <a:pt x="890" y="681"/>
                  </a:lnTo>
                  <a:lnTo>
                    <a:pt x="893" y="681"/>
                  </a:lnTo>
                  <a:lnTo>
                    <a:pt x="893" y="685"/>
                  </a:lnTo>
                  <a:lnTo>
                    <a:pt x="897" y="685"/>
                  </a:lnTo>
                  <a:lnTo>
                    <a:pt x="897" y="681"/>
                  </a:lnTo>
                  <a:lnTo>
                    <a:pt x="899" y="678"/>
                  </a:lnTo>
                  <a:lnTo>
                    <a:pt x="899" y="674"/>
                  </a:lnTo>
                  <a:lnTo>
                    <a:pt x="902" y="671"/>
                  </a:lnTo>
                  <a:lnTo>
                    <a:pt x="906" y="666"/>
                  </a:lnTo>
                  <a:lnTo>
                    <a:pt x="906" y="666"/>
                  </a:lnTo>
                  <a:lnTo>
                    <a:pt x="909" y="664"/>
                  </a:lnTo>
                  <a:lnTo>
                    <a:pt x="914" y="660"/>
                  </a:lnTo>
                  <a:lnTo>
                    <a:pt x="919" y="653"/>
                  </a:lnTo>
                  <a:lnTo>
                    <a:pt x="921" y="646"/>
                  </a:lnTo>
                  <a:lnTo>
                    <a:pt x="925" y="640"/>
                  </a:lnTo>
                  <a:lnTo>
                    <a:pt x="928" y="638"/>
                  </a:lnTo>
                  <a:lnTo>
                    <a:pt x="930" y="641"/>
                  </a:lnTo>
                  <a:lnTo>
                    <a:pt x="932" y="640"/>
                  </a:lnTo>
                  <a:lnTo>
                    <a:pt x="933" y="641"/>
                  </a:lnTo>
                  <a:lnTo>
                    <a:pt x="937" y="640"/>
                  </a:lnTo>
                  <a:lnTo>
                    <a:pt x="937" y="638"/>
                  </a:lnTo>
                  <a:lnTo>
                    <a:pt x="935" y="638"/>
                  </a:lnTo>
                  <a:lnTo>
                    <a:pt x="932" y="634"/>
                  </a:lnTo>
                  <a:lnTo>
                    <a:pt x="933" y="633"/>
                  </a:lnTo>
                  <a:lnTo>
                    <a:pt x="937" y="633"/>
                  </a:lnTo>
                  <a:lnTo>
                    <a:pt x="940" y="634"/>
                  </a:lnTo>
                  <a:lnTo>
                    <a:pt x="940" y="633"/>
                  </a:lnTo>
                  <a:lnTo>
                    <a:pt x="944" y="633"/>
                  </a:lnTo>
                  <a:lnTo>
                    <a:pt x="946" y="633"/>
                  </a:lnTo>
                  <a:lnTo>
                    <a:pt x="944" y="629"/>
                  </a:lnTo>
                  <a:lnTo>
                    <a:pt x="942" y="629"/>
                  </a:lnTo>
                  <a:lnTo>
                    <a:pt x="940" y="626"/>
                  </a:lnTo>
                  <a:lnTo>
                    <a:pt x="939" y="626"/>
                  </a:lnTo>
                  <a:lnTo>
                    <a:pt x="939" y="620"/>
                  </a:lnTo>
                  <a:lnTo>
                    <a:pt x="940" y="619"/>
                  </a:lnTo>
                  <a:lnTo>
                    <a:pt x="940" y="615"/>
                  </a:lnTo>
                  <a:lnTo>
                    <a:pt x="944" y="615"/>
                  </a:lnTo>
                  <a:lnTo>
                    <a:pt x="942" y="612"/>
                  </a:lnTo>
                  <a:lnTo>
                    <a:pt x="942" y="610"/>
                  </a:lnTo>
                  <a:lnTo>
                    <a:pt x="944" y="608"/>
                  </a:lnTo>
                  <a:lnTo>
                    <a:pt x="944" y="606"/>
                  </a:lnTo>
                  <a:lnTo>
                    <a:pt x="944" y="605"/>
                  </a:lnTo>
                  <a:lnTo>
                    <a:pt x="947" y="605"/>
                  </a:lnTo>
                  <a:lnTo>
                    <a:pt x="947" y="601"/>
                  </a:lnTo>
                  <a:lnTo>
                    <a:pt x="946" y="601"/>
                  </a:lnTo>
                  <a:lnTo>
                    <a:pt x="944" y="598"/>
                  </a:lnTo>
                  <a:lnTo>
                    <a:pt x="947" y="600"/>
                  </a:lnTo>
                  <a:lnTo>
                    <a:pt x="947" y="601"/>
                  </a:lnTo>
                  <a:lnTo>
                    <a:pt x="951" y="601"/>
                  </a:lnTo>
                  <a:lnTo>
                    <a:pt x="952" y="601"/>
                  </a:lnTo>
                  <a:lnTo>
                    <a:pt x="958" y="601"/>
                  </a:lnTo>
                  <a:lnTo>
                    <a:pt x="963" y="605"/>
                  </a:lnTo>
                  <a:lnTo>
                    <a:pt x="965" y="606"/>
                  </a:lnTo>
                  <a:lnTo>
                    <a:pt x="965" y="608"/>
                  </a:lnTo>
                  <a:lnTo>
                    <a:pt x="970" y="612"/>
                  </a:lnTo>
                  <a:lnTo>
                    <a:pt x="975" y="610"/>
                  </a:lnTo>
                  <a:lnTo>
                    <a:pt x="979" y="612"/>
                  </a:lnTo>
                  <a:lnTo>
                    <a:pt x="982" y="612"/>
                  </a:lnTo>
                  <a:lnTo>
                    <a:pt x="982" y="615"/>
                  </a:lnTo>
                  <a:lnTo>
                    <a:pt x="980" y="615"/>
                  </a:lnTo>
                  <a:lnTo>
                    <a:pt x="982" y="619"/>
                  </a:lnTo>
                  <a:lnTo>
                    <a:pt x="980" y="619"/>
                  </a:lnTo>
                  <a:lnTo>
                    <a:pt x="979" y="619"/>
                  </a:lnTo>
                  <a:lnTo>
                    <a:pt x="975" y="619"/>
                  </a:lnTo>
                  <a:lnTo>
                    <a:pt x="975" y="619"/>
                  </a:lnTo>
                  <a:lnTo>
                    <a:pt x="982" y="624"/>
                  </a:lnTo>
                  <a:lnTo>
                    <a:pt x="984" y="627"/>
                  </a:lnTo>
                  <a:lnTo>
                    <a:pt x="980" y="629"/>
                  </a:lnTo>
                  <a:lnTo>
                    <a:pt x="982" y="629"/>
                  </a:lnTo>
                  <a:lnTo>
                    <a:pt x="985" y="629"/>
                  </a:lnTo>
                  <a:lnTo>
                    <a:pt x="991" y="629"/>
                  </a:lnTo>
                  <a:lnTo>
                    <a:pt x="991" y="633"/>
                  </a:lnTo>
                  <a:lnTo>
                    <a:pt x="994" y="633"/>
                  </a:lnTo>
                  <a:lnTo>
                    <a:pt x="994" y="634"/>
                  </a:lnTo>
                  <a:lnTo>
                    <a:pt x="992" y="638"/>
                  </a:lnTo>
                  <a:lnTo>
                    <a:pt x="985" y="641"/>
                  </a:lnTo>
                  <a:lnTo>
                    <a:pt x="982" y="643"/>
                  </a:lnTo>
                  <a:lnTo>
                    <a:pt x="980" y="643"/>
                  </a:lnTo>
                  <a:lnTo>
                    <a:pt x="985" y="643"/>
                  </a:lnTo>
                  <a:lnTo>
                    <a:pt x="987" y="643"/>
                  </a:lnTo>
                  <a:lnTo>
                    <a:pt x="987" y="646"/>
                  </a:lnTo>
                  <a:lnTo>
                    <a:pt x="989" y="646"/>
                  </a:lnTo>
                  <a:lnTo>
                    <a:pt x="991" y="646"/>
                  </a:lnTo>
                  <a:lnTo>
                    <a:pt x="987" y="650"/>
                  </a:lnTo>
                  <a:lnTo>
                    <a:pt x="989" y="652"/>
                  </a:lnTo>
                  <a:lnTo>
                    <a:pt x="985" y="655"/>
                  </a:lnTo>
                  <a:lnTo>
                    <a:pt x="980" y="657"/>
                  </a:lnTo>
                  <a:lnTo>
                    <a:pt x="979" y="655"/>
                  </a:lnTo>
                  <a:lnTo>
                    <a:pt x="975" y="659"/>
                  </a:lnTo>
                  <a:lnTo>
                    <a:pt x="975" y="657"/>
                  </a:lnTo>
                  <a:lnTo>
                    <a:pt x="970" y="653"/>
                  </a:lnTo>
                  <a:lnTo>
                    <a:pt x="968" y="653"/>
                  </a:lnTo>
                  <a:lnTo>
                    <a:pt x="966" y="652"/>
                  </a:lnTo>
                  <a:lnTo>
                    <a:pt x="965" y="652"/>
                  </a:lnTo>
                  <a:lnTo>
                    <a:pt x="965" y="655"/>
                  </a:lnTo>
                  <a:lnTo>
                    <a:pt x="963" y="657"/>
                  </a:lnTo>
                  <a:lnTo>
                    <a:pt x="966" y="657"/>
                  </a:lnTo>
                  <a:lnTo>
                    <a:pt x="968" y="659"/>
                  </a:lnTo>
                  <a:lnTo>
                    <a:pt x="968" y="660"/>
                  </a:lnTo>
                  <a:lnTo>
                    <a:pt x="965" y="664"/>
                  </a:lnTo>
                  <a:lnTo>
                    <a:pt x="968" y="664"/>
                  </a:lnTo>
                  <a:lnTo>
                    <a:pt x="966" y="666"/>
                  </a:lnTo>
                  <a:lnTo>
                    <a:pt x="966" y="669"/>
                  </a:lnTo>
                  <a:lnTo>
                    <a:pt x="968" y="669"/>
                  </a:lnTo>
                  <a:lnTo>
                    <a:pt x="970" y="666"/>
                  </a:lnTo>
                  <a:lnTo>
                    <a:pt x="970" y="666"/>
                  </a:lnTo>
                  <a:lnTo>
                    <a:pt x="970" y="669"/>
                  </a:lnTo>
                  <a:lnTo>
                    <a:pt x="966" y="671"/>
                  </a:lnTo>
                  <a:lnTo>
                    <a:pt x="965" y="674"/>
                  </a:lnTo>
                  <a:lnTo>
                    <a:pt x="965" y="678"/>
                  </a:lnTo>
                  <a:lnTo>
                    <a:pt x="970" y="680"/>
                  </a:lnTo>
                  <a:lnTo>
                    <a:pt x="968" y="683"/>
                  </a:lnTo>
                  <a:lnTo>
                    <a:pt x="970" y="690"/>
                  </a:lnTo>
                  <a:lnTo>
                    <a:pt x="970" y="693"/>
                  </a:lnTo>
                  <a:lnTo>
                    <a:pt x="970" y="693"/>
                  </a:lnTo>
                  <a:lnTo>
                    <a:pt x="970" y="697"/>
                  </a:lnTo>
                  <a:lnTo>
                    <a:pt x="965" y="702"/>
                  </a:lnTo>
                  <a:lnTo>
                    <a:pt x="966" y="706"/>
                  </a:lnTo>
                  <a:lnTo>
                    <a:pt x="965" y="706"/>
                  </a:lnTo>
                  <a:lnTo>
                    <a:pt x="961" y="706"/>
                  </a:lnTo>
                  <a:lnTo>
                    <a:pt x="956" y="706"/>
                  </a:lnTo>
                  <a:lnTo>
                    <a:pt x="952" y="707"/>
                  </a:lnTo>
                  <a:lnTo>
                    <a:pt x="952" y="711"/>
                  </a:lnTo>
                  <a:lnTo>
                    <a:pt x="951" y="713"/>
                  </a:lnTo>
                  <a:lnTo>
                    <a:pt x="947" y="716"/>
                  </a:lnTo>
                  <a:lnTo>
                    <a:pt x="946" y="716"/>
                  </a:lnTo>
                  <a:lnTo>
                    <a:pt x="940" y="721"/>
                  </a:lnTo>
                  <a:lnTo>
                    <a:pt x="939" y="721"/>
                  </a:lnTo>
                  <a:lnTo>
                    <a:pt x="935" y="721"/>
                  </a:lnTo>
                  <a:lnTo>
                    <a:pt x="933" y="725"/>
                  </a:lnTo>
                  <a:lnTo>
                    <a:pt x="925" y="725"/>
                  </a:lnTo>
                  <a:lnTo>
                    <a:pt x="925" y="725"/>
                  </a:lnTo>
                  <a:lnTo>
                    <a:pt x="925" y="721"/>
                  </a:lnTo>
                  <a:lnTo>
                    <a:pt x="925" y="718"/>
                  </a:lnTo>
                  <a:lnTo>
                    <a:pt x="921" y="716"/>
                  </a:lnTo>
                  <a:lnTo>
                    <a:pt x="921" y="714"/>
                  </a:lnTo>
                  <a:lnTo>
                    <a:pt x="925" y="713"/>
                  </a:lnTo>
                  <a:lnTo>
                    <a:pt x="925" y="711"/>
                  </a:lnTo>
                  <a:lnTo>
                    <a:pt x="928" y="706"/>
                  </a:lnTo>
                  <a:lnTo>
                    <a:pt x="925" y="709"/>
                  </a:lnTo>
                  <a:lnTo>
                    <a:pt x="921" y="709"/>
                  </a:lnTo>
                  <a:lnTo>
                    <a:pt x="921" y="702"/>
                  </a:lnTo>
                  <a:lnTo>
                    <a:pt x="921" y="702"/>
                  </a:lnTo>
                  <a:lnTo>
                    <a:pt x="919" y="697"/>
                  </a:lnTo>
                  <a:lnTo>
                    <a:pt x="916" y="702"/>
                  </a:lnTo>
                  <a:lnTo>
                    <a:pt x="914" y="699"/>
                  </a:lnTo>
                  <a:lnTo>
                    <a:pt x="911" y="699"/>
                  </a:lnTo>
                  <a:lnTo>
                    <a:pt x="907" y="706"/>
                  </a:lnTo>
                  <a:lnTo>
                    <a:pt x="909" y="706"/>
                  </a:lnTo>
                  <a:lnTo>
                    <a:pt x="914" y="702"/>
                  </a:lnTo>
                  <a:lnTo>
                    <a:pt x="916" y="702"/>
                  </a:lnTo>
                  <a:lnTo>
                    <a:pt x="916" y="706"/>
                  </a:lnTo>
                  <a:lnTo>
                    <a:pt x="919" y="706"/>
                  </a:lnTo>
                  <a:lnTo>
                    <a:pt x="921" y="713"/>
                  </a:lnTo>
                  <a:lnTo>
                    <a:pt x="919" y="718"/>
                  </a:lnTo>
                  <a:lnTo>
                    <a:pt x="921" y="718"/>
                  </a:lnTo>
                  <a:lnTo>
                    <a:pt x="921" y="721"/>
                  </a:lnTo>
                  <a:lnTo>
                    <a:pt x="921" y="725"/>
                  </a:lnTo>
                  <a:lnTo>
                    <a:pt x="921" y="725"/>
                  </a:lnTo>
                  <a:lnTo>
                    <a:pt x="921" y="728"/>
                  </a:lnTo>
                  <a:lnTo>
                    <a:pt x="919" y="728"/>
                  </a:lnTo>
                  <a:lnTo>
                    <a:pt x="914" y="725"/>
                  </a:lnTo>
                  <a:lnTo>
                    <a:pt x="914" y="721"/>
                  </a:lnTo>
                  <a:lnTo>
                    <a:pt x="911" y="721"/>
                  </a:lnTo>
                  <a:lnTo>
                    <a:pt x="911" y="718"/>
                  </a:lnTo>
                  <a:lnTo>
                    <a:pt x="909" y="721"/>
                  </a:lnTo>
                  <a:lnTo>
                    <a:pt x="913" y="725"/>
                  </a:lnTo>
                  <a:lnTo>
                    <a:pt x="911" y="725"/>
                  </a:lnTo>
                  <a:lnTo>
                    <a:pt x="907" y="725"/>
                  </a:lnTo>
                  <a:lnTo>
                    <a:pt x="906" y="725"/>
                  </a:lnTo>
                  <a:lnTo>
                    <a:pt x="906" y="721"/>
                  </a:lnTo>
                  <a:lnTo>
                    <a:pt x="900" y="721"/>
                  </a:lnTo>
                  <a:lnTo>
                    <a:pt x="900" y="721"/>
                  </a:lnTo>
                  <a:lnTo>
                    <a:pt x="902" y="716"/>
                  </a:lnTo>
                  <a:lnTo>
                    <a:pt x="906" y="714"/>
                  </a:lnTo>
                  <a:lnTo>
                    <a:pt x="902" y="714"/>
                  </a:lnTo>
                  <a:lnTo>
                    <a:pt x="902" y="713"/>
                  </a:lnTo>
                  <a:lnTo>
                    <a:pt x="897" y="714"/>
                  </a:lnTo>
                  <a:lnTo>
                    <a:pt x="893" y="714"/>
                  </a:lnTo>
                  <a:lnTo>
                    <a:pt x="890" y="713"/>
                  </a:lnTo>
                  <a:lnTo>
                    <a:pt x="888" y="713"/>
                  </a:lnTo>
                  <a:lnTo>
                    <a:pt x="883" y="711"/>
                  </a:lnTo>
                  <a:lnTo>
                    <a:pt x="883" y="713"/>
                  </a:lnTo>
                  <a:lnTo>
                    <a:pt x="885" y="714"/>
                  </a:lnTo>
                  <a:lnTo>
                    <a:pt x="883" y="716"/>
                  </a:lnTo>
                  <a:lnTo>
                    <a:pt x="883" y="720"/>
                  </a:lnTo>
                  <a:lnTo>
                    <a:pt x="885" y="721"/>
                  </a:lnTo>
                  <a:lnTo>
                    <a:pt x="888" y="721"/>
                  </a:lnTo>
                  <a:lnTo>
                    <a:pt x="892" y="725"/>
                  </a:lnTo>
                  <a:lnTo>
                    <a:pt x="888" y="730"/>
                  </a:lnTo>
                  <a:lnTo>
                    <a:pt x="886" y="730"/>
                  </a:lnTo>
                  <a:lnTo>
                    <a:pt x="878" y="737"/>
                  </a:lnTo>
                  <a:lnTo>
                    <a:pt x="874" y="742"/>
                  </a:lnTo>
                  <a:lnTo>
                    <a:pt x="871" y="747"/>
                  </a:lnTo>
                  <a:lnTo>
                    <a:pt x="869" y="746"/>
                  </a:lnTo>
                  <a:lnTo>
                    <a:pt x="866" y="747"/>
                  </a:lnTo>
                  <a:lnTo>
                    <a:pt x="864" y="753"/>
                  </a:lnTo>
                  <a:lnTo>
                    <a:pt x="860" y="753"/>
                  </a:lnTo>
                  <a:lnTo>
                    <a:pt x="852" y="751"/>
                  </a:lnTo>
                  <a:lnTo>
                    <a:pt x="846" y="747"/>
                  </a:lnTo>
                  <a:lnTo>
                    <a:pt x="846" y="744"/>
                  </a:lnTo>
                  <a:lnTo>
                    <a:pt x="841" y="740"/>
                  </a:lnTo>
                  <a:lnTo>
                    <a:pt x="841" y="739"/>
                  </a:lnTo>
                  <a:lnTo>
                    <a:pt x="843" y="739"/>
                  </a:lnTo>
                  <a:lnTo>
                    <a:pt x="843" y="737"/>
                  </a:lnTo>
                  <a:lnTo>
                    <a:pt x="843" y="735"/>
                  </a:lnTo>
                  <a:lnTo>
                    <a:pt x="840" y="735"/>
                  </a:lnTo>
                  <a:lnTo>
                    <a:pt x="836" y="728"/>
                  </a:lnTo>
                  <a:lnTo>
                    <a:pt x="831" y="725"/>
                  </a:lnTo>
                  <a:lnTo>
                    <a:pt x="824" y="725"/>
                  </a:lnTo>
                  <a:lnTo>
                    <a:pt x="820" y="721"/>
                  </a:lnTo>
                  <a:lnTo>
                    <a:pt x="812" y="721"/>
                  </a:lnTo>
                  <a:lnTo>
                    <a:pt x="808" y="721"/>
                  </a:lnTo>
                  <a:lnTo>
                    <a:pt x="808" y="721"/>
                  </a:lnTo>
                  <a:lnTo>
                    <a:pt x="812" y="725"/>
                  </a:lnTo>
                  <a:lnTo>
                    <a:pt x="812" y="725"/>
                  </a:lnTo>
                  <a:lnTo>
                    <a:pt x="815" y="725"/>
                  </a:lnTo>
                  <a:lnTo>
                    <a:pt x="820" y="725"/>
                  </a:lnTo>
                  <a:lnTo>
                    <a:pt x="829" y="725"/>
                  </a:lnTo>
                  <a:lnTo>
                    <a:pt x="831" y="728"/>
                  </a:lnTo>
                  <a:lnTo>
                    <a:pt x="829" y="728"/>
                  </a:lnTo>
                  <a:lnTo>
                    <a:pt x="829" y="728"/>
                  </a:lnTo>
                  <a:lnTo>
                    <a:pt x="827" y="730"/>
                  </a:lnTo>
                  <a:lnTo>
                    <a:pt x="829" y="733"/>
                  </a:lnTo>
                  <a:lnTo>
                    <a:pt x="829" y="737"/>
                  </a:lnTo>
                  <a:lnTo>
                    <a:pt x="831" y="737"/>
                  </a:lnTo>
                  <a:lnTo>
                    <a:pt x="834" y="746"/>
                  </a:lnTo>
                  <a:lnTo>
                    <a:pt x="836" y="751"/>
                  </a:lnTo>
                  <a:lnTo>
                    <a:pt x="843" y="753"/>
                  </a:lnTo>
                  <a:lnTo>
                    <a:pt x="848" y="753"/>
                  </a:lnTo>
                  <a:lnTo>
                    <a:pt x="862" y="756"/>
                  </a:lnTo>
                  <a:lnTo>
                    <a:pt x="862" y="760"/>
                  </a:lnTo>
                  <a:lnTo>
                    <a:pt x="860" y="761"/>
                  </a:lnTo>
                  <a:lnTo>
                    <a:pt x="857" y="765"/>
                  </a:lnTo>
                  <a:lnTo>
                    <a:pt x="853" y="766"/>
                  </a:lnTo>
                  <a:lnTo>
                    <a:pt x="848" y="773"/>
                  </a:lnTo>
                  <a:lnTo>
                    <a:pt x="848" y="772"/>
                  </a:lnTo>
                  <a:lnTo>
                    <a:pt x="846" y="772"/>
                  </a:lnTo>
                  <a:lnTo>
                    <a:pt x="846" y="775"/>
                  </a:lnTo>
                  <a:lnTo>
                    <a:pt x="836" y="786"/>
                  </a:lnTo>
                  <a:lnTo>
                    <a:pt x="831" y="787"/>
                  </a:lnTo>
                  <a:lnTo>
                    <a:pt x="827" y="793"/>
                  </a:lnTo>
                  <a:lnTo>
                    <a:pt x="824" y="793"/>
                  </a:lnTo>
                  <a:lnTo>
                    <a:pt x="824" y="793"/>
                  </a:lnTo>
                  <a:lnTo>
                    <a:pt x="820" y="793"/>
                  </a:lnTo>
                  <a:lnTo>
                    <a:pt x="820" y="794"/>
                  </a:lnTo>
                  <a:lnTo>
                    <a:pt x="817" y="789"/>
                  </a:lnTo>
                  <a:lnTo>
                    <a:pt x="815" y="787"/>
                  </a:lnTo>
                  <a:lnTo>
                    <a:pt x="812" y="791"/>
                  </a:lnTo>
                  <a:lnTo>
                    <a:pt x="812" y="787"/>
                  </a:lnTo>
                  <a:lnTo>
                    <a:pt x="810" y="787"/>
                  </a:lnTo>
                  <a:lnTo>
                    <a:pt x="812" y="784"/>
                  </a:lnTo>
                  <a:lnTo>
                    <a:pt x="812" y="784"/>
                  </a:lnTo>
                  <a:lnTo>
                    <a:pt x="810" y="780"/>
                  </a:lnTo>
                  <a:lnTo>
                    <a:pt x="807" y="784"/>
                  </a:lnTo>
                  <a:lnTo>
                    <a:pt x="805" y="789"/>
                  </a:lnTo>
                  <a:lnTo>
                    <a:pt x="805" y="786"/>
                  </a:lnTo>
                  <a:lnTo>
                    <a:pt x="801" y="780"/>
                  </a:lnTo>
                  <a:lnTo>
                    <a:pt x="801" y="786"/>
                  </a:lnTo>
                  <a:lnTo>
                    <a:pt x="803" y="787"/>
                  </a:lnTo>
                  <a:lnTo>
                    <a:pt x="801" y="794"/>
                  </a:lnTo>
                  <a:lnTo>
                    <a:pt x="798" y="801"/>
                  </a:lnTo>
                  <a:lnTo>
                    <a:pt x="798" y="799"/>
                  </a:lnTo>
                  <a:lnTo>
                    <a:pt x="796" y="798"/>
                  </a:lnTo>
                  <a:lnTo>
                    <a:pt x="793" y="794"/>
                  </a:lnTo>
                  <a:lnTo>
                    <a:pt x="793" y="798"/>
                  </a:lnTo>
                  <a:lnTo>
                    <a:pt x="793" y="799"/>
                  </a:lnTo>
                  <a:lnTo>
                    <a:pt x="789" y="801"/>
                  </a:lnTo>
                  <a:lnTo>
                    <a:pt x="789" y="803"/>
                  </a:lnTo>
                  <a:lnTo>
                    <a:pt x="789" y="803"/>
                  </a:lnTo>
                  <a:lnTo>
                    <a:pt x="786" y="803"/>
                  </a:lnTo>
                  <a:lnTo>
                    <a:pt x="786" y="799"/>
                  </a:lnTo>
                  <a:lnTo>
                    <a:pt x="782" y="798"/>
                  </a:lnTo>
                  <a:lnTo>
                    <a:pt x="779" y="793"/>
                  </a:lnTo>
                  <a:lnTo>
                    <a:pt x="772" y="791"/>
                  </a:lnTo>
                  <a:lnTo>
                    <a:pt x="767" y="786"/>
                  </a:lnTo>
                  <a:lnTo>
                    <a:pt x="765" y="780"/>
                  </a:lnTo>
                  <a:lnTo>
                    <a:pt x="761" y="780"/>
                  </a:lnTo>
                  <a:lnTo>
                    <a:pt x="756" y="779"/>
                  </a:lnTo>
                  <a:lnTo>
                    <a:pt x="754" y="775"/>
                  </a:lnTo>
                  <a:lnTo>
                    <a:pt x="754" y="780"/>
                  </a:lnTo>
                  <a:lnTo>
                    <a:pt x="751" y="780"/>
                  </a:lnTo>
                  <a:lnTo>
                    <a:pt x="753" y="784"/>
                  </a:lnTo>
                  <a:lnTo>
                    <a:pt x="756" y="786"/>
                  </a:lnTo>
                  <a:lnTo>
                    <a:pt x="758" y="784"/>
                  </a:lnTo>
                  <a:lnTo>
                    <a:pt x="756" y="784"/>
                  </a:lnTo>
                  <a:lnTo>
                    <a:pt x="756" y="780"/>
                  </a:lnTo>
                  <a:lnTo>
                    <a:pt x="758" y="780"/>
                  </a:lnTo>
                  <a:lnTo>
                    <a:pt x="765" y="787"/>
                  </a:lnTo>
                  <a:lnTo>
                    <a:pt x="770" y="793"/>
                  </a:lnTo>
                  <a:lnTo>
                    <a:pt x="772" y="794"/>
                  </a:lnTo>
                  <a:lnTo>
                    <a:pt x="767" y="796"/>
                  </a:lnTo>
                  <a:lnTo>
                    <a:pt x="765" y="798"/>
                  </a:lnTo>
                  <a:lnTo>
                    <a:pt x="761" y="796"/>
                  </a:lnTo>
                  <a:lnTo>
                    <a:pt x="763" y="799"/>
                  </a:lnTo>
                  <a:lnTo>
                    <a:pt x="763" y="799"/>
                  </a:lnTo>
                  <a:lnTo>
                    <a:pt x="765" y="799"/>
                  </a:lnTo>
                  <a:lnTo>
                    <a:pt x="770" y="798"/>
                  </a:lnTo>
                  <a:lnTo>
                    <a:pt x="773" y="794"/>
                  </a:lnTo>
                  <a:lnTo>
                    <a:pt x="775" y="794"/>
                  </a:lnTo>
                  <a:lnTo>
                    <a:pt x="779" y="796"/>
                  </a:lnTo>
                  <a:lnTo>
                    <a:pt x="779" y="801"/>
                  </a:lnTo>
                  <a:lnTo>
                    <a:pt x="786" y="808"/>
                  </a:lnTo>
                  <a:lnTo>
                    <a:pt x="784" y="815"/>
                  </a:lnTo>
                  <a:lnTo>
                    <a:pt x="780" y="820"/>
                  </a:lnTo>
                  <a:lnTo>
                    <a:pt x="779" y="820"/>
                  </a:lnTo>
                  <a:lnTo>
                    <a:pt x="775" y="822"/>
                  </a:lnTo>
                  <a:lnTo>
                    <a:pt x="770" y="822"/>
                  </a:lnTo>
                  <a:lnTo>
                    <a:pt x="767" y="820"/>
                  </a:lnTo>
                  <a:lnTo>
                    <a:pt x="761" y="819"/>
                  </a:lnTo>
                  <a:lnTo>
                    <a:pt x="756" y="815"/>
                  </a:lnTo>
                  <a:lnTo>
                    <a:pt x="754" y="808"/>
                  </a:lnTo>
                  <a:lnTo>
                    <a:pt x="753" y="806"/>
                  </a:lnTo>
                  <a:lnTo>
                    <a:pt x="751" y="808"/>
                  </a:lnTo>
                  <a:lnTo>
                    <a:pt x="751" y="808"/>
                  </a:lnTo>
                  <a:lnTo>
                    <a:pt x="751" y="812"/>
                  </a:lnTo>
                  <a:lnTo>
                    <a:pt x="754" y="815"/>
                  </a:lnTo>
                  <a:lnTo>
                    <a:pt x="758" y="824"/>
                  </a:lnTo>
                  <a:lnTo>
                    <a:pt x="761" y="829"/>
                  </a:lnTo>
                  <a:lnTo>
                    <a:pt x="760" y="831"/>
                  </a:lnTo>
                  <a:lnTo>
                    <a:pt x="756" y="831"/>
                  </a:lnTo>
                  <a:lnTo>
                    <a:pt x="753" y="831"/>
                  </a:lnTo>
                  <a:lnTo>
                    <a:pt x="753" y="826"/>
                  </a:lnTo>
                  <a:lnTo>
                    <a:pt x="751" y="829"/>
                  </a:lnTo>
                  <a:lnTo>
                    <a:pt x="749" y="829"/>
                  </a:lnTo>
                  <a:lnTo>
                    <a:pt x="751" y="831"/>
                  </a:lnTo>
                  <a:lnTo>
                    <a:pt x="754" y="833"/>
                  </a:lnTo>
                  <a:lnTo>
                    <a:pt x="754" y="834"/>
                  </a:lnTo>
                  <a:lnTo>
                    <a:pt x="749" y="834"/>
                  </a:lnTo>
                  <a:lnTo>
                    <a:pt x="747" y="833"/>
                  </a:lnTo>
                  <a:lnTo>
                    <a:pt x="747" y="834"/>
                  </a:lnTo>
                  <a:lnTo>
                    <a:pt x="749" y="838"/>
                  </a:lnTo>
                  <a:lnTo>
                    <a:pt x="749" y="839"/>
                  </a:lnTo>
                  <a:lnTo>
                    <a:pt x="747" y="843"/>
                  </a:lnTo>
                  <a:lnTo>
                    <a:pt x="747" y="839"/>
                  </a:lnTo>
                  <a:lnTo>
                    <a:pt x="744" y="839"/>
                  </a:lnTo>
                  <a:lnTo>
                    <a:pt x="744" y="839"/>
                  </a:lnTo>
                  <a:lnTo>
                    <a:pt x="744" y="843"/>
                  </a:lnTo>
                  <a:lnTo>
                    <a:pt x="744" y="843"/>
                  </a:lnTo>
                  <a:lnTo>
                    <a:pt x="739" y="843"/>
                  </a:lnTo>
                  <a:lnTo>
                    <a:pt x="739" y="843"/>
                  </a:lnTo>
                  <a:lnTo>
                    <a:pt x="734" y="845"/>
                  </a:lnTo>
                  <a:lnTo>
                    <a:pt x="735" y="846"/>
                  </a:lnTo>
                  <a:lnTo>
                    <a:pt x="737" y="850"/>
                  </a:lnTo>
                  <a:lnTo>
                    <a:pt x="735" y="850"/>
                  </a:lnTo>
                  <a:lnTo>
                    <a:pt x="734" y="848"/>
                  </a:lnTo>
                  <a:lnTo>
                    <a:pt x="730" y="845"/>
                  </a:lnTo>
                  <a:lnTo>
                    <a:pt x="727" y="845"/>
                  </a:lnTo>
                  <a:lnTo>
                    <a:pt x="727" y="846"/>
                  </a:lnTo>
                  <a:lnTo>
                    <a:pt x="725" y="848"/>
                  </a:lnTo>
                  <a:lnTo>
                    <a:pt x="730" y="852"/>
                  </a:lnTo>
                  <a:lnTo>
                    <a:pt x="728" y="853"/>
                  </a:lnTo>
                  <a:lnTo>
                    <a:pt x="728" y="855"/>
                  </a:lnTo>
                  <a:lnTo>
                    <a:pt x="725" y="855"/>
                  </a:lnTo>
                  <a:lnTo>
                    <a:pt x="721" y="860"/>
                  </a:lnTo>
                  <a:lnTo>
                    <a:pt x="720" y="862"/>
                  </a:lnTo>
                  <a:lnTo>
                    <a:pt x="720" y="862"/>
                  </a:lnTo>
                  <a:lnTo>
                    <a:pt x="720" y="866"/>
                  </a:lnTo>
                  <a:lnTo>
                    <a:pt x="716" y="866"/>
                  </a:lnTo>
                  <a:lnTo>
                    <a:pt x="716" y="867"/>
                  </a:lnTo>
                  <a:lnTo>
                    <a:pt x="716" y="871"/>
                  </a:lnTo>
                  <a:lnTo>
                    <a:pt x="713" y="873"/>
                  </a:lnTo>
                  <a:lnTo>
                    <a:pt x="707" y="878"/>
                  </a:lnTo>
                  <a:lnTo>
                    <a:pt x="704" y="879"/>
                  </a:lnTo>
                  <a:lnTo>
                    <a:pt x="704" y="883"/>
                  </a:lnTo>
                  <a:lnTo>
                    <a:pt x="701" y="885"/>
                  </a:lnTo>
                  <a:lnTo>
                    <a:pt x="697" y="883"/>
                  </a:lnTo>
                  <a:lnTo>
                    <a:pt x="697" y="885"/>
                  </a:lnTo>
                  <a:lnTo>
                    <a:pt x="697" y="890"/>
                  </a:lnTo>
                  <a:lnTo>
                    <a:pt x="694" y="893"/>
                  </a:lnTo>
                  <a:lnTo>
                    <a:pt x="694" y="897"/>
                  </a:lnTo>
                  <a:lnTo>
                    <a:pt x="692" y="902"/>
                  </a:lnTo>
                  <a:lnTo>
                    <a:pt x="690" y="906"/>
                  </a:lnTo>
                  <a:lnTo>
                    <a:pt x="688" y="907"/>
                  </a:lnTo>
                  <a:lnTo>
                    <a:pt x="685" y="913"/>
                  </a:lnTo>
                  <a:lnTo>
                    <a:pt x="685" y="916"/>
                  </a:lnTo>
                  <a:lnTo>
                    <a:pt x="685" y="921"/>
                  </a:lnTo>
                  <a:lnTo>
                    <a:pt x="683" y="925"/>
                  </a:lnTo>
                  <a:lnTo>
                    <a:pt x="681" y="928"/>
                  </a:lnTo>
                  <a:lnTo>
                    <a:pt x="680" y="930"/>
                  </a:lnTo>
                  <a:lnTo>
                    <a:pt x="678" y="932"/>
                  </a:lnTo>
                  <a:lnTo>
                    <a:pt x="681" y="932"/>
                  </a:lnTo>
                  <a:lnTo>
                    <a:pt x="681" y="935"/>
                  </a:lnTo>
                  <a:lnTo>
                    <a:pt x="681" y="939"/>
                  </a:lnTo>
                  <a:lnTo>
                    <a:pt x="683" y="940"/>
                  </a:lnTo>
                  <a:lnTo>
                    <a:pt x="683" y="944"/>
                  </a:lnTo>
                  <a:lnTo>
                    <a:pt x="685" y="944"/>
                  </a:lnTo>
                  <a:lnTo>
                    <a:pt x="681" y="953"/>
                  </a:lnTo>
                  <a:lnTo>
                    <a:pt x="676" y="958"/>
                  </a:lnTo>
                  <a:lnTo>
                    <a:pt x="666" y="959"/>
                  </a:lnTo>
                  <a:lnTo>
                    <a:pt x="666" y="963"/>
                  </a:lnTo>
                  <a:lnTo>
                    <a:pt x="671" y="959"/>
                  </a:lnTo>
                  <a:lnTo>
                    <a:pt x="678" y="958"/>
                  </a:lnTo>
                  <a:lnTo>
                    <a:pt x="685" y="953"/>
                  </a:lnTo>
                  <a:lnTo>
                    <a:pt x="688" y="942"/>
                  </a:lnTo>
                  <a:lnTo>
                    <a:pt x="697" y="942"/>
                  </a:lnTo>
                  <a:lnTo>
                    <a:pt x="701" y="944"/>
                  </a:lnTo>
                  <a:lnTo>
                    <a:pt x="701" y="947"/>
                  </a:lnTo>
                  <a:lnTo>
                    <a:pt x="699" y="949"/>
                  </a:lnTo>
                  <a:lnTo>
                    <a:pt x="699" y="954"/>
                  </a:lnTo>
                  <a:lnTo>
                    <a:pt x="702" y="959"/>
                  </a:lnTo>
                  <a:lnTo>
                    <a:pt x="702" y="966"/>
                  </a:lnTo>
                  <a:lnTo>
                    <a:pt x="699" y="972"/>
                  </a:lnTo>
                  <a:lnTo>
                    <a:pt x="701" y="975"/>
                  </a:lnTo>
                  <a:lnTo>
                    <a:pt x="702" y="984"/>
                  </a:lnTo>
                  <a:lnTo>
                    <a:pt x="701" y="986"/>
                  </a:lnTo>
                  <a:lnTo>
                    <a:pt x="692" y="996"/>
                  </a:lnTo>
                  <a:lnTo>
                    <a:pt x="685" y="998"/>
                  </a:lnTo>
                  <a:lnTo>
                    <a:pt x="681" y="998"/>
                  </a:lnTo>
                  <a:lnTo>
                    <a:pt x="685" y="999"/>
                  </a:lnTo>
                  <a:lnTo>
                    <a:pt x="692" y="999"/>
                  </a:lnTo>
                  <a:lnTo>
                    <a:pt x="702" y="994"/>
                  </a:lnTo>
                  <a:lnTo>
                    <a:pt x="716" y="991"/>
                  </a:lnTo>
                  <a:lnTo>
                    <a:pt x="721" y="989"/>
                  </a:lnTo>
                  <a:lnTo>
                    <a:pt x="728" y="994"/>
                  </a:lnTo>
                  <a:lnTo>
                    <a:pt x="734" y="999"/>
                  </a:lnTo>
                  <a:lnTo>
                    <a:pt x="742" y="1003"/>
                  </a:lnTo>
                  <a:lnTo>
                    <a:pt x="744" y="1003"/>
                  </a:lnTo>
                  <a:lnTo>
                    <a:pt x="747" y="1003"/>
                  </a:lnTo>
                  <a:lnTo>
                    <a:pt x="751" y="1012"/>
                  </a:lnTo>
                  <a:lnTo>
                    <a:pt x="754" y="1012"/>
                  </a:lnTo>
                  <a:lnTo>
                    <a:pt x="758" y="1015"/>
                  </a:lnTo>
                  <a:lnTo>
                    <a:pt x="761" y="1019"/>
                  </a:lnTo>
                  <a:lnTo>
                    <a:pt x="761" y="1020"/>
                  </a:lnTo>
                  <a:lnTo>
                    <a:pt x="763" y="1024"/>
                  </a:lnTo>
                  <a:lnTo>
                    <a:pt x="765" y="1029"/>
                  </a:lnTo>
                  <a:lnTo>
                    <a:pt x="765" y="1031"/>
                  </a:lnTo>
                  <a:lnTo>
                    <a:pt x="767" y="1031"/>
                  </a:lnTo>
                  <a:lnTo>
                    <a:pt x="770" y="1031"/>
                  </a:lnTo>
                  <a:lnTo>
                    <a:pt x="775" y="1036"/>
                  </a:lnTo>
                  <a:lnTo>
                    <a:pt x="779" y="1036"/>
                  </a:lnTo>
                  <a:lnTo>
                    <a:pt x="784" y="1039"/>
                  </a:lnTo>
                  <a:lnTo>
                    <a:pt x="786" y="1041"/>
                  </a:lnTo>
                  <a:lnTo>
                    <a:pt x="793" y="1046"/>
                  </a:lnTo>
                  <a:lnTo>
                    <a:pt x="793" y="1050"/>
                  </a:lnTo>
                  <a:lnTo>
                    <a:pt x="798" y="1053"/>
                  </a:lnTo>
                  <a:lnTo>
                    <a:pt x="796" y="1055"/>
                  </a:lnTo>
                  <a:lnTo>
                    <a:pt x="798" y="1057"/>
                  </a:lnTo>
                  <a:lnTo>
                    <a:pt x="801" y="1057"/>
                  </a:lnTo>
                  <a:lnTo>
                    <a:pt x="803" y="1057"/>
                  </a:lnTo>
                  <a:lnTo>
                    <a:pt x="808" y="1057"/>
                  </a:lnTo>
                  <a:lnTo>
                    <a:pt x="815" y="1057"/>
                  </a:lnTo>
                  <a:lnTo>
                    <a:pt x="817" y="1059"/>
                  </a:lnTo>
                  <a:lnTo>
                    <a:pt x="819" y="1059"/>
                  </a:lnTo>
                  <a:lnTo>
                    <a:pt x="824" y="1059"/>
                  </a:lnTo>
                  <a:lnTo>
                    <a:pt x="829" y="1059"/>
                  </a:lnTo>
                  <a:lnTo>
                    <a:pt x="833" y="1059"/>
                  </a:lnTo>
                  <a:lnTo>
                    <a:pt x="836" y="1059"/>
                  </a:lnTo>
                  <a:lnTo>
                    <a:pt x="836" y="1059"/>
                  </a:lnTo>
                  <a:lnTo>
                    <a:pt x="836" y="1059"/>
                  </a:lnTo>
                  <a:lnTo>
                    <a:pt x="838" y="1059"/>
                  </a:lnTo>
                  <a:lnTo>
                    <a:pt x="840" y="1064"/>
                  </a:lnTo>
                  <a:lnTo>
                    <a:pt x="834" y="1072"/>
                  </a:lnTo>
                  <a:lnTo>
                    <a:pt x="834" y="1076"/>
                  </a:lnTo>
                  <a:lnTo>
                    <a:pt x="833" y="1079"/>
                  </a:lnTo>
                  <a:lnTo>
                    <a:pt x="829" y="1085"/>
                  </a:lnTo>
                  <a:lnTo>
                    <a:pt x="829" y="1086"/>
                  </a:lnTo>
                  <a:lnTo>
                    <a:pt x="831" y="1090"/>
                  </a:lnTo>
                  <a:lnTo>
                    <a:pt x="831" y="1095"/>
                  </a:lnTo>
                  <a:lnTo>
                    <a:pt x="827" y="1102"/>
                  </a:lnTo>
                  <a:lnTo>
                    <a:pt x="827" y="1106"/>
                  </a:lnTo>
                  <a:lnTo>
                    <a:pt x="826" y="1109"/>
                  </a:lnTo>
                  <a:lnTo>
                    <a:pt x="824" y="1112"/>
                  </a:lnTo>
                  <a:lnTo>
                    <a:pt x="820" y="1121"/>
                  </a:lnTo>
                  <a:lnTo>
                    <a:pt x="820" y="1123"/>
                  </a:lnTo>
                  <a:lnTo>
                    <a:pt x="826" y="1125"/>
                  </a:lnTo>
                  <a:lnTo>
                    <a:pt x="826" y="1130"/>
                  </a:lnTo>
                  <a:lnTo>
                    <a:pt x="827" y="1132"/>
                  </a:lnTo>
                  <a:lnTo>
                    <a:pt x="829" y="1133"/>
                  </a:lnTo>
                  <a:lnTo>
                    <a:pt x="829" y="1137"/>
                  </a:lnTo>
                  <a:lnTo>
                    <a:pt x="829" y="1139"/>
                  </a:lnTo>
                  <a:lnTo>
                    <a:pt x="829" y="1140"/>
                  </a:lnTo>
                  <a:lnTo>
                    <a:pt x="833" y="1140"/>
                  </a:lnTo>
                  <a:lnTo>
                    <a:pt x="836" y="1144"/>
                  </a:lnTo>
                  <a:lnTo>
                    <a:pt x="838" y="1144"/>
                  </a:lnTo>
                  <a:lnTo>
                    <a:pt x="838" y="1146"/>
                  </a:lnTo>
                  <a:lnTo>
                    <a:pt x="841" y="1149"/>
                  </a:lnTo>
                  <a:lnTo>
                    <a:pt x="841" y="1154"/>
                  </a:lnTo>
                  <a:lnTo>
                    <a:pt x="843" y="1156"/>
                  </a:lnTo>
                  <a:lnTo>
                    <a:pt x="841" y="1161"/>
                  </a:lnTo>
                  <a:lnTo>
                    <a:pt x="834" y="1168"/>
                  </a:lnTo>
                  <a:lnTo>
                    <a:pt x="840" y="1165"/>
                  </a:lnTo>
                  <a:lnTo>
                    <a:pt x="843" y="1163"/>
                  </a:lnTo>
                  <a:lnTo>
                    <a:pt x="846" y="1163"/>
                  </a:lnTo>
                  <a:lnTo>
                    <a:pt x="852" y="1166"/>
                  </a:lnTo>
                  <a:lnTo>
                    <a:pt x="853" y="1166"/>
                  </a:lnTo>
                  <a:lnTo>
                    <a:pt x="853" y="1165"/>
                  </a:lnTo>
                  <a:lnTo>
                    <a:pt x="853" y="1161"/>
                  </a:lnTo>
                  <a:lnTo>
                    <a:pt x="860" y="1152"/>
                  </a:lnTo>
                  <a:lnTo>
                    <a:pt x="862" y="1152"/>
                  </a:lnTo>
                  <a:lnTo>
                    <a:pt x="860" y="1156"/>
                  </a:lnTo>
                  <a:lnTo>
                    <a:pt x="860" y="1158"/>
                  </a:lnTo>
                  <a:lnTo>
                    <a:pt x="864" y="1159"/>
                  </a:lnTo>
                  <a:lnTo>
                    <a:pt x="864" y="1165"/>
                  </a:lnTo>
                  <a:lnTo>
                    <a:pt x="864" y="1168"/>
                  </a:lnTo>
                  <a:lnTo>
                    <a:pt x="867" y="1172"/>
                  </a:lnTo>
                  <a:lnTo>
                    <a:pt x="874" y="1172"/>
                  </a:lnTo>
                  <a:lnTo>
                    <a:pt x="871" y="1172"/>
                  </a:lnTo>
                  <a:lnTo>
                    <a:pt x="867" y="1168"/>
                  </a:lnTo>
                  <a:lnTo>
                    <a:pt x="867" y="1165"/>
                  </a:lnTo>
                  <a:lnTo>
                    <a:pt x="867" y="1158"/>
                  </a:lnTo>
                  <a:lnTo>
                    <a:pt x="869" y="1156"/>
                  </a:lnTo>
                  <a:lnTo>
                    <a:pt x="867" y="1154"/>
                  </a:lnTo>
                  <a:lnTo>
                    <a:pt x="867" y="1151"/>
                  </a:lnTo>
                  <a:lnTo>
                    <a:pt x="869" y="1151"/>
                  </a:lnTo>
                  <a:lnTo>
                    <a:pt x="871" y="1151"/>
                  </a:lnTo>
                  <a:lnTo>
                    <a:pt x="871" y="1146"/>
                  </a:lnTo>
                  <a:lnTo>
                    <a:pt x="874" y="1140"/>
                  </a:lnTo>
                  <a:lnTo>
                    <a:pt x="874" y="1140"/>
                  </a:lnTo>
                  <a:lnTo>
                    <a:pt x="874" y="1135"/>
                  </a:lnTo>
                  <a:lnTo>
                    <a:pt x="871" y="1135"/>
                  </a:lnTo>
                  <a:lnTo>
                    <a:pt x="871" y="1132"/>
                  </a:lnTo>
                  <a:lnTo>
                    <a:pt x="874" y="1126"/>
                  </a:lnTo>
                  <a:lnTo>
                    <a:pt x="874" y="1125"/>
                  </a:lnTo>
                  <a:lnTo>
                    <a:pt x="874" y="1123"/>
                  </a:lnTo>
                  <a:lnTo>
                    <a:pt x="871" y="1121"/>
                  </a:lnTo>
                  <a:lnTo>
                    <a:pt x="871" y="1121"/>
                  </a:lnTo>
                  <a:lnTo>
                    <a:pt x="874" y="1112"/>
                  </a:lnTo>
                  <a:lnTo>
                    <a:pt x="874" y="1109"/>
                  </a:lnTo>
                  <a:lnTo>
                    <a:pt x="874" y="1102"/>
                  </a:lnTo>
                  <a:lnTo>
                    <a:pt x="876" y="1100"/>
                  </a:lnTo>
                  <a:lnTo>
                    <a:pt x="874" y="1097"/>
                  </a:lnTo>
                  <a:lnTo>
                    <a:pt x="876" y="1097"/>
                  </a:lnTo>
                  <a:lnTo>
                    <a:pt x="876" y="1093"/>
                  </a:lnTo>
                  <a:lnTo>
                    <a:pt x="878" y="1093"/>
                  </a:lnTo>
                  <a:lnTo>
                    <a:pt x="876" y="1093"/>
                  </a:lnTo>
                  <a:lnTo>
                    <a:pt x="874" y="1090"/>
                  </a:lnTo>
                  <a:lnTo>
                    <a:pt x="876" y="1090"/>
                  </a:lnTo>
                  <a:lnTo>
                    <a:pt x="874" y="1086"/>
                  </a:lnTo>
                  <a:lnTo>
                    <a:pt x="874" y="1081"/>
                  </a:lnTo>
                  <a:lnTo>
                    <a:pt x="874" y="1081"/>
                  </a:lnTo>
                  <a:lnTo>
                    <a:pt x="874" y="1078"/>
                  </a:lnTo>
                  <a:lnTo>
                    <a:pt x="871" y="1074"/>
                  </a:lnTo>
                  <a:lnTo>
                    <a:pt x="876" y="1072"/>
                  </a:lnTo>
                  <a:lnTo>
                    <a:pt x="883" y="1071"/>
                  </a:lnTo>
                  <a:lnTo>
                    <a:pt x="886" y="1071"/>
                  </a:lnTo>
                  <a:lnTo>
                    <a:pt x="892" y="1071"/>
                  </a:lnTo>
                  <a:lnTo>
                    <a:pt x="893" y="1067"/>
                  </a:lnTo>
                  <a:lnTo>
                    <a:pt x="899" y="1064"/>
                  </a:lnTo>
                  <a:lnTo>
                    <a:pt x="911" y="1062"/>
                  </a:lnTo>
                  <a:lnTo>
                    <a:pt x="911" y="1059"/>
                  </a:lnTo>
                  <a:lnTo>
                    <a:pt x="913" y="1059"/>
                  </a:lnTo>
                  <a:lnTo>
                    <a:pt x="921" y="1053"/>
                  </a:lnTo>
                  <a:lnTo>
                    <a:pt x="921" y="1052"/>
                  </a:lnTo>
                  <a:lnTo>
                    <a:pt x="925" y="1050"/>
                  </a:lnTo>
                  <a:lnTo>
                    <a:pt x="928" y="1041"/>
                  </a:lnTo>
                  <a:lnTo>
                    <a:pt x="932" y="1041"/>
                  </a:lnTo>
                  <a:lnTo>
                    <a:pt x="933" y="1043"/>
                  </a:lnTo>
                  <a:lnTo>
                    <a:pt x="937" y="1043"/>
                  </a:lnTo>
                  <a:lnTo>
                    <a:pt x="939" y="1039"/>
                  </a:lnTo>
                  <a:lnTo>
                    <a:pt x="937" y="1036"/>
                  </a:lnTo>
                  <a:lnTo>
                    <a:pt x="935" y="1031"/>
                  </a:lnTo>
                  <a:lnTo>
                    <a:pt x="933" y="1034"/>
                  </a:lnTo>
                  <a:lnTo>
                    <a:pt x="933" y="1036"/>
                  </a:lnTo>
                  <a:lnTo>
                    <a:pt x="932" y="1039"/>
                  </a:lnTo>
                  <a:lnTo>
                    <a:pt x="932" y="1034"/>
                  </a:lnTo>
                  <a:lnTo>
                    <a:pt x="935" y="1026"/>
                  </a:lnTo>
                  <a:lnTo>
                    <a:pt x="937" y="1024"/>
                  </a:lnTo>
                  <a:lnTo>
                    <a:pt x="937" y="1017"/>
                  </a:lnTo>
                  <a:lnTo>
                    <a:pt x="937" y="1013"/>
                  </a:lnTo>
                  <a:lnTo>
                    <a:pt x="935" y="1008"/>
                  </a:lnTo>
                  <a:lnTo>
                    <a:pt x="935" y="998"/>
                  </a:lnTo>
                  <a:lnTo>
                    <a:pt x="933" y="989"/>
                  </a:lnTo>
                  <a:lnTo>
                    <a:pt x="928" y="980"/>
                  </a:lnTo>
                  <a:lnTo>
                    <a:pt x="925" y="977"/>
                  </a:lnTo>
                  <a:lnTo>
                    <a:pt x="925" y="975"/>
                  </a:lnTo>
                  <a:lnTo>
                    <a:pt x="921" y="975"/>
                  </a:lnTo>
                  <a:lnTo>
                    <a:pt x="921" y="972"/>
                  </a:lnTo>
                  <a:lnTo>
                    <a:pt x="921" y="965"/>
                  </a:lnTo>
                  <a:lnTo>
                    <a:pt x="925" y="963"/>
                  </a:lnTo>
                  <a:lnTo>
                    <a:pt x="933" y="953"/>
                  </a:lnTo>
                  <a:lnTo>
                    <a:pt x="937" y="953"/>
                  </a:lnTo>
                  <a:lnTo>
                    <a:pt x="939" y="949"/>
                  </a:lnTo>
                  <a:lnTo>
                    <a:pt x="939" y="949"/>
                  </a:lnTo>
                  <a:lnTo>
                    <a:pt x="939" y="949"/>
                  </a:lnTo>
                  <a:lnTo>
                    <a:pt x="939" y="947"/>
                  </a:lnTo>
                  <a:lnTo>
                    <a:pt x="942" y="942"/>
                  </a:lnTo>
                  <a:lnTo>
                    <a:pt x="944" y="942"/>
                  </a:lnTo>
                  <a:lnTo>
                    <a:pt x="946" y="944"/>
                  </a:lnTo>
                  <a:lnTo>
                    <a:pt x="947" y="947"/>
                  </a:lnTo>
                  <a:lnTo>
                    <a:pt x="947" y="944"/>
                  </a:lnTo>
                  <a:lnTo>
                    <a:pt x="947" y="940"/>
                  </a:lnTo>
                  <a:lnTo>
                    <a:pt x="951" y="939"/>
                  </a:lnTo>
                  <a:lnTo>
                    <a:pt x="952" y="932"/>
                  </a:lnTo>
                  <a:lnTo>
                    <a:pt x="952" y="930"/>
                  </a:lnTo>
                  <a:lnTo>
                    <a:pt x="947" y="930"/>
                  </a:lnTo>
                  <a:lnTo>
                    <a:pt x="947" y="928"/>
                  </a:lnTo>
                  <a:lnTo>
                    <a:pt x="951" y="925"/>
                  </a:lnTo>
                  <a:lnTo>
                    <a:pt x="951" y="925"/>
                  </a:lnTo>
                  <a:lnTo>
                    <a:pt x="947" y="921"/>
                  </a:lnTo>
                  <a:lnTo>
                    <a:pt x="951" y="919"/>
                  </a:lnTo>
                  <a:lnTo>
                    <a:pt x="952" y="918"/>
                  </a:lnTo>
                  <a:lnTo>
                    <a:pt x="951" y="918"/>
                  </a:lnTo>
                  <a:lnTo>
                    <a:pt x="951" y="916"/>
                  </a:lnTo>
                  <a:lnTo>
                    <a:pt x="951" y="911"/>
                  </a:lnTo>
                  <a:lnTo>
                    <a:pt x="954" y="909"/>
                  </a:lnTo>
                  <a:lnTo>
                    <a:pt x="951" y="907"/>
                  </a:lnTo>
                  <a:lnTo>
                    <a:pt x="947" y="909"/>
                  </a:lnTo>
                  <a:lnTo>
                    <a:pt x="946" y="907"/>
                  </a:lnTo>
                  <a:lnTo>
                    <a:pt x="946" y="906"/>
                  </a:lnTo>
                  <a:lnTo>
                    <a:pt x="951" y="899"/>
                  </a:lnTo>
                  <a:lnTo>
                    <a:pt x="956" y="893"/>
                  </a:lnTo>
                  <a:lnTo>
                    <a:pt x="958" y="890"/>
                  </a:lnTo>
                  <a:lnTo>
                    <a:pt x="959" y="890"/>
                  </a:lnTo>
                  <a:lnTo>
                    <a:pt x="961" y="888"/>
                  </a:lnTo>
                  <a:lnTo>
                    <a:pt x="961" y="883"/>
                  </a:lnTo>
                  <a:lnTo>
                    <a:pt x="959" y="883"/>
                  </a:lnTo>
                  <a:lnTo>
                    <a:pt x="959" y="881"/>
                  </a:lnTo>
                  <a:lnTo>
                    <a:pt x="958" y="881"/>
                  </a:lnTo>
                  <a:lnTo>
                    <a:pt x="954" y="878"/>
                  </a:lnTo>
                  <a:lnTo>
                    <a:pt x="954" y="871"/>
                  </a:lnTo>
                  <a:lnTo>
                    <a:pt x="958" y="866"/>
                  </a:lnTo>
                  <a:lnTo>
                    <a:pt x="958" y="862"/>
                  </a:lnTo>
                  <a:lnTo>
                    <a:pt x="961" y="860"/>
                  </a:lnTo>
                  <a:lnTo>
                    <a:pt x="961" y="862"/>
                  </a:lnTo>
                  <a:lnTo>
                    <a:pt x="965" y="862"/>
                  </a:lnTo>
                  <a:lnTo>
                    <a:pt x="965" y="859"/>
                  </a:lnTo>
                  <a:lnTo>
                    <a:pt x="966" y="857"/>
                  </a:lnTo>
                  <a:lnTo>
                    <a:pt x="968" y="857"/>
                  </a:lnTo>
                  <a:lnTo>
                    <a:pt x="970" y="855"/>
                  </a:lnTo>
                  <a:lnTo>
                    <a:pt x="973" y="857"/>
                  </a:lnTo>
                  <a:lnTo>
                    <a:pt x="979" y="857"/>
                  </a:lnTo>
                  <a:lnTo>
                    <a:pt x="984" y="860"/>
                  </a:lnTo>
                  <a:lnTo>
                    <a:pt x="992" y="866"/>
                  </a:lnTo>
                  <a:lnTo>
                    <a:pt x="996" y="866"/>
                  </a:lnTo>
                  <a:lnTo>
                    <a:pt x="996" y="867"/>
                  </a:lnTo>
                  <a:lnTo>
                    <a:pt x="991" y="871"/>
                  </a:lnTo>
                  <a:lnTo>
                    <a:pt x="996" y="871"/>
                  </a:lnTo>
                  <a:lnTo>
                    <a:pt x="1001" y="866"/>
                  </a:lnTo>
                  <a:lnTo>
                    <a:pt x="1003" y="866"/>
                  </a:lnTo>
                  <a:lnTo>
                    <a:pt x="1005" y="867"/>
                  </a:lnTo>
                  <a:lnTo>
                    <a:pt x="1008" y="867"/>
                  </a:lnTo>
                  <a:lnTo>
                    <a:pt x="1010" y="871"/>
                  </a:lnTo>
                  <a:lnTo>
                    <a:pt x="1010" y="867"/>
                  </a:lnTo>
                  <a:lnTo>
                    <a:pt x="1015" y="871"/>
                  </a:lnTo>
                  <a:lnTo>
                    <a:pt x="1017" y="867"/>
                  </a:lnTo>
                  <a:lnTo>
                    <a:pt x="1018" y="866"/>
                  </a:lnTo>
                  <a:lnTo>
                    <a:pt x="1024" y="866"/>
                  </a:lnTo>
                  <a:lnTo>
                    <a:pt x="1029" y="871"/>
                  </a:lnTo>
                  <a:lnTo>
                    <a:pt x="1029" y="873"/>
                  </a:lnTo>
                  <a:lnTo>
                    <a:pt x="1032" y="876"/>
                  </a:lnTo>
                  <a:lnTo>
                    <a:pt x="1036" y="876"/>
                  </a:lnTo>
                  <a:lnTo>
                    <a:pt x="1036" y="881"/>
                  </a:lnTo>
                  <a:lnTo>
                    <a:pt x="1034" y="885"/>
                  </a:lnTo>
                  <a:lnTo>
                    <a:pt x="1034" y="886"/>
                  </a:lnTo>
                  <a:lnTo>
                    <a:pt x="1036" y="885"/>
                  </a:lnTo>
                  <a:lnTo>
                    <a:pt x="1039" y="888"/>
                  </a:lnTo>
                  <a:lnTo>
                    <a:pt x="1041" y="893"/>
                  </a:lnTo>
                  <a:lnTo>
                    <a:pt x="1039" y="893"/>
                  </a:lnTo>
                  <a:lnTo>
                    <a:pt x="1043" y="897"/>
                  </a:lnTo>
                  <a:lnTo>
                    <a:pt x="1043" y="893"/>
                  </a:lnTo>
                  <a:lnTo>
                    <a:pt x="1048" y="897"/>
                  </a:lnTo>
                  <a:lnTo>
                    <a:pt x="1048" y="899"/>
                  </a:lnTo>
                  <a:lnTo>
                    <a:pt x="1043" y="897"/>
                  </a:lnTo>
                  <a:lnTo>
                    <a:pt x="1043" y="902"/>
                  </a:lnTo>
                  <a:lnTo>
                    <a:pt x="1039" y="902"/>
                  </a:lnTo>
                  <a:lnTo>
                    <a:pt x="1043" y="904"/>
                  </a:lnTo>
                  <a:lnTo>
                    <a:pt x="1043" y="907"/>
                  </a:lnTo>
                  <a:lnTo>
                    <a:pt x="1046" y="904"/>
                  </a:lnTo>
                  <a:lnTo>
                    <a:pt x="1046" y="907"/>
                  </a:lnTo>
                  <a:lnTo>
                    <a:pt x="1048" y="906"/>
                  </a:lnTo>
                  <a:lnTo>
                    <a:pt x="1055" y="911"/>
                  </a:lnTo>
                  <a:lnTo>
                    <a:pt x="1057" y="909"/>
                  </a:lnTo>
                  <a:lnTo>
                    <a:pt x="1057" y="913"/>
                  </a:lnTo>
                  <a:lnTo>
                    <a:pt x="1062" y="909"/>
                  </a:lnTo>
                  <a:lnTo>
                    <a:pt x="1065" y="911"/>
                  </a:lnTo>
                  <a:lnTo>
                    <a:pt x="1065" y="918"/>
                  </a:lnTo>
                  <a:lnTo>
                    <a:pt x="1067" y="921"/>
                  </a:lnTo>
                  <a:lnTo>
                    <a:pt x="1071" y="918"/>
                  </a:lnTo>
                  <a:lnTo>
                    <a:pt x="1071" y="913"/>
                  </a:lnTo>
                  <a:lnTo>
                    <a:pt x="1074" y="913"/>
                  </a:lnTo>
                  <a:lnTo>
                    <a:pt x="1074" y="918"/>
                  </a:lnTo>
                  <a:lnTo>
                    <a:pt x="1074" y="925"/>
                  </a:lnTo>
                  <a:lnTo>
                    <a:pt x="1069" y="925"/>
                  </a:lnTo>
                  <a:lnTo>
                    <a:pt x="1065" y="928"/>
                  </a:lnTo>
                  <a:lnTo>
                    <a:pt x="1067" y="939"/>
                  </a:lnTo>
                  <a:lnTo>
                    <a:pt x="1065" y="940"/>
                  </a:lnTo>
                  <a:lnTo>
                    <a:pt x="1064" y="937"/>
                  </a:lnTo>
                  <a:lnTo>
                    <a:pt x="1064" y="939"/>
                  </a:lnTo>
                  <a:lnTo>
                    <a:pt x="1062" y="944"/>
                  </a:lnTo>
                  <a:lnTo>
                    <a:pt x="1055" y="942"/>
                  </a:lnTo>
                  <a:lnTo>
                    <a:pt x="1046" y="940"/>
                  </a:lnTo>
                  <a:lnTo>
                    <a:pt x="1055" y="944"/>
                  </a:lnTo>
                  <a:lnTo>
                    <a:pt x="1060" y="944"/>
                  </a:lnTo>
                  <a:lnTo>
                    <a:pt x="1065" y="949"/>
                  </a:lnTo>
                  <a:lnTo>
                    <a:pt x="1064" y="954"/>
                  </a:lnTo>
                  <a:lnTo>
                    <a:pt x="1060" y="959"/>
                  </a:lnTo>
                  <a:lnTo>
                    <a:pt x="1060" y="961"/>
                  </a:lnTo>
                  <a:lnTo>
                    <a:pt x="1057" y="966"/>
                  </a:lnTo>
                  <a:lnTo>
                    <a:pt x="1058" y="966"/>
                  </a:lnTo>
                  <a:lnTo>
                    <a:pt x="1062" y="972"/>
                  </a:lnTo>
                  <a:lnTo>
                    <a:pt x="1065" y="975"/>
                  </a:lnTo>
                  <a:lnTo>
                    <a:pt x="1064" y="975"/>
                  </a:lnTo>
                  <a:lnTo>
                    <a:pt x="1057" y="972"/>
                  </a:lnTo>
                  <a:lnTo>
                    <a:pt x="1062" y="977"/>
                  </a:lnTo>
                  <a:lnTo>
                    <a:pt x="1065" y="980"/>
                  </a:lnTo>
                  <a:lnTo>
                    <a:pt x="1065" y="980"/>
                  </a:lnTo>
                  <a:lnTo>
                    <a:pt x="1065" y="975"/>
                  </a:lnTo>
                  <a:lnTo>
                    <a:pt x="1067" y="975"/>
                  </a:lnTo>
                  <a:lnTo>
                    <a:pt x="1071" y="980"/>
                  </a:lnTo>
                  <a:lnTo>
                    <a:pt x="1074" y="984"/>
                  </a:lnTo>
                  <a:lnTo>
                    <a:pt x="1071" y="986"/>
                  </a:lnTo>
                  <a:lnTo>
                    <a:pt x="1071" y="991"/>
                  </a:lnTo>
                  <a:lnTo>
                    <a:pt x="1069" y="996"/>
                  </a:lnTo>
                  <a:lnTo>
                    <a:pt x="1069" y="999"/>
                  </a:lnTo>
                  <a:lnTo>
                    <a:pt x="1065" y="1003"/>
                  </a:lnTo>
                  <a:lnTo>
                    <a:pt x="1069" y="999"/>
                  </a:lnTo>
                  <a:lnTo>
                    <a:pt x="1074" y="993"/>
                  </a:lnTo>
                  <a:lnTo>
                    <a:pt x="1078" y="987"/>
                  </a:lnTo>
                  <a:lnTo>
                    <a:pt x="1078" y="987"/>
                  </a:lnTo>
                  <a:lnTo>
                    <a:pt x="1078" y="991"/>
                  </a:lnTo>
                  <a:lnTo>
                    <a:pt x="1078" y="998"/>
                  </a:lnTo>
                  <a:lnTo>
                    <a:pt x="1078" y="999"/>
                  </a:lnTo>
                  <a:lnTo>
                    <a:pt x="1078" y="1003"/>
                  </a:lnTo>
                  <a:lnTo>
                    <a:pt x="1078" y="1006"/>
                  </a:lnTo>
                  <a:lnTo>
                    <a:pt x="1079" y="999"/>
                  </a:lnTo>
                  <a:lnTo>
                    <a:pt x="1083" y="998"/>
                  </a:lnTo>
                  <a:lnTo>
                    <a:pt x="1085" y="994"/>
                  </a:lnTo>
                  <a:lnTo>
                    <a:pt x="1088" y="994"/>
                  </a:lnTo>
                  <a:lnTo>
                    <a:pt x="1091" y="991"/>
                  </a:lnTo>
                  <a:lnTo>
                    <a:pt x="1093" y="993"/>
                  </a:lnTo>
                  <a:lnTo>
                    <a:pt x="1093" y="994"/>
                  </a:lnTo>
                  <a:lnTo>
                    <a:pt x="1093" y="991"/>
                  </a:lnTo>
                  <a:lnTo>
                    <a:pt x="1097" y="991"/>
                  </a:lnTo>
                  <a:lnTo>
                    <a:pt x="1097" y="987"/>
                  </a:lnTo>
                  <a:lnTo>
                    <a:pt x="1102" y="984"/>
                  </a:lnTo>
                  <a:lnTo>
                    <a:pt x="1105" y="980"/>
                  </a:lnTo>
                  <a:lnTo>
                    <a:pt x="1107" y="984"/>
                  </a:lnTo>
                  <a:lnTo>
                    <a:pt x="1109" y="987"/>
                  </a:lnTo>
                  <a:lnTo>
                    <a:pt x="1107" y="993"/>
                  </a:lnTo>
                  <a:lnTo>
                    <a:pt x="1111" y="987"/>
                  </a:lnTo>
                  <a:lnTo>
                    <a:pt x="1111" y="984"/>
                  </a:lnTo>
                  <a:lnTo>
                    <a:pt x="1111" y="980"/>
                  </a:lnTo>
                  <a:lnTo>
                    <a:pt x="1111" y="980"/>
                  </a:lnTo>
                  <a:lnTo>
                    <a:pt x="1112" y="975"/>
                  </a:lnTo>
                  <a:lnTo>
                    <a:pt x="1116" y="975"/>
                  </a:lnTo>
                  <a:lnTo>
                    <a:pt x="1118" y="972"/>
                  </a:lnTo>
                  <a:lnTo>
                    <a:pt x="1119" y="970"/>
                  </a:lnTo>
                  <a:lnTo>
                    <a:pt x="1123" y="966"/>
                  </a:lnTo>
                  <a:lnTo>
                    <a:pt x="1123" y="965"/>
                  </a:lnTo>
                  <a:lnTo>
                    <a:pt x="1124" y="965"/>
                  </a:lnTo>
                  <a:lnTo>
                    <a:pt x="1128" y="968"/>
                  </a:lnTo>
                  <a:lnTo>
                    <a:pt x="1128" y="965"/>
                  </a:lnTo>
                  <a:lnTo>
                    <a:pt x="1124" y="963"/>
                  </a:lnTo>
                  <a:lnTo>
                    <a:pt x="1123" y="963"/>
                  </a:lnTo>
                  <a:lnTo>
                    <a:pt x="1123" y="961"/>
                  </a:lnTo>
                  <a:lnTo>
                    <a:pt x="1124" y="954"/>
                  </a:lnTo>
                  <a:lnTo>
                    <a:pt x="1128" y="954"/>
                  </a:lnTo>
                  <a:lnTo>
                    <a:pt x="1128" y="956"/>
                  </a:lnTo>
                  <a:lnTo>
                    <a:pt x="1128" y="953"/>
                  </a:lnTo>
                  <a:lnTo>
                    <a:pt x="1130" y="953"/>
                  </a:lnTo>
                  <a:lnTo>
                    <a:pt x="1130" y="949"/>
                  </a:lnTo>
                  <a:lnTo>
                    <a:pt x="1135" y="944"/>
                  </a:lnTo>
                  <a:lnTo>
                    <a:pt x="1137" y="942"/>
                  </a:lnTo>
                  <a:lnTo>
                    <a:pt x="1135" y="940"/>
                  </a:lnTo>
                  <a:lnTo>
                    <a:pt x="1138" y="937"/>
                  </a:lnTo>
                  <a:lnTo>
                    <a:pt x="1142" y="935"/>
                  </a:lnTo>
                  <a:lnTo>
                    <a:pt x="1144" y="937"/>
                  </a:lnTo>
                  <a:lnTo>
                    <a:pt x="1140" y="939"/>
                  </a:lnTo>
                  <a:lnTo>
                    <a:pt x="1144" y="937"/>
                  </a:lnTo>
                  <a:lnTo>
                    <a:pt x="1145" y="939"/>
                  </a:lnTo>
                  <a:lnTo>
                    <a:pt x="1142" y="940"/>
                  </a:lnTo>
                  <a:lnTo>
                    <a:pt x="1142" y="944"/>
                  </a:lnTo>
                  <a:lnTo>
                    <a:pt x="1145" y="944"/>
                  </a:lnTo>
                  <a:lnTo>
                    <a:pt x="1142" y="947"/>
                  </a:lnTo>
                  <a:lnTo>
                    <a:pt x="1140" y="947"/>
                  </a:lnTo>
                  <a:lnTo>
                    <a:pt x="1140" y="949"/>
                  </a:lnTo>
                  <a:lnTo>
                    <a:pt x="1142" y="949"/>
                  </a:lnTo>
                  <a:lnTo>
                    <a:pt x="1145" y="949"/>
                  </a:lnTo>
                  <a:lnTo>
                    <a:pt x="1144" y="953"/>
                  </a:lnTo>
                  <a:lnTo>
                    <a:pt x="1144" y="953"/>
                  </a:lnTo>
                  <a:lnTo>
                    <a:pt x="1145" y="953"/>
                  </a:lnTo>
                  <a:lnTo>
                    <a:pt x="1145" y="956"/>
                  </a:lnTo>
                  <a:lnTo>
                    <a:pt x="1144" y="958"/>
                  </a:lnTo>
                  <a:lnTo>
                    <a:pt x="1144" y="961"/>
                  </a:lnTo>
                  <a:lnTo>
                    <a:pt x="1147" y="963"/>
                  </a:lnTo>
                  <a:lnTo>
                    <a:pt x="1147" y="968"/>
                  </a:lnTo>
                  <a:lnTo>
                    <a:pt x="1147" y="970"/>
                  </a:lnTo>
                  <a:lnTo>
                    <a:pt x="1145" y="968"/>
                  </a:lnTo>
                  <a:lnTo>
                    <a:pt x="1142" y="970"/>
                  </a:lnTo>
                  <a:lnTo>
                    <a:pt x="1145" y="972"/>
                  </a:lnTo>
                  <a:lnTo>
                    <a:pt x="1145" y="972"/>
                  </a:lnTo>
                  <a:lnTo>
                    <a:pt x="1147" y="972"/>
                  </a:lnTo>
                  <a:lnTo>
                    <a:pt x="1147" y="972"/>
                  </a:lnTo>
                  <a:lnTo>
                    <a:pt x="1147" y="972"/>
                  </a:lnTo>
                  <a:lnTo>
                    <a:pt x="1151" y="975"/>
                  </a:lnTo>
                  <a:lnTo>
                    <a:pt x="1147" y="980"/>
                  </a:lnTo>
                  <a:lnTo>
                    <a:pt x="1145" y="980"/>
                  </a:lnTo>
                  <a:lnTo>
                    <a:pt x="1142" y="980"/>
                  </a:lnTo>
                  <a:lnTo>
                    <a:pt x="1140" y="980"/>
                  </a:lnTo>
                  <a:lnTo>
                    <a:pt x="1144" y="984"/>
                  </a:lnTo>
                  <a:lnTo>
                    <a:pt x="1151" y="980"/>
                  </a:lnTo>
                  <a:lnTo>
                    <a:pt x="1152" y="980"/>
                  </a:lnTo>
                  <a:lnTo>
                    <a:pt x="1152" y="984"/>
                  </a:lnTo>
                  <a:lnTo>
                    <a:pt x="1151" y="987"/>
                  </a:lnTo>
                  <a:lnTo>
                    <a:pt x="1151" y="989"/>
                  </a:lnTo>
                  <a:lnTo>
                    <a:pt x="1156" y="987"/>
                  </a:lnTo>
                  <a:lnTo>
                    <a:pt x="1156" y="991"/>
                  </a:lnTo>
                  <a:lnTo>
                    <a:pt x="1151" y="994"/>
                  </a:lnTo>
                  <a:lnTo>
                    <a:pt x="1147" y="994"/>
                  </a:lnTo>
                  <a:lnTo>
                    <a:pt x="1145" y="993"/>
                  </a:lnTo>
                  <a:lnTo>
                    <a:pt x="1144" y="996"/>
                  </a:lnTo>
                  <a:lnTo>
                    <a:pt x="1144" y="998"/>
                  </a:lnTo>
                  <a:lnTo>
                    <a:pt x="1142" y="999"/>
                  </a:lnTo>
                  <a:lnTo>
                    <a:pt x="1147" y="999"/>
                  </a:lnTo>
                  <a:lnTo>
                    <a:pt x="1152" y="999"/>
                  </a:lnTo>
                  <a:lnTo>
                    <a:pt x="1156" y="998"/>
                  </a:lnTo>
                  <a:lnTo>
                    <a:pt x="1156" y="998"/>
                  </a:lnTo>
                  <a:lnTo>
                    <a:pt x="1156" y="999"/>
                  </a:lnTo>
                  <a:lnTo>
                    <a:pt x="1156" y="1003"/>
                  </a:lnTo>
                  <a:lnTo>
                    <a:pt x="1151" y="1003"/>
                  </a:lnTo>
                  <a:lnTo>
                    <a:pt x="1147" y="1003"/>
                  </a:lnTo>
                  <a:lnTo>
                    <a:pt x="1144" y="1008"/>
                  </a:lnTo>
                  <a:lnTo>
                    <a:pt x="1151" y="1006"/>
                  </a:lnTo>
                  <a:lnTo>
                    <a:pt x="1152" y="1006"/>
                  </a:lnTo>
                  <a:lnTo>
                    <a:pt x="1156" y="1006"/>
                  </a:lnTo>
                  <a:lnTo>
                    <a:pt x="1158" y="1006"/>
                  </a:lnTo>
                  <a:lnTo>
                    <a:pt x="1158" y="1012"/>
                  </a:lnTo>
                  <a:lnTo>
                    <a:pt x="1156" y="1012"/>
                  </a:lnTo>
                  <a:lnTo>
                    <a:pt x="1152" y="1012"/>
                  </a:lnTo>
                  <a:lnTo>
                    <a:pt x="1151" y="1015"/>
                  </a:lnTo>
                  <a:lnTo>
                    <a:pt x="1152" y="1013"/>
                  </a:lnTo>
                  <a:lnTo>
                    <a:pt x="1156" y="1015"/>
                  </a:lnTo>
                  <a:lnTo>
                    <a:pt x="1158" y="1012"/>
                  </a:lnTo>
                  <a:lnTo>
                    <a:pt x="1161" y="1015"/>
                  </a:lnTo>
                  <a:lnTo>
                    <a:pt x="1163" y="1022"/>
                  </a:lnTo>
                  <a:lnTo>
                    <a:pt x="1159" y="1024"/>
                  </a:lnTo>
                  <a:lnTo>
                    <a:pt x="1158" y="1024"/>
                  </a:lnTo>
                  <a:lnTo>
                    <a:pt x="1156" y="1026"/>
                  </a:lnTo>
                  <a:lnTo>
                    <a:pt x="1152" y="1026"/>
                  </a:lnTo>
                  <a:lnTo>
                    <a:pt x="1156" y="1027"/>
                  </a:lnTo>
                  <a:lnTo>
                    <a:pt x="1158" y="1027"/>
                  </a:lnTo>
                  <a:lnTo>
                    <a:pt x="1158" y="1027"/>
                  </a:lnTo>
                  <a:lnTo>
                    <a:pt x="1163" y="1027"/>
                  </a:lnTo>
                  <a:lnTo>
                    <a:pt x="1164" y="1029"/>
                  </a:lnTo>
                  <a:lnTo>
                    <a:pt x="1163" y="1031"/>
                  </a:lnTo>
                  <a:lnTo>
                    <a:pt x="1161" y="1034"/>
                  </a:lnTo>
                  <a:lnTo>
                    <a:pt x="1163" y="1034"/>
                  </a:lnTo>
                  <a:lnTo>
                    <a:pt x="1166" y="1034"/>
                  </a:lnTo>
                  <a:lnTo>
                    <a:pt x="1170" y="1036"/>
                  </a:lnTo>
                  <a:lnTo>
                    <a:pt x="1168" y="1039"/>
                  </a:lnTo>
                  <a:lnTo>
                    <a:pt x="1166" y="1041"/>
                  </a:lnTo>
                  <a:lnTo>
                    <a:pt x="1161" y="1045"/>
                  </a:lnTo>
                  <a:lnTo>
                    <a:pt x="1159" y="1043"/>
                  </a:lnTo>
                  <a:lnTo>
                    <a:pt x="1158" y="1045"/>
                  </a:lnTo>
                  <a:lnTo>
                    <a:pt x="1161" y="1046"/>
                  </a:lnTo>
                  <a:lnTo>
                    <a:pt x="1161" y="1048"/>
                  </a:lnTo>
                  <a:lnTo>
                    <a:pt x="1158" y="1050"/>
                  </a:lnTo>
                  <a:lnTo>
                    <a:pt x="1152" y="1046"/>
                  </a:lnTo>
                  <a:lnTo>
                    <a:pt x="1147" y="1046"/>
                  </a:lnTo>
                  <a:lnTo>
                    <a:pt x="1152" y="1050"/>
                  </a:lnTo>
                  <a:lnTo>
                    <a:pt x="1152" y="1052"/>
                  </a:lnTo>
                  <a:lnTo>
                    <a:pt x="1156" y="1055"/>
                  </a:lnTo>
                  <a:lnTo>
                    <a:pt x="1158" y="1059"/>
                  </a:lnTo>
                  <a:lnTo>
                    <a:pt x="1158" y="1059"/>
                  </a:lnTo>
                  <a:lnTo>
                    <a:pt x="1156" y="1059"/>
                  </a:lnTo>
                  <a:lnTo>
                    <a:pt x="1152" y="1062"/>
                  </a:lnTo>
                  <a:lnTo>
                    <a:pt x="1147" y="1062"/>
                  </a:lnTo>
                  <a:lnTo>
                    <a:pt x="1156" y="1062"/>
                  </a:lnTo>
                  <a:lnTo>
                    <a:pt x="1156" y="1062"/>
                  </a:lnTo>
                  <a:lnTo>
                    <a:pt x="1156" y="1062"/>
                  </a:lnTo>
                  <a:lnTo>
                    <a:pt x="1161" y="1059"/>
                  </a:lnTo>
                  <a:lnTo>
                    <a:pt x="1163" y="1062"/>
                  </a:lnTo>
                  <a:lnTo>
                    <a:pt x="1163" y="1062"/>
                  </a:lnTo>
                  <a:lnTo>
                    <a:pt x="1164" y="1064"/>
                  </a:lnTo>
                  <a:lnTo>
                    <a:pt x="1163" y="1066"/>
                  </a:lnTo>
                  <a:lnTo>
                    <a:pt x="1164" y="1066"/>
                  </a:lnTo>
                  <a:lnTo>
                    <a:pt x="1166" y="1067"/>
                  </a:lnTo>
                  <a:lnTo>
                    <a:pt x="1164" y="1071"/>
                  </a:lnTo>
                  <a:lnTo>
                    <a:pt x="1166" y="1071"/>
                  </a:lnTo>
                  <a:lnTo>
                    <a:pt x="1170" y="1071"/>
                  </a:lnTo>
                  <a:lnTo>
                    <a:pt x="1170" y="1071"/>
                  </a:lnTo>
                  <a:lnTo>
                    <a:pt x="1173" y="1071"/>
                  </a:lnTo>
                  <a:lnTo>
                    <a:pt x="1173" y="1074"/>
                  </a:lnTo>
                  <a:lnTo>
                    <a:pt x="1170" y="1076"/>
                  </a:lnTo>
                  <a:lnTo>
                    <a:pt x="1170" y="1078"/>
                  </a:lnTo>
                  <a:lnTo>
                    <a:pt x="1173" y="1078"/>
                  </a:lnTo>
                  <a:lnTo>
                    <a:pt x="1175" y="1072"/>
                  </a:lnTo>
                  <a:lnTo>
                    <a:pt x="1175" y="1074"/>
                  </a:lnTo>
                  <a:lnTo>
                    <a:pt x="1175" y="1076"/>
                  </a:lnTo>
                  <a:lnTo>
                    <a:pt x="1178" y="1079"/>
                  </a:lnTo>
                  <a:lnTo>
                    <a:pt x="1175" y="1081"/>
                  </a:lnTo>
                  <a:lnTo>
                    <a:pt x="1170" y="1086"/>
                  </a:lnTo>
                  <a:lnTo>
                    <a:pt x="1166" y="1090"/>
                  </a:lnTo>
                  <a:lnTo>
                    <a:pt x="1163" y="1090"/>
                  </a:lnTo>
                  <a:lnTo>
                    <a:pt x="1166" y="1090"/>
                  </a:lnTo>
                  <a:lnTo>
                    <a:pt x="1168" y="1090"/>
                  </a:lnTo>
                  <a:lnTo>
                    <a:pt x="1175" y="1085"/>
                  </a:lnTo>
                  <a:lnTo>
                    <a:pt x="1178" y="1085"/>
                  </a:lnTo>
                  <a:lnTo>
                    <a:pt x="1178" y="1086"/>
                  </a:lnTo>
                  <a:lnTo>
                    <a:pt x="1175" y="1090"/>
                  </a:lnTo>
                  <a:lnTo>
                    <a:pt x="1173" y="1093"/>
                  </a:lnTo>
                  <a:lnTo>
                    <a:pt x="1175" y="1093"/>
                  </a:lnTo>
                  <a:lnTo>
                    <a:pt x="1178" y="1086"/>
                  </a:lnTo>
                  <a:lnTo>
                    <a:pt x="1182" y="1085"/>
                  </a:lnTo>
                  <a:lnTo>
                    <a:pt x="1184" y="1085"/>
                  </a:lnTo>
                  <a:lnTo>
                    <a:pt x="1184" y="1086"/>
                  </a:lnTo>
                  <a:lnTo>
                    <a:pt x="1182" y="1086"/>
                  </a:lnTo>
                  <a:lnTo>
                    <a:pt x="1182" y="1090"/>
                  </a:lnTo>
                  <a:lnTo>
                    <a:pt x="1182" y="1090"/>
                  </a:lnTo>
                  <a:lnTo>
                    <a:pt x="1185" y="1086"/>
                  </a:lnTo>
                  <a:lnTo>
                    <a:pt x="1187" y="1090"/>
                  </a:lnTo>
                  <a:lnTo>
                    <a:pt x="1182" y="1093"/>
                  </a:lnTo>
                  <a:lnTo>
                    <a:pt x="1182" y="1095"/>
                  </a:lnTo>
                  <a:lnTo>
                    <a:pt x="1182" y="1095"/>
                  </a:lnTo>
                  <a:lnTo>
                    <a:pt x="1185" y="1093"/>
                  </a:lnTo>
                  <a:lnTo>
                    <a:pt x="1192" y="1086"/>
                  </a:lnTo>
                  <a:lnTo>
                    <a:pt x="1192" y="1086"/>
                  </a:lnTo>
                  <a:lnTo>
                    <a:pt x="1191" y="1090"/>
                  </a:lnTo>
                  <a:lnTo>
                    <a:pt x="1191" y="1090"/>
                  </a:lnTo>
                  <a:lnTo>
                    <a:pt x="1196" y="1086"/>
                  </a:lnTo>
                  <a:lnTo>
                    <a:pt x="1196" y="1090"/>
                  </a:lnTo>
                  <a:lnTo>
                    <a:pt x="1196" y="1095"/>
                  </a:lnTo>
                  <a:lnTo>
                    <a:pt x="1192" y="1095"/>
                  </a:lnTo>
                  <a:lnTo>
                    <a:pt x="1194" y="1097"/>
                  </a:lnTo>
                  <a:lnTo>
                    <a:pt x="1197" y="1097"/>
                  </a:lnTo>
                  <a:lnTo>
                    <a:pt x="1201" y="1100"/>
                  </a:lnTo>
                  <a:lnTo>
                    <a:pt x="1204" y="1097"/>
                  </a:lnTo>
                  <a:lnTo>
                    <a:pt x="1210" y="1095"/>
                  </a:lnTo>
                  <a:lnTo>
                    <a:pt x="1210" y="1095"/>
                  </a:lnTo>
                  <a:lnTo>
                    <a:pt x="1210" y="1099"/>
                  </a:lnTo>
                  <a:lnTo>
                    <a:pt x="1206" y="1099"/>
                  </a:lnTo>
                  <a:lnTo>
                    <a:pt x="1204" y="1100"/>
                  </a:lnTo>
                  <a:lnTo>
                    <a:pt x="1213" y="1104"/>
                  </a:lnTo>
                  <a:lnTo>
                    <a:pt x="1217" y="1106"/>
                  </a:lnTo>
                  <a:lnTo>
                    <a:pt x="1211" y="1107"/>
                  </a:lnTo>
                  <a:lnTo>
                    <a:pt x="1211" y="1109"/>
                  </a:lnTo>
                  <a:lnTo>
                    <a:pt x="1204" y="1109"/>
                  </a:lnTo>
                  <a:lnTo>
                    <a:pt x="1204" y="1109"/>
                  </a:lnTo>
                  <a:lnTo>
                    <a:pt x="1197" y="1109"/>
                  </a:lnTo>
                  <a:lnTo>
                    <a:pt x="1196" y="1112"/>
                  </a:lnTo>
                  <a:lnTo>
                    <a:pt x="1189" y="1112"/>
                  </a:lnTo>
                  <a:lnTo>
                    <a:pt x="1178" y="1116"/>
                  </a:lnTo>
                  <a:lnTo>
                    <a:pt x="1178" y="1118"/>
                  </a:lnTo>
                  <a:lnTo>
                    <a:pt x="1185" y="1116"/>
                  </a:lnTo>
                  <a:lnTo>
                    <a:pt x="1192" y="1112"/>
                  </a:lnTo>
                  <a:lnTo>
                    <a:pt x="1196" y="1116"/>
                  </a:lnTo>
                  <a:lnTo>
                    <a:pt x="1196" y="1118"/>
                  </a:lnTo>
                  <a:lnTo>
                    <a:pt x="1189" y="1118"/>
                  </a:lnTo>
                  <a:lnTo>
                    <a:pt x="1182" y="1118"/>
                  </a:lnTo>
                  <a:lnTo>
                    <a:pt x="1178" y="1121"/>
                  </a:lnTo>
                  <a:lnTo>
                    <a:pt x="1175" y="1123"/>
                  </a:lnTo>
                  <a:lnTo>
                    <a:pt x="1170" y="1123"/>
                  </a:lnTo>
                  <a:lnTo>
                    <a:pt x="1170" y="1126"/>
                  </a:lnTo>
                  <a:lnTo>
                    <a:pt x="1170" y="1128"/>
                  </a:lnTo>
                  <a:lnTo>
                    <a:pt x="1163" y="1125"/>
                  </a:lnTo>
                  <a:lnTo>
                    <a:pt x="1159" y="1118"/>
                  </a:lnTo>
                  <a:lnTo>
                    <a:pt x="1159" y="1121"/>
                  </a:lnTo>
                  <a:lnTo>
                    <a:pt x="1158" y="1123"/>
                  </a:lnTo>
                  <a:lnTo>
                    <a:pt x="1161" y="1123"/>
                  </a:lnTo>
                  <a:lnTo>
                    <a:pt x="1161" y="1125"/>
                  </a:lnTo>
                  <a:lnTo>
                    <a:pt x="1168" y="1132"/>
                  </a:lnTo>
                  <a:lnTo>
                    <a:pt x="1168" y="1133"/>
                  </a:lnTo>
                  <a:lnTo>
                    <a:pt x="1166" y="1132"/>
                  </a:lnTo>
                  <a:lnTo>
                    <a:pt x="1163" y="1135"/>
                  </a:lnTo>
                  <a:lnTo>
                    <a:pt x="1164" y="1137"/>
                  </a:lnTo>
                  <a:lnTo>
                    <a:pt x="1166" y="1139"/>
                  </a:lnTo>
                  <a:lnTo>
                    <a:pt x="1168" y="1137"/>
                  </a:lnTo>
                  <a:lnTo>
                    <a:pt x="1170" y="1137"/>
                  </a:lnTo>
                  <a:lnTo>
                    <a:pt x="1173" y="1130"/>
                  </a:lnTo>
                  <a:lnTo>
                    <a:pt x="1178" y="1130"/>
                  </a:lnTo>
                  <a:lnTo>
                    <a:pt x="1182" y="1126"/>
                  </a:lnTo>
                  <a:lnTo>
                    <a:pt x="1184" y="1126"/>
                  </a:lnTo>
                  <a:lnTo>
                    <a:pt x="1185" y="1123"/>
                  </a:lnTo>
                  <a:lnTo>
                    <a:pt x="1189" y="1121"/>
                  </a:lnTo>
                  <a:lnTo>
                    <a:pt x="1192" y="1121"/>
                  </a:lnTo>
                  <a:lnTo>
                    <a:pt x="1197" y="1118"/>
                  </a:lnTo>
                  <a:lnTo>
                    <a:pt x="1201" y="1118"/>
                  </a:lnTo>
                  <a:lnTo>
                    <a:pt x="1204" y="1118"/>
                  </a:lnTo>
                  <a:lnTo>
                    <a:pt x="1204" y="1118"/>
                  </a:lnTo>
                  <a:lnTo>
                    <a:pt x="1201" y="1118"/>
                  </a:lnTo>
                  <a:lnTo>
                    <a:pt x="1197" y="1116"/>
                  </a:lnTo>
                  <a:lnTo>
                    <a:pt x="1201" y="1116"/>
                  </a:lnTo>
                  <a:lnTo>
                    <a:pt x="1210" y="1112"/>
                  </a:lnTo>
                  <a:lnTo>
                    <a:pt x="1215" y="1116"/>
                  </a:lnTo>
                  <a:lnTo>
                    <a:pt x="1217" y="1121"/>
                  </a:lnTo>
                  <a:lnTo>
                    <a:pt x="1217" y="1123"/>
                  </a:lnTo>
                  <a:lnTo>
                    <a:pt x="1213" y="1126"/>
                  </a:lnTo>
                  <a:lnTo>
                    <a:pt x="1210" y="1126"/>
                  </a:lnTo>
                  <a:lnTo>
                    <a:pt x="1210" y="1130"/>
                  </a:lnTo>
                  <a:lnTo>
                    <a:pt x="1213" y="1130"/>
                  </a:lnTo>
                  <a:lnTo>
                    <a:pt x="1213" y="1133"/>
                  </a:lnTo>
                  <a:lnTo>
                    <a:pt x="1215" y="1132"/>
                  </a:lnTo>
                  <a:lnTo>
                    <a:pt x="1217" y="1128"/>
                  </a:lnTo>
                  <a:lnTo>
                    <a:pt x="1220" y="1125"/>
                  </a:lnTo>
                  <a:lnTo>
                    <a:pt x="1224" y="1125"/>
                  </a:lnTo>
                  <a:lnTo>
                    <a:pt x="1227" y="1126"/>
                  </a:lnTo>
                  <a:lnTo>
                    <a:pt x="1224" y="1128"/>
                  </a:lnTo>
                  <a:lnTo>
                    <a:pt x="1224" y="1130"/>
                  </a:lnTo>
                  <a:lnTo>
                    <a:pt x="1229" y="1130"/>
                  </a:lnTo>
                  <a:lnTo>
                    <a:pt x="1232" y="1132"/>
                  </a:lnTo>
                  <a:lnTo>
                    <a:pt x="1234" y="1133"/>
                  </a:lnTo>
                  <a:lnTo>
                    <a:pt x="1232" y="1132"/>
                  </a:lnTo>
                  <a:lnTo>
                    <a:pt x="1229" y="1133"/>
                  </a:lnTo>
                  <a:lnTo>
                    <a:pt x="1229" y="1137"/>
                  </a:lnTo>
                  <a:lnTo>
                    <a:pt x="1234" y="1139"/>
                  </a:lnTo>
                  <a:lnTo>
                    <a:pt x="1236" y="1140"/>
                  </a:lnTo>
                  <a:lnTo>
                    <a:pt x="1232" y="1144"/>
                  </a:lnTo>
                  <a:lnTo>
                    <a:pt x="1229" y="1140"/>
                  </a:lnTo>
                  <a:lnTo>
                    <a:pt x="1229" y="1144"/>
                  </a:lnTo>
                  <a:lnTo>
                    <a:pt x="1232" y="1146"/>
                  </a:lnTo>
                  <a:lnTo>
                    <a:pt x="1232" y="1149"/>
                  </a:lnTo>
                  <a:lnTo>
                    <a:pt x="1229" y="1149"/>
                  </a:lnTo>
                  <a:lnTo>
                    <a:pt x="1229" y="1152"/>
                  </a:lnTo>
                  <a:lnTo>
                    <a:pt x="1224" y="1154"/>
                  </a:lnTo>
                  <a:lnTo>
                    <a:pt x="1220" y="1151"/>
                  </a:lnTo>
                  <a:lnTo>
                    <a:pt x="1224" y="1154"/>
                  </a:lnTo>
                  <a:lnTo>
                    <a:pt x="1229" y="1156"/>
                  </a:lnTo>
                  <a:lnTo>
                    <a:pt x="1232" y="1156"/>
                  </a:lnTo>
                  <a:lnTo>
                    <a:pt x="1232" y="1159"/>
                  </a:lnTo>
                  <a:lnTo>
                    <a:pt x="1229" y="1159"/>
                  </a:lnTo>
                  <a:lnTo>
                    <a:pt x="1229" y="1159"/>
                  </a:lnTo>
                  <a:lnTo>
                    <a:pt x="1227" y="1159"/>
                  </a:lnTo>
                  <a:lnTo>
                    <a:pt x="1229" y="1161"/>
                  </a:lnTo>
                  <a:lnTo>
                    <a:pt x="1232" y="1161"/>
                  </a:lnTo>
                  <a:lnTo>
                    <a:pt x="1232" y="1161"/>
                  </a:lnTo>
                  <a:lnTo>
                    <a:pt x="1232" y="1165"/>
                  </a:lnTo>
                  <a:lnTo>
                    <a:pt x="1232" y="1168"/>
                  </a:lnTo>
                  <a:lnTo>
                    <a:pt x="1229" y="1168"/>
                  </a:lnTo>
                  <a:lnTo>
                    <a:pt x="1227" y="1172"/>
                  </a:lnTo>
                  <a:lnTo>
                    <a:pt x="1224" y="1173"/>
                  </a:lnTo>
                  <a:lnTo>
                    <a:pt x="1218" y="1173"/>
                  </a:lnTo>
                  <a:lnTo>
                    <a:pt x="1215" y="1177"/>
                  </a:lnTo>
                  <a:lnTo>
                    <a:pt x="1213" y="1177"/>
                  </a:lnTo>
                  <a:lnTo>
                    <a:pt x="1211" y="1180"/>
                  </a:lnTo>
                  <a:lnTo>
                    <a:pt x="1210" y="1180"/>
                  </a:lnTo>
                  <a:lnTo>
                    <a:pt x="1210" y="1182"/>
                  </a:lnTo>
                  <a:lnTo>
                    <a:pt x="1204" y="1182"/>
                  </a:lnTo>
                  <a:lnTo>
                    <a:pt x="1204" y="1180"/>
                  </a:lnTo>
                  <a:lnTo>
                    <a:pt x="1201" y="1182"/>
                  </a:lnTo>
                  <a:lnTo>
                    <a:pt x="1197" y="1182"/>
                  </a:lnTo>
                  <a:lnTo>
                    <a:pt x="1197" y="1180"/>
                  </a:lnTo>
                  <a:lnTo>
                    <a:pt x="1194" y="1182"/>
                  </a:lnTo>
                  <a:lnTo>
                    <a:pt x="1191" y="1182"/>
                  </a:lnTo>
                  <a:lnTo>
                    <a:pt x="1189" y="1180"/>
                  </a:lnTo>
                  <a:lnTo>
                    <a:pt x="1187" y="1180"/>
                  </a:lnTo>
                  <a:lnTo>
                    <a:pt x="1187" y="1182"/>
                  </a:lnTo>
                  <a:lnTo>
                    <a:pt x="1185" y="1184"/>
                  </a:lnTo>
                  <a:lnTo>
                    <a:pt x="1182" y="1184"/>
                  </a:lnTo>
                  <a:lnTo>
                    <a:pt x="1182" y="1186"/>
                  </a:lnTo>
                  <a:lnTo>
                    <a:pt x="1182" y="1186"/>
                  </a:lnTo>
                  <a:lnTo>
                    <a:pt x="1182" y="1187"/>
                  </a:lnTo>
                  <a:lnTo>
                    <a:pt x="1178" y="1191"/>
                  </a:lnTo>
                  <a:lnTo>
                    <a:pt x="1175" y="1189"/>
                  </a:lnTo>
                  <a:lnTo>
                    <a:pt x="1175" y="1191"/>
                  </a:lnTo>
                  <a:lnTo>
                    <a:pt x="1175" y="1196"/>
                  </a:lnTo>
                  <a:lnTo>
                    <a:pt x="1170" y="1196"/>
                  </a:lnTo>
                  <a:lnTo>
                    <a:pt x="1170" y="1199"/>
                  </a:lnTo>
                  <a:lnTo>
                    <a:pt x="1168" y="1199"/>
                  </a:lnTo>
                  <a:lnTo>
                    <a:pt x="1166" y="1203"/>
                  </a:lnTo>
                  <a:lnTo>
                    <a:pt x="1164" y="1203"/>
                  </a:lnTo>
                  <a:lnTo>
                    <a:pt x="1161" y="1203"/>
                  </a:lnTo>
                  <a:lnTo>
                    <a:pt x="1158" y="1203"/>
                  </a:lnTo>
                  <a:lnTo>
                    <a:pt x="1158" y="1205"/>
                  </a:lnTo>
                  <a:lnTo>
                    <a:pt x="1156" y="1206"/>
                  </a:lnTo>
                  <a:lnTo>
                    <a:pt x="1152" y="1205"/>
                  </a:lnTo>
                  <a:lnTo>
                    <a:pt x="1147" y="1205"/>
                  </a:lnTo>
                  <a:lnTo>
                    <a:pt x="1145" y="1205"/>
                  </a:lnTo>
                  <a:lnTo>
                    <a:pt x="1142" y="1205"/>
                  </a:lnTo>
                  <a:lnTo>
                    <a:pt x="1140" y="1205"/>
                  </a:lnTo>
                  <a:lnTo>
                    <a:pt x="1131" y="1208"/>
                  </a:lnTo>
                  <a:lnTo>
                    <a:pt x="1128" y="1206"/>
                  </a:lnTo>
                  <a:lnTo>
                    <a:pt x="1130" y="1205"/>
                  </a:lnTo>
                  <a:lnTo>
                    <a:pt x="1128" y="1205"/>
                  </a:lnTo>
                  <a:lnTo>
                    <a:pt x="1124" y="1206"/>
                  </a:lnTo>
                  <a:lnTo>
                    <a:pt x="1123" y="1206"/>
                  </a:lnTo>
                  <a:lnTo>
                    <a:pt x="1118" y="1203"/>
                  </a:lnTo>
                  <a:lnTo>
                    <a:pt x="1116" y="1205"/>
                  </a:lnTo>
                  <a:lnTo>
                    <a:pt x="1111" y="1203"/>
                  </a:lnTo>
                  <a:lnTo>
                    <a:pt x="1109" y="1203"/>
                  </a:lnTo>
                  <a:lnTo>
                    <a:pt x="1107" y="1203"/>
                  </a:lnTo>
                  <a:lnTo>
                    <a:pt x="1105" y="1203"/>
                  </a:lnTo>
                  <a:lnTo>
                    <a:pt x="1100" y="1203"/>
                  </a:lnTo>
                  <a:lnTo>
                    <a:pt x="1097" y="1199"/>
                  </a:lnTo>
                  <a:lnTo>
                    <a:pt x="1093" y="1203"/>
                  </a:lnTo>
                  <a:lnTo>
                    <a:pt x="1090" y="1203"/>
                  </a:lnTo>
                  <a:lnTo>
                    <a:pt x="1086" y="1199"/>
                  </a:lnTo>
                  <a:lnTo>
                    <a:pt x="1083" y="1203"/>
                  </a:lnTo>
                  <a:lnTo>
                    <a:pt x="1083" y="1203"/>
                  </a:lnTo>
                  <a:lnTo>
                    <a:pt x="1078" y="1203"/>
                  </a:lnTo>
                  <a:lnTo>
                    <a:pt x="1074" y="1199"/>
                  </a:lnTo>
                  <a:lnTo>
                    <a:pt x="1067" y="1203"/>
                  </a:lnTo>
                  <a:lnTo>
                    <a:pt x="1062" y="1199"/>
                  </a:lnTo>
                  <a:lnTo>
                    <a:pt x="1060" y="1196"/>
                  </a:lnTo>
                  <a:lnTo>
                    <a:pt x="1057" y="1199"/>
                  </a:lnTo>
                  <a:lnTo>
                    <a:pt x="1055" y="1199"/>
                  </a:lnTo>
                  <a:lnTo>
                    <a:pt x="1057" y="1203"/>
                  </a:lnTo>
                  <a:lnTo>
                    <a:pt x="1055" y="1203"/>
                  </a:lnTo>
                  <a:lnTo>
                    <a:pt x="1052" y="1203"/>
                  </a:lnTo>
                  <a:lnTo>
                    <a:pt x="1046" y="1210"/>
                  </a:lnTo>
                  <a:lnTo>
                    <a:pt x="1043" y="1212"/>
                  </a:lnTo>
                  <a:lnTo>
                    <a:pt x="1043" y="1213"/>
                  </a:lnTo>
                  <a:lnTo>
                    <a:pt x="1041" y="1217"/>
                  </a:lnTo>
                  <a:lnTo>
                    <a:pt x="1041" y="1220"/>
                  </a:lnTo>
                  <a:lnTo>
                    <a:pt x="1038" y="1222"/>
                  </a:lnTo>
                  <a:lnTo>
                    <a:pt x="1032" y="1222"/>
                  </a:lnTo>
                  <a:lnTo>
                    <a:pt x="1029" y="1226"/>
                  </a:lnTo>
                  <a:lnTo>
                    <a:pt x="1024" y="1226"/>
                  </a:lnTo>
                  <a:lnTo>
                    <a:pt x="1020" y="1227"/>
                  </a:lnTo>
                  <a:lnTo>
                    <a:pt x="1020" y="1231"/>
                  </a:lnTo>
                  <a:lnTo>
                    <a:pt x="1018" y="1227"/>
                  </a:lnTo>
                  <a:lnTo>
                    <a:pt x="1015" y="1231"/>
                  </a:lnTo>
                  <a:lnTo>
                    <a:pt x="1015" y="1232"/>
                  </a:lnTo>
                  <a:lnTo>
                    <a:pt x="1012" y="1232"/>
                  </a:lnTo>
                  <a:lnTo>
                    <a:pt x="1006" y="1236"/>
                  </a:lnTo>
                  <a:lnTo>
                    <a:pt x="1006" y="1238"/>
                  </a:lnTo>
                  <a:lnTo>
                    <a:pt x="1005" y="1238"/>
                  </a:lnTo>
                  <a:lnTo>
                    <a:pt x="1001" y="1245"/>
                  </a:lnTo>
                  <a:lnTo>
                    <a:pt x="994" y="1248"/>
                  </a:lnTo>
                  <a:lnTo>
                    <a:pt x="992" y="1255"/>
                  </a:lnTo>
                  <a:lnTo>
                    <a:pt x="987" y="1255"/>
                  </a:lnTo>
                  <a:lnTo>
                    <a:pt x="984" y="1260"/>
                  </a:lnTo>
                  <a:lnTo>
                    <a:pt x="980" y="1260"/>
                  </a:lnTo>
                  <a:lnTo>
                    <a:pt x="979" y="1266"/>
                  </a:lnTo>
                  <a:lnTo>
                    <a:pt x="979" y="1269"/>
                  </a:lnTo>
                  <a:lnTo>
                    <a:pt x="970" y="1274"/>
                  </a:lnTo>
                  <a:lnTo>
                    <a:pt x="968" y="1278"/>
                  </a:lnTo>
                  <a:lnTo>
                    <a:pt x="959" y="1281"/>
                  </a:lnTo>
                  <a:lnTo>
                    <a:pt x="954" y="1281"/>
                  </a:lnTo>
                  <a:lnTo>
                    <a:pt x="958" y="1281"/>
                  </a:lnTo>
                  <a:lnTo>
                    <a:pt x="968" y="1278"/>
                  </a:lnTo>
                  <a:lnTo>
                    <a:pt x="975" y="1274"/>
                  </a:lnTo>
                  <a:lnTo>
                    <a:pt x="980" y="1271"/>
                  </a:lnTo>
                  <a:lnTo>
                    <a:pt x="985" y="1266"/>
                  </a:lnTo>
                  <a:lnTo>
                    <a:pt x="989" y="1260"/>
                  </a:lnTo>
                  <a:lnTo>
                    <a:pt x="992" y="1259"/>
                  </a:lnTo>
                  <a:lnTo>
                    <a:pt x="1001" y="1250"/>
                  </a:lnTo>
                  <a:lnTo>
                    <a:pt x="1012" y="1245"/>
                  </a:lnTo>
                  <a:lnTo>
                    <a:pt x="1020" y="1238"/>
                  </a:lnTo>
                  <a:lnTo>
                    <a:pt x="1024" y="1238"/>
                  </a:lnTo>
                  <a:lnTo>
                    <a:pt x="1029" y="1236"/>
                  </a:lnTo>
                  <a:lnTo>
                    <a:pt x="1038" y="1234"/>
                  </a:lnTo>
                  <a:lnTo>
                    <a:pt x="1048" y="1231"/>
                  </a:lnTo>
                  <a:lnTo>
                    <a:pt x="1052" y="1231"/>
                  </a:lnTo>
                  <a:lnTo>
                    <a:pt x="1055" y="1227"/>
                  </a:lnTo>
                  <a:lnTo>
                    <a:pt x="1067" y="1227"/>
                  </a:lnTo>
                  <a:lnTo>
                    <a:pt x="1071" y="1231"/>
                  </a:lnTo>
                  <a:lnTo>
                    <a:pt x="1079" y="1234"/>
                  </a:lnTo>
                  <a:lnTo>
                    <a:pt x="1079" y="1236"/>
                  </a:lnTo>
                  <a:lnTo>
                    <a:pt x="1074" y="1236"/>
                  </a:lnTo>
                  <a:lnTo>
                    <a:pt x="1074" y="1236"/>
                  </a:lnTo>
                  <a:lnTo>
                    <a:pt x="1074" y="1238"/>
                  </a:lnTo>
                  <a:lnTo>
                    <a:pt x="1078" y="1238"/>
                  </a:lnTo>
                  <a:lnTo>
                    <a:pt x="1079" y="1238"/>
                  </a:lnTo>
                  <a:lnTo>
                    <a:pt x="1083" y="1241"/>
                  </a:lnTo>
                  <a:lnTo>
                    <a:pt x="1079" y="1241"/>
                  </a:lnTo>
                  <a:lnTo>
                    <a:pt x="1083" y="1243"/>
                  </a:lnTo>
                  <a:lnTo>
                    <a:pt x="1078" y="1250"/>
                  </a:lnTo>
                  <a:lnTo>
                    <a:pt x="1074" y="1250"/>
                  </a:lnTo>
                  <a:lnTo>
                    <a:pt x="1071" y="1253"/>
                  </a:lnTo>
                  <a:lnTo>
                    <a:pt x="1069" y="1253"/>
                  </a:lnTo>
                  <a:lnTo>
                    <a:pt x="1064" y="1255"/>
                  </a:lnTo>
                  <a:lnTo>
                    <a:pt x="1060" y="1255"/>
                  </a:lnTo>
                  <a:lnTo>
                    <a:pt x="1057" y="1255"/>
                  </a:lnTo>
                  <a:lnTo>
                    <a:pt x="1055" y="1253"/>
                  </a:lnTo>
                  <a:lnTo>
                    <a:pt x="1052" y="1255"/>
                  </a:lnTo>
                  <a:lnTo>
                    <a:pt x="1048" y="1255"/>
                  </a:lnTo>
                  <a:lnTo>
                    <a:pt x="1043" y="1255"/>
                  </a:lnTo>
                  <a:lnTo>
                    <a:pt x="1039" y="1255"/>
                  </a:lnTo>
                  <a:lnTo>
                    <a:pt x="1043" y="1255"/>
                  </a:lnTo>
                  <a:lnTo>
                    <a:pt x="1048" y="1255"/>
                  </a:lnTo>
                  <a:lnTo>
                    <a:pt x="1055" y="1259"/>
                  </a:lnTo>
                  <a:lnTo>
                    <a:pt x="1057" y="1260"/>
                  </a:lnTo>
                  <a:lnTo>
                    <a:pt x="1058" y="1262"/>
                  </a:lnTo>
                  <a:lnTo>
                    <a:pt x="1062" y="1260"/>
                  </a:lnTo>
                  <a:lnTo>
                    <a:pt x="1065" y="1259"/>
                  </a:lnTo>
                  <a:lnTo>
                    <a:pt x="1069" y="1259"/>
                  </a:lnTo>
                  <a:lnTo>
                    <a:pt x="1071" y="1260"/>
                  </a:lnTo>
                  <a:lnTo>
                    <a:pt x="1071" y="1260"/>
                  </a:lnTo>
                  <a:lnTo>
                    <a:pt x="1074" y="1262"/>
                  </a:lnTo>
                  <a:lnTo>
                    <a:pt x="1071" y="1266"/>
                  </a:lnTo>
                  <a:lnTo>
                    <a:pt x="1065" y="1274"/>
                  </a:lnTo>
                  <a:lnTo>
                    <a:pt x="1064" y="1274"/>
                  </a:lnTo>
                  <a:lnTo>
                    <a:pt x="1060" y="1278"/>
                  </a:lnTo>
                  <a:lnTo>
                    <a:pt x="1067" y="1278"/>
                  </a:lnTo>
                  <a:lnTo>
                    <a:pt x="1067" y="1278"/>
                  </a:lnTo>
                  <a:lnTo>
                    <a:pt x="1065" y="1281"/>
                  </a:lnTo>
                  <a:lnTo>
                    <a:pt x="1067" y="1283"/>
                  </a:lnTo>
                  <a:lnTo>
                    <a:pt x="1067" y="1286"/>
                  </a:lnTo>
                  <a:lnTo>
                    <a:pt x="1067" y="1292"/>
                  </a:lnTo>
                  <a:lnTo>
                    <a:pt x="1069" y="1292"/>
                  </a:lnTo>
                  <a:lnTo>
                    <a:pt x="1071" y="1297"/>
                  </a:lnTo>
                  <a:lnTo>
                    <a:pt x="1074" y="1297"/>
                  </a:lnTo>
                  <a:lnTo>
                    <a:pt x="1074" y="1299"/>
                  </a:lnTo>
                  <a:lnTo>
                    <a:pt x="1079" y="1299"/>
                  </a:lnTo>
                  <a:lnTo>
                    <a:pt x="1079" y="1302"/>
                  </a:lnTo>
                  <a:lnTo>
                    <a:pt x="1078" y="1302"/>
                  </a:lnTo>
                  <a:lnTo>
                    <a:pt x="1079" y="1305"/>
                  </a:lnTo>
                  <a:lnTo>
                    <a:pt x="1086" y="1305"/>
                  </a:lnTo>
                  <a:lnTo>
                    <a:pt x="1090" y="1307"/>
                  </a:lnTo>
                  <a:lnTo>
                    <a:pt x="1091" y="1307"/>
                  </a:lnTo>
                  <a:lnTo>
                    <a:pt x="1093" y="1309"/>
                  </a:lnTo>
                  <a:lnTo>
                    <a:pt x="1097" y="1309"/>
                  </a:lnTo>
                  <a:lnTo>
                    <a:pt x="1102" y="1309"/>
                  </a:lnTo>
                  <a:lnTo>
                    <a:pt x="1102" y="1309"/>
                  </a:lnTo>
                  <a:lnTo>
                    <a:pt x="1107" y="1305"/>
                  </a:lnTo>
                  <a:lnTo>
                    <a:pt x="1109" y="1309"/>
                  </a:lnTo>
                  <a:lnTo>
                    <a:pt x="1107" y="1309"/>
                  </a:lnTo>
                  <a:lnTo>
                    <a:pt x="1112" y="1309"/>
                  </a:lnTo>
                  <a:lnTo>
                    <a:pt x="1118" y="1312"/>
                  </a:lnTo>
                  <a:lnTo>
                    <a:pt x="1118" y="1314"/>
                  </a:lnTo>
                  <a:lnTo>
                    <a:pt x="1116" y="1314"/>
                  </a:lnTo>
                  <a:lnTo>
                    <a:pt x="1114" y="1318"/>
                  </a:lnTo>
                  <a:lnTo>
                    <a:pt x="1118" y="1318"/>
                  </a:lnTo>
                  <a:lnTo>
                    <a:pt x="1121" y="1318"/>
                  </a:lnTo>
                  <a:lnTo>
                    <a:pt x="1123" y="1319"/>
                  </a:lnTo>
                  <a:lnTo>
                    <a:pt x="1119" y="1321"/>
                  </a:lnTo>
                  <a:lnTo>
                    <a:pt x="1118" y="1319"/>
                  </a:lnTo>
                  <a:lnTo>
                    <a:pt x="1114" y="1319"/>
                  </a:lnTo>
                  <a:lnTo>
                    <a:pt x="1109" y="1321"/>
                  </a:lnTo>
                  <a:lnTo>
                    <a:pt x="1102" y="1326"/>
                  </a:lnTo>
                  <a:lnTo>
                    <a:pt x="1097" y="1326"/>
                  </a:lnTo>
                  <a:lnTo>
                    <a:pt x="1093" y="1328"/>
                  </a:lnTo>
                  <a:lnTo>
                    <a:pt x="1086" y="1330"/>
                  </a:lnTo>
                  <a:lnTo>
                    <a:pt x="1083" y="1332"/>
                  </a:lnTo>
                  <a:lnTo>
                    <a:pt x="1078" y="1332"/>
                  </a:lnTo>
                  <a:lnTo>
                    <a:pt x="1079" y="1333"/>
                  </a:lnTo>
                  <a:lnTo>
                    <a:pt x="1074" y="1333"/>
                  </a:lnTo>
                  <a:lnTo>
                    <a:pt x="1074" y="1330"/>
                  </a:lnTo>
                  <a:lnTo>
                    <a:pt x="1071" y="1330"/>
                  </a:lnTo>
                  <a:lnTo>
                    <a:pt x="1071" y="1332"/>
                  </a:lnTo>
                  <a:lnTo>
                    <a:pt x="1069" y="1332"/>
                  </a:lnTo>
                  <a:lnTo>
                    <a:pt x="1067" y="1335"/>
                  </a:lnTo>
                  <a:lnTo>
                    <a:pt x="1067" y="1337"/>
                  </a:lnTo>
                  <a:lnTo>
                    <a:pt x="1062" y="1340"/>
                  </a:lnTo>
                  <a:lnTo>
                    <a:pt x="1057" y="1345"/>
                  </a:lnTo>
                  <a:lnTo>
                    <a:pt x="1055" y="1347"/>
                  </a:lnTo>
                  <a:lnTo>
                    <a:pt x="1052" y="1351"/>
                  </a:lnTo>
                  <a:lnTo>
                    <a:pt x="1048" y="1351"/>
                  </a:lnTo>
                  <a:lnTo>
                    <a:pt x="1048" y="1351"/>
                  </a:lnTo>
                  <a:lnTo>
                    <a:pt x="1048" y="1354"/>
                  </a:lnTo>
                  <a:lnTo>
                    <a:pt x="1046" y="1356"/>
                  </a:lnTo>
                  <a:lnTo>
                    <a:pt x="1043" y="1354"/>
                  </a:lnTo>
                  <a:lnTo>
                    <a:pt x="1043" y="1356"/>
                  </a:lnTo>
                  <a:lnTo>
                    <a:pt x="1039" y="1352"/>
                  </a:lnTo>
                  <a:lnTo>
                    <a:pt x="1039" y="1349"/>
                  </a:lnTo>
                  <a:lnTo>
                    <a:pt x="1038" y="1347"/>
                  </a:lnTo>
                  <a:lnTo>
                    <a:pt x="1036" y="1349"/>
                  </a:lnTo>
                  <a:lnTo>
                    <a:pt x="1034" y="1345"/>
                  </a:lnTo>
                  <a:lnTo>
                    <a:pt x="1034" y="1342"/>
                  </a:lnTo>
                  <a:lnTo>
                    <a:pt x="1034" y="1340"/>
                  </a:lnTo>
                  <a:lnTo>
                    <a:pt x="1036" y="1333"/>
                  </a:lnTo>
                  <a:lnTo>
                    <a:pt x="1041" y="1330"/>
                  </a:lnTo>
                  <a:lnTo>
                    <a:pt x="1041" y="1328"/>
                  </a:lnTo>
                  <a:lnTo>
                    <a:pt x="1048" y="1323"/>
                  </a:lnTo>
                  <a:lnTo>
                    <a:pt x="1055" y="1321"/>
                  </a:lnTo>
                  <a:lnTo>
                    <a:pt x="1060" y="1318"/>
                  </a:lnTo>
                  <a:lnTo>
                    <a:pt x="1065" y="1318"/>
                  </a:lnTo>
                  <a:lnTo>
                    <a:pt x="1069" y="1318"/>
                  </a:lnTo>
                  <a:lnTo>
                    <a:pt x="1069" y="1319"/>
                  </a:lnTo>
                  <a:lnTo>
                    <a:pt x="1071" y="1321"/>
                  </a:lnTo>
                  <a:lnTo>
                    <a:pt x="1071" y="1319"/>
                  </a:lnTo>
                  <a:lnTo>
                    <a:pt x="1071" y="1318"/>
                  </a:lnTo>
                  <a:lnTo>
                    <a:pt x="1074" y="1318"/>
                  </a:lnTo>
                  <a:lnTo>
                    <a:pt x="1078" y="1318"/>
                  </a:lnTo>
                  <a:lnTo>
                    <a:pt x="1083" y="1314"/>
                  </a:lnTo>
                  <a:lnTo>
                    <a:pt x="1078" y="1318"/>
                  </a:lnTo>
                  <a:lnTo>
                    <a:pt x="1071" y="1314"/>
                  </a:lnTo>
                  <a:lnTo>
                    <a:pt x="1069" y="1312"/>
                  </a:lnTo>
                  <a:lnTo>
                    <a:pt x="1065" y="1312"/>
                  </a:lnTo>
                  <a:lnTo>
                    <a:pt x="1062" y="1318"/>
                  </a:lnTo>
                  <a:lnTo>
                    <a:pt x="1058" y="1314"/>
                  </a:lnTo>
                  <a:lnTo>
                    <a:pt x="1062" y="1312"/>
                  </a:lnTo>
                  <a:lnTo>
                    <a:pt x="1065" y="1309"/>
                  </a:lnTo>
                  <a:lnTo>
                    <a:pt x="1069" y="1307"/>
                  </a:lnTo>
                  <a:lnTo>
                    <a:pt x="1069" y="1305"/>
                  </a:lnTo>
                  <a:lnTo>
                    <a:pt x="1067" y="1307"/>
                  </a:lnTo>
                  <a:lnTo>
                    <a:pt x="1067" y="1304"/>
                  </a:lnTo>
                  <a:lnTo>
                    <a:pt x="1062" y="1309"/>
                  </a:lnTo>
                  <a:lnTo>
                    <a:pt x="1060" y="1309"/>
                  </a:lnTo>
                  <a:lnTo>
                    <a:pt x="1055" y="1312"/>
                  </a:lnTo>
                  <a:lnTo>
                    <a:pt x="1052" y="1312"/>
                  </a:lnTo>
                  <a:lnTo>
                    <a:pt x="1052" y="1318"/>
                  </a:lnTo>
                  <a:lnTo>
                    <a:pt x="1043" y="1318"/>
                  </a:lnTo>
                  <a:lnTo>
                    <a:pt x="1043" y="1318"/>
                  </a:lnTo>
                  <a:lnTo>
                    <a:pt x="1043" y="1314"/>
                  </a:lnTo>
                  <a:lnTo>
                    <a:pt x="1041" y="1314"/>
                  </a:lnTo>
                  <a:lnTo>
                    <a:pt x="1043" y="1312"/>
                  </a:lnTo>
                  <a:lnTo>
                    <a:pt x="1041" y="1314"/>
                  </a:lnTo>
                  <a:lnTo>
                    <a:pt x="1039" y="1318"/>
                  </a:lnTo>
                  <a:lnTo>
                    <a:pt x="1034" y="1319"/>
                  </a:lnTo>
                  <a:lnTo>
                    <a:pt x="1032" y="1318"/>
                  </a:lnTo>
                  <a:lnTo>
                    <a:pt x="1032" y="1319"/>
                  </a:lnTo>
                  <a:lnTo>
                    <a:pt x="1029" y="1319"/>
                  </a:lnTo>
                  <a:lnTo>
                    <a:pt x="1029" y="1318"/>
                  </a:lnTo>
                  <a:lnTo>
                    <a:pt x="1024" y="1318"/>
                  </a:lnTo>
                  <a:lnTo>
                    <a:pt x="1020" y="1318"/>
                  </a:lnTo>
                  <a:lnTo>
                    <a:pt x="1018" y="1318"/>
                  </a:lnTo>
                  <a:lnTo>
                    <a:pt x="1018" y="1314"/>
                  </a:lnTo>
                  <a:lnTo>
                    <a:pt x="1020" y="1312"/>
                  </a:lnTo>
                  <a:lnTo>
                    <a:pt x="1018" y="1312"/>
                  </a:lnTo>
                  <a:lnTo>
                    <a:pt x="1020" y="1309"/>
                  </a:lnTo>
                  <a:lnTo>
                    <a:pt x="1020" y="1309"/>
                  </a:lnTo>
                  <a:lnTo>
                    <a:pt x="1018" y="1307"/>
                  </a:lnTo>
                  <a:lnTo>
                    <a:pt x="1017" y="1304"/>
                  </a:lnTo>
                  <a:lnTo>
                    <a:pt x="1015" y="1304"/>
                  </a:lnTo>
                  <a:lnTo>
                    <a:pt x="1017" y="1302"/>
                  </a:lnTo>
                  <a:lnTo>
                    <a:pt x="1020" y="1278"/>
                  </a:lnTo>
                  <a:lnTo>
                    <a:pt x="1020" y="1274"/>
                  </a:lnTo>
                  <a:lnTo>
                    <a:pt x="1013" y="1267"/>
                  </a:lnTo>
                  <a:lnTo>
                    <a:pt x="1012" y="1269"/>
                  </a:lnTo>
                  <a:lnTo>
                    <a:pt x="1006" y="1267"/>
                  </a:lnTo>
                  <a:lnTo>
                    <a:pt x="1003" y="1269"/>
                  </a:lnTo>
                  <a:lnTo>
                    <a:pt x="1001" y="1266"/>
                  </a:lnTo>
                  <a:lnTo>
                    <a:pt x="998" y="1266"/>
                  </a:lnTo>
                  <a:lnTo>
                    <a:pt x="998" y="1266"/>
                  </a:lnTo>
                  <a:lnTo>
                    <a:pt x="996" y="1267"/>
                  </a:lnTo>
                  <a:lnTo>
                    <a:pt x="994" y="1271"/>
                  </a:lnTo>
                  <a:lnTo>
                    <a:pt x="987" y="1278"/>
                  </a:lnTo>
                  <a:lnTo>
                    <a:pt x="984" y="1281"/>
                  </a:lnTo>
                  <a:lnTo>
                    <a:pt x="984" y="1283"/>
                  </a:lnTo>
                  <a:lnTo>
                    <a:pt x="980" y="1286"/>
                  </a:lnTo>
                  <a:lnTo>
                    <a:pt x="979" y="1290"/>
                  </a:lnTo>
                  <a:lnTo>
                    <a:pt x="979" y="1293"/>
                  </a:lnTo>
                  <a:lnTo>
                    <a:pt x="975" y="1300"/>
                  </a:lnTo>
                  <a:lnTo>
                    <a:pt x="970" y="1300"/>
                  </a:lnTo>
                  <a:lnTo>
                    <a:pt x="966" y="1307"/>
                  </a:lnTo>
                  <a:lnTo>
                    <a:pt x="966" y="1309"/>
                  </a:lnTo>
                  <a:lnTo>
                    <a:pt x="963" y="1309"/>
                  </a:lnTo>
                  <a:lnTo>
                    <a:pt x="959" y="1309"/>
                  </a:lnTo>
                  <a:lnTo>
                    <a:pt x="958" y="1309"/>
                  </a:lnTo>
                  <a:lnTo>
                    <a:pt x="956" y="1312"/>
                  </a:lnTo>
                  <a:lnTo>
                    <a:pt x="954" y="1312"/>
                  </a:lnTo>
                  <a:lnTo>
                    <a:pt x="951" y="1314"/>
                  </a:lnTo>
                  <a:lnTo>
                    <a:pt x="900" y="1312"/>
                  </a:lnTo>
                  <a:lnTo>
                    <a:pt x="897" y="1314"/>
                  </a:lnTo>
                  <a:lnTo>
                    <a:pt x="893" y="1318"/>
                  </a:lnTo>
                  <a:lnTo>
                    <a:pt x="888" y="1319"/>
                  </a:lnTo>
                  <a:lnTo>
                    <a:pt x="885" y="1323"/>
                  </a:lnTo>
                  <a:lnTo>
                    <a:pt x="878" y="1330"/>
                  </a:lnTo>
                  <a:lnTo>
                    <a:pt x="874" y="1330"/>
                  </a:lnTo>
                  <a:lnTo>
                    <a:pt x="871" y="1333"/>
                  </a:lnTo>
                  <a:lnTo>
                    <a:pt x="855" y="1342"/>
                  </a:lnTo>
                  <a:lnTo>
                    <a:pt x="824" y="1352"/>
                  </a:lnTo>
                  <a:lnTo>
                    <a:pt x="820" y="1359"/>
                  </a:lnTo>
                  <a:lnTo>
                    <a:pt x="815" y="1365"/>
                  </a:lnTo>
                  <a:lnTo>
                    <a:pt x="756" y="1380"/>
                  </a:lnTo>
                  <a:lnTo>
                    <a:pt x="753" y="1373"/>
                  </a:lnTo>
                  <a:lnTo>
                    <a:pt x="756" y="1370"/>
                  </a:lnTo>
                  <a:lnTo>
                    <a:pt x="763" y="1368"/>
                  </a:lnTo>
                  <a:lnTo>
                    <a:pt x="767" y="1365"/>
                  </a:lnTo>
                  <a:lnTo>
                    <a:pt x="767" y="1359"/>
                  </a:lnTo>
                  <a:lnTo>
                    <a:pt x="770" y="1356"/>
                  </a:lnTo>
                  <a:lnTo>
                    <a:pt x="770" y="1333"/>
                  </a:lnTo>
                  <a:lnTo>
                    <a:pt x="760" y="1281"/>
                  </a:lnTo>
                  <a:lnTo>
                    <a:pt x="749" y="1272"/>
                  </a:lnTo>
                  <a:lnTo>
                    <a:pt x="744" y="1266"/>
                  </a:lnTo>
                  <a:lnTo>
                    <a:pt x="676" y="1234"/>
                  </a:lnTo>
                  <a:lnTo>
                    <a:pt x="674" y="1232"/>
                  </a:lnTo>
                  <a:lnTo>
                    <a:pt x="671" y="1231"/>
                  </a:lnTo>
                  <a:lnTo>
                    <a:pt x="669" y="1231"/>
                  </a:lnTo>
                  <a:lnTo>
                    <a:pt x="661" y="1231"/>
                  </a:lnTo>
                  <a:lnTo>
                    <a:pt x="659" y="1227"/>
                  </a:lnTo>
                  <a:lnTo>
                    <a:pt x="657" y="1226"/>
                  </a:lnTo>
                  <a:lnTo>
                    <a:pt x="654" y="1227"/>
                  </a:lnTo>
                  <a:lnTo>
                    <a:pt x="648" y="1227"/>
                  </a:lnTo>
                  <a:lnTo>
                    <a:pt x="647" y="1226"/>
                  </a:lnTo>
                  <a:lnTo>
                    <a:pt x="643" y="1222"/>
                  </a:lnTo>
                  <a:lnTo>
                    <a:pt x="640" y="1222"/>
                  </a:lnTo>
                  <a:lnTo>
                    <a:pt x="634" y="1220"/>
                  </a:lnTo>
                  <a:lnTo>
                    <a:pt x="633" y="1217"/>
                  </a:lnTo>
                  <a:lnTo>
                    <a:pt x="631" y="1217"/>
                  </a:lnTo>
                  <a:lnTo>
                    <a:pt x="628" y="1213"/>
                  </a:lnTo>
                  <a:lnTo>
                    <a:pt x="624" y="1213"/>
                  </a:lnTo>
                  <a:lnTo>
                    <a:pt x="621" y="1212"/>
                  </a:lnTo>
                  <a:lnTo>
                    <a:pt x="617" y="1213"/>
                  </a:lnTo>
                  <a:lnTo>
                    <a:pt x="617" y="1213"/>
                  </a:lnTo>
                  <a:lnTo>
                    <a:pt x="615" y="1212"/>
                  </a:lnTo>
                  <a:lnTo>
                    <a:pt x="612" y="1210"/>
                  </a:lnTo>
                  <a:lnTo>
                    <a:pt x="612" y="1210"/>
                  </a:lnTo>
                  <a:lnTo>
                    <a:pt x="608" y="1208"/>
                  </a:lnTo>
                  <a:lnTo>
                    <a:pt x="607" y="1208"/>
                  </a:lnTo>
                  <a:lnTo>
                    <a:pt x="605" y="1205"/>
                  </a:lnTo>
                  <a:lnTo>
                    <a:pt x="605" y="1203"/>
                  </a:lnTo>
                  <a:lnTo>
                    <a:pt x="600" y="1203"/>
                  </a:lnTo>
                  <a:lnTo>
                    <a:pt x="596" y="1203"/>
                  </a:lnTo>
                  <a:lnTo>
                    <a:pt x="593" y="1199"/>
                  </a:lnTo>
                  <a:lnTo>
                    <a:pt x="152" y="1156"/>
                  </a:lnTo>
                  <a:lnTo>
                    <a:pt x="152" y="1156"/>
                  </a:lnTo>
                  <a:lnTo>
                    <a:pt x="152" y="1156"/>
                  </a:lnTo>
                  <a:close/>
                </a:path>
              </a:pathLst>
            </a:custGeom>
            <a:grpFill/>
            <a:ln w="3175"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3" name="Freeform 40">
              <a:extLst>
                <a:ext uri="{FF2B5EF4-FFF2-40B4-BE49-F238E27FC236}">
                  <a16:creationId xmlns:a16="http://schemas.microsoft.com/office/drawing/2014/main" id="{05C002CE-38DA-4113-848E-DDF0D58AA3AA}"/>
                </a:ext>
              </a:extLst>
            </p:cNvPr>
            <p:cNvSpPr>
              <a:spLocks noEditPoints="1"/>
            </p:cNvSpPr>
            <p:nvPr/>
          </p:nvSpPr>
          <p:spPr bwMode="auto">
            <a:xfrm>
              <a:off x="-3175" y="1244601"/>
              <a:ext cx="1454150" cy="1114425"/>
            </a:xfrm>
            <a:custGeom>
              <a:avLst/>
              <a:gdLst/>
              <a:ahLst/>
              <a:cxnLst>
                <a:cxn ang="0">
                  <a:pos x="800" y="544"/>
                </a:cxn>
                <a:cxn ang="0">
                  <a:pos x="878" y="113"/>
                </a:cxn>
                <a:cxn ang="0">
                  <a:pos x="824" y="85"/>
                </a:cxn>
                <a:cxn ang="0">
                  <a:pos x="775" y="31"/>
                </a:cxn>
                <a:cxn ang="0">
                  <a:pos x="767" y="5"/>
                </a:cxn>
                <a:cxn ang="0">
                  <a:pos x="687" y="22"/>
                </a:cxn>
                <a:cxn ang="0">
                  <a:pos x="551" y="127"/>
                </a:cxn>
                <a:cxn ang="0">
                  <a:pos x="558" y="163"/>
                </a:cxn>
                <a:cxn ang="0">
                  <a:pos x="525" y="175"/>
                </a:cxn>
                <a:cxn ang="0">
                  <a:pos x="464" y="219"/>
                </a:cxn>
                <a:cxn ang="0">
                  <a:pos x="492" y="259"/>
                </a:cxn>
                <a:cxn ang="0">
                  <a:pos x="473" y="297"/>
                </a:cxn>
                <a:cxn ang="0">
                  <a:pos x="372" y="360"/>
                </a:cxn>
                <a:cxn ang="0">
                  <a:pos x="379" y="391"/>
                </a:cxn>
                <a:cxn ang="0">
                  <a:pos x="403" y="438"/>
                </a:cxn>
                <a:cxn ang="0">
                  <a:pos x="416" y="481"/>
                </a:cxn>
                <a:cxn ang="0">
                  <a:pos x="433" y="520"/>
                </a:cxn>
                <a:cxn ang="0">
                  <a:pos x="351" y="579"/>
                </a:cxn>
                <a:cxn ang="0">
                  <a:pos x="325" y="600"/>
                </a:cxn>
                <a:cxn ang="0">
                  <a:pos x="386" y="582"/>
                </a:cxn>
                <a:cxn ang="0">
                  <a:pos x="445" y="547"/>
                </a:cxn>
                <a:cxn ang="0">
                  <a:pos x="494" y="511"/>
                </a:cxn>
                <a:cxn ang="0">
                  <a:pos x="537" y="455"/>
                </a:cxn>
                <a:cxn ang="0">
                  <a:pos x="572" y="448"/>
                </a:cxn>
                <a:cxn ang="0">
                  <a:pos x="575" y="488"/>
                </a:cxn>
                <a:cxn ang="0">
                  <a:pos x="621" y="450"/>
                </a:cxn>
                <a:cxn ang="0">
                  <a:pos x="652" y="466"/>
                </a:cxn>
                <a:cxn ang="0">
                  <a:pos x="704" y="504"/>
                </a:cxn>
                <a:cxn ang="0">
                  <a:pos x="746" y="544"/>
                </a:cxn>
                <a:cxn ang="0">
                  <a:pos x="772" y="563"/>
                </a:cxn>
                <a:cxn ang="0">
                  <a:pos x="794" y="591"/>
                </a:cxn>
                <a:cxn ang="0">
                  <a:pos x="805" y="643"/>
                </a:cxn>
                <a:cxn ang="0">
                  <a:pos x="812" y="693"/>
                </a:cxn>
                <a:cxn ang="0">
                  <a:pos x="794" y="688"/>
                </a:cxn>
                <a:cxn ang="0">
                  <a:pos x="767" y="693"/>
                </a:cxn>
                <a:cxn ang="0">
                  <a:pos x="770" y="666"/>
                </a:cxn>
                <a:cxn ang="0">
                  <a:pos x="786" y="697"/>
                </a:cxn>
                <a:cxn ang="0">
                  <a:pos x="800" y="660"/>
                </a:cxn>
                <a:cxn ang="0">
                  <a:pos x="791" y="643"/>
                </a:cxn>
                <a:cxn ang="0">
                  <a:pos x="779" y="643"/>
                </a:cxn>
                <a:cxn ang="0">
                  <a:pos x="760" y="643"/>
                </a:cxn>
                <a:cxn ang="0">
                  <a:pos x="777" y="606"/>
                </a:cxn>
                <a:cxn ang="0">
                  <a:pos x="767" y="589"/>
                </a:cxn>
                <a:cxn ang="0">
                  <a:pos x="256" y="368"/>
                </a:cxn>
                <a:cxn ang="0">
                  <a:pos x="433" y="304"/>
                </a:cxn>
                <a:cxn ang="0">
                  <a:pos x="662" y="497"/>
                </a:cxn>
                <a:cxn ang="0">
                  <a:pos x="617" y="488"/>
                </a:cxn>
                <a:cxn ang="0">
                  <a:pos x="419" y="214"/>
                </a:cxn>
                <a:cxn ang="0">
                  <a:pos x="360" y="285"/>
                </a:cxn>
                <a:cxn ang="0">
                  <a:pos x="520" y="480"/>
                </a:cxn>
                <a:cxn ang="0">
                  <a:pos x="508" y="525"/>
                </a:cxn>
                <a:cxn ang="0">
                  <a:pos x="506" y="537"/>
                </a:cxn>
                <a:cxn ang="0">
                  <a:pos x="478" y="560"/>
                </a:cxn>
                <a:cxn ang="0">
                  <a:pos x="419" y="566"/>
                </a:cxn>
                <a:cxn ang="0">
                  <a:pos x="348" y="615"/>
                </a:cxn>
                <a:cxn ang="0">
                  <a:pos x="4" y="678"/>
                </a:cxn>
                <a:cxn ang="0">
                  <a:pos x="33" y="671"/>
                </a:cxn>
                <a:cxn ang="0">
                  <a:pos x="94" y="669"/>
                </a:cxn>
                <a:cxn ang="0">
                  <a:pos x="165" y="652"/>
                </a:cxn>
                <a:cxn ang="0">
                  <a:pos x="226" y="633"/>
                </a:cxn>
                <a:cxn ang="0">
                  <a:pos x="266" y="626"/>
                </a:cxn>
                <a:cxn ang="0">
                  <a:pos x="398" y="481"/>
                </a:cxn>
              </a:cxnLst>
              <a:rect l="0" t="0" r="r" b="b"/>
              <a:pathLst>
                <a:path w="916" h="702">
                  <a:moveTo>
                    <a:pt x="826" y="671"/>
                  </a:moveTo>
                  <a:lnTo>
                    <a:pt x="826" y="671"/>
                  </a:lnTo>
                  <a:lnTo>
                    <a:pt x="826" y="669"/>
                  </a:lnTo>
                  <a:lnTo>
                    <a:pt x="826" y="669"/>
                  </a:lnTo>
                  <a:lnTo>
                    <a:pt x="826" y="666"/>
                  </a:lnTo>
                  <a:lnTo>
                    <a:pt x="827" y="666"/>
                  </a:lnTo>
                  <a:lnTo>
                    <a:pt x="826" y="662"/>
                  </a:lnTo>
                  <a:lnTo>
                    <a:pt x="824" y="662"/>
                  </a:lnTo>
                  <a:lnTo>
                    <a:pt x="824" y="659"/>
                  </a:lnTo>
                  <a:lnTo>
                    <a:pt x="822" y="655"/>
                  </a:lnTo>
                  <a:lnTo>
                    <a:pt x="819" y="653"/>
                  </a:lnTo>
                  <a:lnTo>
                    <a:pt x="817" y="652"/>
                  </a:lnTo>
                  <a:lnTo>
                    <a:pt x="817" y="648"/>
                  </a:lnTo>
                  <a:lnTo>
                    <a:pt x="813" y="646"/>
                  </a:lnTo>
                  <a:lnTo>
                    <a:pt x="812" y="643"/>
                  </a:lnTo>
                  <a:lnTo>
                    <a:pt x="808" y="643"/>
                  </a:lnTo>
                  <a:lnTo>
                    <a:pt x="808" y="643"/>
                  </a:lnTo>
                  <a:lnTo>
                    <a:pt x="808" y="640"/>
                  </a:lnTo>
                  <a:lnTo>
                    <a:pt x="808" y="638"/>
                  </a:lnTo>
                  <a:lnTo>
                    <a:pt x="806" y="638"/>
                  </a:lnTo>
                  <a:lnTo>
                    <a:pt x="806" y="634"/>
                  </a:lnTo>
                  <a:lnTo>
                    <a:pt x="808" y="634"/>
                  </a:lnTo>
                  <a:lnTo>
                    <a:pt x="808" y="633"/>
                  </a:lnTo>
                  <a:lnTo>
                    <a:pt x="808" y="631"/>
                  </a:lnTo>
                  <a:lnTo>
                    <a:pt x="806" y="631"/>
                  </a:lnTo>
                  <a:lnTo>
                    <a:pt x="805" y="631"/>
                  </a:lnTo>
                  <a:lnTo>
                    <a:pt x="805" y="627"/>
                  </a:lnTo>
                  <a:lnTo>
                    <a:pt x="808" y="626"/>
                  </a:lnTo>
                  <a:lnTo>
                    <a:pt x="806" y="615"/>
                  </a:lnTo>
                  <a:lnTo>
                    <a:pt x="808" y="601"/>
                  </a:lnTo>
                  <a:lnTo>
                    <a:pt x="808" y="591"/>
                  </a:lnTo>
                  <a:lnTo>
                    <a:pt x="808" y="587"/>
                  </a:lnTo>
                  <a:lnTo>
                    <a:pt x="806" y="584"/>
                  </a:lnTo>
                  <a:lnTo>
                    <a:pt x="808" y="584"/>
                  </a:lnTo>
                  <a:lnTo>
                    <a:pt x="808" y="579"/>
                  </a:lnTo>
                  <a:lnTo>
                    <a:pt x="806" y="575"/>
                  </a:lnTo>
                  <a:lnTo>
                    <a:pt x="806" y="570"/>
                  </a:lnTo>
                  <a:lnTo>
                    <a:pt x="801" y="566"/>
                  </a:lnTo>
                  <a:lnTo>
                    <a:pt x="801" y="560"/>
                  </a:lnTo>
                  <a:lnTo>
                    <a:pt x="801" y="556"/>
                  </a:lnTo>
                  <a:lnTo>
                    <a:pt x="798" y="547"/>
                  </a:lnTo>
                  <a:lnTo>
                    <a:pt x="800" y="544"/>
                  </a:lnTo>
                  <a:lnTo>
                    <a:pt x="801" y="540"/>
                  </a:lnTo>
                  <a:lnTo>
                    <a:pt x="801" y="537"/>
                  </a:lnTo>
                  <a:lnTo>
                    <a:pt x="800" y="533"/>
                  </a:lnTo>
                  <a:lnTo>
                    <a:pt x="796" y="530"/>
                  </a:lnTo>
                  <a:lnTo>
                    <a:pt x="791" y="532"/>
                  </a:lnTo>
                  <a:lnTo>
                    <a:pt x="786" y="533"/>
                  </a:lnTo>
                  <a:lnTo>
                    <a:pt x="786" y="533"/>
                  </a:lnTo>
                  <a:lnTo>
                    <a:pt x="779" y="535"/>
                  </a:lnTo>
                  <a:lnTo>
                    <a:pt x="775" y="540"/>
                  </a:lnTo>
                  <a:lnTo>
                    <a:pt x="770" y="547"/>
                  </a:lnTo>
                  <a:lnTo>
                    <a:pt x="767" y="547"/>
                  </a:lnTo>
                  <a:lnTo>
                    <a:pt x="760" y="551"/>
                  </a:lnTo>
                  <a:lnTo>
                    <a:pt x="754" y="553"/>
                  </a:lnTo>
                  <a:lnTo>
                    <a:pt x="753" y="553"/>
                  </a:lnTo>
                  <a:lnTo>
                    <a:pt x="753" y="547"/>
                  </a:lnTo>
                  <a:lnTo>
                    <a:pt x="756" y="544"/>
                  </a:lnTo>
                  <a:lnTo>
                    <a:pt x="754" y="540"/>
                  </a:lnTo>
                  <a:lnTo>
                    <a:pt x="749" y="520"/>
                  </a:lnTo>
                  <a:lnTo>
                    <a:pt x="746" y="511"/>
                  </a:lnTo>
                  <a:lnTo>
                    <a:pt x="744" y="507"/>
                  </a:lnTo>
                  <a:lnTo>
                    <a:pt x="747" y="500"/>
                  </a:lnTo>
                  <a:lnTo>
                    <a:pt x="740" y="497"/>
                  </a:lnTo>
                  <a:lnTo>
                    <a:pt x="732" y="500"/>
                  </a:lnTo>
                  <a:lnTo>
                    <a:pt x="730" y="500"/>
                  </a:lnTo>
                  <a:lnTo>
                    <a:pt x="718" y="500"/>
                  </a:lnTo>
                  <a:lnTo>
                    <a:pt x="916" y="137"/>
                  </a:lnTo>
                  <a:lnTo>
                    <a:pt x="916" y="135"/>
                  </a:lnTo>
                  <a:lnTo>
                    <a:pt x="912" y="135"/>
                  </a:lnTo>
                  <a:lnTo>
                    <a:pt x="909" y="135"/>
                  </a:lnTo>
                  <a:lnTo>
                    <a:pt x="907" y="132"/>
                  </a:lnTo>
                  <a:lnTo>
                    <a:pt x="905" y="127"/>
                  </a:lnTo>
                  <a:lnTo>
                    <a:pt x="904" y="123"/>
                  </a:lnTo>
                  <a:lnTo>
                    <a:pt x="902" y="121"/>
                  </a:lnTo>
                  <a:lnTo>
                    <a:pt x="900" y="118"/>
                  </a:lnTo>
                  <a:lnTo>
                    <a:pt x="899" y="113"/>
                  </a:lnTo>
                  <a:lnTo>
                    <a:pt x="897" y="111"/>
                  </a:lnTo>
                  <a:lnTo>
                    <a:pt x="890" y="111"/>
                  </a:lnTo>
                  <a:lnTo>
                    <a:pt x="890" y="113"/>
                  </a:lnTo>
                  <a:lnTo>
                    <a:pt x="886" y="113"/>
                  </a:lnTo>
                  <a:lnTo>
                    <a:pt x="881" y="113"/>
                  </a:lnTo>
                  <a:lnTo>
                    <a:pt x="879" y="111"/>
                  </a:lnTo>
                  <a:lnTo>
                    <a:pt x="878" y="113"/>
                  </a:lnTo>
                  <a:lnTo>
                    <a:pt x="876" y="111"/>
                  </a:lnTo>
                  <a:lnTo>
                    <a:pt x="874" y="113"/>
                  </a:lnTo>
                  <a:lnTo>
                    <a:pt x="873" y="111"/>
                  </a:lnTo>
                  <a:lnTo>
                    <a:pt x="873" y="111"/>
                  </a:lnTo>
                  <a:lnTo>
                    <a:pt x="874" y="111"/>
                  </a:lnTo>
                  <a:lnTo>
                    <a:pt x="874" y="109"/>
                  </a:lnTo>
                  <a:lnTo>
                    <a:pt x="871" y="107"/>
                  </a:lnTo>
                  <a:lnTo>
                    <a:pt x="871" y="107"/>
                  </a:lnTo>
                  <a:lnTo>
                    <a:pt x="867" y="107"/>
                  </a:lnTo>
                  <a:lnTo>
                    <a:pt x="867" y="107"/>
                  </a:lnTo>
                  <a:lnTo>
                    <a:pt x="871" y="104"/>
                  </a:lnTo>
                  <a:lnTo>
                    <a:pt x="867" y="104"/>
                  </a:lnTo>
                  <a:lnTo>
                    <a:pt x="867" y="104"/>
                  </a:lnTo>
                  <a:lnTo>
                    <a:pt x="864" y="104"/>
                  </a:lnTo>
                  <a:lnTo>
                    <a:pt x="864" y="100"/>
                  </a:lnTo>
                  <a:lnTo>
                    <a:pt x="862" y="99"/>
                  </a:lnTo>
                  <a:lnTo>
                    <a:pt x="857" y="95"/>
                  </a:lnTo>
                  <a:lnTo>
                    <a:pt x="855" y="95"/>
                  </a:lnTo>
                  <a:lnTo>
                    <a:pt x="855" y="95"/>
                  </a:lnTo>
                  <a:lnTo>
                    <a:pt x="853" y="95"/>
                  </a:lnTo>
                  <a:lnTo>
                    <a:pt x="852" y="95"/>
                  </a:lnTo>
                  <a:lnTo>
                    <a:pt x="852" y="95"/>
                  </a:lnTo>
                  <a:lnTo>
                    <a:pt x="852" y="94"/>
                  </a:lnTo>
                  <a:lnTo>
                    <a:pt x="848" y="94"/>
                  </a:lnTo>
                  <a:lnTo>
                    <a:pt x="846" y="95"/>
                  </a:lnTo>
                  <a:lnTo>
                    <a:pt x="845" y="95"/>
                  </a:lnTo>
                  <a:lnTo>
                    <a:pt x="845" y="92"/>
                  </a:lnTo>
                  <a:lnTo>
                    <a:pt x="846" y="92"/>
                  </a:lnTo>
                  <a:lnTo>
                    <a:pt x="845" y="90"/>
                  </a:lnTo>
                  <a:lnTo>
                    <a:pt x="841" y="88"/>
                  </a:lnTo>
                  <a:lnTo>
                    <a:pt x="839" y="90"/>
                  </a:lnTo>
                  <a:lnTo>
                    <a:pt x="839" y="88"/>
                  </a:lnTo>
                  <a:lnTo>
                    <a:pt x="839" y="87"/>
                  </a:lnTo>
                  <a:lnTo>
                    <a:pt x="839" y="85"/>
                  </a:lnTo>
                  <a:lnTo>
                    <a:pt x="836" y="81"/>
                  </a:lnTo>
                  <a:lnTo>
                    <a:pt x="836" y="80"/>
                  </a:lnTo>
                  <a:lnTo>
                    <a:pt x="836" y="80"/>
                  </a:lnTo>
                  <a:lnTo>
                    <a:pt x="833" y="78"/>
                  </a:lnTo>
                  <a:lnTo>
                    <a:pt x="833" y="80"/>
                  </a:lnTo>
                  <a:lnTo>
                    <a:pt x="826" y="87"/>
                  </a:lnTo>
                  <a:lnTo>
                    <a:pt x="817" y="90"/>
                  </a:lnTo>
                  <a:lnTo>
                    <a:pt x="824" y="85"/>
                  </a:lnTo>
                  <a:lnTo>
                    <a:pt x="827" y="80"/>
                  </a:lnTo>
                  <a:lnTo>
                    <a:pt x="833" y="76"/>
                  </a:lnTo>
                  <a:lnTo>
                    <a:pt x="833" y="73"/>
                  </a:lnTo>
                  <a:lnTo>
                    <a:pt x="831" y="71"/>
                  </a:lnTo>
                  <a:lnTo>
                    <a:pt x="826" y="67"/>
                  </a:lnTo>
                  <a:lnTo>
                    <a:pt x="820" y="67"/>
                  </a:lnTo>
                  <a:lnTo>
                    <a:pt x="817" y="67"/>
                  </a:lnTo>
                  <a:lnTo>
                    <a:pt x="813" y="67"/>
                  </a:lnTo>
                  <a:lnTo>
                    <a:pt x="813" y="71"/>
                  </a:lnTo>
                  <a:lnTo>
                    <a:pt x="808" y="71"/>
                  </a:lnTo>
                  <a:lnTo>
                    <a:pt x="805" y="76"/>
                  </a:lnTo>
                  <a:lnTo>
                    <a:pt x="800" y="78"/>
                  </a:lnTo>
                  <a:lnTo>
                    <a:pt x="803" y="76"/>
                  </a:lnTo>
                  <a:lnTo>
                    <a:pt x="803" y="71"/>
                  </a:lnTo>
                  <a:lnTo>
                    <a:pt x="803" y="67"/>
                  </a:lnTo>
                  <a:lnTo>
                    <a:pt x="803" y="64"/>
                  </a:lnTo>
                  <a:lnTo>
                    <a:pt x="798" y="60"/>
                  </a:lnTo>
                  <a:lnTo>
                    <a:pt x="798" y="59"/>
                  </a:lnTo>
                  <a:lnTo>
                    <a:pt x="801" y="57"/>
                  </a:lnTo>
                  <a:lnTo>
                    <a:pt x="803" y="57"/>
                  </a:lnTo>
                  <a:lnTo>
                    <a:pt x="803" y="55"/>
                  </a:lnTo>
                  <a:lnTo>
                    <a:pt x="794" y="52"/>
                  </a:lnTo>
                  <a:lnTo>
                    <a:pt x="794" y="48"/>
                  </a:lnTo>
                  <a:lnTo>
                    <a:pt x="796" y="48"/>
                  </a:lnTo>
                  <a:lnTo>
                    <a:pt x="801" y="45"/>
                  </a:lnTo>
                  <a:lnTo>
                    <a:pt x="803" y="43"/>
                  </a:lnTo>
                  <a:lnTo>
                    <a:pt x="801" y="40"/>
                  </a:lnTo>
                  <a:lnTo>
                    <a:pt x="800" y="36"/>
                  </a:lnTo>
                  <a:lnTo>
                    <a:pt x="798" y="36"/>
                  </a:lnTo>
                  <a:lnTo>
                    <a:pt x="796" y="36"/>
                  </a:lnTo>
                  <a:lnTo>
                    <a:pt x="794" y="34"/>
                  </a:lnTo>
                  <a:lnTo>
                    <a:pt x="791" y="34"/>
                  </a:lnTo>
                  <a:lnTo>
                    <a:pt x="789" y="34"/>
                  </a:lnTo>
                  <a:lnTo>
                    <a:pt x="786" y="33"/>
                  </a:lnTo>
                  <a:lnTo>
                    <a:pt x="784" y="31"/>
                  </a:lnTo>
                  <a:lnTo>
                    <a:pt x="780" y="33"/>
                  </a:lnTo>
                  <a:lnTo>
                    <a:pt x="777" y="33"/>
                  </a:lnTo>
                  <a:lnTo>
                    <a:pt x="775" y="36"/>
                  </a:lnTo>
                  <a:lnTo>
                    <a:pt x="775" y="36"/>
                  </a:lnTo>
                  <a:lnTo>
                    <a:pt x="773" y="34"/>
                  </a:lnTo>
                  <a:lnTo>
                    <a:pt x="773" y="31"/>
                  </a:lnTo>
                  <a:lnTo>
                    <a:pt x="775" y="31"/>
                  </a:lnTo>
                  <a:lnTo>
                    <a:pt x="775" y="27"/>
                  </a:lnTo>
                  <a:lnTo>
                    <a:pt x="777" y="24"/>
                  </a:lnTo>
                  <a:lnTo>
                    <a:pt x="779" y="24"/>
                  </a:lnTo>
                  <a:lnTo>
                    <a:pt x="779" y="20"/>
                  </a:lnTo>
                  <a:lnTo>
                    <a:pt x="780" y="17"/>
                  </a:lnTo>
                  <a:lnTo>
                    <a:pt x="779" y="17"/>
                  </a:lnTo>
                  <a:lnTo>
                    <a:pt x="777" y="17"/>
                  </a:lnTo>
                  <a:lnTo>
                    <a:pt x="773" y="20"/>
                  </a:lnTo>
                  <a:lnTo>
                    <a:pt x="772" y="22"/>
                  </a:lnTo>
                  <a:lnTo>
                    <a:pt x="772" y="22"/>
                  </a:lnTo>
                  <a:lnTo>
                    <a:pt x="768" y="20"/>
                  </a:lnTo>
                  <a:lnTo>
                    <a:pt x="767" y="22"/>
                  </a:lnTo>
                  <a:lnTo>
                    <a:pt x="767" y="24"/>
                  </a:lnTo>
                  <a:lnTo>
                    <a:pt x="767" y="27"/>
                  </a:lnTo>
                  <a:lnTo>
                    <a:pt x="763" y="29"/>
                  </a:lnTo>
                  <a:lnTo>
                    <a:pt x="763" y="29"/>
                  </a:lnTo>
                  <a:lnTo>
                    <a:pt x="763" y="29"/>
                  </a:lnTo>
                  <a:lnTo>
                    <a:pt x="760" y="33"/>
                  </a:lnTo>
                  <a:lnTo>
                    <a:pt x="760" y="36"/>
                  </a:lnTo>
                  <a:lnTo>
                    <a:pt x="760" y="33"/>
                  </a:lnTo>
                  <a:lnTo>
                    <a:pt x="758" y="29"/>
                  </a:lnTo>
                  <a:lnTo>
                    <a:pt x="760" y="26"/>
                  </a:lnTo>
                  <a:lnTo>
                    <a:pt x="760" y="26"/>
                  </a:lnTo>
                  <a:lnTo>
                    <a:pt x="756" y="27"/>
                  </a:lnTo>
                  <a:lnTo>
                    <a:pt x="756" y="31"/>
                  </a:lnTo>
                  <a:lnTo>
                    <a:pt x="753" y="31"/>
                  </a:lnTo>
                  <a:lnTo>
                    <a:pt x="754" y="26"/>
                  </a:lnTo>
                  <a:lnTo>
                    <a:pt x="753" y="22"/>
                  </a:lnTo>
                  <a:lnTo>
                    <a:pt x="749" y="22"/>
                  </a:lnTo>
                  <a:lnTo>
                    <a:pt x="751" y="20"/>
                  </a:lnTo>
                  <a:lnTo>
                    <a:pt x="754" y="17"/>
                  </a:lnTo>
                  <a:lnTo>
                    <a:pt x="758" y="17"/>
                  </a:lnTo>
                  <a:lnTo>
                    <a:pt x="760" y="20"/>
                  </a:lnTo>
                  <a:lnTo>
                    <a:pt x="767" y="17"/>
                  </a:lnTo>
                  <a:lnTo>
                    <a:pt x="768" y="17"/>
                  </a:lnTo>
                  <a:lnTo>
                    <a:pt x="772" y="14"/>
                  </a:lnTo>
                  <a:lnTo>
                    <a:pt x="772" y="14"/>
                  </a:lnTo>
                  <a:lnTo>
                    <a:pt x="773" y="12"/>
                  </a:lnTo>
                  <a:lnTo>
                    <a:pt x="772" y="8"/>
                  </a:lnTo>
                  <a:lnTo>
                    <a:pt x="768" y="8"/>
                  </a:lnTo>
                  <a:lnTo>
                    <a:pt x="767" y="8"/>
                  </a:lnTo>
                  <a:lnTo>
                    <a:pt x="767" y="5"/>
                  </a:lnTo>
                  <a:lnTo>
                    <a:pt x="767" y="3"/>
                  </a:lnTo>
                  <a:lnTo>
                    <a:pt x="767" y="3"/>
                  </a:lnTo>
                  <a:lnTo>
                    <a:pt x="767" y="1"/>
                  </a:lnTo>
                  <a:lnTo>
                    <a:pt x="767" y="1"/>
                  </a:lnTo>
                  <a:lnTo>
                    <a:pt x="767" y="0"/>
                  </a:lnTo>
                  <a:lnTo>
                    <a:pt x="767" y="0"/>
                  </a:lnTo>
                  <a:lnTo>
                    <a:pt x="760" y="3"/>
                  </a:lnTo>
                  <a:lnTo>
                    <a:pt x="760" y="3"/>
                  </a:lnTo>
                  <a:lnTo>
                    <a:pt x="754" y="5"/>
                  </a:lnTo>
                  <a:lnTo>
                    <a:pt x="751" y="7"/>
                  </a:lnTo>
                  <a:lnTo>
                    <a:pt x="744" y="14"/>
                  </a:lnTo>
                  <a:lnTo>
                    <a:pt x="740" y="14"/>
                  </a:lnTo>
                  <a:lnTo>
                    <a:pt x="732" y="14"/>
                  </a:lnTo>
                  <a:lnTo>
                    <a:pt x="727" y="12"/>
                  </a:lnTo>
                  <a:lnTo>
                    <a:pt x="725" y="8"/>
                  </a:lnTo>
                  <a:lnTo>
                    <a:pt x="725" y="12"/>
                  </a:lnTo>
                  <a:lnTo>
                    <a:pt x="721" y="12"/>
                  </a:lnTo>
                  <a:lnTo>
                    <a:pt x="718" y="8"/>
                  </a:lnTo>
                  <a:lnTo>
                    <a:pt x="714" y="8"/>
                  </a:lnTo>
                  <a:lnTo>
                    <a:pt x="714" y="14"/>
                  </a:lnTo>
                  <a:lnTo>
                    <a:pt x="713" y="14"/>
                  </a:lnTo>
                  <a:lnTo>
                    <a:pt x="713" y="8"/>
                  </a:lnTo>
                  <a:lnTo>
                    <a:pt x="713" y="8"/>
                  </a:lnTo>
                  <a:lnTo>
                    <a:pt x="714" y="7"/>
                  </a:lnTo>
                  <a:lnTo>
                    <a:pt x="713" y="5"/>
                  </a:lnTo>
                  <a:lnTo>
                    <a:pt x="709" y="7"/>
                  </a:lnTo>
                  <a:lnTo>
                    <a:pt x="704" y="8"/>
                  </a:lnTo>
                  <a:lnTo>
                    <a:pt x="699" y="14"/>
                  </a:lnTo>
                  <a:lnTo>
                    <a:pt x="697" y="17"/>
                  </a:lnTo>
                  <a:lnTo>
                    <a:pt x="697" y="20"/>
                  </a:lnTo>
                  <a:lnTo>
                    <a:pt x="702" y="20"/>
                  </a:lnTo>
                  <a:lnTo>
                    <a:pt x="700" y="20"/>
                  </a:lnTo>
                  <a:lnTo>
                    <a:pt x="695" y="20"/>
                  </a:lnTo>
                  <a:lnTo>
                    <a:pt x="690" y="26"/>
                  </a:lnTo>
                  <a:lnTo>
                    <a:pt x="687" y="33"/>
                  </a:lnTo>
                  <a:lnTo>
                    <a:pt x="687" y="40"/>
                  </a:lnTo>
                  <a:lnTo>
                    <a:pt x="685" y="40"/>
                  </a:lnTo>
                  <a:lnTo>
                    <a:pt x="685" y="36"/>
                  </a:lnTo>
                  <a:lnTo>
                    <a:pt x="685" y="33"/>
                  </a:lnTo>
                  <a:lnTo>
                    <a:pt x="690" y="24"/>
                  </a:lnTo>
                  <a:lnTo>
                    <a:pt x="690" y="22"/>
                  </a:lnTo>
                  <a:lnTo>
                    <a:pt x="687" y="22"/>
                  </a:lnTo>
                  <a:lnTo>
                    <a:pt x="680" y="26"/>
                  </a:lnTo>
                  <a:lnTo>
                    <a:pt x="676" y="26"/>
                  </a:lnTo>
                  <a:lnTo>
                    <a:pt x="674" y="24"/>
                  </a:lnTo>
                  <a:lnTo>
                    <a:pt x="671" y="20"/>
                  </a:lnTo>
                  <a:lnTo>
                    <a:pt x="667" y="20"/>
                  </a:lnTo>
                  <a:lnTo>
                    <a:pt x="664" y="20"/>
                  </a:lnTo>
                  <a:lnTo>
                    <a:pt x="664" y="20"/>
                  </a:lnTo>
                  <a:lnTo>
                    <a:pt x="671" y="24"/>
                  </a:lnTo>
                  <a:lnTo>
                    <a:pt x="673" y="26"/>
                  </a:lnTo>
                  <a:lnTo>
                    <a:pt x="671" y="27"/>
                  </a:lnTo>
                  <a:lnTo>
                    <a:pt x="667" y="26"/>
                  </a:lnTo>
                  <a:lnTo>
                    <a:pt x="659" y="24"/>
                  </a:lnTo>
                  <a:lnTo>
                    <a:pt x="654" y="27"/>
                  </a:lnTo>
                  <a:lnTo>
                    <a:pt x="643" y="36"/>
                  </a:lnTo>
                  <a:lnTo>
                    <a:pt x="634" y="40"/>
                  </a:lnTo>
                  <a:lnTo>
                    <a:pt x="628" y="45"/>
                  </a:lnTo>
                  <a:lnTo>
                    <a:pt x="621" y="52"/>
                  </a:lnTo>
                  <a:lnTo>
                    <a:pt x="614" y="60"/>
                  </a:lnTo>
                  <a:lnTo>
                    <a:pt x="605" y="62"/>
                  </a:lnTo>
                  <a:lnTo>
                    <a:pt x="603" y="62"/>
                  </a:lnTo>
                  <a:lnTo>
                    <a:pt x="598" y="66"/>
                  </a:lnTo>
                  <a:lnTo>
                    <a:pt x="595" y="66"/>
                  </a:lnTo>
                  <a:lnTo>
                    <a:pt x="588" y="67"/>
                  </a:lnTo>
                  <a:lnTo>
                    <a:pt x="582" y="67"/>
                  </a:lnTo>
                  <a:lnTo>
                    <a:pt x="582" y="67"/>
                  </a:lnTo>
                  <a:lnTo>
                    <a:pt x="577" y="67"/>
                  </a:lnTo>
                  <a:lnTo>
                    <a:pt x="572" y="64"/>
                  </a:lnTo>
                  <a:lnTo>
                    <a:pt x="568" y="62"/>
                  </a:lnTo>
                  <a:lnTo>
                    <a:pt x="563" y="60"/>
                  </a:lnTo>
                  <a:lnTo>
                    <a:pt x="560" y="60"/>
                  </a:lnTo>
                  <a:lnTo>
                    <a:pt x="558" y="64"/>
                  </a:lnTo>
                  <a:lnTo>
                    <a:pt x="551" y="71"/>
                  </a:lnTo>
                  <a:lnTo>
                    <a:pt x="549" y="76"/>
                  </a:lnTo>
                  <a:lnTo>
                    <a:pt x="546" y="78"/>
                  </a:lnTo>
                  <a:lnTo>
                    <a:pt x="544" y="81"/>
                  </a:lnTo>
                  <a:lnTo>
                    <a:pt x="541" y="81"/>
                  </a:lnTo>
                  <a:lnTo>
                    <a:pt x="541" y="80"/>
                  </a:lnTo>
                  <a:lnTo>
                    <a:pt x="537" y="81"/>
                  </a:lnTo>
                  <a:lnTo>
                    <a:pt x="541" y="88"/>
                  </a:lnTo>
                  <a:lnTo>
                    <a:pt x="544" y="104"/>
                  </a:lnTo>
                  <a:lnTo>
                    <a:pt x="549" y="116"/>
                  </a:lnTo>
                  <a:lnTo>
                    <a:pt x="551" y="127"/>
                  </a:lnTo>
                  <a:lnTo>
                    <a:pt x="549" y="135"/>
                  </a:lnTo>
                  <a:lnTo>
                    <a:pt x="546" y="142"/>
                  </a:lnTo>
                  <a:lnTo>
                    <a:pt x="542" y="147"/>
                  </a:lnTo>
                  <a:lnTo>
                    <a:pt x="542" y="149"/>
                  </a:lnTo>
                  <a:lnTo>
                    <a:pt x="549" y="154"/>
                  </a:lnTo>
                  <a:lnTo>
                    <a:pt x="553" y="158"/>
                  </a:lnTo>
                  <a:lnTo>
                    <a:pt x="553" y="154"/>
                  </a:lnTo>
                  <a:lnTo>
                    <a:pt x="555" y="154"/>
                  </a:lnTo>
                  <a:lnTo>
                    <a:pt x="558" y="154"/>
                  </a:lnTo>
                  <a:lnTo>
                    <a:pt x="560" y="154"/>
                  </a:lnTo>
                  <a:lnTo>
                    <a:pt x="558" y="154"/>
                  </a:lnTo>
                  <a:lnTo>
                    <a:pt x="558" y="158"/>
                  </a:lnTo>
                  <a:lnTo>
                    <a:pt x="565" y="165"/>
                  </a:lnTo>
                  <a:lnTo>
                    <a:pt x="563" y="167"/>
                  </a:lnTo>
                  <a:lnTo>
                    <a:pt x="560" y="165"/>
                  </a:lnTo>
                  <a:lnTo>
                    <a:pt x="560" y="168"/>
                  </a:lnTo>
                  <a:lnTo>
                    <a:pt x="560" y="177"/>
                  </a:lnTo>
                  <a:lnTo>
                    <a:pt x="560" y="182"/>
                  </a:lnTo>
                  <a:lnTo>
                    <a:pt x="560" y="182"/>
                  </a:lnTo>
                  <a:lnTo>
                    <a:pt x="563" y="180"/>
                  </a:lnTo>
                  <a:lnTo>
                    <a:pt x="567" y="180"/>
                  </a:lnTo>
                  <a:lnTo>
                    <a:pt x="568" y="180"/>
                  </a:lnTo>
                  <a:lnTo>
                    <a:pt x="572" y="182"/>
                  </a:lnTo>
                  <a:lnTo>
                    <a:pt x="575" y="182"/>
                  </a:lnTo>
                  <a:lnTo>
                    <a:pt x="581" y="182"/>
                  </a:lnTo>
                  <a:lnTo>
                    <a:pt x="586" y="186"/>
                  </a:lnTo>
                  <a:lnTo>
                    <a:pt x="581" y="187"/>
                  </a:lnTo>
                  <a:lnTo>
                    <a:pt x="582" y="191"/>
                  </a:lnTo>
                  <a:lnTo>
                    <a:pt x="581" y="194"/>
                  </a:lnTo>
                  <a:lnTo>
                    <a:pt x="575" y="196"/>
                  </a:lnTo>
                  <a:lnTo>
                    <a:pt x="575" y="194"/>
                  </a:lnTo>
                  <a:lnTo>
                    <a:pt x="572" y="191"/>
                  </a:lnTo>
                  <a:lnTo>
                    <a:pt x="568" y="194"/>
                  </a:lnTo>
                  <a:lnTo>
                    <a:pt x="565" y="191"/>
                  </a:lnTo>
                  <a:lnTo>
                    <a:pt x="563" y="189"/>
                  </a:lnTo>
                  <a:lnTo>
                    <a:pt x="563" y="186"/>
                  </a:lnTo>
                  <a:lnTo>
                    <a:pt x="560" y="186"/>
                  </a:lnTo>
                  <a:lnTo>
                    <a:pt x="558" y="186"/>
                  </a:lnTo>
                  <a:lnTo>
                    <a:pt x="553" y="182"/>
                  </a:lnTo>
                  <a:lnTo>
                    <a:pt x="555" y="177"/>
                  </a:lnTo>
                  <a:lnTo>
                    <a:pt x="558" y="167"/>
                  </a:lnTo>
                  <a:lnTo>
                    <a:pt x="558" y="163"/>
                  </a:lnTo>
                  <a:lnTo>
                    <a:pt x="556" y="163"/>
                  </a:lnTo>
                  <a:lnTo>
                    <a:pt x="553" y="165"/>
                  </a:lnTo>
                  <a:lnTo>
                    <a:pt x="553" y="177"/>
                  </a:lnTo>
                  <a:lnTo>
                    <a:pt x="551" y="182"/>
                  </a:lnTo>
                  <a:lnTo>
                    <a:pt x="548" y="186"/>
                  </a:lnTo>
                  <a:lnTo>
                    <a:pt x="548" y="187"/>
                  </a:lnTo>
                  <a:lnTo>
                    <a:pt x="549" y="186"/>
                  </a:lnTo>
                  <a:lnTo>
                    <a:pt x="553" y="186"/>
                  </a:lnTo>
                  <a:lnTo>
                    <a:pt x="555" y="186"/>
                  </a:lnTo>
                  <a:lnTo>
                    <a:pt x="558" y="186"/>
                  </a:lnTo>
                  <a:lnTo>
                    <a:pt x="560" y="191"/>
                  </a:lnTo>
                  <a:lnTo>
                    <a:pt x="560" y="196"/>
                  </a:lnTo>
                  <a:lnTo>
                    <a:pt x="556" y="201"/>
                  </a:lnTo>
                  <a:lnTo>
                    <a:pt x="551" y="203"/>
                  </a:lnTo>
                  <a:lnTo>
                    <a:pt x="556" y="196"/>
                  </a:lnTo>
                  <a:lnTo>
                    <a:pt x="556" y="194"/>
                  </a:lnTo>
                  <a:lnTo>
                    <a:pt x="553" y="194"/>
                  </a:lnTo>
                  <a:lnTo>
                    <a:pt x="551" y="194"/>
                  </a:lnTo>
                  <a:lnTo>
                    <a:pt x="549" y="194"/>
                  </a:lnTo>
                  <a:lnTo>
                    <a:pt x="544" y="198"/>
                  </a:lnTo>
                  <a:lnTo>
                    <a:pt x="544" y="201"/>
                  </a:lnTo>
                  <a:lnTo>
                    <a:pt x="541" y="203"/>
                  </a:lnTo>
                  <a:lnTo>
                    <a:pt x="537" y="205"/>
                  </a:lnTo>
                  <a:lnTo>
                    <a:pt x="537" y="201"/>
                  </a:lnTo>
                  <a:lnTo>
                    <a:pt x="537" y="200"/>
                  </a:lnTo>
                  <a:lnTo>
                    <a:pt x="532" y="200"/>
                  </a:lnTo>
                  <a:lnTo>
                    <a:pt x="530" y="200"/>
                  </a:lnTo>
                  <a:lnTo>
                    <a:pt x="528" y="194"/>
                  </a:lnTo>
                  <a:lnTo>
                    <a:pt x="527" y="194"/>
                  </a:lnTo>
                  <a:lnTo>
                    <a:pt x="525" y="196"/>
                  </a:lnTo>
                  <a:lnTo>
                    <a:pt x="522" y="194"/>
                  </a:lnTo>
                  <a:lnTo>
                    <a:pt x="522" y="194"/>
                  </a:lnTo>
                  <a:lnTo>
                    <a:pt x="518" y="191"/>
                  </a:lnTo>
                  <a:lnTo>
                    <a:pt x="518" y="194"/>
                  </a:lnTo>
                  <a:lnTo>
                    <a:pt x="515" y="191"/>
                  </a:lnTo>
                  <a:lnTo>
                    <a:pt x="515" y="187"/>
                  </a:lnTo>
                  <a:lnTo>
                    <a:pt x="513" y="186"/>
                  </a:lnTo>
                  <a:lnTo>
                    <a:pt x="513" y="182"/>
                  </a:lnTo>
                  <a:lnTo>
                    <a:pt x="518" y="182"/>
                  </a:lnTo>
                  <a:lnTo>
                    <a:pt x="520" y="179"/>
                  </a:lnTo>
                  <a:lnTo>
                    <a:pt x="522" y="177"/>
                  </a:lnTo>
                  <a:lnTo>
                    <a:pt x="525" y="175"/>
                  </a:lnTo>
                  <a:lnTo>
                    <a:pt x="525" y="174"/>
                  </a:lnTo>
                  <a:lnTo>
                    <a:pt x="520" y="168"/>
                  </a:lnTo>
                  <a:lnTo>
                    <a:pt x="518" y="167"/>
                  </a:lnTo>
                  <a:lnTo>
                    <a:pt x="513" y="167"/>
                  </a:lnTo>
                  <a:lnTo>
                    <a:pt x="509" y="170"/>
                  </a:lnTo>
                  <a:lnTo>
                    <a:pt x="506" y="170"/>
                  </a:lnTo>
                  <a:lnTo>
                    <a:pt x="502" y="167"/>
                  </a:lnTo>
                  <a:lnTo>
                    <a:pt x="499" y="168"/>
                  </a:lnTo>
                  <a:lnTo>
                    <a:pt x="490" y="172"/>
                  </a:lnTo>
                  <a:lnTo>
                    <a:pt x="490" y="174"/>
                  </a:lnTo>
                  <a:lnTo>
                    <a:pt x="490" y="175"/>
                  </a:lnTo>
                  <a:lnTo>
                    <a:pt x="494" y="179"/>
                  </a:lnTo>
                  <a:lnTo>
                    <a:pt x="494" y="180"/>
                  </a:lnTo>
                  <a:lnTo>
                    <a:pt x="490" y="180"/>
                  </a:lnTo>
                  <a:lnTo>
                    <a:pt x="487" y="180"/>
                  </a:lnTo>
                  <a:lnTo>
                    <a:pt x="487" y="179"/>
                  </a:lnTo>
                  <a:lnTo>
                    <a:pt x="483" y="177"/>
                  </a:lnTo>
                  <a:lnTo>
                    <a:pt x="478" y="175"/>
                  </a:lnTo>
                  <a:lnTo>
                    <a:pt x="471" y="177"/>
                  </a:lnTo>
                  <a:lnTo>
                    <a:pt x="468" y="179"/>
                  </a:lnTo>
                  <a:lnTo>
                    <a:pt x="468" y="180"/>
                  </a:lnTo>
                  <a:lnTo>
                    <a:pt x="464" y="180"/>
                  </a:lnTo>
                  <a:lnTo>
                    <a:pt x="464" y="180"/>
                  </a:lnTo>
                  <a:lnTo>
                    <a:pt x="462" y="180"/>
                  </a:lnTo>
                  <a:lnTo>
                    <a:pt x="455" y="182"/>
                  </a:lnTo>
                  <a:lnTo>
                    <a:pt x="455" y="182"/>
                  </a:lnTo>
                  <a:lnTo>
                    <a:pt x="454" y="186"/>
                  </a:lnTo>
                  <a:lnTo>
                    <a:pt x="449" y="186"/>
                  </a:lnTo>
                  <a:lnTo>
                    <a:pt x="445" y="189"/>
                  </a:lnTo>
                  <a:lnTo>
                    <a:pt x="445" y="189"/>
                  </a:lnTo>
                  <a:lnTo>
                    <a:pt x="445" y="187"/>
                  </a:lnTo>
                  <a:lnTo>
                    <a:pt x="445" y="186"/>
                  </a:lnTo>
                  <a:lnTo>
                    <a:pt x="442" y="187"/>
                  </a:lnTo>
                  <a:lnTo>
                    <a:pt x="438" y="191"/>
                  </a:lnTo>
                  <a:lnTo>
                    <a:pt x="438" y="194"/>
                  </a:lnTo>
                  <a:lnTo>
                    <a:pt x="445" y="200"/>
                  </a:lnTo>
                  <a:lnTo>
                    <a:pt x="449" y="205"/>
                  </a:lnTo>
                  <a:lnTo>
                    <a:pt x="454" y="208"/>
                  </a:lnTo>
                  <a:lnTo>
                    <a:pt x="455" y="214"/>
                  </a:lnTo>
                  <a:lnTo>
                    <a:pt x="459" y="214"/>
                  </a:lnTo>
                  <a:lnTo>
                    <a:pt x="462" y="217"/>
                  </a:lnTo>
                  <a:lnTo>
                    <a:pt x="464" y="219"/>
                  </a:lnTo>
                  <a:lnTo>
                    <a:pt x="469" y="222"/>
                  </a:lnTo>
                  <a:lnTo>
                    <a:pt x="468" y="222"/>
                  </a:lnTo>
                  <a:lnTo>
                    <a:pt x="464" y="222"/>
                  </a:lnTo>
                  <a:lnTo>
                    <a:pt x="462" y="219"/>
                  </a:lnTo>
                  <a:lnTo>
                    <a:pt x="459" y="217"/>
                  </a:lnTo>
                  <a:lnTo>
                    <a:pt x="455" y="214"/>
                  </a:lnTo>
                  <a:lnTo>
                    <a:pt x="454" y="214"/>
                  </a:lnTo>
                  <a:lnTo>
                    <a:pt x="450" y="217"/>
                  </a:lnTo>
                  <a:lnTo>
                    <a:pt x="449" y="217"/>
                  </a:lnTo>
                  <a:lnTo>
                    <a:pt x="445" y="214"/>
                  </a:lnTo>
                  <a:lnTo>
                    <a:pt x="449" y="210"/>
                  </a:lnTo>
                  <a:lnTo>
                    <a:pt x="449" y="210"/>
                  </a:lnTo>
                  <a:lnTo>
                    <a:pt x="445" y="210"/>
                  </a:lnTo>
                  <a:lnTo>
                    <a:pt x="445" y="214"/>
                  </a:lnTo>
                  <a:lnTo>
                    <a:pt x="445" y="222"/>
                  </a:lnTo>
                  <a:lnTo>
                    <a:pt x="445" y="222"/>
                  </a:lnTo>
                  <a:lnTo>
                    <a:pt x="445" y="226"/>
                  </a:lnTo>
                  <a:lnTo>
                    <a:pt x="442" y="229"/>
                  </a:lnTo>
                  <a:lnTo>
                    <a:pt x="438" y="233"/>
                  </a:lnTo>
                  <a:lnTo>
                    <a:pt x="438" y="238"/>
                  </a:lnTo>
                  <a:lnTo>
                    <a:pt x="438" y="241"/>
                  </a:lnTo>
                  <a:lnTo>
                    <a:pt x="445" y="248"/>
                  </a:lnTo>
                  <a:lnTo>
                    <a:pt x="450" y="250"/>
                  </a:lnTo>
                  <a:lnTo>
                    <a:pt x="454" y="255"/>
                  </a:lnTo>
                  <a:lnTo>
                    <a:pt x="455" y="255"/>
                  </a:lnTo>
                  <a:lnTo>
                    <a:pt x="459" y="252"/>
                  </a:lnTo>
                  <a:lnTo>
                    <a:pt x="464" y="250"/>
                  </a:lnTo>
                  <a:lnTo>
                    <a:pt x="469" y="252"/>
                  </a:lnTo>
                  <a:lnTo>
                    <a:pt x="476" y="253"/>
                  </a:lnTo>
                  <a:lnTo>
                    <a:pt x="480" y="255"/>
                  </a:lnTo>
                  <a:lnTo>
                    <a:pt x="482" y="260"/>
                  </a:lnTo>
                  <a:lnTo>
                    <a:pt x="483" y="260"/>
                  </a:lnTo>
                  <a:lnTo>
                    <a:pt x="485" y="259"/>
                  </a:lnTo>
                  <a:lnTo>
                    <a:pt x="485" y="253"/>
                  </a:lnTo>
                  <a:lnTo>
                    <a:pt x="485" y="253"/>
                  </a:lnTo>
                  <a:lnTo>
                    <a:pt x="487" y="253"/>
                  </a:lnTo>
                  <a:lnTo>
                    <a:pt x="487" y="255"/>
                  </a:lnTo>
                  <a:lnTo>
                    <a:pt x="485" y="260"/>
                  </a:lnTo>
                  <a:lnTo>
                    <a:pt x="485" y="264"/>
                  </a:lnTo>
                  <a:lnTo>
                    <a:pt x="487" y="264"/>
                  </a:lnTo>
                  <a:lnTo>
                    <a:pt x="490" y="260"/>
                  </a:lnTo>
                  <a:lnTo>
                    <a:pt x="492" y="259"/>
                  </a:lnTo>
                  <a:lnTo>
                    <a:pt x="497" y="257"/>
                  </a:lnTo>
                  <a:lnTo>
                    <a:pt x="504" y="252"/>
                  </a:lnTo>
                  <a:lnTo>
                    <a:pt x="509" y="252"/>
                  </a:lnTo>
                  <a:lnTo>
                    <a:pt x="513" y="248"/>
                  </a:lnTo>
                  <a:lnTo>
                    <a:pt x="513" y="248"/>
                  </a:lnTo>
                  <a:lnTo>
                    <a:pt x="513" y="250"/>
                  </a:lnTo>
                  <a:lnTo>
                    <a:pt x="515" y="250"/>
                  </a:lnTo>
                  <a:lnTo>
                    <a:pt x="522" y="247"/>
                  </a:lnTo>
                  <a:lnTo>
                    <a:pt x="525" y="247"/>
                  </a:lnTo>
                  <a:lnTo>
                    <a:pt x="527" y="245"/>
                  </a:lnTo>
                  <a:lnTo>
                    <a:pt x="527" y="248"/>
                  </a:lnTo>
                  <a:lnTo>
                    <a:pt x="522" y="250"/>
                  </a:lnTo>
                  <a:lnTo>
                    <a:pt x="522" y="252"/>
                  </a:lnTo>
                  <a:lnTo>
                    <a:pt x="523" y="253"/>
                  </a:lnTo>
                  <a:lnTo>
                    <a:pt x="522" y="259"/>
                  </a:lnTo>
                  <a:lnTo>
                    <a:pt x="518" y="260"/>
                  </a:lnTo>
                  <a:lnTo>
                    <a:pt x="515" y="259"/>
                  </a:lnTo>
                  <a:lnTo>
                    <a:pt x="513" y="259"/>
                  </a:lnTo>
                  <a:lnTo>
                    <a:pt x="508" y="262"/>
                  </a:lnTo>
                  <a:lnTo>
                    <a:pt x="509" y="262"/>
                  </a:lnTo>
                  <a:lnTo>
                    <a:pt x="513" y="264"/>
                  </a:lnTo>
                  <a:lnTo>
                    <a:pt x="513" y="264"/>
                  </a:lnTo>
                  <a:lnTo>
                    <a:pt x="513" y="269"/>
                  </a:lnTo>
                  <a:lnTo>
                    <a:pt x="509" y="276"/>
                  </a:lnTo>
                  <a:lnTo>
                    <a:pt x="508" y="280"/>
                  </a:lnTo>
                  <a:lnTo>
                    <a:pt x="506" y="283"/>
                  </a:lnTo>
                  <a:lnTo>
                    <a:pt x="506" y="285"/>
                  </a:lnTo>
                  <a:lnTo>
                    <a:pt x="506" y="287"/>
                  </a:lnTo>
                  <a:lnTo>
                    <a:pt x="506" y="290"/>
                  </a:lnTo>
                  <a:lnTo>
                    <a:pt x="506" y="292"/>
                  </a:lnTo>
                  <a:lnTo>
                    <a:pt x="502" y="297"/>
                  </a:lnTo>
                  <a:lnTo>
                    <a:pt x="499" y="299"/>
                  </a:lnTo>
                  <a:lnTo>
                    <a:pt x="495" y="299"/>
                  </a:lnTo>
                  <a:lnTo>
                    <a:pt x="494" y="300"/>
                  </a:lnTo>
                  <a:lnTo>
                    <a:pt x="490" y="304"/>
                  </a:lnTo>
                  <a:lnTo>
                    <a:pt x="487" y="304"/>
                  </a:lnTo>
                  <a:lnTo>
                    <a:pt x="485" y="304"/>
                  </a:lnTo>
                  <a:lnTo>
                    <a:pt x="480" y="300"/>
                  </a:lnTo>
                  <a:lnTo>
                    <a:pt x="478" y="300"/>
                  </a:lnTo>
                  <a:lnTo>
                    <a:pt x="476" y="300"/>
                  </a:lnTo>
                  <a:lnTo>
                    <a:pt x="473" y="297"/>
                  </a:lnTo>
                  <a:lnTo>
                    <a:pt x="473" y="297"/>
                  </a:lnTo>
                  <a:lnTo>
                    <a:pt x="469" y="300"/>
                  </a:lnTo>
                  <a:lnTo>
                    <a:pt x="464" y="304"/>
                  </a:lnTo>
                  <a:lnTo>
                    <a:pt x="464" y="307"/>
                  </a:lnTo>
                  <a:lnTo>
                    <a:pt x="455" y="309"/>
                  </a:lnTo>
                  <a:lnTo>
                    <a:pt x="454" y="311"/>
                  </a:lnTo>
                  <a:lnTo>
                    <a:pt x="450" y="311"/>
                  </a:lnTo>
                  <a:lnTo>
                    <a:pt x="447" y="311"/>
                  </a:lnTo>
                  <a:lnTo>
                    <a:pt x="442" y="311"/>
                  </a:lnTo>
                  <a:lnTo>
                    <a:pt x="438" y="314"/>
                  </a:lnTo>
                  <a:lnTo>
                    <a:pt x="433" y="314"/>
                  </a:lnTo>
                  <a:lnTo>
                    <a:pt x="433" y="316"/>
                  </a:lnTo>
                  <a:lnTo>
                    <a:pt x="433" y="320"/>
                  </a:lnTo>
                  <a:lnTo>
                    <a:pt x="429" y="327"/>
                  </a:lnTo>
                  <a:lnTo>
                    <a:pt x="428" y="328"/>
                  </a:lnTo>
                  <a:lnTo>
                    <a:pt x="428" y="327"/>
                  </a:lnTo>
                  <a:lnTo>
                    <a:pt x="422" y="323"/>
                  </a:lnTo>
                  <a:lnTo>
                    <a:pt x="417" y="321"/>
                  </a:lnTo>
                  <a:lnTo>
                    <a:pt x="416" y="323"/>
                  </a:lnTo>
                  <a:lnTo>
                    <a:pt x="416" y="327"/>
                  </a:lnTo>
                  <a:lnTo>
                    <a:pt x="419" y="328"/>
                  </a:lnTo>
                  <a:lnTo>
                    <a:pt x="417" y="328"/>
                  </a:lnTo>
                  <a:lnTo>
                    <a:pt x="416" y="328"/>
                  </a:lnTo>
                  <a:lnTo>
                    <a:pt x="414" y="328"/>
                  </a:lnTo>
                  <a:lnTo>
                    <a:pt x="410" y="323"/>
                  </a:lnTo>
                  <a:lnTo>
                    <a:pt x="410" y="323"/>
                  </a:lnTo>
                  <a:lnTo>
                    <a:pt x="405" y="328"/>
                  </a:lnTo>
                  <a:lnTo>
                    <a:pt x="403" y="332"/>
                  </a:lnTo>
                  <a:lnTo>
                    <a:pt x="402" y="333"/>
                  </a:lnTo>
                  <a:lnTo>
                    <a:pt x="400" y="333"/>
                  </a:lnTo>
                  <a:lnTo>
                    <a:pt x="391" y="340"/>
                  </a:lnTo>
                  <a:lnTo>
                    <a:pt x="391" y="346"/>
                  </a:lnTo>
                  <a:lnTo>
                    <a:pt x="388" y="347"/>
                  </a:lnTo>
                  <a:lnTo>
                    <a:pt x="386" y="347"/>
                  </a:lnTo>
                  <a:lnTo>
                    <a:pt x="383" y="347"/>
                  </a:lnTo>
                  <a:lnTo>
                    <a:pt x="381" y="347"/>
                  </a:lnTo>
                  <a:lnTo>
                    <a:pt x="386" y="351"/>
                  </a:lnTo>
                  <a:lnTo>
                    <a:pt x="383" y="354"/>
                  </a:lnTo>
                  <a:lnTo>
                    <a:pt x="383" y="354"/>
                  </a:lnTo>
                  <a:lnTo>
                    <a:pt x="381" y="351"/>
                  </a:lnTo>
                  <a:lnTo>
                    <a:pt x="379" y="351"/>
                  </a:lnTo>
                  <a:lnTo>
                    <a:pt x="377" y="354"/>
                  </a:lnTo>
                  <a:lnTo>
                    <a:pt x="372" y="360"/>
                  </a:lnTo>
                  <a:lnTo>
                    <a:pt x="372" y="361"/>
                  </a:lnTo>
                  <a:lnTo>
                    <a:pt x="376" y="365"/>
                  </a:lnTo>
                  <a:lnTo>
                    <a:pt x="377" y="370"/>
                  </a:lnTo>
                  <a:lnTo>
                    <a:pt x="376" y="373"/>
                  </a:lnTo>
                  <a:lnTo>
                    <a:pt x="374" y="375"/>
                  </a:lnTo>
                  <a:lnTo>
                    <a:pt x="376" y="379"/>
                  </a:lnTo>
                  <a:lnTo>
                    <a:pt x="377" y="379"/>
                  </a:lnTo>
                  <a:lnTo>
                    <a:pt x="379" y="375"/>
                  </a:lnTo>
                  <a:lnTo>
                    <a:pt x="381" y="377"/>
                  </a:lnTo>
                  <a:lnTo>
                    <a:pt x="381" y="382"/>
                  </a:lnTo>
                  <a:lnTo>
                    <a:pt x="379" y="382"/>
                  </a:lnTo>
                  <a:lnTo>
                    <a:pt x="377" y="386"/>
                  </a:lnTo>
                  <a:lnTo>
                    <a:pt x="379" y="387"/>
                  </a:lnTo>
                  <a:lnTo>
                    <a:pt x="381" y="386"/>
                  </a:lnTo>
                  <a:lnTo>
                    <a:pt x="383" y="386"/>
                  </a:lnTo>
                  <a:lnTo>
                    <a:pt x="383" y="386"/>
                  </a:lnTo>
                  <a:lnTo>
                    <a:pt x="386" y="386"/>
                  </a:lnTo>
                  <a:lnTo>
                    <a:pt x="386" y="387"/>
                  </a:lnTo>
                  <a:lnTo>
                    <a:pt x="388" y="387"/>
                  </a:lnTo>
                  <a:lnTo>
                    <a:pt x="391" y="391"/>
                  </a:lnTo>
                  <a:lnTo>
                    <a:pt x="395" y="391"/>
                  </a:lnTo>
                  <a:lnTo>
                    <a:pt x="398" y="387"/>
                  </a:lnTo>
                  <a:lnTo>
                    <a:pt x="400" y="379"/>
                  </a:lnTo>
                  <a:lnTo>
                    <a:pt x="402" y="379"/>
                  </a:lnTo>
                  <a:lnTo>
                    <a:pt x="409" y="379"/>
                  </a:lnTo>
                  <a:lnTo>
                    <a:pt x="410" y="377"/>
                  </a:lnTo>
                  <a:lnTo>
                    <a:pt x="409" y="379"/>
                  </a:lnTo>
                  <a:lnTo>
                    <a:pt x="405" y="379"/>
                  </a:lnTo>
                  <a:lnTo>
                    <a:pt x="400" y="386"/>
                  </a:lnTo>
                  <a:lnTo>
                    <a:pt x="398" y="387"/>
                  </a:lnTo>
                  <a:lnTo>
                    <a:pt x="396" y="391"/>
                  </a:lnTo>
                  <a:lnTo>
                    <a:pt x="400" y="394"/>
                  </a:lnTo>
                  <a:lnTo>
                    <a:pt x="400" y="396"/>
                  </a:lnTo>
                  <a:lnTo>
                    <a:pt x="395" y="398"/>
                  </a:lnTo>
                  <a:lnTo>
                    <a:pt x="393" y="396"/>
                  </a:lnTo>
                  <a:lnTo>
                    <a:pt x="393" y="394"/>
                  </a:lnTo>
                  <a:lnTo>
                    <a:pt x="391" y="393"/>
                  </a:lnTo>
                  <a:lnTo>
                    <a:pt x="391" y="393"/>
                  </a:lnTo>
                  <a:lnTo>
                    <a:pt x="388" y="391"/>
                  </a:lnTo>
                  <a:lnTo>
                    <a:pt x="383" y="391"/>
                  </a:lnTo>
                  <a:lnTo>
                    <a:pt x="383" y="387"/>
                  </a:lnTo>
                  <a:lnTo>
                    <a:pt x="379" y="391"/>
                  </a:lnTo>
                  <a:lnTo>
                    <a:pt x="376" y="391"/>
                  </a:lnTo>
                  <a:lnTo>
                    <a:pt x="376" y="393"/>
                  </a:lnTo>
                  <a:lnTo>
                    <a:pt x="372" y="394"/>
                  </a:lnTo>
                  <a:lnTo>
                    <a:pt x="369" y="393"/>
                  </a:lnTo>
                  <a:lnTo>
                    <a:pt x="369" y="396"/>
                  </a:lnTo>
                  <a:lnTo>
                    <a:pt x="370" y="398"/>
                  </a:lnTo>
                  <a:lnTo>
                    <a:pt x="372" y="400"/>
                  </a:lnTo>
                  <a:lnTo>
                    <a:pt x="370" y="401"/>
                  </a:lnTo>
                  <a:lnTo>
                    <a:pt x="369" y="407"/>
                  </a:lnTo>
                  <a:lnTo>
                    <a:pt x="370" y="410"/>
                  </a:lnTo>
                  <a:lnTo>
                    <a:pt x="372" y="410"/>
                  </a:lnTo>
                  <a:lnTo>
                    <a:pt x="372" y="413"/>
                  </a:lnTo>
                  <a:lnTo>
                    <a:pt x="374" y="419"/>
                  </a:lnTo>
                  <a:lnTo>
                    <a:pt x="374" y="419"/>
                  </a:lnTo>
                  <a:lnTo>
                    <a:pt x="377" y="422"/>
                  </a:lnTo>
                  <a:lnTo>
                    <a:pt x="377" y="424"/>
                  </a:lnTo>
                  <a:lnTo>
                    <a:pt x="372" y="424"/>
                  </a:lnTo>
                  <a:lnTo>
                    <a:pt x="372" y="426"/>
                  </a:lnTo>
                  <a:lnTo>
                    <a:pt x="383" y="431"/>
                  </a:lnTo>
                  <a:lnTo>
                    <a:pt x="386" y="431"/>
                  </a:lnTo>
                  <a:lnTo>
                    <a:pt x="391" y="429"/>
                  </a:lnTo>
                  <a:lnTo>
                    <a:pt x="395" y="427"/>
                  </a:lnTo>
                  <a:lnTo>
                    <a:pt x="396" y="429"/>
                  </a:lnTo>
                  <a:lnTo>
                    <a:pt x="398" y="429"/>
                  </a:lnTo>
                  <a:lnTo>
                    <a:pt x="403" y="422"/>
                  </a:lnTo>
                  <a:lnTo>
                    <a:pt x="403" y="419"/>
                  </a:lnTo>
                  <a:lnTo>
                    <a:pt x="402" y="419"/>
                  </a:lnTo>
                  <a:lnTo>
                    <a:pt x="402" y="415"/>
                  </a:lnTo>
                  <a:lnTo>
                    <a:pt x="407" y="413"/>
                  </a:lnTo>
                  <a:lnTo>
                    <a:pt x="410" y="410"/>
                  </a:lnTo>
                  <a:lnTo>
                    <a:pt x="419" y="405"/>
                  </a:lnTo>
                  <a:lnTo>
                    <a:pt x="422" y="407"/>
                  </a:lnTo>
                  <a:lnTo>
                    <a:pt x="417" y="407"/>
                  </a:lnTo>
                  <a:lnTo>
                    <a:pt x="410" y="413"/>
                  </a:lnTo>
                  <a:lnTo>
                    <a:pt x="407" y="415"/>
                  </a:lnTo>
                  <a:lnTo>
                    <a:pt x="407" y="419"/>
                  </a:lnTo>
                  <a:lnTo>
                    <a:pt x="410" y="419"/>
                  </a:lnTo>
                  <a:lnTo>
                    <a:pt x="410" y="422"/>
                  </a:lnTo>
                  <a:lnTo>
                    <a:pt x="407" y="427"/>
                  </a:lnTo>
                  <a:lnTo>
                    <a:pt x="403" y="429"/>
                  </a:lnTo>
                  <a:lnTo>
                    <a:pt x="403" y="433"/>
                  </a:lnTo>
                  <a:lnTo>
                    <a:pt x="403" y="438"/>
                  </a:lnTo>
                  <a:lnTo>
                    <a:pt x="403" y="441"/>
                  </a:lnTo>
                  <a:lnTo>
                    <a:pt x="403" y="441"/>
                  </a:lnTo>
                  <a:lnTo>
                    <a:pt x="403" y="445"/>
                  </a:lnTo>
                  <a:lnTo>
                    <a:pt x="403" y="448"/>
                  </a:lnTo>
                  <a:lnTo>
                    <a:pt x="398" y="450"/>
                  </a:lnTo>
                  <a:lnTo>
                    <a:pt x="396" y="452"/>
                  </a:lnTo>
                  <a:lnTo>
                    <a:pt x="395" y="455"/>
                  </a:lnTo>
                  <a:lnTo>
                    <a:pt x="393" y="453"/>
                  </a:lnTo>
                  <a:lnTo>
                    <a:pt x="391" y="455"/>
                  </a:lnTo>
                  <a:lnTo>
                    <a:pt x="393" y="459"/>
                  </a:lnTo>
                  <a:lnTo>
                    <a:pt x="393" y="462"/>
                  </a:lnTo>
                  <a:lnTo>
                    <a:pt x="395" y="462"/>
                  </a:lnTo>
                  <a:lnTo>
                    <a:pt x="398" y="462"/>
                  </a:lnTo>
                  <a:lnTo>
                    <a:pt x="402" y="462"/>
                  </a:lnTo>
                  <a:lnTo>
                    <a:pt x="402" y="464"/>
                  </a:lnTo>
                  <a:lnTo>
                    <a:pt x="400" y="466"/>
                  </a:lnTo>
                  <a:lnTo>
                    <a:pt x="395" y="466"/>
                  </a:lnTo>
                  <a:lnTo>
                    <a:pt x="395" y="466"/>
                  </a:lnTo>
                  <a:lnTo>
                    <a:pt x="395" y="469"/>
                  </a:lnTo>
                  <a:lnTo>
                    <a:pt x="395" y="469"/>
                  </a:lnTo>
                  <a:lnTo>
                    <a:pt x="395" y="473"/>
                  </a:lnTo>
                  <a:lnTo>
                    <a:pt x="393" y="474"/>
                  </a:lnTo>
                  <a:lnTo>
                    <a:pt x="391" y="474"/>
                  </a:lnTo>
                  <a:lnTo>
                    <a:pt x="388" y="478"/>
                  </a:lnTo>
                  <a:lnTo>
                    <a:pt x="386" y="478"/>
                  </a:lnTo>
                  <a:lnTo>
                    <a:pt x="383" y="478"/>
                  </a:lnTo>
                  <a:lnTo>
                    <a:pt x="386" y="478"/>
                  </a:lnTo>
                  <a:lnTo>
                    <a:pt x="391" y="478"/>
                  </a:lnTo>
                  <a:lnTo>
                    <a:pt x="391" y="480"/>
                  </a:lnTo>
                  <a:lnTo>
                    <a:pt x="395" y="478"/>
                  </a:lnTo>
                  <a:lnTo>
                    <a:pt x="402" y="473"/>
                  </a:lnTo>
                  <a:lnTo>
                    <a:pt x="403" y="473"/>
                  </a:lnTo>
                  <a:lnTo>
                    <a:pt x="407" y="473"/>
                  </a:lnTo>
                  <a:lnTo>
                    <a:pt x="409" y="469"/>
                  </a:lnTo>
                  <a:lnTo>
                    <a:pt x="414" y="469"/>
                  </a:lnTo>
                  <a:lnTo>
                    <a:pt x="414" y="469"/>
                  </a:lnTo>
                  <a:lnTo>
                    <a:pt x="410" y="473"/>
                  </a:lnTo>
                  <a:lnTo>
                    <a:pt x="410" y="473"/>
                  </a:lnTo>
                  <a:lnTo>
                    <a:pt x="414" y="474"/>
                  </a:lnTo>
                  <a:lnTo>
                    <a:pt x="414" y="478"/>
                  </a:lnTo>
                  <a:lnTo>
                    <a:pt x="414" y="480"/>
                  </a:lnTo>
                  <a:lnTo>
                    <a:pt x="416" y="481"/>
                  </a:lnTo>
                  <a:lnTo>
                    <a:pt x="419" y="478"/>
                  </a:lnTo>
                  <a:lnTo>
                    <a:pt x="421" y="478"/>
                  </a:lnTo>
                  <a:lnTo>
                    <a:pt x="421" y="478"/>
                  </a:lnTo>
                  <a:lnTo>
                    <a:pt x="421" y="480"/>
                  </a:lnTo>
                  <a:lnTo>
                    <a:pt x="422" y="483"/>
                  </a:lnTo>
                  <a:lnTo>
                    <a:pt x="424" y="488"/>
                  </a:lnTo>
                  <a:lnTo>
                    <a:pt x="422" y="492"/>
                  </a:lnTo>
                  <a:lnTo>
                    <a:pt x="424" y="497"/>
                  </a:lnTo>
                  <a:lnTo>
                    <a:pt x="426" y="497"/>
                  </a:lnTo>
                  <a:lnTo>
                    <a:pt x="428" y="493"/>
                  </a:lnTo>
                  <a:lnTo>
                    <a:pt x="428" y="488"/>
                  </a:lnTo>
                  <a:lnTo>
                    <a:pt x="431" y="485"/>
                  </a:lnTo>
                  <a:lnTo>
                    <a:pt x="431" y="481"/>
                  </a:lnTo>
                  <a:lnTo>
                    <a:pt x="436" y="478"/>
                  </a:lnTo>
                  <a:lnTo>
                    <a:pt x="436" y="478"/>
                  </a:lnTo>
                  <a:lnTo>
                    <a:pt x="438" y="474"/>
                  </a:lnTo>
                  <a:lnTo>
                    <a:pt x="445" y="474"/>
                  </a:lnTo>
                  <a:lnTo>
                    <a:pt x="440" y="478"/>
                  </a:lnTo>
                  <a:lnTo>
                    <a:pt x="436" y="483"/>
                  </a:lnTo>
                  <a:lnTo>
                    <a:pt x="436" y="485"/>
                  </a:lnTo>
                  <a:lnTo>
                    <a:pt x="438" y="488"/>
                  </a:lnTo>
                  <a:lnTo>
                    <a:pt x="442" y="488"/>
                  </a:lnTo>
                  <a:lnTo>
                    <a:pt x="447" y="488"/>
                  </a:lnTo>
                  <a:lnTo>
                    <a:pt x="454" y="487"/>
                  </a:lnTo>
                  <a:lnTo>
                    <a:pt x="455" y="485"/>
                  </a:lnTo>
                  <a:lnTo>
                    <a:pt x="459" y="483"/>
                  </a:lnTo>
                  <a:lnTo>
                    <a:pt x="464" y="481"/>
                  </a:lnTo>
                  <a:lnTo>
                    <a:pt x="468" y="481"/>
                  </a:lnTo>
                  <a:lnTo>
                    <a:pt x="464" y="481"/>
                  </a:lnTo>
                  <a:lnTo>
                    <a:pt x="459" y="487"/>
                  </a:lnTo>
                  <a:lnTo>
                    <a:pt x="459" y="488"/>
                  </a:lnTo>
                  <a:lnTo>
                    <a:pt x="459" y="488"/>
                  </a:lnTo>
                  <a:lnTo>
                    <a:pt x="449" y="497"/>
                  </a:lnTo>
                  <a:lnTo>
                    <a:pt x="445" y="500"/>
                  </a:lnTo>
                  <a:lnTo>
                    <a:pt x="442" y="504"/>
                  </a:lnTo>
                  <a:lnTo>
                    <a:pt x="442" y="507"/>
                  </a:lnTo>
                  <a:lnTo>
                    <a:pt x="442" y="511"/>
                  </a:lnTo>
                  <a:lnTo>
                    <a:pt x="445" y="513"/>
                  </a:lnTo>
                  <a:lnTo>
                    <a:pt x="440" y="511"/>
                  </a:lnTo>
                  <a:lnTo>
                    <a:pt x="438" y="513"/>
                  </a:lnTo>
                  <a:lnTo>
                    <a:pt x="436" y="516"/>
                  </a:lnTo>
                  <a:lnTo>
                    <a:pt x="433" y="520"/>
                  </a:lnTo>
                  <a:lnTo>
                    <a:pt x="429" y="525"/>
                  </a:lnTo>
                  <a:lnTo>
                    <a:pt x="428" y="528"/>
                  </a:lnTo>
                  <a:lnTo>
                    <a:pt x="429" y="530"/>
                  </a:lnTo>
                  <a:lnTo>
                    <a:pt x="429" y="532"/>
                  </a:lnTo>
                  <a:lnTo>
                    <a:pt x="429" y="533"/>
                  </a:lnTo>
                  <a:lnTo>
                    <a:pt x="428" y="533"/>
                  </a:lnTo>
                  <a:lnTo>
                    <a:pt x="426" y="532"/>
                  </a:lnTo>
                  <a:lnTo>
                    <a:pt x="424" y="530"/>
                  </a:lnTo>
                  <a:lnTo>
                    <a:pt x="421" y="533"/>
                  </a:lnTo>
                  <a:lnTo>
                    <a:pt x="416" y="537"/>
                  </a:lnTo>
                  <a:lnTo>
                    <a:pt x="417" y="539"/>
                  </a:lnTo>
                  <a:lnTo>
                    <a:pt x="416" y="542"/>
                  </a:lnTo>
                  <a:lnTo>
                    <a:pt x="414" y="540"/>
                  </a:lnTo>
                  <a:lnTo>
                    <a:pt x="414" y="539"/>
                  </a:lnTo>
                  <a:lnTo>
                    <a:pt x="410" y="540"/>
                  </a:lnTo>
                  <a:lnTo>
                    <a:pt x="405" y="547"/>
                  </a:lnTo>
                  <a:lnTo>
                    <a:pt x="402" y="551"/>
                  </a:lnTo>
                  <a:lnTo>
                    <a:pt x="403" y="553"/>
                  </a:lnTo>
                  <a:lnTo>
                    <a:pt x="402" y="553"/>
                  </a:lnTo>
                  <a:lnTo>
                    <a:pt x="398" y="553"/>
                  </a:lnTo>
                  <a:lnTo>
                    <a:pt x="398" y="547"/>
                  </a:lnTo>
                  <a:lnTo>
                    <a:pt x="393" y="553"/>
                  </a:lnTo>
                  <a:lnTo>
                    <a:pt x="391" y="553"/>
                  </a:lnTo>
                  <a:lnTo>
                    <a:pt x="386" y="556"/>
                  </a:lnTo>
                  <a:lnTo>
                    <a:pt x="386" y="560"/>
                  </a:lnTo>
                  <a:lnTo>
                    <a:pt x="383" y="560"/>
                  </a:lnTo>
                  <a:lnTo>
                    <a:pt x="379" y="560"/>
                  </a:lnTo>
                  <a:lnTo>
                    <a:pt x="374" y="563"/>
                  </a:lnTo>
                  <a:lnTo>
                    <a:pt x="367" y="566"/>
                  </a:lnTo>
                  <a:lnTo>
                    <a:pt x="360" y="570"/>
                  </a:lnTo>
                  <a:lnTo>
                    <a:pt x="360" y="575"/>
                  </a:lnTo>
                  <a:lnTo>
                    <a:pt x="360" y="575"/>
                  </a:lnTo>
                  <a:lnTo>
                    <a:pt x="360" y="579"/>
                  </a:lnTo>
                  <a:lnTo>
                    <a:pt x="360" y="584"/>
                  </a:lnTo>
                  <a:lnTo>
                    <a:pt x="360" y="584"/>
                  </a:lnTo>
                  <a:lnTo>
                    <a:pt x="358" y="579"/>
                  </a:lnTo>
                  <a:lnTo>
                    <a:pt x="356" y="579"/>
                  </a:lnTo>
                  <a:lnTo>
                    <a:pt x="355" y="582"/>
                  </a:lnTo>
                  <a:lnTo>
                    <a:pt x="355" y="584"/>
                  </a:lnTo>
                  <a:lnTo>
                    <a:pt x="353" y="584"/>
                  </a:lnTo>
                  <a:lnTo>
                    <a:pt x="351" y="584"/>
                  </a:lnTo>
                  <a:lnTo>
                    <a:pt x="351" y="579"/>
                  </a:lnTo>
                  <a:lnTo>
                    <a:pt x="353" y="579"/>
                  </a:lnTo>
                  <a:lnTo>
                    <a:pt x="351" y="575"/>
                  </a:lnTo>
                  <a:lnTo>
                    <a:pt x="348" y="575"/>
                  </a:lnTo>
                  <a:lnTo>
                    <a:pt x="346" y="575"/>
                  </a:lnTo>
                  <a:lnTo>
                    <a:pt x="343" y="575"/>
                  </a:lnTo>
                  <a:lnTo>
                    <a:pt x="337" y="575"/>
                  </a:lnTo>
                  <a:lnTo>
                    <a:pt x="336" y="579"/>
                  </a:lnTo>
                  <a:lnTo>
                    <a:pt x="332" y="582"/>
                  </a:lnTo>
                  <a:lnTo>
                    <a:pt x="329" y="584"/>
                  </a:lnTo>
                  <a:lnTo>
                    <a:pt x="323" y="587"/>
                  </a:lnTo>
                  <a:lnTo>
                    <a:pt x="320" y="589"/>
                  </a:lnTo>
                  <a:lnTo>
                    <a:pt x="320" y="591"/>
                  </a:lnTo>
                  <a:lnTo>
                    <a:pt x="318" y="593"/>
                  </a:lnTo>
                  <a:lnTo>
                    <a:pt x="318" y="593"/>
                  </a:lnTo>
                  <a:lnTo>
                    <a:pt x="315" y="594"/>
                  </a:lnTo>
                  <a:lnTo>
                    <a:pt x="310" y="596"/>
                  </a:lnTo>
                  <a:lnTo>
                    <a:pt x="310" y="598"/>
                  </a:lnTo>
                  <a:lnTo>
                    <a:pt x="310" y="598"/>
                  </a:lnTo>
                  <a:lnTo>
                    <a:pt x="306" y="598"/>
                  </a:lnTo>
                  <a:lnTo>
                    <a:pt x="303" y="598"/>
                  </a:lnTo>
                  <a:lnTo>
                    <a:pt x="303" y="601"/>
                  </a:lnTo>
                  <a:lnTo>
                    <a:pt x="301" y="605"/>
                  </a:lnTo>
                  <a:lnTo>
                    <a:pt x="303" y="606"/>
                  </a:lnTo>
                  <a:lnTo>
                    <a:pt x="304" y="606"/>
                  </a:lnTo>
                  <a:lnTo>
                    <a:pt x="306" y="603"/>
                  </a:lnTo>
                  <a:lnTo>
                    <a:pt x="306" y="601"/>
                  </a:lnTo>
                  <a:lnTo>
                    <a:pt x="306" y="600"/>
                  </a:lnTo>
                  <a:lnTo>
                    <a:pt x="310" y="601"/>
                  </a:lnTo>
                  <a:lnTo>
                    <a:pt x="306" y="605"/>
                  </a:lnTo>
                  <a:lnTo>
                    <a:pt x="310" y="605"/>
                  </a:lnTo>
                  <a:lnTo>
                    <a:pt x="310" y="605"/>
                  </a:lnTo>
                  <a:lnTo>
                    <a:pt x="315" y="600"/>
                  </a:lnTo>
                  <a:lnTo>
                    <a:pt x="315" y="598"/>
                  </a:lnTo>
                  <a:lnTo>
                    <a:pt x="318" y="601"/>
                  </a:lnTo>
                  <a:lnTo>
                    <a:pt x="315" y="603"/>
                  </a:lnTo>
                  <a:lnTo>
                    <a:pt x="318" y="605"/>
                  </a:lnTo>
                  <a:lnTo>
                    <a:pt x="318" y="605"/>
                  </a:lnTo>
                  <a:lnTo>
                    <a:pt x="322" y="601"/>
                  </a:lnTo>
                  <a:lnTo>
                    <a:pt x="322" y="603"/>
                  </a:lnTo>
                  <a:lnTo>
                    <a:pt x="323" y="603"/>
                  </a:lnTo>
                  <a:lnTo>
                    <a:pt x="323" y="601"/>
                  </a:lnTo>
                  <a:lnTo>
                    <a:pt x="325" y="600"/>
                  </a:lnTo>
                  <a:lnTo>
                    <a:pt x="329" y="600"/>
                  </a:lnTo>
                  <a:lnTo>
                    <a:pt x="332" y="598"/>
                  </a:lnTo>
                  <a:lnTo>
                    <a:pt x="334" y="594"/>
                  </a:lnTo>
                  <a:lnTo>
                    <a:pt x="334" y="591"/>
                  </a:lnTo>
                  <a:lnTo>
                    <a:pt x="337" y="589"/>
                  </a:lnTo>
                  <a:lnTo>
                    <a:pt x="337" y="587"/>
                  </a:lnTo>
                  <a:lnTo>
                    <a:pt x="341" y="587"/>
                  </a:lnTo>
                  <a:lnTo>
                    <a:pt x="344" y="587"/>
                  </a:lnTo>
                  <a:lnTo>
                    <a:pt x="343" y="589"/>
                  </a:lnTo>
                  <a:lnTo>
                    <a:pt x="341" y="591"/>
                  </a:lnTo>
                  <a:lnTo>
                    <a:pt x="337" y="593"/>
                  </a:lnTo>
                  <a:lnTo>
                    <a:pt x="337" y="596"/>
                  </a:lnTo>
                  <a:lnTo>
                    <a:pt x="341" y="598"/>
                  </a:lnTo>
                  <a:lnTo>
                    <a:pt x="344" y="594"/>
                  </a:lnTo>
                  <a:lnTo>
                    <a:pt x="344" y="591"/>
                  </a:lnTo>
                  <a:lnTo>
                    <a:pt x="348" y="591"/>
                  </a:lnTo>
                  <a:lnTo>
                    <a:pt x="348" y="593"/>
                  </a:lnTo>
                  <a:lnTo>
                    <a:pt x="350" y="589"/>
                  </a:lnTo>
                  <a:lnTo>
                    <a:pt x="351" y="589"/>
                  </a:lnTo>
                  <a:lnTo>
                    <a:pt x="351" y="593"/>
                  </a:lnTo>
                  <a:lnTo>
                    <a:pt x="350" y="594"/>
                  </a:lnTo>
                  <a:lnTo>
                    <a:pt x="351" y="594"/>
                  </a:lnTo>
                  <a:lnTo>
                    <a:pt x="355" y="591"/>
                  </a:lnTo>
                  <a:lnTo>
                    <a:pt x="356" y="591"/>
                  </a:lnTo>
                  <a:lnTo>
                    <a:pt x="360" y="589"/>
                  </a:lnTo>
                  <a:lnTo>
                    <a:pt x="363" y="589"/>
                  </a:lnTo>
                  <a:lnTo>
                    <a:pt x="365" y="584"/>
                  </a:lnTo>
                  <a:lnTo>
                    <a:pt x="367" y="584"/>
                  </a:lnTo>
                  <a:lnTo>
                    <a:pt x="370" y="584"/>
                  </a:lnTo>
                  <a:lnTo>
                    <a:pt x="370" y="587"/>
                  </a:lnTo>
                  <a:lnTo>
                    <a:pt x="367" y="589"/>
                  </a:lnTo>
                  <a:lnTo>
                    <a:pt x="365" y="593"/>
                  </a:lnTo>
                  <a:lnTo>
                    <a:pt x="365" y="594"/>
                  </a:lnTo>
                  <a:lnTo>
                    <a:pt x="367" y="594"/>
                  </a:lnTo>
                  <a:lnTo>
                    <a:pt x="372" y="589"/>
                  </a:lnTo>
                  <a:lnTo>
                    <a:pt x="372" y="584"/>
                  </a:lnTo>
                  <a:lnTo>
                    <a:pt x="372" y="584"/>
                  </a:lnTo>
                  <a:lnTo>
                    <a:pt x="376" y="584"/>
                  </a:lnTo>
                  <a:lnTo>
                    <a:pt x="377" y="584"/>
                  </a:lnTo>
                  <a:lnTo>
                    <a:pt x="379" y="584"/>
                  </a:lnTo>
                  <a:lnTo>
                    <a:pt x="383" y="584"/>
                  </a:lnTo>
                  <a:lnTo>
                    <a:pt x="386" y="582"/>
                  </a:lnTo>
                  <a:lnTo>
                    <a:pt x="386" y="582"/>
                  </a:lnTo>
                  <a:lnTo>
                    <a:pt x="388" y="582"/>
                  </a:lnTo>
                  <a:lnTo>
                    <a:pt x="391" y="579"/>
                  </a:lnTo>
                  <a:lnTo>
                    <a:pt x="391" y="575"/>
                  </a:lnTo>
                  <a:lnTo>
                    <a:pt x="391" y="575"/>
                  </a:lnTo>
                  <a:lnTo>
                    <a:pt x="391" y="579"/>
                  </a:lnTo>
                  <a:lnTo>
                    <a:pt x="391" y="584"/>
                  </a:lnTo>
                  <a:lnTo>
                    <a:pt x="393" y="582"/>
                  </a:lnTo>
                  <a:lnTo>
                    <a:pt x="396" y="579"/>
                  </a:lnTo>
                  <a:lnTo>
                    <a:pt x="395" y="579"/>
                  </a:lnTo>
                  <a:lnTo>
                    <a:pt x="396" y="575"/>
                  </a:lnTo>
                  <a:lnTo>
                    <a:pt x="396" y="575"/>
                  </a:lnTo>
                  <a:lnTo>
                    <a:pt x="391" y="575"/>
                  </a:lnTo>
                  <a:lnTo>
                    <a:pt x="391" y="573"/>
                  </a:lnTo>
                  <a:lnTo>
                    <a:pt x="395" y="572"/>
                  </a:lnTo>
                  <a:lnTo>
                    <a:pt x="400" y="570"/>
                  </a:lnTo>
                  <a:lnTo>
                    <a:pt x="407" y="568"/>
                  </a:lnTo>
                  <a:lnTo>
                    <a:pt x="409" y="568"/>
                  </a:lnTo>
                  <a:lnTo>
                    <a:pt x="409" y="565"/>
                  </a:lnTo>
                  <a:lnTo>
                    <a:pt x="407" y="565"/>
                  </a:lnTo>
                  <a:lnTo>
                    <a:pt x="409" y="563"/>
                  </a:lnTo>
                  <a:lnTo>
                    <a:pt x="410" y="563"/>
                  </a:lnTo>
                  <a:lnTo>
                    <a:pt x="414" y="561"/>
                  </a:lnTo>
                  <a:lnTo>
                    <a:pt x="414" y="561"/>
                  </a:lnTo>
                  <a:lnTo>
                    <a:pt x="416" y="565"/>
                  </a:lnTo>
                  <a:lnTo>
                    <a:pt x="417" y="565"/>
                  </a:lnTo>
                  <a:lnTo>
                    <a:pt x="417" y="563"/>
                  </a:lnTo>
                  <a:lnTo>
                    <a:pt x="417" y="561"/>
                  </a:lnTo>
                  <a:lnTo>
                    <a:pt x="421" y="560"/>
                  </a:lnTo>
                  <a:lnTo>
                    <a:pt x="421" y="556"/>
                  </a:lnTo>
                  <a:lnTo>
                    <a:pt x="421" y="556"/>
                  </a:lnTo>
                  <a:lnTo>
                    <a:pt x="422" y="556"/>
                  </a:lnTo>
                  <a:lnTo>
                    <a:pt x="422" y="560"/>
                  </a:lnTo>
                  <a:lnTo>
                    <a:pt x="424" y="560"/>
                  </a:lnTo>
                  <a:lnTo>
                    <a:pt x="429" y="560"/>
                  </a:lnTo>
                  <a:lnTo>
                    <a:pt x="431" y="556"/>
                  </a:lnTo>
                  <a:lnTo>
                    <a:pt x="433" y="556"/>
                  </a:lnTo>
                  <a:lnTo>
                    <a:pt x="433" y="553"/>
                  </a:lnTo>
                  <a:lnTo>
                    <a:pt x="436" y="553"/>
                  </a:lnTo>
                  <a:lnTo>
                    <a:pt x="436" y="553"/>
                  </a:lnTo>
                  <a:lnTo>
                    <a:pt x="440" y="553"/>
                  </a:lnTo>
                  <a:lnTo>
                    <a:pt x="445" y="547"/>
                  </a:lnTo>
                  <a:lnTo>
                    <a:pt x="445" y="546"/>
                  </a:lnTo>
                  <a:lnTo>
                    <a:pt x="442" y="546"/>
                  </a:lnTo>
                  <a:lnTo>
                    <a:pt x="440" y="546"/>
                  </a:lnTo>
                  <a:lnTo>
                    <a:pt x="440" y="546"/>
                  </a:lnTo>
                  <a:lnTo>
                    <a:pt x="445" y="542"/>
                  </a:lnTo>
                  <a:lnTo>
                    <a:pt x="447" y="540"/>
                  </a:lnTo>
                  <a:lnTo>
                    <a:pt x="450" y="537"/>
                  </a:lnTo>
                  <a:lnTo>
                    <a:pt x="452" y="539"/>
                  </a:lnTo>
                  <a:lnTo>
                    <a:pt x="452" y="539"/>
                  </a:lnTo>
                  <a:lnTo>
                    <a:pt x="455" y="535"/>
                  </a:lnTo>
                  <a:lnTo>
                    <a:pt x="459" y="533"/>
                  </a:lnTo>
                  <a:lnTo>
                    <a:pt x="459" y="532"/>
                  </a:lnTo>
                  <a:lnTo>
                    <a:pt x="462" y="530"/>
                  </a:lnTo>
                  <a:lnTo>
                    <a:pt x="464" y="528"/>
                  </a:lnTo>
                  <a:lnTo>
                    <a:pt x="464" y="528"/>
                  </a:lnTo>
                  <a:lnTo>
                    <a:pt x="468" y="530"/>
                  </a:lnTo>
                  <a:lnTo>
                    <a:pt x="468" y="532"/>
                  </a:lnTo>
                  <a:lnTo>
                    <a:pt x="468" y="528"/>
                  </a:lnTo>
                  <a:lnTo>
                    <a:pt x="471" y="528"/>
                  </a:lnTo>
                  <a:lnTo>
                    <a:pt x="473" y="528"/>
                  </a:lnTo>
                  <a:lnTo>
                    <a:pt x="473" y="525"/>
                  </a:lnTo>
                  <a:lnTo>
                    <a:pt x="476" y="525"/>
                  </a:lnTo>
                  <a:lnTo>
                    <a:pt x="476" y="525"/>
                  </a:lnTo>
                  <a:lnTo>
                    <a:pt x="478" y="525"/>
                  </a:lnTo>
                  <a:lnTo>
                    <a:pt x="483" y="525"/>
                  </a:lnTo>
                  <a:lnTo>
                    <a:pt x="483" y="523"/>
                  </a:lnTo>
                  <a:lnTo>
                    <a:pt x="485" y="523"/>
                  </a:lnTo>
                  <a:lnTo>
                    <a:pt x="487" y="525"/>
                  </a:lnTo>
                  <a:lnTo>
                    <a:pt x="487" y="525"/>
                  </a:lnTo>
                  <a:lnTo>
                    <a:pt x="487" y="523"/>
                  </a:lnTo>
                  <a:lnTo>
                    <a:pt x="490" y="525"/>
                  </a:lnTo>
                  <a:lnTo>
                    <a:pt x="490" y="523"/>
                  </a:lnTo>
                  <a:lnTo>
                    <a:pt x="492" y="518"/>
                  </a:lnTo>
                  <a:lnTo>
                    <a:pt x="490" y="518"/>
                  </a:lnTo>
                  <a:lnTo>
                    <a:pt x="490" y="520"/>
                  </a:lnTo>
                  <a:lnTo>
                    <a:pt x="490" y="516"/>
                  </a:lnTo>
                  <a:lnTo>
                    <a:pt x="494" y="514"/>
                  </a:lnTo>
                  <a:lnTo>
                    <a:pt x="495" y="514"/>
                  </a:lnTo>
                  <a:lnTo>
                    <a:pt x="497" y="514"/>
                  </a:lnTo>
                  <a:lnTo>
                    <a:pt x="497" y="514"/>
                  </a:lnTo>
                  <a:lnTo>
                    <a:pt x="495" y="513"/>
                  </a:lnTo>
                  <a:lnTo>
                    <a:pt x="494" y="511"/>
                  </a:lnTo>
                  <a:lnTo>
                    <a:pt x="495" y="509"/>
                  </a:lnTo>
                  <a:lnTo>
                    <a:pt x="499" y="511"/>
                  </a:lnTo>
                  <a:lnTo>
                    <a:pt x="502" y="507"/>
                  </a:lnTo>
                  <a:lnTo>
                    <a:pt x="508" y="507"/>
                  </a:lnTo>
                  <a:lnTo>
                    <a:pt x="509" y="504"/>
                  </a:lnTo>
                  <a:lnTo>
                    <a:pt x="513" y="504"/>
                  </a:lnTo>
                  <a:lnTo>
                    <a:pt x="518" y="500"/>
                  </a:lnTo>
                  <a:lnTo>
                    <a:pt x="518" y="495"/>
                  </a:lnTo>
                  <a:lnTo>
                    <a:pt x="515" y="495"/>
                  </a:lnTo>
                  <a:lnTo>
                    <a:pt x="513" y="495"/>
                  </a:lnTo>
                  <a:lnTo>
                    <a:pt x="513" y="488"/>
                  </a:lnTo>
                  <a:lnTo>
                    <a:pt x="509" y="488"/>
                  </a:lnTo>
                  <a:lnTo>
                    <a:pt x="508" y="488"/>
                  </a:lnTo>
                  <a:lnTo>
                    <a:pt x="508" y="487"/>
                  </a:lnTo>
                  <a:lnTo>
                    <a:pt x="508" y="483"/>
                  </a:lnTo>
                  <a:lnTo>
                    <a:pt x="513" y="481"/>
                  </a:lnTo>
                  <a:lnTo>
                    <a:pt x="513" y="480"/>
                  </a:lnTo>
                  <a:lnTo>
                    <a:pt x="515" y="478"/>
                  </a:lnTo>
                  <a:lnTo>
                    <a:pt x="515" y="478"/>
                  </a:lnTo>
                  <a:lnTo>
                    <a:pt x="515" y="478"/>
                  </a:lnTo>
                  <a:lnTo>
                    <a:pt x="518" y="474"/>
                  </a:lnTo>
                  <a:lnTo>
                    <a:pt x="520" y="474"/>
                  </a:lnTo>
                  <a:lnTo>
                    <a:pt x="525" y="473"/>
                  </a:lnTo>
                  <a:lnTo>
                    <a:pt x="527" y="474"/>
                  </a:lnTo>
                  <a:lnTo>
                    <a:pt x="532" y="473"/>
                  </a:lnTo>
                  <a:lnTo>
                    <a:pt x="532" y="474"/>
                  </a:lnTo>
                  <a:lnTo>
                    <a:pt x="532" y="478"/>
                  </a:lnTo>
                  <a:lnTo>
                    <a:pt x="532" y="478"/>
                  </a:lnTo>
                  <a:lnTo>
                    <a:pt x="537" y="473"/>
                  </a:lnTo>
                  <a:lnTo>
                    <a:pt x="537" y="473"/>
                  </a:lnTo>
                  <a:lnTo>
                    <a:pt x="535" y="473"/>
                  </a:lnTo>
                  <a:lnTo>
                    <a:pt x="535" y="469"/>
                  </a:lnTo>
                  <a:lnTo>
                    <a:pt x="537" y="469"/>
                  </a:lnTo>
                  <a:lnTo>
                    <a:pt x="541" y="469"/>
                  </a:lnTo>
                  <a:lnTo>
                    <a:pt x="544" y="469"/>
                  </a:lnTo>
                  <a:lnTo>
                    <a:pt x="546" y="464"/>
                  </a:lnTo>
                  <a:lnTo>
                    <a:pt x="544" y="460"/>
                  </a:lnTo>
                  <a:lnTo>
                    <a:pt x="541" y="457"/>
                  </a:lnTo>
                  <a:lnTo>
                    <a:pt x="537" y="457"/>
                  </a:lnTo>
                  <a:lnTo>
                    <a:pt x="537" y="459"/>
                  </a:lnTo>
                  <a:lnTo>
                    <a:pt x="537" y="457"/>
                  </a:lnTo>
                  <a:lnTo>
                    <a:pt x="537" y="455"/>
                  </a:lnTo>
                  <a:lnTo>
                    <a:pt x="542" y="455"/>
                  </a:lnTo>
                  <a:lnTo>
                    <a:pt x="544" y="457"/>
                  </a:lnTo>
                  <a:lnTo>
                    <a:pt x="549" y="457"/>
                  </a:lnTo>
                  <a:lnTo>
                    <a:pt x="553" y="453"/>
                  </a:lnTo>
                  <a:lnTo>
                    <a:pt x="553" y="452"/>
                  </a:lnTo>
                  <a:lnTo>
                    <a:pt x="560" y="447"/>
                  </a:lnTo>
                  <a:lnTo>
                    <a:pt x="565" y="443"/>
                  </a:lnTo>
                  <a:lnTo>
                    <a:pt x="568" y="443"/>
                  </a:lnTo>
                  <a:lnTo>
                    <a:pt x="572" y="441"/>
                  </a:lnTo>
                  <a:lnTo>
                    <a:pt x="572" y="441"/>
                  </a:lnTo>
                  <a:lnTo>
                    <a:pt x="577" y="436"/>
                  </a:lnTo>
                  <a:lnTo>
                    <a:pt x="582" y="434"/>
                  </a:lnTo>
                  <a:lnTo>
                    <a:pt x="591" y="427"/>
                  </a:lnTo>
                  <a:lnTo>
                    <a:pt x="595" y="427"/>
                  </a:lnTo>
                  <a:lnTo>
                    <a:pt x="601" y="420"/>
                  </a:lnTo>
                  <a:lnTo>
                    <a:pt x="600" y="424"/>
                  </a:lnTo>
                  <a:lnTo>
                    <a:pt x="600" y="429"/>
                  </a:lnTo>
                  <a:lnTo>
                    <a:pt x="601" y="429"/>
                  </a:lnTo>
                  <a:lnTo>
                    <a:pt x="603" y="431"/>
                  </a:lnTo>
                  <a:lnTo>
                    <a:pt x="605" y="431"/>
                  </a:lnTo>
                  <a:lnTo>
                    <a:pt x="610" y="426"/>
                  </a:lnTo>
                  <a:lnTo>
                    <a:pt x="614" y="426"/>
                  </a:lnTo>
                  <a:lnTo>
                    <a:pt x="619" y="422"/>
                  </a:lnTo>
                  <a:lnTo>
                    <a:pt x="621" y="420"/>
                  </a:lnTo>
                  <a:lnTo>
                    <a:pt x="619" y="424"/>
                  </a:lnTo>
                  <a:lnTo>
                    <a:pt x="614" y="427"/>
                  </a:lnTo>
                  <a:lnTo>
                    <a:pt x="610" y="427"/>
                  </a:lnTo>
                  <a:lnTo>
                    <a:pt x="603" y="436"/>
                  </a:lnTo>
                  <a:lnTo>
                    <a:pt x="603" y="438"/>
                  </a:lnTo>
                  <a:lnTo>
                    <a:pt x="605" y="443"/>
                  </a:lnTo>
                  <a:lnTo>
                    <a:pt x="608" y="447"/>
                  </a:lnTo>
                  <a:lnTo>
                    <a:pt x="605" y="445"/>
                  </a:lnTo>
                  <a:lnTo>
                    <a:pt x="601" y="445"/>
                  </a:lnTo>
                  <a:lnTo>
                    <a:pt x="600" y="445"/>
                  </a:lnTo>
                  <a:lnTo>
                    <a:pt x="596" y="445"/>
                  </a:lnTo>
                  <a:lnTo>
                    <a:pt x="595" y="443"/>
                  </a:lnTo>
                  <a:lnTo>
                    <a:pt x="595" y="438"/>
                  </a:lnTo>
                  <a:lnTo>
                    <a:pt x="586" y="441"/>
                  </a:lnTo>
                  <a:lnTo>
                    <a:pt x="586" y="441"/>
                  </a:lnTo>
                  <a:lnTo>
                    <a:pt x="581" y="445"/>
                  </a:lnTo>
                  <a:lnTo>
                    <a:pt x="575" y="445"/>
                  </a:lnTo>
                  <a:lnTo>
                    <a:pt x="572" y="448"/>
                  </a:lnTo>
                  <a:lnTo>
                    <a:pt x="572" y="452"/>
                  </a:lnTo>
                  <a:lnTo>
                    <a:pt x="572" y="453"/>
                  </a:lnTo>
                  <a:lnTo>
                    <a:pt x="568" y="459"/>
                  </a:lnTo>
                  <a:lnTo>
                    <a:pt x="565" y="462"/>
                  </a:lnTo>
                  <a:lnTo>
                    <a:pt x="563" y="466"/>
                  </a:lnTo>
                  <a:lnTo>
                    <a:pt x="555" y="474"/>
                  </a:lnTo>
                  <a:lnTo>
                    <a:pt x="551" y="478"/>
                  </a:lnTo>
                  <a:lnTo>
                    <a:pt x="553" y="480"/>
                  </a:lnTo>
                  <a:lnTo>
                    <a:pt x="556" y="485"/>
                  </a:lnTo>
                  <a:lnTo>
                    <a:pt x="558" y="481"/>
                  </a:lnTo>
                  <a:lnTo>
                    <a:pt x="560" y="481"/>
                  </a:lnTo>
                  <a:lnTo>
                    <a:pt x="563" y="480"/>
                  </a:lnTo>
                  <a:lnTo>
                    <a:pt x="563" y="480"/>
                  </a:lnTo>
                  <a:lnTo>
                    <a:pt x="563" y="483"/>
                  </a:lnTo>
                  <a:lnTo>
                    <a:pt x="560" y="487"/>
                  </a:lnTo>
                  <a:lnTo>
                    <a:pt x="556" y="488"/>
                  </a:lnTo>
                  <a:lnTo>
                    <a:pt x="555" y="488"/>
                  </a:lnTo>
                  <a:lnTo>
                    <a:pt x="551" y="488"/>
                  </a:lnTo>
                  <a:lnTo>
                    <a:pt x="548" y="488"/>
                  </a:lnTo>
                  <a:lnTo>
                    <a:pt x="546" y="488"/>
                  </a:lnTo>
                  <a:lnTo>
                    <a:pt x="546" y="493"/>
                  </a:lnTo>
                  <a:lnTo>
                    <a:pt x="544" y="493"/>
                  </a:lnTo>
                  <a:lnTo>
                    <a:pt x="541" y="493"/>
                  </a:lnTo>
                  <a:lnTo>
                    <a:pt x="541" y="497"/>
                  </a:lnTo>
                  <a:lnTo>
                    <a:pt x="546" y="502"/>
                  </a:lnTo>
                  <a:lnTo>
                    <a:pt x="548" y="500"/>
                  </a:lnTo>
                  <a:lnTo>
                    <a:pt x="549" y="500"/>
                  </a:lnTo>
                  <a:lnTo>
                    <a:pt x="551" y="500"/>
                  </a:lnTo>
                  <a:lnTo>
                    <a:pt x="553" y="497"/>
                  </a:lnTo>
                  <a:lnTo>
                    <a:pt x="555" y="497"/>
                  </a:lnTo>
                  <a:lnTo>
                    <a:pt x="555" y="500"/>
                  </a:lnTo>
                  <a:lnTo>
                    <a:pt x="556" y="500"/>
                  </a:lnTo>
                  <a:lnTo>
                    <a:pt x="558" y="497"/>
                  </a:lnTo>
                  <a:lnTo>
                    <a:pt x="560" y="497"/>
                  </a:lnTo>
                  <a:lnTo>
                    <a:pt x="563" y="493"/>
                  </a:lnTo>
                  <a:lnTo>
                    <a:pt x="563" y="488"/>
                  </a:lnTo>
                  <a:lnTo>
                    <a:pt x="565" y="488"/>
                  </a:lnTo>
                  <a:lnTo>
                    <a:pt x="565" y="488"/>
                  </a:lnTo>
                  <a:lnTo>
                    <a:pt x="563" y="492"/>
                  </a:lnTo>
                  <a:lnTo>
                    <a:pt x="565" y="493"/>
                  </a:lnTo>
                  <a:lnTo>
                    <a:pt x="572" y="493"/>
                  </a:lnTo>
                  <a:lnTo>
                    <a:pt x="575" y="488"/>
                  </a:lnTo>
                  <a:lnTo>
                    <a:pt x="579" y="488"/>
                  </a:lnTo>
                  <a:lnTo>
                    <a:pt x="581" y="488"/>
                  </a:lnTo>
                  <a:lnTo>
                    <a:pt x="582" y="488"/>
                  </a:lnTo>
                  <a:lnTo>
                    <a:pt x="582" y="483"/>
                  </a:lnTo>
                  <a:lnTo>
                    <a:pt x="586" y="480"/>
                  </a:lnTo>
                  <a:lnTo>
                    <a:pt x="588" y="480"/>
                  </a:lnTo>
                  <a:lnTo>
                    <a:pt x="586" y="485"/>
                  </a:lnTo>
                  <a:lnTo>
                    <a:pt x="586" y="488"/>
                  </a:lnTo>
                  <a:lnTo>
                    <a:pt x="586" y="487"/>
                  </a:lnTo>
                  <a:lnTo>
                    <a:pt x="591" y="481"/>
                  </a:lnTo>
                  <a:lnTo>
                    <a:pt x="595" y="474"/>
                  </a:lnTo>
                  <a:lnTo>
                    <a:pt x="595" y="474"/>
                  </a:lnTo>
                  <a:lnTo>
                    <a:pt x="595" y="478"/>
                  </a:lnTo>
                  <a:lnTo>
                    <a:pt x="595" y="481"/>
                  </a:lnTo>
                  <a:lnTo>
                    <a:pt x="595" y="481"/>
                  </a:lnTo>
                  <a:lnTo>
                    <a:pt x="596" y="478"/>
                  </a:lnTo>
                  <a:lnTo>
                    <a:pt x="598" y="480"/>
                  </a:lnTo>
                  <a:lnTo>
                    <a:pt x="598" y="481"/>
                  </a:lnTo>
                  <a:lnTo>
                    <a:pt x="601" y="483"/>
                  </a:lnTo>
                  <a:lnTo>
                    <a:pt x="603" y="485"/>
                  </a:lnTo>
                  <a:lnTo>
                    <a:pt x="605" y="481"/>
                  </a:lnTo>
                  <a:lnTo>
                    <a:pt x="608" y="478"/>
                  </a:lnTo>
                  <a:lnTo>
                    <a:pt x="610" y="478"/>
                  </a:lnTo>
                  <a:lnTo>
                    <a:pt x="614" y="474"/>
                  </a:lnTo>
                  <a:lnTo>
                    <a:pt x="614" y="474"/>
                  </a:lnTo>
                  <a:lnTo>
                    <a:pt x="614" y="469"/>
                  </a:lnTo>
                  <a:lnTo>
                    <a:pt x="619" y="469"/>
                  </a:lnTo>
                  <a:lnTo>
                    <a:pt x="621" y="466"/>
                  </a:lnTo>
                  <a:lnTo>
                    <a:pt x="621" y="464"/>
                  </a:lnTo>
                  <a:lnTo>
                    <a:pt x="617" y="464"/>
                  </a:lnTo>
                  <a:lnTo>
                    <a:pt x="617" y="462"/>
                  </a:lnTo>
                  <a:lnTo>
                    <a:pt x="614" y="462"/>
                  </a:lnTo>
                  <a:lnTo>
                    <a:pt x="614" y="459"/>
                  </a:lnTo>
                  <a:lnTo>
                    <a:pt x="617" y="459"/>
                  </a:lnTo>
                  <a:lnTo>
                    <a:pt x="619" y="460"/>
                  </a:lnTo>
                  <a:lnTo>
                    <a:pt x="621" y="459"/>
                  </a:lnTo>
                  <a:lnTo>
                    <a:pt x="621" y="455"/>
                  </a:lnTo>
                  <a:lnTo>
                    <a:pt x="617" y="457"/>
                  </a:lnTo>
                  <a:lnTo>
                    <a:pt x="614" y="453"/>
                  </a:lnTo>
                  <a:lnTo>
                    <a:pt x="614" y="450"/>
                  </a:lnTo>
                  <a:lnTo>
                    <a:pt x="617" y="450"/>
                  </a:lnTo>
                  <a:lnTo>
                    <a:pt x="621" y="450"/>
                  </a:lnTo>
                  <a:lnTo>
                    <a:pt x="622" y="450"/>
                  </a:lnTo>
                  <a:lnTo>
                    <a:pt x="622" y="448"/>
                  </a:lnTo>
                  <a:lnTo>
                    <a:pt x="621" y="445"/>
                  </a:lnTo>
                  <a:lnTo>
                    <a:pt x="626" y="441"/>
                  </a:lnTo>
                  <a:lnTo>
                    <a:pt x="629" y="445"/>
                  </a:lnTo>
                  <a:lnTo>
                    <a:pt x="633" y="443"/>
                  </a:lnTo>
                  <a:lnTo>
                    <a:pt x="636" y="443"/>
                  </a:lnTo>
                  <a:lnTo>
                    <a:pt x="631" y="448"/>
                  </a:lnTo>
                  <a:lnTo>
                    <a:pt x="631" y="452"/>
                  </a:lnTo>
                  <a:lnTo>
                    <a:pt x="631" y="457"/>
                  </a:lnTo>
                  <a:lnTo>
                    <a:pt x="633" y="457"/>
                  </a:lnTo>
                  <a:lnTo>
                    <a:pt x="636" y="450"/>
                  </a:lnTo>
                  <a:lnTo>
                    <a:pt x="636" y="448"/>
                  </a:lnTo>
                  <a:lnTo>
                    <a:pt x="640" y="448"/>
                  </a:lnTo>
                  <a:lnTo>
                    <a:pt x="640" y="450"/>
                  </a:lnTo>
                  <a:lnTo>
                    <a:pt x="636" y="453"/>
                  </a:lnTo>
                  <a:lnTo>
                    <a:pt x="636" y="455"/>
                  </a:lnTo>
                  <a:lnTo>
                    <a:pt x="640" y="452"/>
                  </a:lnTo>
                  <a:lnTo>
                    <a:pt x="641" y="450"/>
                  </a:lnTo>
                  <a:lnTo>
                    <a:pt x="643" y="452"/>
                  </a:lnTo>
                  <a:lnTo>
                    <a:pt x="648" y="450"/>
                  </a:lnTo>
                  <a:lnTo>
                    <a:pt x="648" y="450"/>
                  </a:lnTo>
                  <a:lnTo>
                    <a:pt x="652" y="447"/>
                  </a:lnTo>
                  <a:lnTo>
                    <a:pt x="657" y="447"/>
                  </a:lnTo>
                  <a:lnTo>
                    <a:pt x="659" y="447"/>
                  </a:lnTo>
                  <a:lnTo>
                    <a:pt x="659" y="448"/>
                  </a:lnTo>
                  <a:lnTo>
                    <a:pt x="655" y="448"/>
                  </a:lnTo>
                  <a:lnTo>
                    <a:pt x="652" y="453"/>
                  </a:lnTo>
                  <a:lnTo>
                    <a:pt x="648" y="453"/>
                  </a:lnTo>
                  <a:lnTo>
                    <a:pt x="647" y="455"/>
                  </a:lnTo>
                  <a:lnTo>
                    <a:pt x="648" y="457"/>
                  </a:lnTo>
                  <a:lnTo>
                    <a:pt x="655" y="459"/>
                  </a:lnTo>
                  <a:lnTo>
                    <a:pt x="657" y="460"/>
                  </a:lnTo>
                  <a:lnTo>
                    <a:pt x="657" y="462"/>
                  </a:lnTo>
                  <a:lnTo>
                    <a:pt x="654" y="459"/>
                  </a:lnTo>
                  <a:lnTo>
                    <a:pt x="648" y="459"/>
                  </a:lnTo>
                  <a:lnTo>
                    <a:pt x="645" y="460"/>
                  </a:lnTo>
                  <a:lnTo>
                    <a:pt x="645" y="464"/>
                  </a:lnTo>
                  <a:lnTo>
                    <a:pt x="648" y="464"/>
                  </a:lnTo>
                  <a:lnTo>
                    <a:pt x="650" y="462"/>
                  </a:lnTo>
                  <a:lnTo>
                    <a:pt x="654" y="464"/>
                  </a:lnTo>
                  <a:lnTo>
                    <a:pt x="652" y="466"/>
                  </a:lnTo>
                  <a:lnTo>
                    <a:pt x="648" y="466"/>
                  </a:lnTo>
                  <a:lnTo>
                    <a:pt x="648" y="469"/>
                  </a:lnTo>
                  <a:lnTo>
                    <a:pt x="654" y="469"/>
                  </a:lnTo>
                  <a:lnTo>
                    <a:pt x="655" y="473"/>
                  </a:lnTo>
                  <a:lnTo>
                    <a:pt x="652" y="473"/>
                  </a:lnTo>
                  <a:lnTo>
                    <a:pt x="650" y="473"/>
                  </a:lnTo>
                  <a:lnTo>
                    <a:pt x="650" y="474"/>
                  </a:lnTo>
                  <a:lnTo>
                    <a:pt x="654" y="474"/>
                  </a:lnTo>
                  <a:lnTo>
                    <a:pt x="657" y="473"/>
                  </a:lnTo>
                  <a:lnTo>
                    <a:pt x="659" y="478"/>
                  </a:lnTo>
                  <a:lnTo>
                    <a:pt x="664" y="478"/>
                  </a:lnTo>
                  <a:lnTo>
                    <a:pt x="667" y="474"/>
                  </a:lnTo>
                  <a:lnTo>
                    <a:pt x="667" y="478"/>
                  </a:lnTo>
                  <a:lnTo>
                    <a:pt x="667" y="480"/>
                  </a:lnTo>
                  <a:lnTo>
                    <a:pt x="667" y="480"/>
                  </a:lnTo>
                  <a:lnTo>
                    <a:pt x="667" y="483"/>
                  </a:lnTo>
                  <a:lnTo>
                    <a:pt x="667" y="483"/>
                  </a:lnTo>
                  <a:lnTo>
                    <a:pt x="669" y="485"/>
                  </a:lnTo>
                  <a:lnTo>
                    <a:pt x="671" y="487"/>
                  </a:lnTo>
                  <a:lnTo>
                    <a:pt x="674" y="483"/>
                  </a:lnTo>
                  <a:lnTo>
                    <a:pt x="673" y="481"/>
                  </a:lnTo>
                  <a:lnTo>
                    <a:pt x="674" y="480"/>
                  </a:lnTo>
                  <a:lnTo>
                    <a:pt x="678" y="480"/>
                  </a:lnTo>
                  <a:lnTo>
                    <a:pt x="676" y="483"/>
                  </a:lnTo>
                  <a:lnTo>
                    <a:pt x="676" y="485"/>
                  </a:lnTo>
                  <a:lnTo>
                    <a:pt x="671" y="488"/>
                  </a:lnTo>
                  <a:lnTo>
                    <a:pt x="674" y="493"/>
                  </a:lnTo>
                  <a:lnTo>
                    <a:pt x="673" y="493"/>
                  </a:lnTo>
                  <a:lnTo>
                    <a:pt x="671" y="493"/>
                  </a:lnTo>
                  <a:lnTo>
                    <a:pt x="669" y="493"/>
                  </a:lnTo>
                  <a:lnTo>
                    <a:pt x="671" y="497"/>
                  </a:lnTo>
                  <a:lnTo>
                    <a:pt x="680" y="497"/>
                  </a:lnTo>
                  <a:lnTo>
                    <a:pt x="681" y="497"/>
                  </a:lnTo>
                  <a:lnTo>
                    <a:pt x="685" y="497"/>
                  </a:lnTo>
                  <a:lnTo>
                    <a:pt x="687" y="497"/>
                  </a:lnTo>
                  <a:lnTo>
                    <a:pt x="690" y="497"/>
                  </a:lnTo>
                  <a:lnTo>
                    <a:pt x="695" y="497"/>
                  </a:lnTo>
                  <a:lnTo>
                    <a:pt x="697" y="497"/>
                  </a:lnTo>
                  <a:lnTo>
                    <a:pt x="697" y="500"/>
                  </a:lnTo>
                  <a:lnTo>
                    <a:pt x="699" y="500"/>
                  </a:lnTo>
                  <a:lnTo>
                    <a:pt x="700" y="502"/>
                  </a:lnTo>
                  <a:lnTo>
                    <a:pt x="704" y="504"/>
                  </a:lnTo>
                  <a:lnTo>
                    <a:pt x="704" y="506"/>
                  </a:lnTo>
                  <a:lnTo>
                    <a:pt x="707" y="506"/>
                  </a:lnTo>
                  <a:lnTo>
                    <a:pt x="713" y="504"/>
                  </a:lnTo>
                  <a:lnTo>
                    <a:pt x="713" y="502"/>
                  </a:lnTo>
                  <a:lnTo>
                    <a:pt x="714" y="502"/>
                  </a:lnTo>
                  <a:lnTo>
                    <a:pt x="714" y="506"/>
                  </a:lnTo>
                  <a:lnTo>
                    <a:pt x="713" y="507"/>
                  </a:lnTo>
                  <a:lnTo>
                    <a:pt x="709" y="509"/>
                  </a:lnTo>
                  <a:lnTo>
                    <a:pt x="709" y="511"/>
                  </a:lnTo>
                  <a:lnTo>
                    <a:pt x="713" y="511"/>
                  </a:lnTo>
                  <a:lnTo>
                    <a:pt x="714" y="514"/>
                  </a:lnTo>
                  <a:lnTo>
                    <a:pt x="716" y="518"/>
                  </a:lnTo>
                  <a:lnTo>
                    <a:pt x="721" y="520"/>
                  </a:lnTo>
                  <a:lnTo>
                    <a:pt x="728" y="518"/>
                  </a:lnTo>
                  <a:lnTo>
                    <a:pt x="732" y="516"/>
                  </a:lnTo>
                  <a:lnTo>
                    <a:pt x="732" y="518"/>
                  </a:lnTo>
                  <a:lnTo>
                    <a:pt x="735" y="514"/>
                  </a:lnTo>
                  <a:lnTo>
                    <a:pt x="737" y="513"/>
                  </a:lnTo>
                  <a:lnTo>
                    <a:pt x="740" y="513"/>
                  </a:lnTo>
                  <a:lnTo>
                    <a:pt x="740" y="514"/>
                  </a:lnTo>
                  <a:lnTo>
                    <a:pt x="737" y="516"/>
                  </a:lnTo>
                  <a:lnTo>
                    <a:pt x="735" y="523"/>
                  </a:lnTo>
                  <a:lnTo>
                    <a:pt x="732" y="525"/>
                  </a:lnTo>
                  <a:lnTo>
                    <a:pt x="732" y="525"/>
                  </a:lnTo>
                  <a:lnTo>
                    <a:pt x="728" y="525"/>
                  </a:lnTo>
                  <a:lnTo>
                    <a:pt x="727" y="525"/>
                  </a:lnTo>
                  <a:lnTo>
                    <a:pt x="728" y="528"/>
                  </a:lnTo>
                  <a:lnTo>
                    <a:pt x="730" y="532"/>
                  </a:lnTo>
                  <a:lnTo>
                    <a:pt x="732" y="533"/>
                  </a:lnTo>
                  <a:lnTo>
                    <a:pt x="735" y="532"/>
                  </a:lnTo>
                  <a:lnTo>
                    <a:pt x="737" y="533"/>
                  </a:lnTo>
                  <a:lnTo>
                    <a:pt x="737" y="535"/>
                  </a:lnTo>
                  <a:lnTo>
                    <a:pt x="732" y="535"/>
                  </a:lnTo>
                  <a:lnTo>
                    <a:pt x="732" y="537"/>
                  </a:lnTo>
                  <a:lnTo>
                    <a:pt x="737" y="542"/>
                  </a:lnTo>
                  <a:lnTo>
                    <a:pt x="740" y="542"/>
                  </a:lnTo>
                  <a:lnTo>
                    <a:pt x="744" y="542"/>
                  </a:lnTo>
                  <a:lnTo>
                    <a:pt x="746" y="539"/>
                  </a:lnTo>
                  <a:lnTo>
                    <a:pt x="749" y="530"/>
                  </a:lnTo>
                  <a:lnTo>
                    <a:pt x="747" y="537"/>
                  </a:lnTo>
                  <a:lnTo>
                    <a:pt x="747" y="540"/>
                  </a:lnTo>
                  <a:lnTo>
                    <a:pt x="746" y="544"/>
                  </a:lnTo>
                  <a:lnTo>
                    <a:pt x="744" y="544"/>
                  </a:lnTo>
                  <a:lnTo>
                    <a:pt x="744" y="547"/>
                  </a:lnTo>
                  <a:lnTo>
                    <a:pt x="744" y="547"/>
                  </a:lnTo>
                  <a:lnTo>
                    <a:pt x="746" y="551"/>
                  </a:lnTo>
                  <a:lnTo>
                    <a:pt x="744" y="553"/>
                  </a:lnTo>
                  <a:lnTo>
                    <a:pt x="744" y="560"/>
                  </a:lnTo>
                  <a:lnTo>
                    <a:pt x="746" y="561"/>
                  </a:lnTo>
                  <a:lnTo>
                    <a:pt x="747" y="561"/>
                  </a:lnTo>
                  <a:lnTo>
                    <a:pt x="747" y="565"/>
                  </a:lnTo>
                  <a:lnTo>
                    <a:pt x="749" y="568"/>
                  </a:lnTo>
                  <a:lnTo>
                    <a:pt x="754" y="573"/>
                  </a:lnTo>
                  <a:lnTo>
                    <a:pt x="756" y="575"/>
                  </a:lnTo>
                  <a:lnTo>
                    <a:pt x="756" y="575"/>
                  </a:lnTo>
                  <a:lnTo>
                    <a:pt x="758" y="575"/>
                  </a:lnTo>
                  <a:lnTo>
                    <a:pt x="760" y="579"/>
                  </a:lnTo>
                  <a:lnTo>
                    <a:pt x="763" y="575"/>
                  </a:lnTo>
                  <a:lnTo>
                    <a:pt x="760" y="575"/>
                  </a:lnTo>
                  <a:lnTo>
                    <a:pt x="763" y="573"/>
                  </a:lnTo>
                  <a:lnTo>
                    <a:pt x="763" y="575"/>
                  </a:lnTo>
                  <a:lnTo>
                    <a:pt x="767" y="575"/>
                  </a:lnTo>
                  <a:lnTo>
                    <a:pt x="767" y="573"/>
                  </a:lnTo>
                  <a:lnTo>
                    <a:pt x="763" y="568"/>
                  </a:lnTo>
                  <a:lnTo>
                    <a:pt x="763" y="568"/>
                  </a:lnTo>
                  <a:lnTo>
                    <a:pt x="760" y="568"/>
                  </a:lnTo>
                  <a:lnTo>
                    <a:pt x="760" y="568"/>
                  </a:lnTo>
                  <a:lnTo>
                    <a:pt x="763" y="565"/>
                  </a:lnTo>
                  <a:lnTo>
                    <a:pt x="763" y="563"/>
                  </a:lnTo>
                  <a:lnTo>
                    <a:pt x="760" y="560"/>
                  </a:lnTo>
                  <a:lnTo>
                    <a:pt x="760" y="560"/>
                  </a:lnTo>
                  <a:lnTo>
                    <a:pt x="760" y="556"/>
                  </a:lnTo>
                  <a:lnTo>
                    <a:pt x="760" y="556"/>
                  </a:lnTo>
                  <a:lnTo>
                    <a:pt x="760" y="553"/>
                  </a:lnTo>
                  <a:lnTo>
                    <a:pt x="763" y="553"/>
                  </a:lnTo>
                  <a:lnTo>
                    <a:pt x="763" y="556"/>
                  </a:lnTo>
                  <a:lnTo>
                    <a:pt x="763" y="560"/>
                  </a:lnTo>
                  <a:lnTo>
                    <a:pt x="767" y="556"/>
                  </a:lnTo>
                  <a:lnTo>
                    <a:pt x="767" y="556"/>
                  </a:lnTo>
                  <a:lnTo>
                    <a:pt x="768" y="560"/>
                  </a:lnTo>
                  <a:lnTo>
                    <a:pt x="767" y="561"/>
                  </a:lnTo>
                  <a:lnTo>
                    <a:pt x="767" y="565"/>
                  </a:lnTo>
                  <a:lnTo>
                    <a:pt x="768" y="565"/>
                  </a:lnTo>
                  <a:lnTo>
                    <a:pt x="772" y="563"/>
                  </a:lnTo>
                  <a:lnTo>
                    <a:pt x="773" y="561"/>
                  </a:lnTo>
                  <a:lnTo>
                    <a:pt x="772" y="565"/>
                  </a:lnTo>
                  <a:lnTo>
                    <a:pt x="770" y="566"/>
                  </a:lnTo>
                  <a:lnTo>
                    <a:pt x="770" y="570"/>
                  </a:lnTo>
                  <a:lnTo>
                    <a:pt x="772" y="573"/>
                  </a:lnTo>
                  <a:lnTo>
                    <a:pt x="770" y="575"/>
                  </a:lnTo>
                  <a:lnTo>
                    <a:pt x="770" y="579"/>
                  </a:lnTo>
                  <a:lnTo>
                    <a:pt x="775" y="579"/>
                  </a:lnTo>
                  <a:lnTo>
                    <a:pt x="775" y="579"/>
                  </a:lnTo>
                  <a:lnTo>
                    <a:pt x="777" y="575"/>
                  </a:lnTo>
                  <a:lnTo>
                    <a:pt x="777" y="579"/>
                  </a:lnTo>
                  <a:lnTo>
                    <a:pt x="777" y="579"/>
                  </a:lnTo>
                  <a:lnTo>
                    <a:pt x="777" y="584"/>
                  </a:lnTo>
                  <a:lnTo>
                    <a:pt x="780" y="584"/>
                  </a:lnTo>
                  <a:lnTo>
                    <a:pt x="782" y="579"/>
                  </a:lnTo>
                  <a:lnTo>
                    <a:pt x="784" y="575"/>
                  </a:lnTo>
                  <a:lnTo>
                    <a:pt x="784" y="572"/>
                  </a:lnTo>
                  <a:lnTo>
                    <a:pt x="786" y="563"/>
                  </a:lnTo>
                  <a:lnTo>
                    <a:pt x="786" y="556"/>
                  </a:lnTo>
                  <a:lnTo>
                    <a:pt x="786" y="551"/>
                  </a:lnTo>
                  <a:lnTo>
                    <a:pt x="786" y="544"/>
                  </a:lnTo>
                  <a:lnTo>
                    <a:pt x="786" y="542"/>
                  </a:lnTo>
                  <a:lnTo>
                    <a:pt x="786" y="542"/>
                  </a:lnTo>
                  <a:lnTo>
                    <a:pt x="786" y="542"/>
                  </a:lnTo>
                  <a:lnTo>
                    <a:pt x="789" y="547"/>
                  </a:lnTo>
                  <a:lnTo>
                    <a:pt x="789" y="547"/>
                  </a:lnTo>
                  <a:lnTo>
                    <a:pt x="791" y="542"/>
                  </a:lnTo>
                  <a:lnTo>
                    <a:pt x="794" y="540"/>
                  </a:lnTo>
                  <a:lnTo>
                    <a:pt x="794" y="546"/>
                  </a:lnTo>
                  <a:lnTo>
                    <a:pt x="791" y="551"/>
                  </a:lnTo>
                  <a:lnTo>
                    <a:pt x="794" y="556"/>
                  </a:lnTo>
                  <a:lnTo>
                    <a:pt x="789" y="561"/>
                  </a:lnTo>
                  <a:lnTo>
                    <a:pt x="789" y="566"/>
                  </a:lnTo>
                  <a:lnTo>
                    <a:pt x="789" y="568"/>
                  </a:lnTo>
                  <a:lnTo>
                    <a:pt x="789" y="570"/>
                  </a:lnTo>
                  <a:lnTo>
                    <a:pt x="789" y="575"/>
                  </a:lnTo>
                  <a:lnTo>
                    <a:pt x="789" y="579"/>
                  </a:lnTo>
                  <a:lnTo>
                    <a:pt x="789" y="582"/>
                  </a:lnTo>
                  <a:lnTo>
                    <a:pt x="791" y="584"/>
                  </a:lnTo>
                  <a:lnTo>
                    <a:pt x="794" y="587"/>
                  </a:lnTo>
                  <a:lnTo>
                    <a:pt x="794" y="587"/>
                  </a:lnTo>
                  <a:lnTo>
                    <a:pt x="794" y="591"/>
                  </a:lnTo>
                  <a:lnTo>
                    <a:pt x="796" y="594"/>
                  </a:lnTo>
                  <a:lnTo>
                    <a:pt x="798" y="593"/>
                  </a:lnTo>
                  <a:lnTo>
                    <a:pt x="800" y="594"/>
                  </a:lnTo>
                  <a:lnTo>
                    <a:pt x="803" y="593"/>
                  </a:lnTo>
                  <a:lnTo>
                    <a:pt x="808" y="593"/>
                  </a:lnTo>
                  <a:lnTo>
                    <a:pt x="808" y="593"/>
                  </a:lnTo>
                  <a:lnTo>
                    <a:pt x="803" y="596"/>
                  </a:lnTo>
                  <a:lnTo>
                    <a:pt x="801" y="598"/>
                  </a:lnTo>
                  <a:lnTo>
                    <a:pt x="801" y="598"/>
                  </a:lnTo>
                  <a:lnTo>
                    <a:pt x="803" y="601"/>
                  </a:lnTo>
                  <a:lnTo>
                    <a:pt x="801" y="601"/>
                  </a:lnTo>
                  <a:lnTo>
                    <a:pt x="800" y="601"/>
                  </a:lnTo>
                  <a:lnTo>
                    <a:pt x="800" y="605"/>
                  </a:lnTo>
                  <a:lnTo>
                    <a:pt x="801" y="606"/>
                  </a:lnTo>
                  <a:lnTo>
                    <a:pt x="801" y="612"/>
                  </a:lnTo>
                  <a:lnTo>
                    <a:pt x="800" y="612"/>
                  </a:lnTo>
                  <a:lnTo>
                    <a:pt x="798" y="610"/>
                  </a:lnTo>
                  <a:lnTo>
                    <a:pt x="796" y="606"/>
                  </a:lnTo>
                  <a:lnTo>
                    <a:pt x="796" y="606"/>
                  </a:lnTo>
                  <a:lnTo>
                    <a:pt x="796" y="612"/>
                  </a:lnTo>
                  <a:lnTo>
                    <a:pt x="794" y="612"/>
                  </a:lnTo>
                  <a:lnTo>
                    <a:pt x="794" y="615"/>
                  </a:lnTo>
                  <a:lnTo>
                    <a:pt x="796" y="617"/>
                  </a:lnTo>
                  <a:lnTo>
                    <a:pt x="794" y="619"/>
                  </a:lnTo>
                  <a:lnTo>
                    <a:pt x="794" y="619"/>
                  </a:lnTo>
                  <a:lnTo>
                    <a:pt x="791" y="622"/>
                  </a:lnTo>
                  <a:lnTo>
                    <a:pt x="791" y="624"/>
                  </a:lnTo>
                  <a:lnTo>
                    <a:pt x="794" y="624"/>
                  </a:lnTo>
                  <a:lnTo>
                    <a:pt x="794" y="624"/>
                  </a:lnTo>
                  <a:lnTo>
                    <a:pt x="796" y="627"/>
                  </a:lnTo>
                  <a:lnTo>
                    <a:pt x="798" y="629"/>
                  </a:lnTo>
                  <a:lnTo>
                    <a:pt x="800" y="629"/>
                  </a:lnTo>
                  <a:lnTo>
                    <a:pt x="803" y="631"/>
                  </a:lnTo>
                  <a:lnTo>
                    <a:pt x="803" y="631"/>
                  </a:lnTo>
                  <a:lnTo>
                    <a:pt x="800" y="631"/>
                  </a:lnTo>
                  <a:lnTo>
                    <a:pt x="798" y="633"/>
                  </a:lnTo>
                  <a:lnTo>
                    <a:pt x="800" y="634"/>
                  </a:lnTo>
                  <a:lnTo>
                    <a:pt x="801" y="634"/>
                  </a:lnTo>
                  <a:lnTo>
                    <a:pt x="803" y="638"/>
                  </a:lnTo>
                  <a:lnTo>
                    <a:pt x="806" y="640"/>
                  </a:lnTo>
                  <a:lnTo>
                    <a:pt x="808" y="640"/>
                  </a:lnTo>
                  <a:lnTo>
                    <a:pt x="805" y="643"/>
                  </a:lnTo>
                  <a:lnTo>
                    <a:pt x="803" y="643"/>
                  </a:lnTo>
                  <a:lnTo>
                    <a:pt x="801" y="643"/>
                  </a:lnTo>
                  <a:lnTo>
                    <a:pt x="801" y="648"/>
                  </a:lnTo>
                  <a:lnTo>
                    <a:pt x="805" y="653"/>
                  </a:lnTo>
                  <a:lnTo>
                    <a:pt x="806" y="655"/>
                  </a:lnTo>
                  <a:lnTo>
                    <a:pt x="812" y="655"/>
                  </a:lnTo>
                  <a:lnTo>
                    <a:pt x="813" y="655"/>
                  </a:lnTo>
                  <a:lnTo>
                    <a:pt x="808" y="657"/>
                  </a:lnTo>
                  <a:lnTo>
                    <a:pt x="805" y="657"/>
                  </a:lnTo>
                  <a:lnTo>
                    <a:pt x="803" y="657"/>
                  </a:lnTo>
                  <a:lnTo>
                    <a:pt x="801" y="662"/>
                  </a:lnTo>
                  <a:lnTo>
                    <a:pt x="796" y="666"/>
                  </a:lnTo>
                  <a:lnTo>
                    <a:pt x="791" y="669"/>
                  </a:lnTo>
                  <a:lnTo>
                    <a:pt x="791" y="674"/>
                  </a:lnTo>
                  <a:lnTo>
                    <a:pt x="794" y="676"/>
                  </a:lnTo>
                  <a:lnTo>
                    <a:pt x="796" y="674"/>
                  </a:lnTo>
                  <a:lnTo>
                    <a:pt x="800" y="669"/>
                  </a:lnTo>
                  <a:lnTo>
                    <a:pt x="800" y="669"/>
                  </a:lnTo>
                  <a:lnTo>
                    <a:pt x="801" y="666"/>
                  </a:lnTo>
                  <a:lnTo>
                    <a:pt x="806" y="662"/>
                  </a:lnTo>
                  <a:lnTo>
                    <a:pt x="806" y="666"/>
                  </a:lnTo>
                  <a:lnTo>
                    <a:pt x="808" y="662"/>
                  </a:lnTo>
                  <a:lnTo>
                    <a:pt x="813" y="662"/>
                  </a:lnTo>
                  <a:lnTo>
                    <a:pt x="812" y="666"/>
                  </a:lnTo>
                  <a:lnTo>
                    <a:pt x="812" y="669"/>
                  </a:lnTo>
                  <a:lnTo>
                    <a:pt x="813" y="669"/>
                  </a:lnTo>
                  <a:lnTo>
                    <a:pt x="813" y="669"/>
                  </a:lnTo>
                  <a:lnTo>
                    <a:pt x="812" y="674"/>
                  </a:lnTo>
                  <a:lnTo>
                    <a:pt x="812" y="674"/>
                  </a:lnTo>
                  <a:lnTo>
                    <a:pt x="813" y="678"/>
                  </a:lnTo>
                  <a:lnTo>
                    <a:pt x="808" y="681"/>
                  </a:lnTo>
                  <a:lnTo>
                    <a:pt x="808" y="685"/>
                  </a:lnTo>
                  <a:lnTo>
                    <a:pt x="808" y="685"/>
                  </a:lnTo>
                  <a:lnTo>
                    <a:pt x="812" y="688"/>
                  </a:lnTo>
                  <a:lnTo>
                    <a:pt x="808" y="688"/>
                  </a:lnTo>
                  <a:lnTo>
                    <a:pt x="805" y="688"/>
                  </a:lnTo>
                  <a:lnTo>
                    <a:pt x="803" y="690"/>
                  </a:lnTo>
                  <a:lnTo>
                    <a:pt x="803" y="692"/>
                  </a:lnTo>
                  <a:lnTo>
                    <a:pt x="805" y="692"/>
                  </a:lnTo>
                  <a:lnTo>
                    <a:pt x="806" y="692"/>
                  </a:lnTo>
                  <a:lnTo>
                    <a:pt x="808" y="692"/>
                  </a:lnTo>
                  <a:lnTo>
                    <a:pt x="812" y="693"/>
                  </a:lnTo>
                  <a:lnTo>
                    <a:pt x="808" y="693"/>
                  </a:lnTo>
                  <a:lnTo>
                    <a:pt x="806" y="693"/>
                  </a:lnTo>
                  <a:lnTo>
                    <a:pt x="803" y="693"/>
                  </a:lnTo>
                  <a:lnTo>
                    <a:pt x="801" y="697"/>
                  </a:lnTo>
                  <a:lnTo>
                    <a:pt x="801" y="699"/>
                  </a:lnTo>
                  <a:lnTo>
                    <a:pt x="803" y="702"/>
                  </a:lnTo>
                  <a:lnTo>
                    <a:pt x="805" y="702"/>
                  </a:lnTo>
                  <a:lnTo>
                    <a:pt x="806" y="699"/>
                  </a:lnTo>
                  <a:lnTo>
                    <a:pt x="808" y="699"/>
                  </a:lnTo>
                  <a:lnTo>
                    <a:pt x="812" y="699"/>
                  </a:lnTo>
                  <a:lnTo>
                    <a:pt x="813" y="693"/>
                  </a:lnTo>
                  <a:lnTo>
                    <a:pt x="819" y="688"/>
                  </a:lnTo>
                  <a:lnTo>
                    <a:pt x="819" y="681"/>
                  </a:lnTo>
                  <a:lnTo>
                    <a:pt x="824" y="674"/>
                  </a:lnTo>
                  <a:lnTo>
                    <a:pt x="826" y="671"/>
                  </a:lnTo>
                  <a:lnTo>
                    <a:pt x="826" y="671"/>
                  </a:lnTo>
                  <a:lnTo>
                    <a:pt x="826" y="671"/>
                  </a:lnTo>
                  <a:lnTo>
                    <a:pt x="826" y="671"/>
                  </a:lnTo>
                  <a:lnTo>
                    <a:pt x="826" y="671"/>
                  </a:lnTo>
                  <a:close/>
                  <a:moveTo>
                    <a:pt x="775" y="692"/>
                  </a:moveTo>
                  <a:lnTo>
                    <a:pt x="773" y="690"/>
                  </a:lnTo>
                  <a:lnTo>
                    <a:pt x="773" y="688"/>
                  </a:lnTo>
                  <a:lnTo>
                    <a:pt x="775" y="690"/>
                  </a:lnTo>
                  <a:lnTo>
                    <a:pt x="775" y="692"/>
                  </a:lnTo>
                  <a:lnTo>
                    <a:pt x="775" y="692"/>
                  </a:lnTo>
                  <a:lnTo>
                    <a:pt x="775" y="692"/>
                  </a:lnTo>
                  <a:lnTo>
                    <a:pt x="775" y="692"/>
                  </a:lnTo>
                  <a:close/>
                  <a:moveTo>
                    <a:pt x="794" y="697"/>
                  </a:moveTo>
                  <a:lnTo>
                    <a:pt x="796" y="693"/>
                  </a:lnTo>
                  <a:lnTo>
                    <a:pt x="798" y="697"/>
                  </a:lnTo>
                  <a:lnTo>
                    <a:pt x="796" y="699"/>
                  </a:lnTo>
                  <a:lnTo>
                    <a:pt x="794" y="697"/>
                  </a:lnTo>
                  <a:lnTo>
                    <a:pt x="794" y="697"/>
                  </a:lnTo>
                  <a:lnTo>
                    <a:pt x="794" y="697"/>
                  </a:lnTo>
                  <a:lnTo>
                    <a:pt x="794" y="697"/>
                  </a:lnTo>
                  <a:close/>
                  <a:moveTo>
                    <a:pt x="794" y="688"/>
                  </a:moveTo>
                  <a:lnTo>
                    <a:pt x="798" y="685"/>
                  </a:lnTo>
                  <a:lnTo>
                    <a:pt x="800" y="692"/>
                  </a:lnTo>
                  <a:lnTo>
                    <a:pt x="796" y="693"/>
                  </a:lnTo>
                  <a:lnTo>
                    <a:pt x="794" y="693"/>
                  </a:lnTo>
                  <a:lnTo>
                    <a:pt x="794" y="690"/>
                  </a:lnTo>
                  <a:lnTo>
                    <a:pt x="794" y="688"/>
                  </a:lnTo>
                  <a:lnTo>
                    <a:pt x="794" y="688"/>
                  </a:lnTo>
                  <a:lnTo>
                    <a:pt x="794" y="688"/>
                  </a:lnTo>
                  <a:lnTo>
                    <a:pt x="794" y="688"/>
                  </a:lnTo>
                  <a:close/>
                  <a:moveTo>
                    <a:pt x="794" y="680"/>
                  </a:moveTo>
                  <a:lnTo>
                    <a:pt x="796" y="685"/>
                  </a:lnTo>
                  <a:lnTo>
                    <a:pt x="794" y="685"/>
                  </a:lnTo>
                  <a:lnTo>
                    <a:pt x="794" y="683"/>
                  </a:lnTo>
                  <a:lnTo>
                    <a:pt x="794" y="681"/>
                  </a:lnTo>
                  <a:lnTo>
                    <a:pt x="794" y="680"/>
                  </a:lnTo>
                  <a:lnTo>
                    <a:pt x="794" y="680"/>
                  </a:lnTo>
                  <a:lnTo>
                    <a:pt x="794" y="680"/>
                  </a:lnTo>
                  <a:lnTo>
                    <a:pt x="794" y="680"/>
                  </a:lnTo>
                  <a:close/>
                  <a:moveTo>
                    <a:pt x="796" y="680"/>
                  </a:moveTo>
                  <a:lnTo>
                    <a:pt x="800" y="676"/>
                  </a:lnTo>
                  <a:lnTo>
                    <a:pt x="800" y="674"/>
                  </a:lnTo>
                  <a:lnTo>
                    <a:pt x="801" y="669"/>
                  </a:lnTo>
                  <a:lnTo>
                    <a:pt x="805" y="669"/>
                  </a:lnTo>
                  <a:lnTo>
                    <a:pt x="805" y="669"/>
                  </a:lnTo>
                  <a:lnTo>
                    <a:pt x="808" y="666"/>
                  </a:lnTo>
                  <a:lnTo>
                    <a:pt x="808" y="671"/>
                  </a:lnTo>
                  <a:lnTo>
                    <a:pt x="808" y="674"/>
                  </a:lnTo>
                  <a:lnTo>
                    <a:pt x="808" y="678"/>
                  </a:lnTo>
                  <a:lnTo>
                    <a:pt x="806" y="685"/>
                  </a:lnTo>
                  <a:lnTo>
                    <a:pt x="800" y="688"/>
                  </a:lnTo>
                  <a:lnTo>
                    <a:pt x="798" y="685"/>
                  </a:lnTo>
                  <a:lnTo>
                    <a:pt x="801" y="683"/>
                  </a:lnTo>
                  <a:lnTo>
                    <a:pt x="805" y="680"/>
                  </a:lnTo>
                  <a:lnTo>
                    <a:pt x="805" y="678"/>
                  </a:lnTo>
                  <a:lnTo>
                    <a:pt x="798" y="681"/>
                  </a:lnTo>
                  <a:lnTo>
                    <a:pt x="796" y="680"/>
                  </a:lnTo>
                  <a:lnTo>
                    <a:pt x="796" y="680"/>
                  </a:lnTo>
                  <a:lnTo>
                    <a:pt x="796" y="680"/>
                  </a:lnTo>
                  <a:lnTo>
                    <a:pt x="796" y="680"/>
                  </a:lnTo>
                  <a:close/>
                  <a:moveTo>
                    <a:pt x="767" y="692"/>
                  </a:moveTo>
                  <a:lnTo>
                    <a:pt x="768" y="690"/>
                  </a:lnTo>
                  <a:lnTo>
                    <a:pt x="770" y="692"/>
                  </a:lnTo>
                  <a:lnTo>
                    <a:pt x="770" y="693"/>
                  </a:lnTo>
                  <a:lnTo>
                    <a:pt x="772" y="697"/>
                  </a:lnTo>
                  <a:lnTo>
                    <a:pt x="770" y="702"/>
                  </a:lnTo>
                  <a:lnTo>
                    <a:pt x="768" y="702"/>
                  </a:lnTo>
                  <a:lnTo>
                    <a:pt x="768" y="697"/>
                  </a:lnTo>
                  <a:lnTo>
                    <a:pt x="767" y="693"/>
                  </a:lnTo>
                  <a:lnTo>
                    <a:pt x="767" y="692"/>
                  </a:lnTo>
                  <a:lnTo>
                    <a:pt x="767" y="692"/>
                  </a:lnTo>
                  <a:lnTo>
                    <a:pt x="767" y="692"/>
                  </a:lnTo>
                  <a:lnTo>
                    <a:pt x="767" y="692"/>
                  </a:lnTo>
                  <a:close/>
                  <a:moveTo>
                    <a:pt x="767" y="685"/>
                  </a:moveTo>
                  <a:lnTo>
                    <a:pt x="768" y="685"/>
                  </a:lnTo>
                  <a:lnTo>
                    <a:pt x="770" y="685"/>
                  </a:lnTo>
                  <a:lnTo>
                    <a:pt x="772" y="688"/>
                  </a:lnTo>
                  <a:lnTo>
                    <a:pt x="768" y="690"/>
                  </a:lnTo>
                  <a:lnTo>
                    <a:pt x="767" y="685"/>
                  </a:lnTo>
                  <a:lnTo>
                    <a:pt x="767" y="685"/>
                  </a:lnTo>
                  <a:lnTo>
                    <a:pt x="767" y="685"/>
                  </a:lnTo>
                  <a:lnTo>
                    <a:pt x="767" y="685"/>
                  </a:lnTo>
                  <a:close/>
                  <a:moveTo>
                    <a:pt x="767" y="683"/>
                  </a:moveTo>
                  <a:lnTo>
                    <a:pt x="768" y="680"/>
                  </a:lnTo>
                  <a:lnTo>
                    <a:pt x="768" y="683"/>
                  </a:lnTo>
                  <a:lnTo>
                    <a:pt x="767" y="683"/>
                  </a:lnTo>
                  <a:lnTo>
                    <a:pt x="767" y="683"/>
                  </a:lnTo>
                  <a:lnTo>
                    <a:pt x="767" y="683"/>
                  </a:lnTo>
                  <a:lnTo>
                    <a:pt x="767" y="683"/>
                  </a:lnTo>
                  <a:close/>
                  <a:moveTo>
                    <a:pt x="763" y="676"/>
                  </a:moveTo>
                  <a:lnTo>
                    <a:pt x="767" y="678"/>
                  </a:lnTo>
                  <a:lnTo>
                    <a:pt x="763" y="681"/>
                  </a:lnTo>
                  <a:lnTo>
                    <a:pt x="763" y="676"/>
                  </a:lnTo>
                  <a:lnTo>
                    <a:pt x="763" y="676"/>
                  </a:lnTo>
                  <a:lnTo>
                    <a:pt x="763" y="676"/>
                  </a:lnTo>
                  <a:lnTo>
                    <a:pt x="763" y="676"/>
                  </a:lnTo>
                  <a:close/>
                  <a:moveTo>
                    <a:pt x="763" y="662"/>
                  </a:moveTo>
                  <a:lnTo>
                    <a:pt x="760" y="659"/>
                  </a:lnTo>
                  <a:lnTo>
                    <a:pt x="763" y="660"/>
                  </a:lnTo>
                  <a:lnTo>
                    <a:pt x="763" y="662"/>
                  </a:lnTo>
                  <a:lnTo>
                    <a:pt x="763" y="662"/>
                  </a:lnTo>
                  <a:lnTo>
                    <a:pt x="763" y="662"/>
                  </a:lnTo>
                  <a:lnTo>
                    <a:pt x="763" y="662"/>
                  </a:lnTo>
                  <a:close/>
                  <a:moveTo>
                    <a:pt x="770" y="666"/>
                  </a:moveTo>
                  <a:lnTo>
                    <a:pt x="772" y="662"/>
                  </a:lnTo>
                  <a:lnTo>
                    <a:pt x="773" y="666"/>
                  </a:lnTo>
                  <a:lnTo>
                    <a:pt x="772" y="666"/>
                  </a:lnTo>
                  <a:lnTo>
                    <a:pt x="770" y="666"/>
                  </a:lnTo>
                  <a:lnTo>
                    <a:pt x="770" y="666"/>
                  </a:lnTo>
                  <a:lnTo>
                    <a:pt x="770" y="666"/>
                  </a:lnTo>
                  <a:lnTo>
                    <a:pt x="770" y="666"/>
                  </a:lnTo>
                  <a:close/>
                  <a:moveTo>
                    <a:pt x="772" y="660"/>
                  </a:moveTo>
                  <a:lnTo>
                    <a:pt x="773" y="657"/>
                  </a:lnTo>
                  <a:lnTo>
                    <a:pt x="777" y="655"/>
                  </a:lnTo>
                  <a:lnTo>
                    <a:pt x="779" y="657"/>
                  </a:lnTo>
                  <a:lnTo>
                    <a:pt x="777" y="659"/>
                  </a:lnTo>
                  <a:lnTo>
                    <a:pt x="775" y="659"/>
                  </a:lnTo>
                  <a:lnTo>
                    <a:pt x="773" y="660"/>
                  </a:lnTo>
                  <a:lnTo>
                    <a:pt x="772" y="660"/>
                  </a:lnTo>
                  <a:lnTo>
                    <a:pt x="772" y="660"/>
                  </a:lnTo>
                  <a:lnTo>
                    <a:pt x="772" y="660"/>
                  </a:lnTo>
                  <a:lnTo>
                    <a:pt x="772" y="660"/>
                  </a:lnTo>
                  <a:close/>
                  <a:moveTo>
                    <a:pt x="779" y="662"/>
                  </a:moveTo>
                  <a:lnTo>
                    <a:pt x="780" y="659"/>
                  </a:lnTo>
                  <a:lnTo>
                    <a:pt x="780" y="655"/>
                  </a:lnTo>
                  <a:lnTo>
                    <a:pt x="777" y="652"/>
                  </a:lnTo>
                  <a:lnTo>
                    <a:pt x="780" y="650"/>
                  </a:lnTo>
                  <a:lnTo>
                    <a:pt x="782" y="650"/>
                  </a:lnTo>
                  <a:lnTo>
                    <a:pt x="786" y="653"/>
                  </a:lnTo>
                  <a:lnTo>
                    <a:pt x="782" y="657"/>
                  </a:lnTo>
                  <a:lnTo>
                    <a:pt x="782" y="660"/>
                  </a:lnTo>
                  <a:lnTo>
                    <a:pt x="784" y="662"/>
                  </a:lnTo>
                  <a:lnTo>
                    <a:pt x="786" y="662"/>
                  </a:lnTo>
                  <a:lnTo>
                    <a:pt x="789" y="662"/>
                  </a:lnTo>
                  <a:lnTo>
                    <a:pt x="789" y="669"/>
                  </a:lnTo>
                  <a:lnTo>
                    <a:pt x="786" y="669"/>
                  </a:lnTo>
                  <a:lnTo>
                    <a:pt x="789" y="671"/>
                  </a:lnTo>
                  <a:lnTo>
                    <a:pt x="789" y="674"/>
                  </a:lnTo>
                  <a:lnTo>
                    <a:pt x="786" y="674"/>
                  </a:lnTo>
                  <a:lnTo>
                    <a:pt x="786" y="674"/>
                  </a:lnTo>
                  <a:lnTo>
                    <a:pt x="784" y="676"/>
                  </a:lnTo>
                  <a:lnTo>
                    <a:pt x="789" y="680"/>
                  </a:lnTo>
                  <a:lnTo>
                    <a:pt x="789" y="683"/>
                  </a:lnTo>
                  <a:lnTo>
                    <a:pt x="786" y="685"/>
                  </a:lnTo>
                  <a:lnTo>
                    <a:pt x="786" y="685"/>
                  </a:lnTo>
                  <a:lnTo>
                    <a:pt x="789" y="685"/>
                  </a:lnTo>
                  <a:lnTo>
                    <a:pt x="789" y="685"/>
                  </a:lnTo>
                  <a:lnTo>
                    <a:pt x="789" y="688"/>
                  </a:lnTo>
                  <a:lnTo>
                    <a:pt x="786" y="692"/>
                  </a:lnTo>
                  <a:lnTo>
                    <a:pt x="786" y="692"/>
                  </a:lnTo>
                  <a:lnTo>
                    <a:pt x="784" y="693"/>
                  </a:lnTo>
                  <a:lnTo>
                    <a:pt x="786" y="693"/>
                  </a:lnTo>
                  <a:lnTo>
                    <a:pt x="786" y="697"/>
                  </a:lnTo>
                  <a:lnTo>
                    <a:pt x="786" y="697"/>
                  </a:lnTo>
                  <a:lnTo>
                    <a:pt x="786" y="699"/>
                  </a:lnTo>
                  <a:lnTo>
                    <a:pt x="784" y="702"/>
                  </a:lnTo>
                  <a:lnTo>
                    <a:pt x="782" y="702"/>
                  </a:lnTo>
                  <a:lnTo>
                    <a:pt x="780" y="699"/>
                  </a:lnTo>
                  <a:lnTo>
                    <a:pt x="780" y="697"/>
                  </a:lnTo>
                  <a:lnTo>
                    <a:pt x="777" y="693"/>
                  </a:lnTo>
                  <a:lnTo>
                    <a:pt x="777" y="692"/>
                  </a:lnTo>
                  <a:lnTo>
                    <a:pt x="780" y="690"/>
                  </a:lnTo>
                  <a:lnTo>
                    <a:pt x="779" y="688"/>
                  </a:lnTo>
                  <a:lnTo>
                    <a:pt x="779" y="685"/>
                  </a:lnTo>
                  <a:lnTo>
                    <a:pt x="782" y="685"/>
                  </a:lnTo>
                  <a:lnTo>
                    <a:pt x="780" y="683"/>
                  </a:lnTo>
                  <a:lnTo>
                    <a:pt x="777" y="683"/>
                  </a:lnTo>
                  <a:lnTo>
                    <a:pt x="777" y="685"/>
                  </a:lnTo>
                  <a:lnTo>
                    <a:pt x="775" y="683"/>
                  </a:lnTo>
                  <a:lnTo>
                    <a:pt x="772" y="683"/>
                  </a:lnTo>
                  <a:lnTo>
                    <a:pt x="772" y="681"/>
                  </a:lnTo>
                  <a:lnTo>
                    <a:pt x="773" y="680"/>
                  </a:lnTo>
                  <a:lnTo>
                    <a:pt x="775" y="680"/>
                  </a:lnTo>
                  <a:lnTo>
                    <a:pt x="775" y="678"/>
                  </a:lnTo>
                  <a:lnTo>
                    <a:pt x="775" y="676"/>
                  </a:lnTo>
                  <a:lnTo>
                    <a:pt x="779" y="674"/>
                  </a:lnTo>
                  <a:lnTo>
                    <a:pt x="779" y="671"/>
                  </a:lnTo>
                  <a:lnTo>
                    <a:pt x="777" y="671"/>
                  </a:lnTo>
                  <a:lnTo>
                    <a:pt x="775" y="671"/>
                  </a:lnTo>
                  <a:lnTo>
                    <a:pt x="773" y="669"/>
                  </a:lnTo>
                  <a:lnTo>
                    <a:pt x="775" y="669"/>
                  </a:lnTo>
                  <a:lnTo>
                    <a:pt x="779" y="669"/>
                  </a:lnTo>
                  <a:lnTo>
                    <a:pt x="780" y="666"/>
                  </a:lnTo>
                  <a:lnTo>
                    <a:pt x="779" y="662"/>
                  </a:lnTo>
                  <a:lnTo>
                    <a:pt x="779" y="662"/>
                  </a:lnTo>
                  <a:lnTo>
                    <a:pt x="779" y="662"/>
                  </a:lnTo>
                  <a:lnTo>
                    <a:pt x="779" y="662"/>
                  </a:lnTo>
                  <a:close/>
                  <a:moveTo>
                    <a:pt x="800" y="660"/>
                  </a:moveTo>
                  <a:lnTo>
                    <a:pt x="798" y="657"/>
                  </a:lnTo>
                  <a:lnTo>
                    <a:pt x="800" y="655"/>
                  </a:lnTo>
                  <a:lnTo>
                    <a:pt x="800" y="652"/>
                  </a:lnTo>
                  <a:lnTo>
                    <a:pt x="801" y="653"/>
                  </a:lnTo>
                  <a:lnTo>
                    <a:pt x="801" y="657"/>
                  </a:lnTo>
                  <a:lnTo>
                    <a:pt x="800" y="660"/>
                  </a:lnTo>
                  <a:lnTo>
                    <a:pt x="800" y="660"/>
                  </a:lnTo>
                  <a:lnTo>
                    <a:pt x="800" y="660"/>
                  </a:lnTo>
                  <a:lnTo>
                    <a:pt x="800" y="660"/>
                  </a:lnTo>
                  <a:close/>
                  <a:moveTo>
                    <a:pt x="794" y="662"/>
                  </a:moveTo>
                  <a:lnTo>
                    <a:pt x="794" y="659"/>
                  </a:lnTo>
                  <a:lnTo>
                    <a:pt x="796" y="659"/>
                  </a:lnTo>
                  <a:lnTo>
                    <a:pt x="796" y="662"/>
                  </a:lnTo>
                  <a:lnTo>
                    <a:pt x="794" y="662"/>
                  </a:lnTo>
                  <a:lnTo>
                    <a:pt x="794" y="662"/>
                  </a:lnTo>
                  <a:lnTo>
                    <a:pt x="794" y="662"/>
                  </a:lnTo>
                  <a:lnTo>
                    <a:pt x="794" y="662"/>
                  </a:lnTo>
                  <a:lnTo>
                    <a:pt x="794" y="662"/>
                  </a:lnTo>
                  <a:close/>
                  <a:moveTo>
                    <a:pt x="789" y="660"/>
                  </a:moveTo>
                  <a:lnTo>
                    <a:pt x="791" y="657"/>
                  </a:lnTo>
                  <a:lnTo>
                    <a:pt x="796" y="653"/>
                  </a:lnTo>
                  <a:lnTo>
                    <a:pt x="796" y="655"/>
                  </a:lnTo>
                  <a:lnTo>
                    <a:pt x="794" y="657"/>
                  </a:lnTo>
                  <a:lnTo>
                    <a:pt x="794" y="660"/>
                  </a:lnTo>
                  <a:lnTo>
                    <a:pt x="789" y="660"/>
                  </a:lnTo>
                  <a:lnTo>
                    <a:pt x="789" y="660"/>
                  </a:lnTo>
                  <a:lnTo>
                    <a:pt x="789" y="660"/>
                  </a:lnTo>
                  <a:lnTo>
                    <a:pt x="789" y="660"/>
                  </a:lnTo>
                  <a:close/>
                  <a:moveTo>
                    <a:pt x="786" y="652"/>
                  </a:moveTo>
                  <a:lnTo>
                    <a:pt x="789" y="648"/>
                  </a:lnTo>
                  <a:lnTo>
                    <a:pt x="794" y="648"/>
                  </a:lnTo>
                  <a:lnTo>
                    <a:pt x="794" y="650"/>
                  </a:lnTo>
                  <a:lnTo>
                    <a:pt x="791" y="655"/>
                  </a:lnTo>
                  <a:lnTo>
                    <a:pt x="789" y="653"/>
                  </a:lnTo>
                  <a:lnTo>
                    <a:pt x="786" y="652"/>
                  </a:lnTo>
                  <a:lnTo>
                    <a:pt x="786" y="652"/>
                  </a:lnTo>
                  <a:lnTo>
                    <a:pt x="786" y="652"/>
                  </a:lnTo>
                  <a:lnTo>
                    <a:pt x="786" y="652"/>
                  </a:lnTo>
                  <a:close/>
                  <a:moveTo>
                    <a:pt x="791" y="643"/>
                  </a:moveTo>
                  <a:lnTo>
                    <a:pt x="794" y="638"/>
                  </a:lnTo>
                  <a:lnTo>
                    <a:pt x="798" y="638"/>
                  </a:lnTo>
                  <a:lnTo>
                    <a:pt x="800" y="643"/>
                  </a:lnTo>
                  <a:lnTo>
                    <a:pt x="796" y="646"/>
                  </a:lnTo>
                  <a:lnTo>
                    <a:pt x="794" y="646"/>
                  </a:lnTo>
                  <a:lnTo>
                    <a:pt x="791" y="646"/>
                  </a:lnTo>
                  <a:lnTo>
                    <a:pt x="791" y="643"/>
                  </a:lnTo>
                  <a:lnTo>
                    <a:pt x="791" y="643"/>
                  </a:lnTo>
                  <a:lnTo>
                    <a:pt x="791" y="643"/>
                  </a:lnTo>
                  <a:lnTo>
                    <a:pt x="791" y="643"/>
                  </a:lnTo>
                  <a:close/>
                  <a:moveTo>
                    <a:pt x="780" y="646"/>
                  </a:moveTo>
                  <a:lnTo>
                    <a:pt x="780" y="643"/>
                  </a:lnTo>
                  <a:lnTo>
                    <a:pt x="784" y="634"/>
                  </a:lnTo>
                  <a:lnTo>
                    <a:pt x="786" y="633"/>
                  </a:lnTo>
                  <a:lnTo>
                    <a:pt x="782" y="633"/>
                  </a:lnTo>
                  <a:lnTo>
                    <a:pt x="782" y="629"/>
                  </a:lnTo>
                  <a:lnTo>
                    <a:pt x="780" y="627"/>
                  </a:lnTo>
                  <a:lnTo>
                    <a:pt x="782" y="624"/>
                  </a:lnTo>
                  <a:lnTo>
                    <a:pt x="786" y="624"/>
                  </a:lnTo>
                  <a:lnTo>
                    <a:pt x="789" y="629"/>
                  </a:lnTo>
                  <a:lnTo>
                    <a:pt x="791" y="629"/>
                  </a:lnTo>
                  <a:lnTo>
                    <a:pt x="794" y="633"/>
                  </a:lnTo>
                  <a:lnTo>
                    <a:pt x="794" y="634"/>
                  </a:lnTo>
                  <a:lnTo>
                    <a:pt x="791" y="640"/>
                  </a:lnTo>
                  <a:lnTo>
                    <a:pt x="789" y="640"/>
                  </a:lnTo>
                  <a:lnTo>
                    <a:pt x="789" y="634"/>
                  </a:lnTo>
                  <a:lnTo>
                    <a:pt x="789" y="638"/>
                  </a:lnTo>
                  <a:lnTo>
                    <a:pt x="789" y="640"/>
                  </a:lnTo>
                  <a:lnTo>
                    <a:pt x="786" y="643"/>
                  </a:lnTo>
                  <a:lnTo>
                    <a:pt x="789" y="646"/>
                  </a:lnTo>
                  <a:lnTo>
                    <a:pt x="786" y="646"/>
                  </a:lnTo>
                  <a:lnTo>
                    <a:pt x="786" y="646"/>
                  </a:lnTo>
                  <a:lnTo>
                    <a:pt x="784" y="648"/>
                  </a:lnTo>
                  <a:lnTo>
                    <a:pt x="780" y="646"/>
                  </a:lnTo>
                  <a:lnTo>
                    <a:pt x="780" y="646"/>
                  </a:lnTo>
                  <a:lnTo>
                    <a:pt x="780" y="646"/>
                  </a:lnTo>
                  <a:lnTo>
                    <a:pt x="780" y="646"/>
                  </a:lnTo>
                  <a:close/>
                  <a:moveTo>
                    <a:pt x="772" y="643"/>
                  </a:moveTo>
                  <a:lnTo>
                    <a:pt x="768" y="640"/>
                  </a:lnTo>
                  <a:lnTo>
                    <a:pt x="772" y="638"/>
                  </a:lnTo>
                  <a:lnTo>
                    <a:pt x="770" y="634"/>
                  </a:lnTo>
                  <a:lnTo>
                    <a:pt x="770" y="633"/>
                  </a:lnTo>
                  <a:lnTo>
                    <a:pt x="772" y="631"/>
                  </a:lnTo>
                  <a:lnTo>
                    <a:pt x="775" y="631"/>
                  </a:lnTo>
                  <a:lnTo>
                    <a:pt x="775" y="627"/>
                  </a:lnTo>
                  <a:lnTo>
                    <a:pt x="775" y="627"/>
                  </a:lnTo>
                  <a:lnTo>
                    <a:pt x="779" y="633"/>
                  </a:lnTo>
                  <a:lnTo>
                    <a:pt x="777" y="634"/>
                  </a:lnTo>
                  <a:lnTo>
                    <a:pt x="779" y="638"/>
                  </a:lnTo>
                  <a:lnTo>
                    <a:pt x="780" y="634"/>
                  </a:lnTo>
                  <a:lnTo>
                    <a:pt x="780" y="638"/>
                  </a:lnTo>
                  <a:lnTo>
                    <a:pt x="779" y="643"/>
                  </a:lnTo>
                  <a:lnTo>
                    <a:pt x="773" y="648"/>
                  </a:lnTo>
                  <a:lnTo>
                    <a:pt x="773" y="652"/>
                  </a:lnTo>
                  <a:lnTo>
                    <a:pt x="772" y="653"/>
                  </a:lnTo>
                  <a:lnTo>
                    <a:pt x="768" y="655"/>
                  </a:lnTo>
                  <a:lnTo>
                    <a:pt x="768" y="652"/>
                  </a:lnTo>
                  <a:lnTo>
                    <a:pt x="768" y="650"/>
                  </a:lnTo>
                  <a:lnTo>
                    <a:pt x="767" y="657"/>
                  </a:lnTo>
                  <a:lnTo>
                    <a:pt x="767" y="655"/>
                  </a:lnTo>
                  <a:lnTo>
                    <a:pt x="767" y="652"/>
                  </a:lnTo>
                  <a:lnTo>
                    <a:pt x="767" y="648"/>
                  </a:lnTo>
                  <a:lnTo>
                    <a:pt x="767" y="646"/>
                  </a:lnTo>
                  <a:lnTo>
                    <a:pt x="768" y="646"/>
                  </a:lnTo>
                  <a:lnTo>
                    <a:pt x="770" y="646"/>
                  </a:lnTo>
                  <a:lnTo>
                    <a:pt x="772" y="646"/>
                  </a:lnTo>
                  <a:lnTo>
                    <a:pt x="772" y="643"/>
                  </a:lnTo>
                  <a:lnTo>
                    <a:pt x="772" y="643"/>
                  </a:lnTo>
                  <a:lnTo>
                    <a:pt x="772" y="643"/>
                  </a:lnTo>
                  <a:lnTo>
                    <a:pt x="772" y="643"/>
                  </a:lnTo>
                  <a:close/>
                  <a:moveTo>
                    <a:pt x="770" y="612"/>
                  </a:moveTo>
                  <a:lnTo>
                    <a:pt x="772" y="612"/>
                  </a:lnTo>
                  <a:lnTo>
                    <a:pt x="772" y="615"/>
                  </a:lnTo>
                  <a:lnTo>
                    <a:pt x="770" y="612"/>
                  </a:lnTo>
                  <a:lnTo>
                    <a:pt x="770" y="612"/>
                  </a:lnTo>
                  <a:lnTo>
                    <a:pt x="770" y="612"/>
                  </a:lnTo>
                  <a:lnTo>
                    <a:pt x="770" y="612"/>
                  </a:lnTo>
                  <a:close/>
                  <a:moveTo>
                    <a:pt x="763" y="615"/>
                  </a:moveTo>
                  <a:lnTo>
                    <a:pt x="763" y="612"/>
                  </a:lnTo>
                  <a:lnTo>
                    <a:pt x="767" y="612"/>
                  </a:lnTo>
                  <a:lnTo>
                    <a:pt x="767" y="612"/>
                  </a:lnTo>
                  <a:lnTo>
                    <a:pt x="768" y="615"/>
                  </a:lnTo>
                  <a:lnTo>
                    <a:pt x="768" y="622"/>
                  </a:lnTo>
                  <a:lnTo>
                    <a:pt x="768" y="627"/>
                  </a:lnTo>
                  <a:lnTo>
                    <a:pt x="767" y="629"/>
                  </a:lnTo>
                  <a:lnTo>
                    <a:pt x="767" y="634"/>
                  </a:lnTo>
                  <a:lnTo>
                    <a:pt x="763" y="638"/>
                  </a:lnTo>
                  <a:lnTo>
                    <a:pt x="763" y="643"/>
                  </a:lnTo>
                  <a:lnTo>
                    <a:pt x="763" y="646"/>
                  </a:lnTo>
                  <a:lnTo>
                    <a:pt x="763" y="648"/>
                  </a:lnTo>
                  <a:lnTo>
                    <a:pt x="760" y="648"/>
                  </a:lnTo>
                  <a:lnTo>
                    <a:pt x="760" y="646"/>
                  </a:lnTo>
                  <a:lnTo>
                    <a:pt x="760" y="643"/>
                  </a:lnTo>
                  <a:lnTo>
                    <a:pt x="760" y="643"/>
                  </a:lnTo>
                  <a:lnTo>
                    <a:pt x="758" y="638"/>
                  </a:lnTo>
                  <a:lnTo>
                    <a:pt x="760" y="634"/>
                  </a:lnTo>
                  <a:lnTo>
                    <a:pt x="760" y="634"/>
                  </a:lnTo>
                  <a:lnTo>
                    <a:pt x="763" y="634"/>
                  </a:lnTo>
                  <a:lnTo>
                    <a:pt x="763" y="633"/>
                  </a:lnTo>
                  <a:lnTo>
                    <a:pt x="760" y="634"/>
                  </a:lnTo>
                  <a:lnTo>
                    <a:pt x="760" y="634"/>
                  </a:lnTo>
                  <a:lnTo>
                    <a:pt x="760" y="631"/>
                  </a:lnTo>
                  <a:lnTo>
                    <a:pt x="760" y="631"/>
                  </a:lnTo>
                  <a:lnTo>
                    <a:pt x="760" y="629"/>
                  </a:lnTo>
                  <a:lnTo>
                    <a:pt x="758" y="627"/>
                  </a:lnTo>
                  <a:lnTo>
                    <a:pt x="758" y="626"/>
                  </a:lnTo>
                  <a:lnTo>
                    <a:pt x="760" y="626"/>
                  </a:lnTo>
                  <a:lnTo>
                    <a:pt x="763" y="624"/>
                  </a:lnTo>
                  <a:lnTo>
                    <a:pt x="763" y="620"/>
                  </a:lnTo>
                  <a:lnTo>
                    <a:pt x="763" y="617"/>
                  </a:lnTo>
                  <a:lnTo>
                    <a:pt x="763" y="615"/>
                  </a:lnTo>
                  <a:lnTo>
                    <a:pt x="763" y="615"/>
                  </a:lnTo>
                  <a:lnTo>
                    <a:pt x="763" y="615"/>
                  </a:lnTo>
                  <a:lnTo>
                    <a:pt x="763" y="615"/>
                  </a:lnTo>
                  <a:lnTo>
                    <a:pt x="763" y="615"/>
                  </a:lnTo>
                  <a:close/>
                  <a:moveTo>
                    <a:pt x="756" y="615"/>
                  </a:moveTo>
                  <a:lnTo>
                    <a:pt x="758" y="612"/>
                  </a:lnTo>
                  <a:lnTo>
                    <a:pt x="760" y="615"/>
                  </a:lnTo>
                  <a:lnTo>
                    <a:pt x="758" y="617"/>
                  </a:lnTo>
                  <a:lnTo>
                    <a:pt x="758" y="620"/>
                  </a:lnTo>
                  <a:lnTo>
                    <a:pt x="754" y="622"/>
                  </a:lnTo>
                  <a:lnTo>
                    <a:pt x="754" y="620"/>
                  </a:lnTo>
                  <a:lnTo>
                    <a:pt x="756" y="617"/>
                  </a:lnTo>
                  <a:lnTo>
                    <a:pt x="754" y="617"/>
                  </a:lnTo>
                  <a:lnTo>
                    <a:pt x="756" y="615"/>
                  </a:lnTo>
                  <a:lnTo>
                    <a:pt x="756" y="615"/>
                  </a:lnTo>
                  <a:lnTo>
                    <a:pt x="756" y="615"/>
                  </a:lnTo>
                  <a:lnTo>
                    <a:pt x="756" y="615"/>
                  </a:lnTo>
                  <a:close/>
                  <a:moveTo>
                    <a:pt x="772" y="622"/>
                  </a:moveTo>
                  <a:lnTo>
                    <a:pt x="773" y="619"/>
                  </a:lnTo>
                  <a:lnTo>
                    <a:pt x="773" y="615"/>
                  </a:lnTo>
                  <a:lnTo>
                    <a:pt x="775" y="612"/>
                  </a:lnTo>
                  <a:lnTo>
                    <a:pt x="780" y="612"/>
                  </a:lnTo>
                  <a:lnTo>
                    <a:pt x="779" y="612"/>
                  </a:lnTo>
                  <a:lnTo>
                    <a:pt x="780" y="610"/>
                  </a:lnTo>
                  <a:lnTo>
                    <a:pt x="777" y="606"/>
                  </a:lnTo>
                  <a:lnTo>
                    <a:pt x="779" y="601"/>
                  </a:lnTo>
                  <a:lnTo>
                    <a:pt x="782" y="596"/>
                  </a:lnTo>
                  <a:lnTo>
                    <a:pt x="782" y="587"/>
                  </a:lnTo>
                  <a:lnTo>
                    <a:pt x="784" y="582"/>
                  </a:lnTo>
                  <a:lnTo>
                    <a:pt x="786" y="584"/>
                  </a:lnTo>
                  <a:lnTo>
                    <a:pt x="786" y="587"/>
                  </a:lnTo>
                  <a:lnTo>
                    <a:pt x="789" y="589"/>
                  </a:lnTo>
                  <a:lnTo>
                    <a:pt x="791" y="593"/>
                  </a:lnTo>
                  <a:lnTo>
                    <a:pt x="794" y="605"/>
                  </a:lnTo>
                  <a:lnTo>
                    <a:pt x="789" y="610"/>
                  </a:lnTo>
                  <a:lnTo>
                    <a:pt x="789" y="610"/>
                  </a:lnTo>
                  <a:lnTo>
                    <a:pt x="789" y="601"/>
                  </a:lnTo>
                  <a:lnTo>
                    <a:pt x="789" y="594"/>
                  </a:lnTo>
                  <a:lnTo>
                    <a:pt x="789" y="598"/>
                  </a:lnTo>
                  <a:lnTo>
                    <a:pt x="786" y="610"/>
                  </a:lnTo>
                  <a:lnTo>
                    <a:pt x="786" y="612"/>
                  </a:lnTo>
                  <a:lnTo>
                    <a:pt x="786" y="615"/>
                  </a:lnTo>
                  <a:lnTo>
                    <a:pt x="786" y="615"/>
                  </a:lnTo>
                  <a:lnTo>
                    <a:pt x="782" y="615"/>
                  </a:lnTo>
                  <a:lnTo>
                    <a:pt x="780" y="619"/>
                  </a:lnTo>
                  <a:lnTo>
                    <a:pt x="775" y="622"/>
                  </a:lnTo>
                  <a:lnTo>
                    <a:pt x="773" y="624"/>
                  </a:lnTo>
                  <a:lnTo>
                    <a:pt x="772" y="622"/>
                  </a:lnTo>
                  <a:lnTo>
                    <a:pt x="772" y="622"/>
                  </a:lnTo>
                  <a:lnTo>
                    <a:pt x="772" y="622"/>
                  </a:lnTo>
                  <a:lnTo>
                    <a:pt x="772" y="622"/>
                  </a:lnTo>
                  <a:close/>
                  <a:moveTo>
                    <a:pt x="763" y="584"/>
                  </a:moveTo>
                  <a:lnTo>
                    <a:pt x="767" y="582"/>
                  </a:lnTo>
                  <a:lnTo>
                    <a:pt x="770" y="584"/>
                  </a:lnTo>
                  <a:lnTo>
                    <a:pt x="770" y="587"/>
                  </a:lnTo>
                  <a:lnTo>
                    <a:pt x="768" y="589"/>
                  </a:lnTo>
                  <a:lnTo>
                    <a:pt x="770" y="591"/>
                  </a:lnTo>
                  <a:lnTo>
                    <a:pt x="772" y="589"/>
                  </a:lnTo>
                  <a:lnTo>
                    <a:pt x="775" y="587"/>
                  </a:lnTo>
                  <a:lnTo>
                    <a:pt x="779" y="591"/>
                  </a:lnTo>
                  <a:lnTo>
                    <a:pt x="779" y="593"/>
                  </a:lnTo>
                  <a:lnTo>
                    <a:pt x="775" y="594"/>
                  </a:lnTo>
                  <a:lnTo>
                    <a:pt x="775" y="596"/>
                  </a:lnTo>
                  <a:lnTo>
                    <a:pt x="773" y="598"/>
                  </a:lnTo>
                  <a:lnTo>
                    <a:pt x="772" y="598"/>
                  </a:lnTo>
                  <a:lnTo>
                    <a:pt x="768" y="594"/>
                  </a:lnTo>
                  <a:lnTo>
                    <a:pt x="767" y="589"/>
                  </a:lnTo>
                  <a:lnTo>
                    <a:pt x="767" y="591"/>
                  </a:lnTo>
                  <a:lnTo>
                    <a:pt x="768" y="598"/>
                  </a:lnTo>
                  <a:lnTo>
                    <a:pt x="768" y="601"/>
                  </a:lnTo>
                  <a:lnTo>
                    <a:pt x="773" y="601"/>
                  </a:lnTo>
                  <a:lnTo>
                    <a:pt x="775" y="605"/>
                  </a:lnTo>
                  <a:lnTo>
                    <a:pt x="773" y="606"/>
                  </a:lnTo>
                  <a:lnTo>
                    <a:pt x="772" y="612"/>
                  </a:lnTo>
                  <a:lnTo>
                    <a:pt x="770" y="612"/>
                  </a:lnTo>
                  <a:lnTo>
                    <a:pt x="767" y="606"/>
                  </a:lnTo>
                  <a:lnTo>
                    <a:pt x="767" y="605"/>
                  </a:lnTo>
                  <a:lnTo>
                    <a:pt x="763" y="596"/>
                  </a:lnTo>
                  <a:lnTo>
                    <a:pt x="763" y="600"/>
                  </a:lnTo>
                  <a:lnTo>
                    <a:pt x="763" y="605"/>
                  </a:lnTo>
                  <a:lnTo>
                    <a:pt x="763" y="606"/>
                  </a:lnTo>
                  <a:lnTo>
                    <a:pt x="763" y="612"/>
                  </a:lnTo>
                  <a:lnTo>
                    <a:pt x="760" y="612"/>
                  </a:lnTo>
                  <a:lnTo>
                    <a:pt x="758" y="606"/>
                  </a:lnTo>
                  <a:lnTo>
                    <a:pt x="760" y="605"/>
                  </a:lnTo>
                  <a:lnTo>
                    <a:pt x="756" y="603"/>
                  </a:lnTo>
                  <a:lnTo>
                    <a:pt x="758" y="600"/>
                  </a:lnTo>
                  <a:lnTo>
                    <a:pt x="756" y="594"/>
                  </a:lnTo>
                  <a:lnTo>
                    <a:pt x="758" y="591"/>
                  </a:lnTo>
                  <a:lnTo>
                    <a:pt x="760" y="593"/>
                  </a:lnTo>
                  <a:lnTo>
                    <a:pt x="760" y="591"/>
                  </a:lnTo>
                  <a:lnTo>
                    <a:pt x="758" y="589"/>
                  </a:lnTo>
                  <a:lnTo>
                    <a:pt x="758" y="587"/>
                  </a:lnTo>
                  <a:lnTo>
                    <a:pt x="760" y="582"/>
                  </a:lnTo>
                  <a:lnTo>
                    <a:pt x="760" y="587"/>
                  </a:lnTo>
                  <a:lnTo>
                    <a:pt x="763" y="584"/>
                  </a:lnTo>
                  <a:lnTo>
                    <a:pt x="763" y="584"/>
                  </a:lnTo>
                  <a:lnTo>
                    <a:pt x="763" y="584"/>
                  </a:lnTo>
                  <a:lnTo>
                    <a:pt x="763" y="584"/>
                  </a:lnTo>
                  <a:lnTo>
                    <a:pt x="763" y="584"/>
                  </a:lnTo>
                  <a:close/>
                  <a:moveTo>
                    <a:pt x="763" y="579"/>
                  </a:moveTo>
                  <a:lnTo>
                    <a:pt x="767" y="575"/>
                  </a:lnTo>
                  <a:lnTo>
                    <a:pt x="768" y="579"/>
                  </a:lnTo>
                  <a:lnTo>
                    <a:pt x="767" y="579"/>
                  </a:lnTo>
                  <a:lnTo>
                    <a:pt x="763" y="579"/>
                  </a:lnTo>
                  <a:lnTo>
                    <a:pt x="763" y="579"/>
                  </a:lnTo>
                  <a:lnTo>
                    <a:pt x="763" y="579"/>
                  </a:lnTo>
                  <a:lnTo>
                    <a:pt x="763" y="579"/>
                  </a:lnTo>
                  <a:close/>
                  <a:moveTo>
                    <a:pt x="256" y="368"/>
                  </a:moveTo>
                  <a:lnTo>
                    <a:pt x="254" y="367"/>
                  </a:lnTo>
                  <a:lnTo>
                    <a:pt x="256" y="365"/>
                  </a:lnTo>
                  <a:lnTo>
                    <a:pt x="256" y="367"/>
                  </a:lnTo>
                  <a:lnTo>
                    <a:pt x="256" y="368"/>
                  </a:lnTo>
                  <a:lnTo>
                    <a:pt x="256" y="368"/>
                  </a:lnTo>
                  <a:lnTo>
                    <a:pt x="256" y="368"/>
                  </a:lnTo>
                  <a:lnTo>
                    <a:pt x="256" y="368"/>
                  </a:lnTo>
                  <a:close/>
                  <a:moveTo>
                    <a:pt x="256" y="370"/>
                  </a:moveTo>
                  <a:lnTo>
                    <a:pt x="256" y="372"/>
                  </a:lnTo>
                  <a:lnTo>
                    <a:pt x="256" y="375"/>
                  </a:lnTo>
                  <a:lnTo>
                    <a:pt x="261" y="379"/>
                  </a:lnTo>
                  <a:lnTo>
                    <a:pt x="261" y="382"/>
                  </a:lnTo>
                  <a:lnTo>
                    <a:pt x="254" y="377"/>
                  </a:lnTo>
                  <a:lnTo>
                    <a:pt x="254" y="373"/>
                  </a:lnTo>
                  <a:lnTo>
                    <a:pt x="252" y="372"/>
                  </a:lnTo>
                  <a:lnTo>
                    <a:pt x="252" y="372"/>
                  </a:lnTo>
                  <a:lnTo>
                    <a:pt x="256" y="370"/>
                  </a:lnTo>
                  <a:lnTo>
                    <a:pt x="256" y="370"/>
                  </a:lnTo>
                  <a:lnTo>
                    <a:pt x="256" y="370"/>
                  </a:lnTo>
                  <a:lnTo>
                    <a:pt x="256" y="370"/>
                  </a:lnTo>
                  <a:close/>
                  <a:moveTo>
                    <a:pt x="431" y="313"/>
                  </a:moveTo>
                  <a:lnTo>
                    <a:pt x="429" y="316"/>
                  </a:lnTo>
                  <a:lnTo>
                    <a:pt x="429" y="323"/>
                  </a:lnTo>
                  <a:lnTo>
                    <a:pt x="426" y="323"/>
                  </a:lnTo>
                  <a:lnTo>
                    <a:pt x="426" y="320"/>
                  </a:lnTo>
                  <a:lnTo>
                    <a:pt x="424" y="318"/>
                  </a:lnTo>
                  <a:lnTo>
                    <a:pt x="419" y="320"/>
                  </a:lnTo>
                  <a:lnTo>
                    <a:pt x="416" y="318"/>
                  </a:lnTo>
                  <a:lnTo>
                    <a:pt x="416" y="316"/>
                  </a:lnTo>
                  <a:lnTo>
                    <a:pt x="426" y="306"/>
                  </a:lnTo>
                  <a:lnTo>
                    <a:pt x="429" y="304"/>
                  </a:lnTo>
                  <a:lnTo>
                    <a:pt x="431" y="304"/>
                  </a:lnTo>
                  <a:lnTo>
                    <a:pt x="431" y="313"/>
                  </a:lnTo>
                  <a:lnTo>
                    <a:pt x="431" y="313"/>
                  </a:lnTo>
                  <a:lnTo>
                    <a:pt x="431" y="313"/>
                  </a:lnTo>
                  <a:lnTo>
                    <a:pt x="431" y="313"/>
                  </a:lnTo>
                  <a:close/>
                  <a:moveTo>
                    <a:pt x="433" y="313"/>
                  </a:moveTo>
                  <a:lnTo>
                    <a:pt x="433" y="313"/>
                  </a:lnTo>
                  <a:lnTo>
                    <a:pt x="436" y="309"/>
                  </a:lnTo>
                  <a:lnTo>
                    <a:pt x="436" y="307"/>
                  </a:lnTo>
                  <a:lnTo>
                    <a:pt x="433" y="306"/>
                  </a:lnTo>
                  <a:lnTo>
                    <a:pt x="433" y="304"/>
                  </a:lnTo>
                  <a:lnTo>
                    <a:pt x="431" y="300"/>
                  </a:lnTo>
                  <a:lnTo>
                    <a:pt x="433" y="300"/>
                  </a:lnTo>
                  <a:lnTo>
                    <a:pt x="440" y="299"/>
                  </a:lnTo>
                  <a:lnTo>
                    <a:pt x="447" y="304"/>
                  </a:lnTo>
                  <a:lnTo>
                    <a:pt x="447" y="304"/>
                  </a:lnTo>
                  <a:lnTo>
                    <a:pt x="445" y="306"/>
                  </a:lnTo>
                  <a:lnTo>
                    <a:pt x="436" y="313"/>
                  </a:lnTo>
                  <a:lnTo>
                    <a:pt x="433" y="313"/>
                  </a:lnTo>
                  <a:lnTo>
                    <a:pt x="433" y="313"/>
                  </a:lnTo>
                  <a:lnTo>
                    <a:pt x="433" y="313"/>
                  </a:lnTo>
                  <a:lnTo>
                    <a:pt x="433" y="313"/>
                  </a:lnTo>
                  <a:close/>
                  <a:moveTo>
                    <a:pt x="468" y="290"/>
                  </a:moveTo>
                  <a:lnTo>
                    <a:pt x="468" y="290"/>
                  </a:lnTo>
                  <a:lnTo>
                    <a:pt x="473" y="288"/>
                  </a:lnTo>
                  <a:lnTo>
                    <a:pt x="475" y="292"/>
                  </a:lnTo>
                  <a:lnTo>
                    <a:pt x="473" y="295"/>
                  </a:lnTo>
                  <a:lnTo>
                    <a:pt x="471" y="295"/>
                  </a:lnTo>
                  <a:lnTo>
                    <a:pt x="468" y="290"/>
                  </a:lnTo>
                  <a:lnTo>
                    <a:pt x="468" y="290"/>
                  </a:lnTo>
                  <a:lnTo>
                    <a:pt x="468" y="290"/>
                  </a:lnTo>
                  <a:lnTo>
                    <a:pt x="468" y="290"/>
                  </a:lnTo>
                  <a:close/>
                  <a:moveTo>
                    <a:pt x="640" y="455"/>
                  </a:moveTo>
                  <a:lnTo>
                    <a:pt x="641" y="453"/>
                  </a:lnTo>
                  <a:lnTo>
                    <a:pt x="643" y="455"/>
                  </a:lnTo>
                  <a:lnTo>
                    <a:pt x="641" y="457"/>
                  </a:lnTo>
                  <a:lnTo>
                    <a:pt x="640" y="455"/>
                  </a:lnTo>
                  <a:lnTo>
                    <a:pt x="640" y="455"/>
                  </a:lnTo>
                  <a:lnTo>
                    <a:pt x="640" y="455"/>
                  </a:lnTo>
                  <a:lnTo>
                    <a:pt x="640" y="455"/>
                  </a:lnTo>
                  <a:close/>
                  <a:moveTo>
                    <a:pt x="624" y="507"/>
                  </a:moveTo>
                  <a:lnTo>
                    <a:pt x="628" y="504"/>
                  </a:lnTo>
                  <a:lnTo>
                    <a:pt x="629" y="506"/>
                  </a:lnTo>
                  <a:lnTo>
                    <a:pt x="624" y="507"/>
                  </a:lnTo>
                  <a:lnTo>
                    <a:pt x="624" y="507"/>
                  </a:lnTo>
                  <a:lnTo>
                    <a:pt x="624" y="507"/>
                  </a:lnTo>
                  <a:lnTo>
                    <a:pt x="624" y="507"/>
                  </a:lnTo>
                  <a:close/>
                  <a:moveTo>
                    <a:pt x="662" y="497"/>
                  </a:moveTo>
                  <a:lnTo>
                    <a:pt x="664" y="497"/>
                  </a:lnTo>
                  <a:lnTo>
                    <a:pt x="667" y="497"/>
                  </a:lnTo>
                  <a:lnTo>
                    <a:pt x="664" y="500"/>
                  </a:lnTo>
                  <a:lnTo>
                    <a:pt x="662" y="500"/>
                  </a:lnTo>
                  <a:lnTo>
                    <a:pt x="662" y="497"/>
                  </a:lnTo>
                  <a:lnTo>
                    <a:pt x="662" y="497"/>
                  </a:lnTo>
                  <a:lnTo>
                    <a:pt x="662" y="497"/>
                  </a:lnTo>
                  <a:lnTo>
                    <a:pt x="662" y="497"/>
                  </a:lnTo>
                  <a:close/>
                  <a:moveTo>
                    <a:pt x="634" y="464"/>
                  </a:moveTo>
                  <a:lnTo>
                    <a:pt x="634" y="460"/>
                  </a:lnTo>
                  <a:lnTo>
                    <a:pt x="636" y="460"/>
                  </a:lnTo>
                  <a:lnTo>
                    <a:pt x="636" y="464"/>
                  </a:lnTo>
                  <a:lnTo>
                    <a:pt x="634" y="464"/>
                  </a:lnTo>
                  <a:lnTo>
                    <a:pt x="634" y="464"/>
                  </a:lnTo>
                  <a:lnTo>
                    <a:pt x="634" y="464"/>
                  </a:lnTo>
                  <a:lnTo>
                    <a:pt x="634" y="464"/>
                  </a:lnTo>
                  <a:close/>
                  <a:moveTo>
                    <a:pt x="640" y="478"/>
                  </a:moveTo>
                  <a:lnTo>
                    <a:pt x="640" y="473"/>
                  </a:lnTo>
                  <a:lnTo>
                    <a:pt x="640" y="469"/>
                  </a:lnTo>
                  <a:lnTo>
                    <a:pt x="641" y="469"/>
                  </a:lnTo>
                  <a:lnTo>
                    <a:pt x="641" y="473"/>
                  </a:lnTo>
                  <a:lnTo>
                    <a:pt x="645" y="473"/>
                  </a:lnTo>
                  <a:lnTo>
                    <a:pt x="645" y="478"/>
                  </a:lnTo>
                  <a:lnTo>
                    <a:pt x="643" y="478"/>
                  </a:lnTo>
                  <a:lnTo>
                    <a:pt x="640" y="478"/>
                  </a:lnTo>
                  <a:lnTo>
                    <a:pt x="640" y="478"/>
                  </a:lnTo>
                  <a:lnTo>
                    <a:pt x="640" y="478"/>
                  </a:lnTo>
                  <a:lnTo>
                    <a:pt x="640" y="478"/>
                  </a:lnTo>
                  <a:close/>
                  <a:moveTo>
                    <a:pt x="610" y="488"/>
                  </a:moveTo>
                  <a:lnTo>
                    <a:pt x="614" y="488"/>
                  </a:lnTo>
                  <a:lnTo>
                    <a:pt x="614" y="488"/>
                  </a:lnTo>
                  <a:lnTo>
                    <a:pt x="614" y="487"/>
                  </a:lnTo>
                  <a:lnTo>
                    <a:pt x="621" y="481"/>
                  </a:lnTo>
                  <a:lnTo>
                    <a:pt x="624" y="481"/>
                  </a:lnTo>
                  <a:lnTo>
                    <a:pt x="628" y="478"/>
                  </a:lnTo>
                  <a:lnTo>
                    <a:pt x="629" y="478"/>
                  </a:lnTo>
                  <a:lnTo>
                    <a:pt x="633" y="473"/>
                  </a:lnTo>
                  <a:lnTo>
                    <a:pt x="634" y="474"/>
                  </a:lnTo>
                  <a:lnTo>
                    <a:pt x="633" y="478"/>
                  </a:lnTo>
                  <a:lnTo>
                    <a:pt x="634" y="478"/>
                  </a:lnTo>
                  <a:lnTo>
                    <a:pt x="633" y="480"/>
                  </a:lnTo>
                  <a:lnTo>
                    <a:pt x="629" y="480"/>
                  </a:lnTo>
                  <a:lnTo>
                    <a:pt x="624" y="487"/>
                  </a:lnTo>
                  <a:lnTo>
                    <a:pt x="621" y="488"/>
                  </a:lnTo>
                  <a:lnTo>
                    <a:pt x="621" y="488"/>
                  </a:lnTo>
                  <a:lnTo>
                    <a:pt x="619" y="492"/>
                  </a:lnTo>
                  <a:lnTo>
                    <a:pt x="617" y="488"/>
                  </a:lnTo>
                  <a:lnTo>
                    <a:pt x="614" y="492"/>
                  </a:lnTo>
                  <a:lnTo>
                    <a:pt x="610" y="492"/>
                  </a:lnTo>
                  <a:lnTo>
                    <a:pt x="610" y="488"/>
                  </a:lnTo>
                  <a:lnTo>
                    <a:pt x="610" y="488"/>
                  </a:lnTo>
                  <a:lnTo>
                    <a:pt x="610" y="488"/>
                  </a:lnTo>
                  <a:lnTo>
                    <a:pt x="610" y="488"/>
                  </a:lnTo>
                  <a:close/>
                  <a:moveTo>
                    <a:pt x="610" y="483"/>
                  </a:moveTo>
                  <a:lnTo>
                    <a:pt x="614" y="480"/>
                  </a:lnTo>
                  <a:lnTo>
                    <a:pt x="614" y="483"/>
                  </a:lnTo>
                  <a:lnTo>
                    <a:pt x="610" y="485"/>
                  </a:lnTo>
                  <a:lnTo>
                    <a:pt x="610" y="485"/>
                  </a:lnTo>
                  <a:lnTo>
                    <a:pt x="610" y="483"/>
                  </a:lnTo>
                  <a:lnTo>
                    <a:pt x="610" y="483"/>
                  </a:lnTo>
                  <a:lnTo>
                    <a:pt x="610" y="483"/>
                  </a:lnTo>
                  <a:lnTo>
                    <a:pt x="610" y="483"/>
                  </a:lnTo>
                  <a:close/>
                  <a:moveTo>
                    <a:pt x="619" y="474"/>
                  </a:moveTo>
                  <a:lnTo>
                    <a:pt x="624" y="469"/>
                  </a:lnTo>
                  <a:lnTo>
                    <a:pt x="624" y="469"/>
                  </a:lnTo>
                  <a:lnTo>
                    <a:pt x="626" y="466"/>
                  </a:lnTo>
                  <a:lnTo>
                    <a:pt x="628" y="466"/>
                  </a:lnTo>
                  <a:lnTo>
                    <a:pt x="629" y="469"/>
                  </a:lnTo>
                  <a:lnTo>
                    <a:pt x="626" y="469"/>
                  </a:lnTo>
                  <a:lnTo>
                    <a:pt x="626" y="473"/>
                  </a:lnTo>
                  <a:lnTo>
                    <a:pt x="622" y="474"/>
                  </a:lnTo>
                  <a:lnTo>
                    <a:pt x="621" y="478"/>
                  </a:lnTo>
                  <a:lnTo>
                    <a:pt x="619" y="478"/>
                  </a:lnTo>
                  <a:lnTo>
                    <a:pt x="619" y="474"/>
                  </a:lnTo>
                  <a:lnTo>
                    <a:pt x="619" y="474"/>
                  </a:lnTo>
                  <a:lnTo>
                    <a:pt x="619" y="474"/>
                  </a:lnTo>
                  <a:lnTo>
                    <a:pt x="619" y="474"/>
                  </a:lnTo>
                  <a:close/>
                  <a:moveTo>
                    <a:pt x="624" y="453"/>
                  </a:moveTo>
                  <a:lnTo>
                    <a:pt x="626" y="450"/>
                  </a:lnTo>
                  <a:lnTo>
                    <a:pt x="628" y="452"/>
                  </a:lnTo>
                  <a:lnTo>
                    <a:pt x="628" y="453"/>
                  </a:lnTo>
                  <a:lnTo>
                    <a:pt x="628" y="455"/>
                  </a:lnTo>
                  <a:lnTo>
                    <a:pt x="628" y="457"/>
                  </a:lnTo>
                  <a:lnTo>
                    <a:pt x="624" y="453"/>
                  </a:lnTo>
                  <a:lnTo>
                    <a:pt x="624" y="453"/>
                  </a:lnTo>
                  <a:lnTo>
                    <a:pt x="624" y="453"/>
                  </a:lnTo>
                  <a:lnTo>
                    <a:pt x="624" y="453"/>
                  </a:lnTo>
                  <a:close/>
                  <a:moveTo>
                    <a:pt x="419" y="214"/>
                  </a:moveTo>
                  <a:lnTo>
                    <a:pt x="419" y="214"/>
                  </a:lnTo>
                  <a:lnTo>
                    <a:pt x="421" y="214"/>
                  </a:lnTo>
                  <a:lnTo>
                    <a:pt x="424" y="214"/>
                  </a:lnTo>
                  <a:lnTo>
                    <a:pt x="421" y="217"/>
                  </a:lnTo>
                  <a:lnTo>
                    <a:pt x="419" y="214"/>
                  </a:lnTo>
                  <a:lnTo>
                    <a:pt x="419" y="214"/>
                  </a:lnTo>
                  <a:lnTo>
                    <a:pt x="419" y="214"/>
                  </a:lnTo>
                  <a:lnTo>
                    <a:pt x="419" y="214"/>
                  </a:lnTo>
                  <a:close/>
                  <a:moveTo>
                    <a:pt x="353" y="287"/>
                  </a:moveTo>
                  <a:lnTo>
                    <a:pt x="356" y="281"/>
                  </a:lnTo>
                  <a:lnTo>
                    <a:pt x="355" y="278"/>
                  </a:lnTo>
                  <a:lnTo>
                    <a:pt x="351" y="276"/>
                  </a:lnTo>
                  <a:lnTo>
                    <a:pt x="353" y="273"/>
                  </a:lnTo>
                  <a:lnTo>
                    <a:pt x="351" y="267"/>
                  </a:lnTo>
                  <a:lnTo>
                    <a:pt x="348" y="264"/>
                  </a:lnTo>
                  <a:lnTo>
                    <a:pt x="341" y="264"/>
                  </a:lnTo>
                  <a:lnTo>
                    <a:pt x="341" y="264"/>
                  </a:lnTo>
                  <a:lnTo>
                    <a:pt x="337" y="267"/>
                  </a:lnTo>
                  <a:lnTo>
                    <a:pt x="334" y="262"/>
                  </a:lnTo>
                  <a:lnTo>
                    <a:pt x="334" y="257"/>
                  </a:lnTo>
                  <a:lnTo>
                    <a:pt x="341" y="250"/>
                  </a:lnTo>
                  <a:lnTo>
                    <a:pt x="344" y="245"/>
                  </a:lnTo>
                  <a:lnTo>
                    <a:pt x="346" y="245"/>
                  </a:lnTo>
                  <a:lnTo>
                    <a:pt x="346" y="250"/>
                  </a:lnTo>
                  <a:lnTo>
                    <a:pt x="344" y="252"/>
                  </a:lnTo>
                  <a:lnTo>
                    <a:pt x="350" y="253"/>
                  </a:lnTo>
                  <a:lnTo>
                    <a:pt x="350" y="257"/>
                  </a:lnTo>
                  <a:lnTo>
                    <a:pt x="353" y="257"/>
                  </a:lnTo>
                  <a:lnTo>
                    <a:pt x="355" y="255"/>
                  </a:lnTo>
                  <a:lnTo>
                    <a:pt x="360" y="255"/>
                  </a:lnTo>
                  <a:lnTo>
                    <a:pt x="363" y="259"/>
                  </a:lnTo>
                  <a:lnTo>
                    <a:pt x="363" y="262"/>
                  </a:lnTo>
                  <a:lnTo>
                    <a:pt x="363" y="264"/>
                  </a:lnTo>
                  <a:lnTo>
                    <a:pt x="363" y="267"/>
                  </a:lnTo>
                  <a:lnTo>
                    <a:pt x="367" y="269"/>
                  </a:lnTo>
                  <a:lnTo>
                    <a:pt x="367" y="273"/>
                  </a:lnTo>
                  <a:lnTo>
                    <a:pt x="374" y="280"/>
                  </a:lnTo>
                  <a:lnTo>
                    <a:pt x="374" y="281"/>
                  </a:lnTo>
                  <a:lnTo>
                    <a:pt x="372" y="285"/>
                  </a:lnTo>
                  <a:lnTo>
                    <a:pt x="367" y="281"/>
                  </a:lnTo>
                  <a:lnTo>
                    <a:pt x="365" y="281"/>
                  </a:lnTo>
                  <a:lnTo>
                    <a:pt x="363" y="283"/>
                  </a:lnTo>
                  <a:lnTo>
                    <a:pt x="360" y="285"/>
                  </a:lnTo>
                  <a:lnTo>
                    <a:pt x="356" y="288"/>
                  </a:lnTo>
                  <a:lnTo>
                    <a:pt x="353" y="287"/>
                  </a:lnTo>
                  <a:lnTo>
                    <a:pt x="353" y="287"/>
                  </a:lnTo>
                  <a:lnTo>
                    <a:pt x="353" y="287"/>
                  </a:lnTo>
                  <a:lnTo>
                    <a:pt x="353" y="287"/>
                  </a:lnTo>
                  <a:close/>
                  <a:moveTo>
                    <a:pt x="329" y="403"/>
                  </a:moveTo>
                  <a:lnTo>
                    <a:pt x="336" y="403"/>
                  </a:lnTo>
                  <a:lnTo>
                    <a:pt x="337" y="405"/>
                  </a:lnTo>
                  <a:lnTo>
                    <a:pt x="341" y="405"/>
                  </a:lnTo>
                  <a:lnTo>
                    <a:pt x="344" y="405"/>
                  </a:lnTo>
                  <a:lnTo>
                    <a:pt x="348" y="401"/>
                  </a:lnTo>
                  <a:lnTo>
                    <a:pt x="353" y="401"/>
                  </a:lnTo>
                  <a:lnTo>
                    <a:pt x="353" y="403"/>
                  </a:lnTo>
                  <a:lnTo>
                    <a:pt x="356" y="407"/>
                  </a:lnTo>
                  <a:lnTo>
                    <a:pt x="358" y="410"/>
                  </a:lnTo>
                  <a:lnTo>
                    <a:pt x="355" y="413"/>
                  </a:lnTo>
                  <a:lnTo>
                    <a:pt x="353" y="419"/>
                  </a:lnTo>
                  <a:lnTo>
                    <a:pt x="348" y="419"/>
                  </a:lnTo>
                  <a:lnTo>
                    <a:pt x="344" y="415"/>
                  </a:lnTo>
                  <a:lnTo>
                    <a:pt x="341" y="419"/>
                  </a:lnTo>
                  <a:lnTo>
                    <a:pt x="337" y="415"/>
                  </a:lnTo>
                  <a:lnTo>
                    <a:pt x="336" y="415"/>
                  </a:lnTo>
                  <a:lnTo>
                    <a:pt x="332" y="410"/>
                  </a:lnTo>
                  <a:lnTo>
                    <a:pt x="329" y="403"/>
                  </a:lnTo>
                  <a:lnTo>
                    <a:pt x="329" y="403"/>
                  </a:lnTo>
                  <a:lnTo>
                    <a:pt x="329" y="403"/>
                  </a:lnTo>
                  <a:lnTo>
                    <a:pt x="329" y="403"/>
                  </a:lnTo>
                  <a:close/>
                  <a:moveTo>
                    <a:pt x="556" y="455"/>
                  </a:moveTo>
                  <a:lnTo>
                    <a:pt x="560" y="450"/>
                  </a:lnTo>
                  <a:lnTo>
                    <a:pt x="563" y="450"/>
                  </a:lnTo>
                  <a:lnTo>
                    <a:pt x="563" y="453"/>
                  </a:lnTo>
                  <a:lnTo>
                    <a:pt x="560" y="455"/>
                  </a:lnTo>
                  <a:lnTo>
                    <a:pt x="556" y="455"/>
                  </a:lnTo>
                  <a:lnTo>
                    <a:pt x="556" y="455"/>
                  </a:lnTo>
                  <a:lnTo>
                    <a:pt x="556" y="455"/>
                  </a:lnTo>
                  <a:lnTo>
                    <a:pt x="556" y="455"/>
                  </a:lnTo>
                  <a:close/>
                  <a:moveTo>
                    <a:pt x="520" y="480"/>
                  </a:moveTo>
                  <a:lnTo>
                    <a:pt x="523" y="480"/>
                  </a:lnTo>
                  <a:lnTo>
                    <a:pt x="525" y="480"/>
                  </a:lnTo>
                  <a:lnTo>
                    <a:pt x="523" y="481"/>
                  </a:lnTo>
                  <a:lnTo>
                    <a:pt x="520" y="480"/>
                  </a:lnTo>
                  <a:lnTo>
                    <a:pt x="520" y="480"/>
                  </a:lnTo>
                  <a:lnTo>
                    <a:pt x="520" y="480"/>
                  </a:lnTo>
                  <a:lnTo>
                    <a:pt x="520" y="480"/>
                  </a:lnTo>
                  <a:close/>
                  <a:moveTo>
                    <a:pt x="520" y="509"/>
                  </a:moveTo>
                  <a:lnTo>
                    <a:pt x="522" y="509"/>
                  </a:lnTo>
                  <a:lnTo>
                    <a:pt x="525" y="509"/>
                  </a:lnTo>
                  <a:lnTo>
                    <a:pt x="523" y="511"/>
                  </a:lnTo>
                  <a:lnTo>
                    <a:pt x="522" y="514"/>
                  </a:lnTo>
                  <a:lnTo>
                    <a:pt x="520" y="513"/>
                  </a:lnTo>
                  <a:lnTo>
                    <a:pt x="520" y="509"/>
                  </a:lnTo>
                  <a:lnTo>
                    <a:pt x="520" y="509"/>
                  </a:lnTo>
                  <a:lnTo>
                    <a:pt x="520" y="509"/>
                  </a:lnTo>
                  <a:lnTo>
                    <a:pt x="520" y="509"/>
                  </a:lnTo>
                  <a:close/>
                  <a:moveTo>
                    <a:pt x="508" y="525"/>
                  </a:moveTo>
                  <a:lnTo>
                    <a:pt x="506" y="525"/>
                  </a:lnTo>
                  <a:lnTo>
                    <a:pt x="508" y="523"/>
                  </a:lnTo>
                  <a:lnTo>
                    <a:pt x="509" y="525"/>
                  </a:lnTo>
                  <a:lnTo>
                    <a:pt x="509" y="523"/>
                  </a:lnTo>
                  <a:lnTo>
                    <a:pt x="513" y="525"/>
                  </a:lnTo>
                  <a:lnTo>
                    <a:pt x="515" y="520"/>
                  </a:lnTo>
                  <a:lnTo>
                    <a:pt x="513" y="520"/>
                  </a:lnTo>
                  <a:lnTo>
                    <a:pt x="515" y="516"/>
                  </a:lnTo>
                  <a:lnTo>
                    <a:pt x="518" y="516"/>
                  </a:lnTo>
                  <a:lnTo>
                    <a:pt x="520" y="516"/>
                  </a:lnTo>
                  <a:lnTo>
                    <a:pt x="520" y="520"/>
                  </a:lnTo>
                  <a:lnTo>
                    <a:pt x="520" y="520"/>
                  </a:lnTo>
                  <a:lnTo>
                    <a:pt x="522" y="518"/>
                  </a:lnTo>
                  <a:lnTo>
                    <a:pt x="523" y="518"/>
                  </a:lnTo>
                  <a:lnTo>
                    <a:pt x="525" y="520"/>
                  </a:lnTo>
                  <a:lnTo>
                    <a:pt x="523" y="520"/>
                  </a:lnTo>
                  <a:lnTo>
                    <a:pt x="522" y="525"/>
                  </a:lnTo>
                  <a:lnTo>
                    <a:pt x="525" y="525"/>
                  </a:lnTo>
                  <a:lnTo>
                    <a:pt x="525" y="528"/>
                  </a:lnTo>
                  <a:lnTo>
                    <a:pt x="523" y="528"/>
                  </a:lnTo>
                  <a:lnTo>
                    <a:pt x="522" y="525"/>
                  </a:lnTo>
                  <a:lnTo>
                    <a:pt x="518" y="528"/>
                  </a:lnTo>
                  <a:lnTo>
                    <a:pt x="518" y="528"/>
                  </a:lnTo>
                  <a:lnTo>
                    <a:pt x="515" y="528"/>
                  </a:lnTo>
                  <a:lnTo>
                    <a:pt x="513" y="528"/>
                  </a:lnTo>
                  <a:lnTo>
                    <a:pt x="509" y="528"/>
                  </a:lnTo>
                  <a:lnTo>
                    <a:pt x="508" y="525"/>
                  </a:lnTo>
                  <a:lnTo>
                    <a:pt x="508" y="525"/>
                  </a:lnTo>
                  <a:lnTo>
                    <a:pt x="508" y="525"/>
                  </a:lnTo>
                  <a:lnTo>
                    <a:pt x="508" y="525"/>
                  </a:lnTo>
                  <a:close/>
                  <a:moveTo>
                    <a:pt x="471" y="561"/>
                  </a:moveTo>
                  <a:lnTo>
                    <a:pt x="469" y="563"/>
                  </a:lnTo>
                  <a:lnTo>
                    <a:pt x="468" y="563"/>
                  </a:lnTo>
                  <a:lnTo>
                    <a:pt x="468" y="563"/>
                  </a:lnTo>
                  <a:lnTo>
                    <a:pt x="468" y="560"/>
                  </a:lnTo>
                  <a:lnTo>
                    <a:pt x="468" y="556"/>
                  </a:lnTo>
                  <a:lnTo>
                    <a:pt x="468" y="553"/>
                  </a:lnTo>
                  <a:lnTo>
                    <a:pt x="468" y="547"/>
                  </a:lnTo>
                  <a:lnTo>
                    <a:pt x="468" y="547"/>
                  </a:lnTo>
                  <a:lnTo>
                    <a:pt x="468" y="546"/>
                  </a:lnTo>
                  <a:lnTo>
                    <a:pt x="473" y="542"/>
                  </a:lnTo>
                  <a:lnTo>
                    <a:pt x="480" y="539"/>
                  </a:lnTo>
                  <a:lnTo>
                    <a:pt x="485" y="539"/>
                  </a:lnTo>
                  <a:lnTo>
                    <a:pt x="485" y="539"/>
                  </a:lnTo>
                  <a:lnTo>
                    <a:pt x="487" y="546"/>
                  </a:lnTo>
                  <a:lnTo>
                    <a:pt x="487" y="546"/>
                  </a:lnTo>
                  <a:lnTo>
                    <a:pt x="490" y="542"/>
                  </a:lnTo>
                  <a:lnTo>
                    <a:pt x="487" y="539"/>
                  </a:lnTo>
                  <a:lnTo>
                    <a:pt x="490" y="539"/>
                  </a:lnTo>
                  <a:lnTo>
                    <a:pt x="490" y="540"/>
                  </a:lnTo>
                  <a:lnTo>
                    <a:pt x="492" y="537"/>
                  </a:lnTo>
                  <a:lnTo>
                    <a:pt x="490" y="535"/>
                  </a:lnTo>
                  <a:lnTo>
                    <a:pt x="490" y="533"/>
                  </a:lnTo>
                  <a:lnTo>
                    <a:pt x="492" y="530"/>
                  </a:lnTo>
                  <a:lnTo>
                    <a:pt x="494" y="530"/>
                  </a:lnTo>
                  <a:lnTo>
                    <a:pt x="495" y="532"/>
                  </a:lnTo>
                  <a:lnTo>
                    <a:pt x="495" y="535"/>
                  </a:lnTo>
                  <a:lnTo>
                    <a:pt x="495" y="537"/>
                  </a:lnTo>
                  <a:lnTo>
                    <a:pt x="495" y="539"/>
                  </a:lnTo>
                  <a:lnTo>
                    <a:pt x="497" y="539"/>
                  </a:lnTo>
                  <a:lnTo>
                    <a:pt x="499" y="535"/>
                  </a:lnTo>
                  <a:lnTo>
                    <a:pt x="501" y="535"/>
                  </a:lnTo>
                  <a:lnTo>
                    <a:pt x="502" y="537"/>
                  </a:lnTo>
                  <a:lnTo>
                    <a:pt x="502" y="533"/>
                  </a:lnTo>
                  <a:lnTo>
                    <a:pt x="501" y="530"/>
                  </a:lnTo>
                  <a:lnTo>
                    <a:pt x="502" y="530"/>
                  </a:lnTo>
                  <a:lnTo>
                    <a:pt x="506" y="532"/>
                  </a:lnTo>
                  <a:lnTo>
                    <a:pt x="506" y="533"/>
                  </a:lnTo>
                  <a:lnTo>
                    <a:pt x="504" y="535"/>
                  </a:lnTo>
                  <a:lnTo>
                    <a:pt x="504" y="537"/>
                  </a:lnTo>
                  <a:lnTo>
                    <a:pt x="506" y="537"/>
                  </a:lnTo>
                  <a:lnTo>
                    <a:pt x="509" y="533"/>
                  </a:lnTo>
                  <a:lnTo>
                    <a:pt x="513" y="533"/>
                  </a:lnTo>
                  <a:lnTo>
                    <a:pt x="515" y="533"/>
                  </a:lnTo>
                  <a:lnTo>
                    <a:pt x="515" y="537"/>
                  </a:lnTo>
                  <a:lnTo>
                    <a:pt x="513" y="539"/>
                  </a:lnTo>
                  <a:lnTo>
                    <a:pt x="509" y="539"/>
                  </a:lnTo>
                  <a:lnTo>
                    <a:pt x="509" y="540"/>
                  </a:lnTo>
                  <a:lnTo>
                    <a:pt x="513" y="542"/>
                  </a:lnTo>
                  <a:lnTo>
                    <a:pt x="513" y="544"/>
                  </a:lnTo>
                  <a:lnTo>
                    <a:pt x="509" y="547"/>
                  </a:lnTo>
                  <a:lnTo>
                    <a:pt x="508" y="547"/>
                  </a:lnTo>
                  <a:lnTo>
                    <a:pt x="508" y="546"/>
                  </a:lnTo>
                  <a:lnTo>
                    <a:pt x="504" y="546"/>
                  </a:lnTo>
                  <a:lnTo>
                    <a:pt x="502" y="546"/>
                  </a:lnTo>
                  <a:lnTo>
                    <a:pt x="501" y="546"/>
                  </a:lnTo>
                  <a:lnTo>
                    <a:pt x="499" y="547"/>
                  </a:lnTo>
                  <a:lnTo>
                    <a:pt x="502" y="547"/>
                  </a:lnTo>
                  <a:lnTo>
                    <a:pt x="504" y="553"/>
                  </a:lnTo>
                  <a:lnTo>
                    <a:pt x="501" y="553"/>
                  </a:lnTo>
                  <a:lnTo>
                    <a:pt x="499" y="553"/>
                  </a:lnTo>
                  <a:lnTo>
                    <a:pt x="495" y="551"/>
                  </a:lnTo>
                  <a:lnTo>
                    <a:pt x="492" y="551"/>
                  </a:lnTo>
                  <a:lnTo>
                    <a:pt x="490" y="553"/>
                  </a:lnTo>
                  <a:lnTo>
                    <a:pt x="492" y="553"/>
                  </a:lnTo>
                  <a:lnTo>
                    <a:pt x="494" y="556"/>
                  </a:lnTo>
                  <a:lnTo>
                    <a:pt x="492" y="556"/>
                  </a:lnTo>
                  <a:lnTo>
                    <a:pt x="490" y="556"/>
                  </a:lnTo>
                  <a:lnTo>
                    <a:pt x="487" y="556"/>
                  </a:lnTo>
                  <a:lnTo>
                    <a:pt x="485" y="556"/>
                  </a:lnTo>
                  <a:lnTo>
                    <a:pt x="483" y="560"/>
                  </a:lnTo>
                  <a:lnTo>
                    <a:pt x="482" y="560"/>
                  </a:lnTo>
                  <a:lnTo>
                    <a:pt x="480" y="561"/>
                  </a:lnTo>
                  <a:lnTo>
                    <a:pt x="482" y="563"/>
                  </a:lnTo>
                  <a:lnTo>
                    <a:pt x="476" y="565"/>
                  </a:lnTo>
                  <a:lnTo>
                    <a:pt x="476" y="568"/>
                  </a:lnTo>
                  <a:lnTo>
                    <a:pt x="475" y="568"/>
                  </a:lnTo>
                  <a:lnTo>
                    <a:pt x="473" y="572"/>
                  </a:lnTo>
                  <a:lnTo>
                    <a:pt x="469" y="570"/>
                  </a:lnTo>
                  <a:lnTo>
                    <a:pt x="469" y="568"/>
                  </a:lnTo>
                  <a:lnTo>
                    <a:pt x="476" y="563"/>
                  </a:lnTo>
                  <a:lnTo>
                    <a:pt x="476" y="561"/>
                  </a:lnTo>
                  <a:lnTo>
                    <a:pt x="478" y="560"/>
                  </a:lnTo>
                  <a:lnTo>
                    <a:pt x="476" y="560"/>
                  </a:lnTo>
                  <a:lnTo>
                    <a:pt x="475" y="561"/>
                  </a:lnTo>
                  <a:lnTo>
                    <a:pt x="473" y="560"/>
                  </a:lnTo>
                  <a:lnTo>
                    <a:pt x="475" y="560"/>
                  </a:lnTo>
                  <a:lnTo>
                    <a:pt x="469" y="560"/>
                  </a:lnTo>
                  <a:lnTo>
                    <a:pt x="468" y="560"/>
                  </a:lnTo>
                  <a:lnTo>
                    <a:pt x="469" y="560"/>
                  </a:lnTo>
                  <a:lnTo>
                    <a:pt x="471" y="561"/>
                  </a:lnTo>
                  <a:lnTo>
                    <a:pt x="471" y="561"/>
                  </a:lnTo>
                  <a:lnTo>
                    <a:pt x="471" y="561"/>
                  </a:lnTo>
                  <a:lnTo>
                    <a:pt x="471" y="561"/>
                  </a:lnTo>
                  <a:close/>
                  <a:moveTo>
                    <a:pt x="464" y="575"/>
                  </a:moveTo>
                  <a:lnTo>
                    <a:pt x="468" y="575"/>
                  </a:lnTo>
                  <a:lnTo>
                    <a:pt x="464" y="575"/>
                  </a:lnTo>
                  <a:lnTo>
                    <a:pt x="464" y="575"/>
                  </a:lnTo>
                  <a:lnTo>
                    <a:pt x="464" y="575"/>
                  </a:lnTo>
                  <a:lnTo>
                    <a:pt x="464" y="575"/>
                  </a:lnTo>
                  <a:lnTo>
                    <a:pt x="464" y="575"/>
                  </a:lnTo>
                  <a:close/>
                  <a:moveTo>
                    <a:pt x="455" y="579"/>
                  </a:moveTo>
                  <a:lnTo>
                    <a:pt x="455" y="575"/>
                  </a:lnTo>
                  <a:lnTo>
                    <a:pt x="464" y="572"/>
                  </a:lnTo>
                  <a:lnTo>
                    <a:pt x="459" y="579"/>
                  </a:lnTo>
                  <a:lnTo>
                    <a:pt x="455" y="579"/>
                  </a:lnTo>
                  <a:lnTo>
                    <a:pt x="455" y="579"/>
                  </a:lnTo>
                  <a:lnTo>
                    <a:pt x="455" y="579"/>
                  </a:lnTo>
                  <a:lnTo>
                    <a:pt x="455" y="579"/>
                  </a:lnTo>
                  <a:close/>
                  <a:moveTo>
                    <a:pt x="433" y="598"/>
                  </a:moveTo>
                  <a:lnTo>
                    <a:pt x="431" y="598"/>
                  </a:lnTo>
                  <a:lnTo>
                    <a:pt x="431" y="596"/>
                  </a:lnTo>
                  <a:lnTo>
                    <a:pt x="433" y="594"/>
                  </a:lnTo>
                  <a:lnTo>
                    <a:pt x="433" y="598"/>
                  </a:lnTo>
                  <a:lnTo>
                    <a:pt x="433" y="598"/>
                  </a:lnTo>
                  <a:lnTo>
                    <a:pt x="433" y="598"/>
                  </a:lnTo>
                  <a:lnTo>
                    <a:pt x="433" y="598"/>
                  </a:lnTo>
                  <a:lnTo>
                    <a:pt x="433" y="598"/>
                  </a:lnTo>
                  <a:close/>
                  <a:moveTo>
                    <a:pt x="419" y="566"/>
                  </a:moveTo>
                  <a:lnTo>
                    <a:pt x="422" y="566"/>
                  </a:lnTo>
                  <a:lnTo>
                    <a:pt x="424" y="568"/>
                  </a:lnTo>
                  <a:lnTo>
                    <a:pt x="422" y="570"/>
                  </a:lnTo>
                  <a:lnTo>
                    <a:pt x="419" y="566"/>
                  </a:lnTo>
                  <a:lnTo>
                    <a:pt x="419" y="566"/>
                  </a:lnTo>
                  <a:lnTo>
                    <a:pt x="419" y="566"/>
                  </a:lnTo>
                  <a:lnTo>
                    <a:pt x="419" y="566"/>
                  </a:lnTo>
                  <a:close/>
                  <a:moveTo>
                    <a:pt x="353" y="598"/>
                  </a:moveTo>
                  <a:lnTo>
                    <a:pt x="353" y="598"/>
                  </a:lnTo>
                  <a:lnTo>
                    <a:pt x="355" y="596"/>
                  </a:lnTo>
                  <a:lnTo>
                    <a:pt x="355" y="598"/>
                  </a:lnTo>
                  <a:lnTo>
                    <a:pt x="353" y="598"/>
                  </a:lnTo>
                  <a:lnTo>
                    <a:pt x="353" y="598"/>
                  </a:lnTo>
                  <a:lnTo>
                    <a:pt x="353" y="598"/>
                  </a:lnTo>
                  <a:lnTo>
                    <a:pt x="353" y="598"/>
                  </a:lnTo>
                  <a:close/>
                  <a:moveTo>
                    <a:pt x="350" y="600"/>
                  </a:moveTo>
                  <a:lnTo>
                    <a:pt x="351" y="600"/>
                  </a:lnTo>
                  <a:lnTo>
                    <a:pt x="350" y="601"/>
                  </a:lnTo>
                  <a:lnTo>
                    <a:pt x="350" y="600"/>
                  </a:lnTo>
                  <a:lnTo>
                    <a:pt x="350" y="600"/>
                  </a:lnTo>
                  <a:lnTo>
                    <a:pt x="350" y="600"/>
                  </a:lnTo>
                  <a:lnTo>
                    <a:pt x="350" y="600"/>
                  </a:lnTo>
                  <a:close/>
                  <a:moveTo>
                    <a:pt x="363" y="612"/>
                  </a:moveTo>
                  <a:lnTo>
                    <a:pt x="363" y="615"/>
                  </a:lnTo>
                  <a:lnTo>
                    <a:pt x="363" y="615"/>
                  </a:lnTo>
                  <a:lnTo>
                    <a:pt x="363" y="612"/>
                  </a:lnTo>
                  <a:lnTo>
                    <a:pt x="363" y="612"/>
                  </a:lnTo>
                  <a:lnTo>
                    <a:pt x="363" y="612"/>
                  </a:lnTo>
                  <a:lnTo>
                    <a:pt x="363" y="612"/>
                  </a:lnTo>
                  <a:lnTo>
                    <a:pt x="363" y="612"/>
                  </a:lnTo>
                  <a:close/>
                  <a:moveTo>
                    <a:pt x="360" y="612"/>
                  </a:moveTo>
                  <a:lnTo>
                    <a:pt x="363" y="606"/>
                  </a:lnTo>
                  <a:lnTo>
                    <a:pt x="363" y="610"/>
                  </a:lnTo>
                  <a:lnTo>
                    <a:pt x="363" y="610"/>
                  </a:lnTo>
                  <a:lnTo>
                    <a:pt x="360" y="612"/>
                  </a:lnTo>
                  <a:lnTo>
                    <a:pt x="360" y="612"/>
                  </a:lnTo>
                  <a:lnTo>
                    <a:pt x="360" y="612"/>
                  </a:lnTo>
                  <a:lnTo>
                    <a:pt x="360" y="612"/>
                  </a:lnTo>
                  <a:close/>
                  <a:moveTo>
                    <a:pt x="348" y="615"/>
                  </a:moveTo>
                  <a:lnTo>
                    <a:pt x="350" y="610"/>
                  </a:lnTo>
                  <a:lnTo>
                    <a:pt x="353" y="606"/>
                  </a:lnTo>
                  <a:lnTo>
                    <a:pt x="353" y="606"/>
                  </a:lnTo>
                  <a:lnTo>
                    <a:pt x="358" y="605"/>
                  </a:lnTo>
                  <a:lnTo>
                    <a:pt x="355" y="606"/>
                  </a:lnTo>
                  <a:lnTo>
                    <a:pt x="355" y="610"/>
                  </a:lnTo>
                  <a:lnTo>
                    <a:pt x="350" y="612"/>
                  </a:lnTo>
                  <a:lnTo>
                    <a:pt x="348" y="615"/>
                  </a:lnTo>
                  <a:lnTo>
                    <a:pt x="348" y="615"/>
                  </a:lnTo>
                  <a:lnTo>
                    <a:pt x="348" y="615"/>
                  </a:lnTo>
                  <a:lnTo>
                    <a:pt x="348" y="615"/>
                  </a:lnTo>
                  <a:close/>
                  <a:moveTo>
                    <a:pt x="343" y="605"/>
                  </a:moveTo>
                  <a:lnTo>
                    <a:pt x="341" y="601"/>
                  </a:lnTo>
                  <a:lnTo>
                    <a:pt x="343" y="600"/>
                  </a:lnTo>
                  <a:lnTo>
                    <a:pt x="344" y="598"/>
                  </a:lnTo>
                  <a:lnTo>
                    <a:pt x="346" y="600"/>
                  </a:lnTo>
                  <a:lnTo>
                    <a:pt x="346" y="603"/>
                  </a:lnTo>
                  <a:lnTo>
                    <a:pt x="344" y="605"/>
                  </a:lnTo>
                  <a:lnTo>
                    <a:pt x="343" y="605"/>
                  </a:lnTo>
                  <a:lnTo>
                    <a:pt x="343" y="605"/>
                  </a:lnTo>
                  <a:lnTo>
                    <a:pt x="343" y="605"/>
                  </a:lnTo>
                  <a:lnTo>
                    <a:pt x="343" y="605"/>
                  </a:lnTo>
                  <a:close/>
                  <a:moveTo>
                    <a:pt x="327" y="603"/>
                  </a:moveTo>
                  <a:lnTo>
                    <a:pt x="329" y="601"/>
                  </a:lnTo>
                  <a:lnTo>
                    <a:pt x="329" y="605"/>
                  </a:lnTo>
                  <a:lnTo>
                    <a:pt x="327" y="606"/>
                  </a:lnTo>
                  <a:lnTo>
                    <a:pt x="327" y="603"/>
                  </a:lnTo>
                  <a:lnTo>
                    <a:pt x="327" y="603"/>
                  </a:lnTo>
                  <a:lnTo>
                    <a:pt x="327" y="603"/>
                  </a:lnTo>
                  <a:lnTo>
                    <a:pt x="327" y="603"/>
                  </a:lnTo>
                  <a:close/>
                  <a:moveTo>
                    <a:pt x="315" y="612"/>
                  </a:moveTo>
                  <a:lnTo>
                    <a:pt x="315" y="606"/>
                  </a:lnTo>
                  <a:lnTo>
                    <a:pt x="318" y="606"/>
                  </a:lnTo>
                  <a:lnTo>
                    <a:pt x="318" y="606"/>
                  </a:lnTo>
                  <a:lnTo>
                    <a:pt x="315" y="612"/>
                  </a:lnTo>
                  <a:lnTo>
                    <a:pt x="315" y="612"/>
                  </a:lnTo>
                  <a:lnTo>
                    <a:pt x="315" y="612"/>
                  </a:lnTo>
                  <a:lnTo>
                    <a:pt x="315" y="612"/>
                  </a:lnTo>
                  <a:close/>
                  <a:moveTo>
                    <a:pt x="303" y="619"/>
                  </a:moveTo>
                  <a:lnTo>
                    <a:pt x="306" y="622"/>
                  </a:lnTo>
                  <a:lnTo>
                    <a:pt x="304" y="622"/>
                  </a:lnTo>
                  <a:lnTo>
                    <a:pt x="301" y="620"/>
                  </a:lnTo>
                  <a:lnTo>
                    <a:pt x="303" y="619"/>
                  </a:lnTo>
                  <a:lnTo>
                    <a:pt x="303" y="619"/>
                  </a:lnTo>
                  <a:lnTo>
                    <a:pt x="303" y="619"/>
                  </a:lnTo>
                  <a:lnTo>
                    <a:pt x="303" y="619"/>
                  </a:lnTo>
                  <a:close/>
                  <a:moveTo>
                    <a:pt x="4" y="678"/>
                  </a:moveTo>
                  <a:lnTo>
                    <a:pt x="0" y="681"/>
                  </a:lnTo>
                  <a:lnTo>
                    <a:pt x="4" y="680"/>
                  </a:lnTo>
                  <a:lnTo>
                    <a:pt x="4" y="678"/>
                  </a:lnTo>
                  <a:lnTo>
                    <a:pt x="4" y="678"/>
                  </a:lnTo>
                  <a:lnTo>
                    <a:pt x="4" y="678"/>
                  </a:lnTo>
                  <a:lnTo>
                    <a:pt x="4" y="678"/>
                  </a:lnTo>
                  <a:close/>
                  <a:moveTo>
                    <a:pt x="5" y="669"/>
                  </a:moveTo>
                  <a:lnTo>
                    <a:pt x="4" y="671"/>
                  </a:lnTo>
                  <a:lnTo>
                    <a:pt x="5" y="674"/>
                  </a:lnTo>
                  <a:lnTo>
                    <a:pt x="7" y="671"/>
                  </a:lnTo>
                  <a:lnTo>
                    <a:pt x="5" y="669"/>
                  </a:lnTo>
                  <a:lnTo>
                    <a:pt x="5" y="669"/>
                  </a:lnTo>
                  <a:lnTo>
                    <a:pt x="5" y="669"/>
                  </a:lnTo>
                  <a:lnTo>
                    <a:pt x="5" y="669"/>
                  </a:lnTo>
                  <a:close/>
                  <a:moveTo>
                    <a:pt x="11" y="662"/>
                  </a:moveTo>
                  <a:lnTo>
                    <a:pt x="11" y="666"/>
                  </a:lnTo>
                  <a:lnTo>
                    <a:pt x="11" y="660"/>
                  </a:lnTo>
                  <a:lnTo>
                    <a:pt x="11" y="662"/>
                  </a:lnTo>
                  <a:lnTo>
                    <a:pt x="11" y="662"/>
                  </a:lnTo>
                  <a:lnTo>
                    <a:pt x="11" y="662"/>
                  </a:lnTo>
                  <a:lnTo>
                    <a:pt x="11" y="662"/>
                  </a:lnTo>
                  <a:close/>
                  <a:moveTo>
                    <a:pt x="30" y="666"/>
                  </a:moveTo>
                  <a:lnTo>
                    <a:pt x="26" y="660"/>
                  </a:lnTo>
                  <a:lnTo>
                    <a:pt x="25" y="660"/>
                  </a:lnTo>
                  <a:lnTo>
                    <a:pt x="21" y="662"/>
                  </a:lnTo>
                  <a:lnTo>
                    <a:pt x="23" y="662"/>
                  </a:lnTo>
                  <a:lnTo>
                    <a:pt x="26" y="666"/>
                  </a:lnTo>
                  <a:lnTo>
                    <a:pt x="23" y="666"/>
                  </a:lnTo>
                  <a:lnTo>
                    <a:pt x="25" y="669"/>
                  </a:lnTo>
                  <a:lnTo>
                    <a:pt x="26" y="669"/>
                  </a:lnTo>
                  <a:lnTo>
                    <a:pt x="30" y="666"/>
                  </a:lnTo>
                  <a:lnTo>
                    <a:pt x="30" y="666"/>
                  </a:lnTo>
                  <a:lnTo>
                    <a:pt x="30" y="666"/>
                  </a:lnTo>
                  <a:lnTo>
                    <a:pt x="30" y="666"/>
                  </a:lnTo>
                  <a:lnTo>
                    <a:pt x="30" y="666"/>
                  </a:lnTo>
                  <a:close/>
                  <a:moveTo>
                    <a:pt x="33" y="671"/>
                  </a:moveTo>
                  <a:lnTo>
                    <a:pt x="33" y="674"/>
                  </a:lnTo>
                  <a:lnTo>
                    <a:pt x="38" y="669"/>
                  </a:lnTo>
                  <a:lnTo>
                    <a:pt x="38" y="666"/>
                  </a:lnTo>
                  <a:lnTo>
                    <a:pt x="42" y="662"/>
                  </a:lnTo>
                  <a:lnTo>
                    <a:pt x="38" y="662"/>
                  </a:lnTo>
                  <a:lnTo>
                    <a:pt x="37" y="666"/>
                  </a:lnTo>
                  <a:lnTo>
                    <a:pt x="37" y="669"/>
                  </a:lnTo>
                  <a:lnTo>
                    <a:pt x="33" y="671"/>
                  </a:lnTo>
                  <a:lnTo>
                    <a:pt x="33" y="671"/>
                  </a:lnTo>
                  <a:lnTo>
                    <a:pt x="33" y="671"/>
                  </a:lnTo>
                  <a:lnTo>
                    <a:pt x="33" y="671"/>
                  </a:lnTo>
                  <a:close/>
                  <a:moveTo>
                    <a:pt x="51" y="669"/>
                  </a:moveTo>
                  <a:lnTo>
                    <a:pt x="49" y="666"/>
                  </a:lnTo>
                  <a:lnTo>
                    <a:pt x="47" y="662"/>
                  </a:lnTo>
                  <a:lnTo>
                    <a:pt x="47" y="669"/>
                  </a:lnTo>
                  <a:lnTo>
                    <a:pt x="44" y="669"/>
                  </a:lnTo>
                  <a:lnTo>
                    <a:pt x="42" y="674"/>
                  </a:lnTo>
                  <a:lnTo>
                    <a:pt x="45" y="674"/>
                  </a:lnTo>
                  <a:lnTo>
                    <a:pt x="51" y="669"/>
                  </a:lnTo>
                  <a:lnTo>
                    <a:pt x="51" y="669"/>
                  </a:lnTo>
                  <a:lnTo>
                    <a:pt x="51" y="669"/>
                  </a:lnTo>
                  <a:lnTo>
                    <a:pt x="51" y="669"/>
                  </a:lnTo>
                  <a:close/>
                  <a:moveTo>
                    <a:pt x="91" y="669"/>
                  </a:moveTo>
                  <a:lnTo>
                    <a:pt x="91" y="666"/>
                  </a:lnTo>
                  <a:lnTo>
                    <a:pt x="94" y="662"/>
                  </a:lnTo>
                  <a:lnTo>
                    <a:pt x="92" y="660"/>
                  </a:lnTo>
                  <a:lnTo>
                    <a:pt x="91" y="659"/>
                  </a:lnTo>
                  <a:lnTo>
                    <a:pt x="87" y="660"/>
                  </a:lnTo>
                  <a:lnTo>
                    <a:pt x="87" y="662"/>
                  </a:lnTo>
                  <a:lnTo>
                    <a:pt x="87" y="666"/>
                  </a:lnTo>
                  <a:lnTo>
                    <a:pt x="84" y="662"/>
                  </a:lnTo>
                  <a:lnTo>
                    <a:pt x="82" y="666"/>
                  </a:lnTo>
                  <a:lnTo>
                    <a:pt x="80" y="666"/>
                  </a:lnTo>
                  <a:lnTo>
                    <a:pt x="77" y="666"/>
                  </a:lnTo>
                  <a:lnTo>
                    <a:pt x="75" y="666"/>
                  </a:lnTo>
                  <a:lnTo>
                    <a:pt x="78" y="669"/>
                  </a:lnTo>
                  <a:lnTo>
                    <a:pt x="80" y="669"/>
                  </a:lnTo>
                  <a:lnTo>
                    <a:pt x="84" y="669"/>
                  </a:lnTo>
                  <a:lnTo>
                    <a:pt x="87" y="666"/>
                  </a:lnTo>
                  <a:lnTo>
                    <a:pt x="91" y="669"/>
                  </a:lnTo>
                  <a:lnTo>
                    <a:pt x="91" y="669"/>
                  </a:lnTo>
                  <a:lnTo>
                    <a:pt x="91" y="669"/>
                  </a:lnTo>
                  <a:lnTo>
                    <a:pt x="91" y="669"/>
                  </a:lnTo>
                  <a:close/>
                  <a:moveTo>
                    <a:pt x="98" y="669"/>
                  </a:moveTo>
                  <a:lnTo>
                    <a:pt x="106" y="669"/>
                  </a:lnTo>
                  <a:lnTo>
                    <a:pt x="106" y="669"/>
                  </a:lnTo>
                  <a:lnTo>
                    <a:pt x="110" y="671"/>
                  </a:lnTo>
                  <a:lnTo>
                    <a:pt x="106" y="674"/>
                  </a:lnTo>
                  <a:lnTo>
                    <a:pt x="98" y="671"/>
                  </a:lnTo>
                  <a:lnTo>
                    <a:pt x="96" y="671"/>
                  </a:lnTo>
                  <a:lnTo>
                    <a:pt x="94" y="669"/>
                  </a:lnTo>
                  <a:lnTo>
                    <a:pt x="94" y="669"/>
                  </a:lnTo>
                  <a:lnTo>
                    <a:pt x="98" y="669"/>
                  </a:lnTo>
                  <a:lnTo>
                    <a:pt x="98" y="669"/>
                  </a:lnTo>
                  <a:lnTo>
                    <a:pt x="98" y="669"/>
                  </a:lnTo>
                  <a:lnTo>
                    <a:pt x="98" y="669"/>
                  </a:lnTo>
                  <a:close/>
                  <a:moveTo>
                    <a:pt x="125" y="666"/>
                  </a:moveTo>
                  <a:lnTo>
                    <a:pt x="122" y="662"/>
                  </a:lnTo>
                  <a:lnTo>
                    <a:pt x="117" y="662"/>
                  </a:lnTo>
                  <a:lnTo>
                    <a:pt x="117" y="666"/>
                  </a:lnTo>
                  <a:lnTo>
                    <a:pt x="122" y="666"/>
                  </a:lnTo>
                  <a:lnTo>
                    <a:pt x="125" y="666"/>
                  </a:lnTo>
                  <a:lnTo>
                    <a:pt x="125" y="666"/>
                  </a:lnTo>
                  <a:lnTo>
                    <a:pt x="125" y="666"/>
                  </a:lnTo>
                  <a:lnTo>
                    <a:pt x="125" y="666"/>
                  </a:lnTo>
                  <a:close/>
                  <a:moveTo>
                    <a:pt x="143" y="662"/>
                  </a:moveTo>
                  <a:lnTo>
                    <a:pt x="143" y="659"/>
                  </a:lnTo>
                  <a:lnTo>
                    <a:pt x="141" y="662"/>
                  </a:lnTo>
                  <a:lnTo>
                    <a:pt x="143" y="662"/>
                  </a:lnTo>
                  <a:lnTo>
                    <a:pt x="143" y="662"/>
                  </a:lnTo>
                  <a:lnTo>
                    <a:pt x="143" y="662"/>
                  </a:lnTo>
                  <a:lnTo>
                    <a:pt x="143" y="662"/>
                  </a:lnTo>
                  <a:close/>
                  <a:moveTo>
                    <a:pt x="157" y="659"/>
                  </a:moveTo>
                  <a:lnTo>
                    <a:pt x="153" y="655"/>
                  </a:lnTo>
                  <a:lnTo>
                    <a:pt x="151" y="657"/>
                  </a:lnTo>
                  <a:lnTo>
                    <a:pt x="150" y="660"/>
                  </a:lnTo>
                  <a:lnTo>
                    <a:pt x="155" y="657"/>
                  </a:lnTo>
                  <a:lnTo>
                    <a:pt x="157" y="659"/>
                  </a:lnTo>
                  <a:lnTo>
                    <a:pt x="157" y="659"/>
                  </a:lnTo>
                  <a:lnTo>
                    <a:pt x="157" y="659"/>
                  </a:lnTo>
                  <a:lnTo>
                    <a:pt x="157" y="659"/>
                  </a:lnTo>
                  <a:close/>
                  <a:moveTo>
                    <a:pt x="164" y="657"/>
                  </a:moveTo>
                  <a:lnTo>
                    <a:pt x="164" y="655"/>
                  </a:lnTo>
                  <a:lnTo>
                    <a:pt x="160" y="657"/>
                  </a:lnTo>
                  <a:lnTo>
                    <a:pt x="164" y="659"/>
                  </a:lnTo>
                  <a:lnTo>
                    <a:pt x="164" y="657"/>
                  </a:lnTo>
                  <a:lnTo>
                    <a:pt x="164" y="657"/>
                  </a:lnTo>
                  <a:lnTo>
                    <a:pt x="164" y="657"/>
                  </a:lnTo>
                  <a:lnTo>
                    <a:pt x="164" y="657"/>
                  </a:lnTo>
                  <a:close/>
                  <a:moveTo>
                    <a:pt x="165" y="652"/>
                  </a:moveTo>
                  <a:lnTo>
                    <a:pt x="165" y="650"/>
                  </a:lnTo>
                  <a:lnTo>
                    <a:pt x="164" y="652"/>
                  </a:lnTo>
                  <a:lnTo>
                    <a:pt x="165" y="652"/>
                  </a:lnTo>
                  <a:lnTo>
                    <a:pt x="165" y="652"/>
                  </a:lnTo>
                  <a:lnTo>
                    <a:pt x="165" y="652"/>
                  </a:lnTo>
                  <a:lnTo>
                    <a:pt x="165" y="652"/>
                  </a:lnTo>
                  <a:close/>
                  <a:moveTo>
                    <a:pt x="169" y="653"/>
                  </a:moveTo>
                  <a:lnTo>
                    <a:pt x="169" y="657"/>
                  </a:lnTo>
                  <a:lnTo>
                    <a:pt x="172" y="655"/>
                  </a:lnTo>
                  <a:lnTo>
                    <a:pt x="171" y="652"/>
                  </a:lnTo>
                  <a:lnTo>
                    <a:pt x="169" y="653"/>
                  </a:lnTo>
                  <a:lnTo>
                    <a:pt x="169" y="653"/>
                  </a:lnTo>
                  <a:lnTo>
                    <a:pt x="169" y="653"/>
                  </a:lnTo>
                  <a:lnTo>
                    <a:pt x="169" y="653"/>
                  </a:lnTo>
                  <a:close/>
                  <a:moveTo>
                    <a:pt x="207" y="634"/>
                  </a:moveTo>
                  <a:lnTo>
                    <a:pt x="209" y="638"/>
                  </a:lnTo>
                  <a:lnTo>
                    <a:pt x="210" y="640"/>
                  </a:lnTo>
                  <a:lnTo>
                    <a:pt x="207" y="643"/>
                  </a:lnTo>
                  <a:lnTo>
                    <a:pt x="205" y="646"/>
                  </a:lnTo>
                  <a:lnTo>
                    <a:pt x="200" y="646"/>
                  </a:lnTo>
                  <a:lnTo>
                    <a:pt x="195" y="652"/>
                  </a:lnTo>
                  <a:lnTo>
                    <a:pt x="191" y="652"/>
                  </a:lnTo>
                  <a:lnTo>
                    <a:pt x="188" y="657"/>
                  </a:lnTo>
                  <a:lnTo>
                    <a:pt x="179" y="657"/>
                  </a:lnTo>
                  <a:lnTo>
                    <a:pt x="183" y="653"/>
                  </a:lnTo>
                  <a:lnTo>
                    <a:pt x="186" y="653"/>
                  </a:lnTo>
                  <a:lnTo>
                    <a:pt x="188" y="650"/>
                  </a:lnTo>
                  <a:lnTo>
                    <a:pt x="191" y="648"/>
                  </a:lnTo>
                  <a:lnTo>
                    <a:pt x="191" y="646"/>
                  </a:lnTo>
                  <a:lnTo>
                    <a:pt x="193" y="643"/>
                  </a:lnTo>
                  <a:lnTo>
                    <a:pt x="197" y="643"/>
                  </a:lnTo>
                  <a:lnTo>
                    <a:pt x="198" y="638"/>
                  </a:lnTo>
                  <a:lnTo>
                    <a:pt x="198" y="638"/>
                  </a:lnTo>
                  <a:lnTo>
                    <a:pt x="202" y="638"/>
                  </a:lnTo>
                  <a:lnTo>
                    <a:pt x="202" y="638"/>
                  </a:lnTo>
                  <a:lnTo>
                    <a:pt x="207" y="634"/>
                  </a:lnTo>
                  <a:lnTo>
                    <a:pt x="207" y="634"/>
                  </a:lnTo>
                  <a:lnTo>
                    <a:pt x="207" y="634"/>
                  </a:lnTo>
                  <a:lnTo>
                    <a:pt x="207" y="634"/>
                  </a:lnTo>
                  <a:close/>
                  <a:moveTo>
                    <a:pt x="233" y="624"/>
                  </a:moveTo>
                  <a:lnTo>
                    <a:pt x="233" y="624"/>
                  </a:lnTo>
                  <a:lnTo>
                    <a:pt x="230" y="627"/>
                  </a:lnTo>
                  <a:lnTo>
                    <a:pt x="230" y="631"/>
                  </a:lnTo>
                  <a:lnTo>
                    <a:pt x="231" y="633"/>
                  </a:lnTo>
                  <a:lnTo>
                    <a:pt x="230" y="634"/>
                  </a:lnTo>
                  <a:lnTo>
                    <a:pt x="226" y="633"/>
                  </a:lnTo>
                  <a:lnTo>
                    <a:pt x="223" y="634"/>
                  </a:lnTo>
                  <a:lnTo>
                    <a:pt x="224" y="638"/>
                  </a:lnTo>
                  <a:lnTo>
                    <a:pt x="223" y="638"/>
                  </a:lnTo>
                  <a:lnTo>
                    <a:pt x="219" y="640"/>
                  </a:lnTo>
                  <a:lnTo>
                    <a:pt x="217" y="640"/>
                  </a:lnTo>
                  <a:lnTo>
                    <a:pt x="214" y="643"/>
                  </a:lnTo>
                  <a:lnTo>
                    <a:pt x="210" y="643"/>
                  </a:lnTo>
                  <a:lnTo>
                    <a:pt x="209" y="643"/>
                  </a:lnTo>
                  <a:lnTo>
                    <a:pt x="210" y="646"/>
                  </a:lnTo>
                  <a:lnTo>
                    <a:pt x="216" y="646"/>
                  </a:lnTo>
                  <a:lnTo>
                    <a:pt x="221" y="646"/>
                  </a:lnTo>
                  <a:lnTo>
                    <a:pt x="224" y="640"/>
                  </a:lnTo>
                  <a:lnTo>
                    <a:pt x="224" y="643"/>
                  </a:lnTo>
                  <a:lnTo>
                    <a:pt x="226" y="643"/>
                  </a:lnTo>
                  <a:lnTo>
                    <a:pt x="228" y="640"/>
                  </a:lnTo>
                  <a:lnTo>
                    <a:pt x="228" y="638"/>
                  </a:lnTo>
                  <a:lnTo>
                    <a:pt x="231" y="638"/>
                  </a:lnTo>
                  <a:lnTo>
                    <a:pt x="231" y="640"/>
                  </a:lnTo>
                  <a:lnTo>
                    <a:pt x="233" y="640"/>
                  </a:lnTo>
                  <a:lnTo>
                    <a:pt x="237" y="638"/>
                  </a:lnTo>
                  <a:lnTo>
                    <a:pt x="242" y="634"/>
                  </a:lnTo>
                  <a:lnTo>
                    <a:pt x="242" y="634"/>
                  </a:lnTo>
                  <a:lnTo>
                    <a:pt x="237" y="633"/>
                  </a:lnTo>
                  <a:lnTo>
                    <a:pt x="242" y="631"/>
                  </a:lnTo>
                  <a:lnTo>
                    <a:pt x="238" y="627"/>
                  </a:lnTo>
                  <a:lnTo>
                    <a:pt x="237" y="626"/>
                  </a:lnTo>
                  <a:lnTo>
                    <a:pt x="233" y="624"/>
                  </a:lnTo>
                  <a:lnTo>
                    <a:pt x="233" y="624"/>
                  </a:lnTo>
                  <a:lnTo>
                    <a:pt x="233" y="624"/>
                  </a:lnTo>
                  <a:lnTo>
                    <a:pt x="233" y="624"/>
                  </a:lnTo>
                  <a:close/>
                  <a:moveTo>
                    <a:pt x="245" y="629"/>
                  </a:moveTo>
                  <a:lnTo>
                    <a:pt x="245" y="627"/>
                  </a:lnTo>
                  <a:lnTo>
                    <a:pt x="242" y="626"/>
                  </a:lnTo>
                  <a:lnTo>
                    <a:pt x="242" y="627"/>
                  </a:lnTo>
                  <a:lnTo>
                    <a:pt x="245" y="629"/>
                  </a:lnTo>
                  <a:lnTo>
                    <a:pt x="245" y="629"/>
                  </a:lnTo>
                  <a:lnTo>
                    <a:pt x="245" y="629"/>
                  </a:lnTo>
                  <a:lnTo>
                    <a:pt x="245" y="629"/>
                  </a:lnTo>
                  <a:close/>
                  <a:moveTo>
                    <a:pt x="264" y="626"/>
                  </a:moveTo>
                  <a:lnTo>
                    <a:pt x="261" y="624"/>
                  </a:lnTo>
                  <a:lnTo>
                    <a:pt x="264" y="624"/>
                  </a:lnTo>
                  <a:lnTo>
                    <a:pt x="266" y="626"/>
                  </a:lnTo>
                  <a:lnTo>
                    <a:pt x="264" y="627"/>
                  </a:lnTo>
                  <a:lnTo>
                    <a:pt x="264" y="626"/>
                  </a:lnTo>
                  <a:lnTo>
                    <a:pt x="264" y="626"/>
                  </a:lnTo>
                  <a:lnTo>
                    <a:pt x="264" y="626"/>
                  </a:lnTo>
                  <a:lnTo>
                    <a:pt x="264" y="626"/>
                  </a:lnTo>
                  <a:close/>
                  <a:moveTo>
                    <a:pt x="256" y="627"/>
                  </a:moveTo>
                  <a:lnTo>
                    <a:pt x="259" y="626"/>
                  </a:lnTo>
                  <a:lnTo>
                    <a:pt x="261" y="627"/>
                  </a:lnTo>
                  <a:lnTo>
                    <a:pt x="256" y="627"/>
                  </a:lnTo>
                  <a:lnTo>
                    <a:pt x="256" y="627"/>
                  </a:lnTo>
                  <a:lnTo>
                    <a:pt x="256" y="627"/>
                  </a:lnTo>
                  <a:lnTo>
                    <a:pt x="256" y="627"/>
                  </a:lnTo>
                  <a:close/>
                  <a:moveTo>
                    <a:pt x="256" y="624"/>
                  </a:moveTo>
                  <a:lnTo>
                    <a:pt x="256" y="620"/>
                  </a:lnTo>
                  <a:lnTo>
                    <a:pt x="256" y="619"/>
                  </a:lnTo>
                  <a:lnTo>
                    <a:pt x="256" y="619"/>
                  </a:lnTo>
                  <a:lnTo>
                    <a:pt x="259" y="622"/>
                  </a:lnTo>
                  <a:lnTo>
                    <a:pt x="256" y="624"/>
                  </a:lnTo>
                  <a:lnTo>
                    <a:pt x="256" y="624"/>
                  </a:lnTo>
                  <a:lnTo>
                    <a:pt x="256" y="624"/>
                  </a:lnTo>
                  <a:lnTo>
                    <a:pt x="256" y="624"/>
                  </a:lnTo>
                  <a:close/>
                  <a:moveTo>
                    <a:pt x="249" y="620"/>
                  </a:moveTo>
                  <a:lnTo>
                    <a:pt x="245" y="622"/>
                  </a:lnTo>
                  <a:lnTo>
                    <a:pt x="245" y="624"/>
                  </a:lnTo>
                  <a:lnTo>
                    <a:pt x="249" y="627"/>
                  </a:lnTo>
                  <a:lnTo>
                    <a:pt x="252" y="626"/>
                  </a:lnTo>
                  <a:lnTo>
                    <a:pt x="252" y="624"/>
                  </a:lnTo>
                  <a:lnTo>
                    <a:pt x="250" y="622"/>
                  </a:lnTo>
                  <a:lnTo>
                    <a:pt x="249" y="620"/>
                  </a:lnTo>
                  <a:lnTo>
                    <a:pt x="249" y="620"/>
                  </a:lnTo>
                  <a:lnTo>
                    <a:pt x="249" y="620"/>
                  </a:lnTo>
                  <a:lnTo>
                    <a:pt x="249" y="620"/>
                  </a:lnTo>
                  <a:close/>
                  <a:moveTo>
                    <a:pt x="407" y="481"/>
                  </a:moveTo>
                  <a:lnTo>
                    <a:pt x="407" y="480"/>
                  </a:lnTo>
                  <a:lnTo>
                    <a:pt x="409" y="478"/>
                  </a:lnTo>
                  <a:lnTo>
                    <a:pt x="409" y="481"/>
                  </a:lnTo>
                  <a:lnTo>
                    <a:pt x="407" y="481"/>
                  </a:lnTo>
                  <a:lnTo>
                    <a:pt x="407" y="481"/>
                  </a:lnTo>
                  <a:lnTo>
                    <a:pt x="407" y="481"/>
                  </a:lnTo>
                  <a:lnTo>
                    <a:pt x="407" y="481"/>
                  </a:lnTo>
                  <a:close/>
                  <a:moveTo>
                    <a:pt x="400" y="483"/>
                  </a:moveTo>
                  <a:lnTo>
                    <a:pt x="398" y="481"/>
                  </a:lnTo>
                  <a:lnTo>
                    <a:pt x="398" y="478"/>
                  </a:lnTo>
                  <a:lnTo>
                    <a:pt x="402" y="478"/>
                  </a:lnTo>
                  <a:lnTo>
                    <a:pt x="405" y="474"/>
                  </a:lnTo>
                  <a:lnTo>
                    <a:pt x="405" y="478"/>
                  </a:lnTo>
                  <a:lnTo>
                    <a:pt x="402" y="481"/>
                  </a:lnTo>
                  <a:lnTo>
                    <a:pt x="400" y="483"/>
                  </a:lnTo>
                  <a:lnTo>
                    <a:pt x="400" y="483"/>
                  </a:lnTo>
                  <a:lnTo>
                    <a:pt x="400" y="483"/>
                  </a:lnTo>
                  <a:lnTo>
                    <a:pt x="400" y="483"/>
                  </a:lnTo>
                  <a:close/>
                  <a:moveTo>
                    <a:pt x="270" y="612"/>
                  </a:moveTo>
                  <a:lnTo>
                    <a:pt x="270" y="610"/>
                  </a:lnTo>
                  <a:lnTo>
                    <a:pt x="271" y="606"/>
                  </a:lnTo>
                  <a:lnTo>
                    <a:pt x="273" y="610"/>
                  </a:lnTo>
                  <a:lnTo>
                    <a:pt x="277" y="606"/>
                  </a:lnTo>
                  <a:lnTo>
                    <a:pt x="278" y="606"/>
                  </a:lnTo>
                  <a:lnTo>
                    <a:pt x="280" y="600"/>
                  </a:lnTo>
                  <a:lnTo>
                    <a:pt x="282" y="600"/>
                  </a:lnTo>
                  <a:lnTo>
                    <a:pt x="283" y="603"/>
                  </a:lnTo>
                  <a:lnTo>
                    <a:pt x="287" y="601"/>
                  </a:lnTo>
                  <a:lnTo>
                    <a:pt x="289" y="601"/>
                  </a:lnTo>
                  <a:lnTo>
                    <a:pt x="292" y="601"/>
                  </a:lnTo>
                  <a:lnTo>
                    <a:pt x="292" y="600"/>
                  </a:lnTo>
                  <a:lnTo>
                    <a:pt x="297" y="600"/>
                  </a:lnTo>
                  <a:lnTo>
                    <a:pt x="299" y="603"/>
                  </a:lnTo>
                  <a:lnTo>
                    <a:pt x="297" y="606"/>
                  </a:lnTo>
                  <a:lnTo>
                    <a:pt x="303" y="610"/>
                  </a:lnTo>
                  <a:lnTo>
                    <a:pt x="303" y="612"/>
                  </a:lnTo>
                  <a:lnTo>
                    <a:pt x="299" y="612"/>
                  </a:lnTo>
                  <a:lnTo>
                    <a:pt x="296" y="612"/>
                  </a:lnTo>
                  <a:lnTo>
                    <a:pt x="290" y="615"/>
                  </a:lnTo>
                  <a:lnTo>
                    <a:pt x="287" y="612"/>
                  </a:lnTo>
                  <a:lnTo>
                    <a:pt x="282" y="612"/>
                  </a:lnTo>
                  <a:lnTo>
                    <a:pt x="278" y="615"/>
                  </a:lnTo>
                  <a:lnTo>
                    <a:pt x="277" y="615"/>
                  </a:lnTo>
                  <a:lnTo>
                    <a:pt x="273" y="617"/>
                  </a:lnTo>
                  <a:lnTo>
                    <a:pt x="270" y="615"/>
                  </a:lnTo>
                  <a:lnTo>
                    <a:pt x="270" y="612"/>
                  </a:lnTo>
                  <a:lnTo>
                    <a:pt x="270" y="612"/>
                  </a:lnTo>
                  <a:lnTo>
                    <a:pt x="270" y="6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4" name="Freeform 41">
              <a:extLst>
                <a:ext uri="{FF2B5EF4-FFF2-40B4-BE49-F238E27FC236}">
                  <a16:creationId xmlns:a16="http://schemas.microsoft.com/office/drawing/2014/main" id="{18763781-9207-4E8C-B1E4-013F184D9FBC}"/>
                </a:ext>
              </a:extLst>
            </p:cNvPr>
            <p:cNvSpPr>
              <a:spLocks noEditPoints="1"/>
            </p:cNvSpPr>
            <p:nvPr/>
          </p:nvSpPr>
          <p:spPr bwMode="auto">
            <a:xfrm>
              <a:off x="1249363" y="2646363"/>
              <a:ext cx="1530350" cy="908050"/>
            </a:xfrm>
            <a:custGeom>
              <a:avLst/>
              <a:gdLst/>
              <a:ahLst/>
              <a:cxnLst>
                <a:cxn ang="0">
                  <a:pos x="561" y="57"/>
                </a:cxn>
                <a:cxn ang="0">
                  <a:pos x="676" y="110"/>
                </a:cxn>
                <a:cxn ang="0">
                  <a:pos x="806" y="174"/>
                </a:cxn>
                <a:cxn ang="0">
                  <a:pos x="907" y="143"/>
                </a:cxn>
                <a:cxn ang="0">
                  <a:pos x="952" y="116"/>
                </a:cxn>
                <a:cxn ang="0">
                  <a:pos x="957" y="170"/>
                </a:cxn>
                <a:cxn ang="0">
                  <a:pos x="928" y="179"/>
                </a:cxn>
                <a:cxn ang="0">
                  <a:pos x="900" y="193"/>
                </a:cxn>
                <a:cxn ang="0">
                  <a:pos x="895" y="226"/>
                </a:cxn>
                <a:cxn ang="0">
                  <a:pos x="874" y="243"/>
                </a:cxn>
                <a:cxn ang="0">
                  <a:pos x="825" y="263"/>
                </a:cxn>
                <a:cxn ang="0">
                  <a:pos x="808" y="294"/>
                </a:cxn>
                <a:cxn ang="0">
                  <a:pos x="803" y="299"/>
                </a:cxn>
                <a:cxn ang="0">
                  <a:pos x="787" y="320"/>
                </a:cxn>
                <a:cxn ang="0">
                  <a:pos x="784" y="287"/>
                </a:cxn>
                <a:cxn ang="0">
                  <a:pos x="780" y="311"/>
                </a:cxn>
                <a:cxn ang="0">
                  <a:pos x="780" y="323"/>
                </a:cxn>
                <a:cxn ang="0">
                  <a:pos x="770" y="334"/>
                </a:cxn>
                <a:cxn ang="0">
                  <a:pos x="775" y="356"/>
                </a:cxn>
                <a:cxn ang="0">
                  <a:pos x="784" y="365"/>
                </a:cxn>
                <a:cxn ang="0">
                  <a:pos x="768" y="377"/>
                </a:cxn>
                <a:cxn ang="0">
                  <a:pos x="740" y="402"/>
                </a:cxn>
                <a:cxn ang="0">
                  <a:pos x="699" y="426"/>
                </a:cxn>
                <a:cxn ang="0">
                  <a:pos x="676" y="471"/>
                </a:cxn>
                <a:cxn ang="0">
                  <a:pos x="688" y="548"/>
                </a:cxn>
                <a:cxn ang="0">
                  <a:pos x="660" y="556"/>
                </a:cxn>
                <a:cxn ang="0">
                  <a:pos x="648" y="532"/>
                </a:cxn>
                <a:cxn ang="0">
                  <a:pos x="645" y="494"/>
                </a:cxn>
                <a:cxn ang="0">
                  <a:pos x="617" y="482"/>
                </a:cxn>
                <a:cxn ang="0">
                  <a:pos x="601" y="471"/>
                </a:cxn>
                <a:cxn ang="0">
                  <a:pos x="570" y="468"/>
                </a:cxn>
                <a:cxn ang="0">
                  <a:pos x="532" y="478"/>
                </a:cxn>
                <a:cxn ang="0">
                  <a:pos x="535" y="494"/>
                </a:cxn>
                <a:cxn ang="0">
                  <a:pos x="507" y="490"/>
                </a:cxn>
                <a:cxn ang="0">
                  <a:pos x="481" y="482"/>
                </a:cxn>
                <a:cxn ang="0">
                  <a:pos x="445" y="483"/>
                </a:cxn>
                <a:cxn ang="0">
                  <a:pos x="414" y="502"/>
                </a:cxn>
                <a:cxn ang="0">
                  <a:pos x="398" y="553"/>
                </a:cxn>
                <a:cxn ang="0">
                  <a:pos x="367" y="525"/>
                </a:cxn>
                <a:cxn ang="0">
                  <a:pos x="348" y="482"/>
                </a:cxn>
                <a:cxn ang="0">
                  <a:pos x="316" y="482"/>
                </a:cxn>
                <a:cxn ang="0">
                  <a:pos x="292" y="482"/>
                </a:cxn>
                <a:cxn ang="0">
                  <a:pos x="282" y="461"/>
                </a:cxn>
                <a:cxn ang="0">
                  <a:pos x="259" y="431"/>
                </a:cxn>
                <a:cxn ang="0">
                  <a:pos x="68" y="377"/>
                </a:cxn>
                <a:cxn ang="0">
                  <a:pos x="37" y="351"/>
                </a:cxn>
                <a:cxn ang="0">
                  <a:pos x="23" y="306"/>
                </a:cxn>
                <a:cxn ang="0">
                  <a:pos x="23" y="283"/>
                </a:cxn>
                <a:cxn ang="0">
                  <a:pos x="16" y="283"/>
                </a:cxn>
                <a:cxn ang="0">
                  <a:pos x="4" y="224"/>
                </a:cxn>
                <a:cxn ang="0">
                  <a:pos x="11" y="165"/>
                </a:cxn>
                <a:cxn ang="0">
                  <a:pos x="42" y="80"/>
                </a:cxn>
                <a:cxn ang="0">
                  <a:pos x="45" y="70"/>
                </a:cxn>
                <a:cxn ang="0">
                  <a:pos x="49" y="33"/>
                </a:cxn>
                <a:cxn ang="0">
                  <a:pos x="71" y="35"/>
                </a:cxn>
                <a:cxn ang="0">
                  <a:pos x="73" y="50"/>
                </a:cxn>
                <a:cxn ang="0">
                  <a:pos x="90" y="10"/>
                </a:cxn>
                <a:cxn ang="0">
                  <a:pos x="883" y="243"/>
                </a:cxn>
                <a:cxn ang="0">
                  <a:pos x="860" y="252"/>
                </a:cxn>
                <a:cxn ang="0">
                  <a:pos x="831" y="257"/>
                </a:cxn>
                <a:cxn ang="0">
                  <a:pos x="412" y="511"/>
                </a:cxn>
                <a:cxn ang="0">
                  <a:pos x="400" y="542"/>
                </a:cxn>
              </a:cxnLst>
              <a:rect l="0" t="0" r="r" b="b"/>
              <a:pathLst>
                <a:path w="964" h="572">
                  <a:moveTo>
                    <a:pt x="85" y="0"/>
                  </a:moveTo>
                  <a:lnTo>
                    <a:pt x="527" y="43"/>
                  </a:lnTo>
                  <a:lnTo>
                    <a:pt x="530" y="45"/>
                  </a:lnTo>
                  <a:lnTo>
                    <a:pt x="532" y="45"/>
                  </a:lnTo>
                  <a:lnTo>
                    <a:pt x="539" y="47"/>
                  </a:lnTo>
                  <a:lnTo>
                    <a:pt x="539" y="49"/>
                  </a:lnTo>
                  <a:lnTo>
                    <a:pt x="539" y="52"/>
                  </a:lnTo>
                  <a:lnTo>
                    <a:pt x="540" y="52"/>
                  </a:lnTo>
                  <a:lnTo>
                    <a:pt x="544" y="54"/>
                  </a:lnTo>
                  <a:lnTo>
                    <a:pt x="544" y="54"/>
                  </a:lnTo>
                  <a:lnTo>
                    <a:pt x="547" y="56"/>
                  </a:lnTo>
                  <a:lnTo>
                    <a:pt x="549" y="57"/>
                  </a:lnTo>
                  <a:lnTo>
                    <a:pt x="549" y="57"/>
                  </a:lnTo>
                  <a:lnTo>
                    <a:pt x="554" y="56"/>
                  </a:lnTo>
                  <a:lnTo>
                    <a:pt x="558" y="57"/>
                  </a:lnTo>
                  <a:lnTo>
                    <a:pt x="561" y="57"/>
                  </a:lnTo>
                  <a:lnTo>
                    <a:pt x="563" y="61"/>
                  </a:lnTo>
                  <a:lnTo>
                    <a:pt x="565" y="61"/>
                  </a:lnTo>
                  <a:lnTo>
                    <a:pt x="566" y="64"/>
                  </a:lnTo>
                  <a:lnTo>
                    <a:pt x="573" y="64"/>
                  </a:lnTo>
                  <a:lnTo>
                    <a:pt x="577" y="66"/>
                  </a:lnTo>
                  <a:lnTo>
                    <a:pt x="580" y="70"/>
                  </a:lnTo>
                  <a:lnTo>
                    <a:pt x="580" y="70"/>
                  </a:lnTo>
                  <a:lnTo>
                    <a:pt x="586" y="70"/>
                  </a:lnTo>
                  <a:lnTo>
                    <a:pt x="589" y="70"/>
                  </a:lnTo>
                  <a:lnTo>
                    <a:pt x="591" y="70"/>
                  </a:lnTo>
                  <a:lnTo>
                    <a:pt x="593" y="73"/>
                  </a:lnTo>
                  <a:lnTo>
                    <a:pt x="601" y="73"/>
                  </a:lnTo>
                  <a:lnTo>
                    <a:pt x="603" y="75"/>
                  </a:lnTo>
                  <a:lnTo>
                    <a:pt x="606" y="76"/>
                  </a:lnTo>
                  <a:lnTo>
                    <a:pt x="608" y="78"/>
                  </a:lnTo>
                  <a:lnTo>
                    <a:pt x="676" y="110"/>
                  </a:lnTo>
                  <a:lnTo>
                    <a:pt x="681" y="115"/>
                  </a:lnTo>
                  <a:lnTo>
                    <a:pt x="692" y="123"/>
                  </a:lnTo>
                  <a:lnTo>
                    <a:pt x="704" y="176"/>
                  </a:lnTo>
                  <a:lnTo>
                    <a:pt x="702" y="198"/>
                  </a:lnTo>
                  <a:lnTo>
                    <a:pt x="699" y="202"/>
                  </a:lnTo>
                  <a:lnTo>
                    <a:pt x="699" y="207"/>
                  </a:lnTo>
                  <a:lnTo>
                    <a:pt x="695" y="210"/>
                  </a:lnTo>
                  <a:lnTo>
                    <a:pt x="688" y="214"/>
                  </a:lnTo>
                  <a:lnTo>
                    <a:pt x="685" y="217"/>
                  </a:lnTo>
                  <a:lnTo>
                    <a:pt x="688" y="224"/>
                  </a:lnTo>
                  <a:lnTo>
                    <a:pt x="747" y="207"/>
                  </a:lnTo>
                  <a:lnTo>
                    <a:pt x="752" y="203"/>
                  </a:lnTo>
                  <a:lnTo>
                    <a:pt x="756" y="196"/>
                  </a:lnTo>
                  <a:lnTo>
                    <a:pt x="787" y="186"/>
                  </a:lnTo>
                  <a:lnTo>
                    <a:pt x="803" y="176"/>
                  </a:lnTo>
                  <a:lnTo>
                    <a:pt x="806" y="174"/>
                  </a:lnTo>
                  <a:lnTo>
                    <a:pt x="810" y="174"/>
                  </a:lnTo>
                  <a:lnTo>
                    <a:pt x="817" y="167"/>
                  </a:lnTo>
                  <a:lnTo>
                    <a:pt x="820" y="162"/>
                  </a:lnTo>
                  <a:lnTo>
                    <a:pt x="825" y="162"/>
                  </a:lnTo>
                  <a:lnTo>
                    <a:pt x="829" y="158"/>
                  </a:lnTo>
                  <a:lnTo>
                    <a:pt x="834" y="156"/>
                  </a:lnTo>
                  <a:lnTo>
                    <a:pt x="883" y="158"/>
                  </a:lnTo>
                  <a:lnTo>
                    <a:pt x="888" y="155"/>
                  </a:lnTo>
                  <a:lnTo>
                    <a:pt x="888" y="155"/>
                  </a:lnTo>
                  <a:lnTo>
                    <a:pt x="890" y="153"/>
                  </a:lnTo>
                  <a:lnTo>
                    <a:pt x="891" y="153"/>
                  </a:lnTo>
                  <a:lnTo>
                    <a:pt x="895" y="153"/>
                  </a:lnTo>
                  <a:lnTo>
                    <a:pt x="898" y="151"/>
                  </a:lnTo>
                  <a:lnTo>
                    <a:pt x="898" y="151"/>
                  </a:lnTo>
                  <a:lnTo>
                    <a:pt x="902" y="143"/>
                  </a:lnTo>
                  <a:lnTo>
                    <a:pt x="907" y="143"/>
                  </a:lnTo>
                  <a:lnTo>
                    <a:pt x="911" y="137"/>
                  </a:lnTo>
                  <a:lnTo>
                    <a:pt x="911" y="134"/>
                  </a:lnTo>
                  <a:lnTo>
                    <a:pt x="912" y="130"/>
                  </a:lnTo>
                  <a:lnTo>
                    <a:pt x="916" y="127"/>
                  </a:lnTo>
                  <a:lnTo>
                    <a:pt x="916" y="125"/>
                  </a:lnTo>
                  <a:lnTo>
                    <a:pt x="919" y="120"/>
                  </a:lnTo>
                  <a:lnTo>
                    <a:pt x="926" y="115"/>
                  </a:lnTo>
                  <a:lnTo>
                    <a:pt x="928" y="111"/>
                  </a:lnTo>
                  <a:lnTo>
                    <a:pt x="930" y="110"/>
                  </a:lnTo>
                  <a:lnTo>
                    <a:pt x="930" y="110"/>
                  </a:lnTo>
                  <a:lnTo>
                    <a:pt x="933" y="110"/>
                  </a:lnTo>
                  <a:lnTo>
                    <a:pt x="935" y="111"/>
                  </a:lnTo>
                  <a:lnTo>
                    <a:pt x="938" y="111"/>
                  </a:lnTo>
                  <a:lnTo>
                    <a:pt x="944" y="111"/>
                  </a:lnTo>
                  <a:lnTo>
                    <a:pt x="945" y="111"/>
                  </a:lnTo>
                  <a:lnTo>
                    <a:pt x="952" y="116"/>
                  </a:lnTo>
                  <a:lnTo>
                    <a:pt x="952" y="122"/>
                  </a:lnTo>
                  <a:lnTo>
                    <a:pt x="949" y="144"/>
                  </a:lnTo>
                  <a:lnTo>
                    <a:pt x="947" y="146"/>
                  </a:lnTo>
                  <a:lnTo>
                    <a:pt x="949" y="146"/>
                  </a:lnTo>
                  <a:lnTo>
                    <a:pt x="950" y="151"/>
                  </a:lnTo>
                  <a:lnTo>
                    <a:pt x="952" y="151"/>
                  </a:lnTo>
                  <a:lnTo>
                    <a:pt x="952" y="153"/>
                  </a:lnTo>
                  <a:lnTo>
                    <a:pt x="950" y="155"/>
                  </a:lnTo>
                  <a:lnTo>
                    <a:pt x="952" y="156"/>
                  </a:lnTo>
                  <a:lnTo>
                    <a:pt x="950" y="158"/>
                  </a:lnTo>
                  <a:lnTo>
                    <a:pt x="950" y="160"/>
                  </a:lnTo>
                  <a:lnTo>
                    <a:pt x="952" y="160"/>
                  </a:lnTo>
                  <a:lnTo>
                    <a:pt x="952" y="160"/>
                  </a:lnTo>
                  <a:lnTo>
                    <a:pt x="956" y="162"/>
                  </a:lnTo>
                  <a:lnTo>
                    <a:pt x="956" y="167"/>
                  </a:lnTo>
                  <a:lnTo>
                    <a:pt x="957" y="170"/>
                  </a:lnTo>
                  <a:lnTo>
                    <a:pt x="959" y="167"/>
                  </a:lnTo>
                  <a:lnTo>
                    <a:pt x="964" y="170"/>
                  </a:lnTo>
                  <a:lnTo>
                    <a:pt x="961" y="174"/>
                  </a:lnTo>
                  <a:lnTo>
                    <a:pt x="957" y="174"/>
                  </a:lnTo>
                  <a:lnTo>
                    <a:pt x="956" y="170"/>
                  </a:lnTo>
                  <a:lnTo>
                    <a:pt x="952" y="174"/>
                  </a:lnTo>
                  <a:lnTo>
                    <a:pt x="950" y="174"/>
                  </a:lnTo>
                  <a:lnTo>
                    <a:pt x="947" y="174"/>
                  </a:lnTo>
                  <a:lnTo>
                    <a:pt x="945" y="176"/>
                  </a:lnTo>
                  <a:lnTo>
                    <a:pt x="942" y="174"/>
                  </a:lnTo>
                  <a:lnTo>
                    <a:pt x="940" y="179"/>
                  </a:lnTo>
                  <a:lnTo>
                    <a:pt x="937" y="179"/>
                  </a:lnTo>
                  <a:lnTo>
                    <a:pt x="937" y="174"/>
                  </a:lnTo>
                  <a:lnTo>
                    <a:pt x="933" y="174"/>
                  </a:lnTo>
                  <a:lnTo>
                    <a:pt x="930" y="177"/>
                  </a:lnTo>
                  <a:lnTo>
                    <a:pt x="928" y="179"/>
                  </a:lnTo>
                  <a:lnTo>
                    <a:pt x="926" y="176"/>
                  </a:lnTo>
                  <a:lnTo>
                    <a:pt x="928" y="174"/>
                  </a:lnTo>
                  <a:lnTo>
                    <a:pt x="923" y="177"/>
                  </a:lnTo>
                  <a:lnTo>
                    <a:pt x="919" y="183"/>
                  </a:lnTo>
                  <a:lnTo>
                    <a:pt x="917" y="184"/>
                  </a:lnTo>
                  <a:lnTo>
                    <a:pt x="916" y="183"/>
                  </a:lnTo>
                  <a:lnTo>
                    <a:pt x="914" y="188"/>
                  </a:lnTo>
                  <a:lnTo>
                    <a:pt x="912" y="188"/>
                  </a:lnTo>
                  <a:lnTo>
                    <a:pt x="911" y="183"/>
                  </a:lnTo>
                  <a:lnTo>
                    <a:pt x="911" y="188"/>
                  </a:lnTo>
                  <a:lnTo>
                    <a:pt x="907" y="189"/>
                  </a:lnTo>
                  <a:lnTo>
                    <a:pt x="907" y="188"/>
                  </a:lnTo>
                  <a:lnTo>
                    <a:pt x="907" y="186"/>
                  </a:lnTo>
                  <a:lnTo>
                    <a:pt x="905" y="189"/>
                  </a:lnTo>
                  <a:lnTo>
                    <a:pt x="902" y="189"/>
                  </a:lnTo>
                  <a:lnTo>
                    <a:pt x="900" y="193"/>
                  </a:lnTo>
                  <a:lnTo>
                    <a:pt x="893" y="198"/>
                  </a:lnTo>
                  <a:lnTo>
                    <a:pt x="891" y="203"/>
                  </a:lnTo>
                  <a:lnTo>
                    <a:pt x="890" y="207"/>
                  </a:lnTo>
                  <a:lnTo>
                    <a:pt x="888" y="210"/>
                  </a:lnTo>
                  <a:lnTo>
                    <a:pt x="888" y="210"/>
                  </a:lnTo>
                  <a:lnTo>
                    <a:pt x="888" y="214"/>
                  </a:lnTo>
                  <a:lnTo>
                    <a:pt x="888" y="214"/>
                  </a:lnTo>
                  <a:lnTo>
                    <a:pt x="888" y="216"/>
                  </a:lnTo>
                  <a:lnTo>
                    <a:pt x="883" y="221"/>
                  </a:lnTo>
                  <a:lnTo>
                    <a:pt x="883" y="224"/>
                  </a:lnTo>
                  <a:lnTo>
                    <a:pt x="888" y="224"/>
                  </a:lnTo>
                  <a:lnTo>
                    <a:pt x="888" y="229"/>
                  </a:lnTo>
                  <a:lnTo>
                    <a:pt x="890" y="233"/>
                  </a:lnTo>
                  <a:lnTo>
                    <a:pt x="895" y="233"/>
                  </a:lnTo>
                  <a:lnTo>
                    <a:pt x="897" y="229"/>
                  </a:lnTo>
                  <a:lnTo>
                    <a:pt x="895" y="226"/>
                  </a:lnTo>
                  <a:lnTo>
                    <a:pt x="897" y="226"/>
                  </a:lnTo>
                  <a:lnTo>
                    <a:pt x="898" y="231"/>
                  </a:lnTo>
                  <a:lnTo>
                    <a:pt x="897" y="235"/>
                  </a:lnTo>
                  <a:lnTo>
                    <a:pt x="888" y="240"/>
                  </a:lnTo>
                  <a:lnTo>
                    <a:pt x="888" y="238"/>
                  </a:lnTo>
                  <a:lnTo>
                    <a:pt x="888" y="236"/>
                  </a:lnTo>
                  <a:lnTo>
                    <a:pt x="884" y="233"/>
                  </a:lnTo>
                  <a:lnTo>
                    <a:pt x="883" y="240"/>
                  </a:lnTo>
                  <a:lnTo>
                    <a:pt x="879" y="243"/>
                  </a:lnTo>
                  <a:lnTo>
                    <a:pt x="878" y="242"/>
                  </a:lnTo>
                  <a:lnTo>
                    <a:pt x="878" y="240"/>
                  </a:lnTo>
                  <a:lnTo>
                    <a:pt x="878" y="236"/>
                  </a:lnTo>
                  <a:lnTo>
                    <a:pt x="874" y="233"/>
                  </a:lnTo>
                  <a:lnTo>
                    <a:pt x="874" y="236"/>
                  </a:lnTo>
                  <a:lnTo>
                    <a:pt x="874" y="242"/>
                  </a:lnTo>
                  <a:lnTo>
                    <a:pt x="874" y="243"/>
                  </a:lnTo>
                  <a:lnTo>
                    <a:pt x="872" y="243"/>
                  </a:lnTo>
                  <a:lnTo>
                    <a:pt x="865" y="243"/>
                  </a:lnTo>
                  <a:lnTo>
                    <a:pt x="860" y="243"/>
                  </a:lnTo>
                  <a:lnTo>
                    <a:pt x="857" y="243"/>
                  </a:lnTo>
                  <a:lnTo>
                    <a:pt x="851" y="243"/>
                  </a:lnTo>
                  <a:lnTo>
                    <a:pt x="848" y="243"/>
                  </a:lnTo>
                  <a:lnTo>
                    <a:pt x="848" y="243"/>
                  </a:lnTo>
                  <a:lnTo>
                    <a:pt x="843" y="249"/>
                  </a:lnTo>
                  <a:lnTo>
                    <a:pt x="839" y="249"/>
                  </a:lnTo>
                  <a:lnTo>
                    <a:pt x="834" y="249"/>
                  </a:lnTo>
                  <a:lnTo>
                    <a:pt x="829" y="252"/>
                  </a:lnTo>
                  <a:lnTo>
                    <a:pt x="829" y="252"/>
                  </a:lnTo>
                  <a:lnTo>
                    <a:pt x="829" y="256"/>
                  </a:lnTo>
                  <a:lnTo>
                    <a:pt x="824" y="257"/>
                  </a:lnTo>
                  <a:lnTo>
                    <a:pt x="825" y="261"/>
                  </a:lnTo>
                  <a:lnTo>
                    <a:pt x="825" y="263"/>
                  </a:lnTo>
                  <a:lnTo>
                    <a:pt x="825" y="264"/>
                  </a:lnTo>
                  <a:lnTo>
                    <a:pt x="825" y="268"/>
                  </a:lnTo>
                  <a:lnTo>
                    <a:pt x="825" y="268"/>
                  </a:lnTo>
                  <a:lnTo>
                    <a:pt x="824" y="271"/>
                  </a:lnTo>
                  <a:lnTo>
                    <a:pt x="825" y="271"/>
                  </a:lnTo>
                  <a:lnTo>
                    <a:pt x="824" y="275"/>
                  </a:lnTo>
                  <a:lnTo>
                    <a:pt x="822" y="280"/>
                  </a:lnTo>
                  <a:lnTo>
                    <a:pt x="820" y="280"/>
                  </a:lnTo>
                  <a:lnTo>
                    <a:pt x="818" y="280"/>
                  </a:lnTo>
                  <a:lnTo>
                    <a:pt x="817" y="285"/>
                  </a:lnTo>
                  <a:lnTo>
                    <a:pt x="815" y="287"/>
                  </a:lnTo>
                  <a:lnTo>
                    <a:pt x="815" y="289"/>
                  </a:lnTo>
                  <a:lnTo>
                    <a:pt x="811" y="289"/>
                  </a:lnTo>
                  <a:lnTo>
                    <a:pt x="811" y="290"/>
                  </a:lnTo>
                  <a:lnTo>
                    <a:pt x="808" y="294"/>
                  </a:lnTo>
                  <a:lnTo>
                    <a:pt x="808" y="294"/>
                  </a:lnTo>
                  <a:lnTo>
                    <a:pt x="806" y="296"/>
                  </a:lnTo>
                  <a:lnTo>
                    <a:pt x="808" y="290"/>
                  </a:lnTo>
                  <a:lnTo>
                    <a:pt x="806" y="289"/>
                  </a:lnTo>
                  <a:lnTo>
                    <a:pt x="803" y="289"/>
                  </a:lnTo>
                  <a:lnTo>
                    <a:pt x="801" y="285"/>
                  </a:lnTo>
                  <a:lnTo>
                    <a:pt x="799" y="283"/>
                  </a:lnTo>
                  <a:lnTo>
                    <a:pt x="801" y="280"/>
                  </a:lnTo>
                  <a:lnTo>
                    <a:pt x="806" y="275"/>
                  </a:lnTo>
                  <a:lnTo>
                    <a:pt x="803" y="275"/>
                  </a:lnTo>
                  <a:lnTo>
                    <a:pt x="799" y="280"/>
                  </a:lnTo>
                  <a:lnTo>
                    <a:pt x="798" y="283"/>
                  </a:lnTo>
                  <a:lnTo>
                    <a:pt x="798" y="285"/>
                  </a:lnTo>
                  <a:lnTo>
                    <a:pt x="799" y="287"/>
                  </a:lnTo>
                  <a:lnTo>
                    <a:pt x="799" y="292"/>
                  </a:lnTo>
                  <a:lnTo>
                    <a:pt x="801" y="294"/>
                  </a:lnTo>
                  <a:lnTo>
                    <a:pt x="803" y="299"/>
                  </a:lnTo>
                  <a:lnTo>
                    <a:pt x="803" y="303"/>
                  </a:lnTo>
                  <a:lnTo>
                    <a:pt x="801" y="311"/>
                  </a:lnTo>
                  <a:lnTo>
                    <a:pt x="796" y="313"/>
                  </a:lnTo>
                  <a:lnTo>
                    <a:pt x="794" y="320"/>
                  </a:lnTo>
                  <a:lnTo>
                    <a:pt x="792" y="323"/>
                  </a:lnTo>
                  <a:lnTo>
                    <a:pt x="792" y="325"/>
                  </a:lnTo>
                  <a:lnTo>
                    <a:pt x="791" y="327"/>
                  </a:lnTo>
                  <a:lnTo>
                    <a:pt x="791" y="325"/>
                  </a:lnTo>
                  <a:lnTo>
                    <a:pt x="791" y="323"/>
                  </a:lnTo>
                  <a:lnTo>
                    <a:pt x="787" y="330"/>
                  </a:lnTo>
                  <a:lnTo>
                    <a:pt x="785" y="330"/>
                  </a:lnTo>
                  <a:lnTo>
                    <a:pt x="785" y="334"/>
                  </a:lnTo>
                  <a:lnTo>
                    <a:pt x="785" y="330"/>
                  </a:lnTo>
                  <a:lnTo>
                    <a:pt x="785" y="327"/>
                  </a:lnTo>
                  <a:lnTo>
                    <a:pt x="787" y="323"/>
                  </a:lnTo>
                  <a:lnTo>
                    <a:pt x="787" y="320"/>
                  </a:lnTo>
                  <a:lnTo>
                    <a:pt x="789" y="318"/>
                  </a:lnTo>
                  <a:lnTo>
                    <a:pt x="789" y="316"/>
                  </a:lnTo>
                  <a:lnTo>
                    <a:pt x="792" y="315"/>
                  </a:lnTo>
                  <a:lnTo>
                    <a:pt x="787" y="315"/>
                  </a:lnTo>
                  <a:lnTo>
                    <a:pt x="785" y="313"/>
                  </a:lnTo>
                  <a:lnTo>
                    <a:pt x="787" y="311"/>
                  </a:lnTo>
                  <a:lnTo>
                    <a:pt x="787" y="311"/>
                  </a:lnTo>
                  <a:lnTo>
                    <a:pt x="785" y="311"/>
                  </a:lnTo>
                  <a:lnTo>
                    <a:pt x="785" y="308"/>
                  </a:lnTo>
                  <a:lnTo>
                    <a:pt x="784" y="311"/>
                  </a:lnTo>
                  <a:lnTo>
                    <a:pt x="780" y="306"/>
                  </a:lnTo>
                  <a:lnTo>
                    <a:pt x="780" y="303"/>
                  </a:lnTo>
                  <a:lnTo>
                    <a:pt x="784" y="299"/>
                  </a:lnTo>
                  <a:lnTo>
                    <a:pt x="784" y="296"/>
                  </a:lnTo>
                  <a:lnTo>
                    <a:pt x="784" y="290"/>
                  </a:lnTo>
                  <a:lnTo>
                    <a:pt x="784" y="287"/>
                  </a:lnTo>
                  <a:lnTo>
                    <a:pt x="787" y="285"/>
                  </a:lnTo>
                  <a:lnTo>
                    <a:pt x="785" y="283"/>
                  </a:lnTo>
                  <a:lnTo>
                    <a:pt x="787" y="280"/>
                  </a:lnTo>
                  <a:lnTo>
                    <a:pt x="785" y="280"/>
                  </a:lnTo>
                  <a:lnTo>
                    <a:pt x="785" y="280"/>
                  </a:lnTo>
                  <a:lnTo>
                    <a:pt x="785" y="283"/>
                  </a:lnTo>
                  <a:lnTo>
                    <a:pt x="780" y="287"/>
                  </a:lnTo>
                  <a:lnTo>
                    <a:pt x="780" y="289"/>
                  </a:lnTo>
                  <a:lnTo>
                    <a:pt x="778" y="289"/>
                  </a:lnTo>
                  <a:lnTo>
                    <a:pt x="780" y="290"/>
                  </a:lnTo>
                  <a:lnTo>
                    <a:pt x="780" y="292"/>
                  </a:lnTo>
                  <a:lnTo>
                    <a:pt x="780" y="297"/>
                  </a:lnTo>
                  <a:lnTo>
                    <a:pt x="780" y="299"/>
                  </a:lnTo>
                  <a:lnTo>
                    <a:pt x="780" y="303"/>
                  </a:lnTo>
                  <a:lnTo>
                    <a:pt x="780" y="306"/>
                  </a:lnTo>
                  <a:lnTo>
                    <a:pt x="780" y="311"/>
                  </a:lnTo>
                  <a:lnTo>
                    <a:pt x="778" y="311"/>
                  </a:lnTo>
                  <a:lnTo>
                    <a:pt x="775" y="306"/>
                  </a:lnTo>
                  <a:lnTo>
                    <a:pt x="770" y="306"/>
                  </a:lnTo>
                  <a:lnTo>
                    <a:pt x="768" y="303"/>
                  </a:lnTo>
                  <a:lnTo>
                    <a:pt x="766" y="303"/>
                  </a:lnTo>
                  <a:lnTo>
                    <a:pt x="766" y="303"/>
                  </a:lnTo>
                  <a:lnTo>
                    <a:pt x="768" y="297"/>
                  </a:lnTo>
                  <a:lnTo>
                    <a:pt x="765" y="299"/>
                  </a:lnTo>
                  <a:lnTo>
                    <a:pt x="765" y="303"/>
                  </a:lnTo>
                  <a:lnTo>
                    <a:pt x="768" y="306"/>
                  </a:lnTo>
                  <a:lnTo>
                    <a:pt x="770" y="308"/>
                  </a:lnTo>
                  <a:lnTo>
                    <a:pt x="773" y="311"/>
                  </a:lnTo>
                  <a:lnTo>
                    <a:pt x="778" y="315"/>
                  </a:lnTo>
                  <a:lnTo>
                    <a:pt x="780" y="316"/>
                  </a:lnTo>
                  <a:lnTo>
                    <a:pt x="780" y="318"/>
                  </a:lnTo>
                  <a:lnTo>
                    <a:pt x="780" y="323"/>
                  </a:lnTo>
                  <a:lnTo>
                    <a:pt x="777" y="322"/>
                  </a:lnTo>
                  <a:lnTo>
                    <a:pt x="777" y="320"/>
                  </a:lnTo>
                  <a:lnTo>
                    <a:pt x="775" y="318"/>
                  </a:lnTo>
                  <a:lnTo>
                    <a:pt x="777" y="323"/>
                  </a:lnTo>
                  <a:lnTo>
                    <a:pt x="780" y="325"/>
                  </a:lnTo>
                  <a:lnTo>
                    <a:pt x="780" y="329"/>
                  </a:lnTo>
                  <a:lnTo>
                    <a:pt x="780" y="329"/>
                  </a:lnTo>
                  <a:lnTo>
                    <a:pt x="780" y="330"/>
                  </a:lnTo>
                  <a:lnTo>
                    <a:pt x="775" y="330"/>
                  </a:lnTo>
                  <a:lnTo>
                    <a:pt x="780" y="334"/>
                  </a:lnTo>
                  <a:lnTo>
                    <a:pt x="778" y="334"/>
                  </a:lnTo>
                  <a:lnTo>
                    <a:pt x="777" y="334"/>
                  </a:lnTo>
                  <a:lnTo>
                    <a:pt x="775" y="330"/>
                  </a:lnTo>
                  <a:lnTo>
                    <a:pt x="770" y="330"/>
                  </a:lnTo>
                  <a:lnTo>
                    <a:pt x="768" y="330"/>
                  </a:lnTo>
                  <a:lnTo>
                    <a:pt x="770" y="334"/>
                  </a:lnTo>
                  <a:lnTo>
                    <a:pt x="773" y="334"/>
                  </a:lnTo>
                  <a:lnTo>
                    <a:pt x="775" y="334"/>
                  </a:lnTo>
                  <a:lnTo>
                    <a:pt x="777" y="337"/>
                  </a:lnTo>
                  <a:lnTo>
                    <a:pt x="780" y="337"/>
                  </a:lnTo>
                  <a:lnTo>
                    <a:pt x="780" y="337"/>
                  </a:lnTo>
                  <a:lnTo>
                    <a:pt x="784" y="339"/>
                  </a:lnTo>
                  <a:lnTo>
                    <a:pt x="784" y="343"/>
                  </a:lnTo>
                  <a:lnTo>
                    <a:pt x="784" y="346"/>
                  </a:lnTo>
                  <a:lnTo>
                    <a:pt x="780" y="344"/>
                  </a:lnTo>
                  <a:lnTo>
                    <a:pt x="780" y="346"/>
                  </a:lnTo>
                  <a:lnTo>
                    <a:pt x="780" y="348"/>
                  </a:lnTo>
                  <a:lnTo>
                    <a:pt x="784" y="351"/>
                  </a:lnTo>
                  <a:lnTo>
                    <a:pt x="780" y="353"/>
                  </a:lnTo>
                  <a:lnTo>
                    <a:pt x="780" y="353"/>
                  </a:lnTo>
                  <a:lnTo>
                    <a:pt x="778" y="353"/>
                  </a:lnTo>
                  <a:lnTo>
                    <a:pt x="775" y="356"/>
                  </a:lnTo>
                  <a:lnTo>
                    <a:pt x="772" y="356"/>
                  </a:lnTo>
                  <a:lnTo>
                    <a:pt x="770" y="356"/>
                  </a:lnTo>
                  <a:lnTo>
                    <a:pt x="768" y="353"/>
                  </a:lnTo>
                  <a:lnTo>
                    <a:pt x="766" y="353"/>
                  </a:lnTo>
                  <a:lnTo>
                    <a:pt x="766" y="358"/>
                  </a:lnTo>
                  <a:lnTo>
                    <a:pt x="766" y="362"/>
                  </a:lnTo>
                  <a:lnTo>
                    <a:pt x="770" y="358"/>
                  </a:lnTo>
                  <a:lnTo>
                    <a:pt x="777" y="358"/>
                  </a:lnTo>
                  <a:lnTo>
                    <a:pt x="778" y="358"/>
                  </a:lnTo>
                  <a:lnTo>
                    <a:pt x="778" y="363"/>
                  </a:lnTo>
                  <a:lnTo>
                    <a:pt x="780" y="365"/>
                  </a:lnTo>
                  <a:lnTo>
                    <a:pt x="780" y="362"/>
                  </a:lnTo>
                  <a:lnTo>
                    <a:pt x="784" y="358"/>
                  </a:lnTo>
                  <a:lnTo>
                    <a:pt x="784" y="358"/>
                  </a:lnTo>
                  <a:lnTo>
                    <a:pt x="784" y="362"/>
                  </a:lnTo>
                  <a:lnTo>
                    <a:pt x="784" y="365"/>
                  </a:lnTo>
                  <a:lnTo>
                    <a:pt x="784" y="365"/>
                  </a:lnTo>
                  <a:lnTo>
                    <a:pt x="780" y="369"/>
                  </a:lnTo>
                  <a:lnTo>
                    <a:pt x="778" y="372"/>
                  </a:lnTo>
                  <a:lnTo>
                    <a:pt x="777" y="372"/>
                  </a:lnTo>
                  <a:lnTo>
                    <a:pt x="775" y="370"/>
                  </a:lnTo>
                  <a:lnTo>
                    <a:pt x="772" y="372"/>
                  </a:lnTo>
                  <a:lnTo>
                    <a:pt x="770" y="367"/>
                  </a:lnTo>
                  <a:lnTo>
                    <a:pt x="770" y="370"/>
                  </a:lnTo>
                  <a:lnTo>
                    <a:pt x="768" y="370"/>
                  </a:lnTo>
                  <a:lnTo>
                    <a:pt x="765" y="370"/>
                  </a:lnTo>
                  <a:lnTo>
                    <a:pt x="763" y="370"/>
                  </a:lnTo>
                  <a:lnTo>
                    <a:pt x="765" y="372"/>
                  </a:lnTo>
                  <a:lnTo>
                    <a:pt x="768" y="372"/>
                  </a:lnTo>
                  <a:lnTo>
                    <a:pt x="770" y="374"/>
                  </a:lnTo>
                  <a:lnTo>
                    <a:pt x="768" y="376"/>
                  </a:lnTo>
                  <a:lnTo>
                    <a:pt x="768" y="377"/>
                  </a:lnTo>
                  <a:lnTo>
                    <a:pt x="765" y="379"/>
                  </a:lnTo>
                  <a:lnTo>
                    <a:pt x="761" y="379"/>
                  </a:lnTo>
                  <a:lnTo>
                    <a:pt x="763" y="381"/>
                  </a:lnTo>
                  <a:lnTo>
                    <a:pt x="768" y="381"/>
                  </a:lnTo>
                  <a:lnTo>
                    <a:pt x="772" y="379"/>
                  </a:lnTo>
                  <a:lnTo>
                    <a:pt x="772" y="379"/>
                  </a:lnTo>
                  <a:lnTo>
                    <a:pt x="773" y="381"/>
                  </a:lnTo>
                  <a:lnTo>
                    <a:pt x="770" y="384"/>
                  </a:lnTo>
                  <a:lnTo>
                    <a:pt x="766" y="384"/>
                  </a:lnTo>
                  <a:lnTo>
                    <a:pt x="766" y="381"/>
                  </a:lnTo>
                  <a:lnTo>
                    <a:pt x="765" y="381"/>
                  </a:lnTo>
                  <a:lnTo>
                    <a:pt x="763" y="384"/>
                  </a:lnTo>
                  <a:lnTo>
                    <a:pt x="761" y="384"/>
                  </a:lnTo>
                  <a:lnTo>
                    <a:pt x="752" y="388"/>
                  </a:lnTo>
                  <a:lnTo>
                    <a:pt x="742" y="395"/>
                  </a:lnTo>
                  <a:lnTo>
                    <a:pt x="740" y="402"/>
                  </a:lnTo>
                  <a:lnTo>
                    <a:pt x="739" y="402"/>
                  </a:lnTo>
                  <a:lnTo>
                    <a:pt x="737" y="400"/>
                  </a:lnTo>
                  <a:lnTo>
                    <a:pt x="733" y="402"/>
                  </a:lnTo>
                  <a:lnTo>
                    <a:pt x="730" y="403"/>
                  </a:lnTo>
                  <a:lnTo>
                    <a:pt x="723" y="412"/>
                  </a:lnTo>
                  <a:lnTo>
                    <a:pt x="723" y="416"/>
                  </a:lnTo>
                  <a:lnTo>
                    <a:pt x="719" y="416"/>
                  </a:lnTo>
                  <a:lnTo>
                    <a:pt x="718" y="416"/>
                  </a:lnTo>
                  <a:lnTo>
                    <a:pt x="718" y="417"/>
                  </a:lnTo>
                  <a:lnTo>
                    <a:pt x="714" y="421"/>
                  </a:lnTo>
                  <a:lnTo>
                    <a:pt x="712" y="421"/>
                  </a:lnTo>
                  <a:lnTo>
                    <a:pt x="711" y="421"/>
                  </a:lnTo>
                  <a:lnTo>
                    <a:pt x="711" y="422"/>
                  </a:lnTo>
                  <a:lnTo>
                    <a:pt x="707" y="422"/>
                  </a:lnTo>
                  <a:lnTo>
                    <a:pt x="704" y="426"/>
                  </a:lnTo>
                  <a:lnTo>
                    <a:pt x="699" y="426"/>
                  </a:lnTo>
                  <a:lnTo>
                    <a:pt x="699" y="428"/>
                  </a:lnTo>
                  <a:lnTo>
                    <a:pt x="695" y="428"/>
                  </a:lnTo>
                  <a:lnTo>
                    <a:pt x="695" y="429"/>
                  </a:lnTo>
                  <a:lnTo>
                    <a:pt x="690" y="429"/>
                  </a:lnTo>
                  <a:lnTo>
                    <a:pt x="690" y="431"/>
                  </a:lnTo>
                  <a:lnTo>
                    <a:pt x="690" y="431"/>
                  </a:lnTo>
                  <a:lnTo>
                    <a:pt x="690" y="435"/>
                  </a:lnTo>
                  <a:lnTo>
                    <a:pt x="688" y="438"/>
                  </a:lnTo>
                  <a:lnTo>
                    <a:pt x="688" y="438"/>
                  </a:lnTo>
                  <a:lnTo>
                    <a:pt x="685" y="440"/>
                  </a:lnTo>
                  <a:lnTo>
                    <a:pt x="681" y="440"/>
                  </a:lnTo>
                  <a:lnTo>
                    <a:pt x="679" y="445"/>
                  </a:lnTo>
                  <a:lnTo>
                    <a:pt x="676" y="450"/>
                  </a:lnTo>
                  <a:lnTo>
                    <a:pt x="676" y="456"/>
                  </a:lnTo>
                  <a:lnTo>
                    <a:pt x="676" y="466"/>
                  </a:lnTo>
                  <a:lnTo>
                    <a:pt x="676" y="471"/>
                  </a:lnTo>
                  <a:lnTo>
                    <a:pt x="676" y="478"/>
                  </a:lnTo>
                  <a:lnTo>
                    <a:pt x="676" y="483"/>
                  </a:lnTo>
                  <a:lnTo>
                    <a:pt x="679" y="490"/>
                  </a:lnTo>
                  <a:lnTo>
                    <a:pt x="679" y="494"/>
                  </a:lnTo>
                  <a:lnTo>
                    <a:pt x="681" y="502"/>
                  </a:lnTo>
                  <a:lnTo>
                    <a:pt x="685" y="504"/>
                  </a:lnTo>
                  <a:lnTo>
                    <a:pt x="685" y="508"/>
                  </a:lnTo>
                  <a:lnTo>
                    <a:pt x="685" y="513"/>
                  </a:lnTo>
                  <a:lnTo>
                    <a:pt x="681" y="516"/>
                  </a:lnTo>
                  <a:lnTo>
                    <a:pt x="685" y="520"/>
                  </a:lnTo>
                  <a:lnTo>
                    <a:pt x="685" y="530"/>
                  </a:lnTo>
                  <a:lnTo>
                    <a:pt x="688" y="532"/>
                  </a:lnTo>
                  <a:lnTo>
                    <a:pt x="690" y="537"/>
                  </a:lnTo>
                  <a:lnTo>
                    <a:pt x="688" y="539"/>
                  </a:lnTo>
                  <a:lnTo>
                    <a:pt x="688" y="541"/>
                  </a:lnTo>
                  <a:lnTo>
                    <a:pt x="688" y="548"/>
                  </a:lnTo>
                  <a:lnTo>
                    <a:pt x="688" y="548"/>
                  </a:lnTo>
                  <a:lnTo>
                    <a:pt x="688" y="553"/>
                  </a:lnTo>
                  <a:lnTo>
                    <a:pt x="685" y="556"/>
                  </a:lnTo>
                  <a:lnTo>
                    <a:pt x="685" y="562"/>
                  </a:lnTo>
                  <a:lnTo>
                    <a:pt x="681" y="565"/>
                  </a:lnTo>
                  <a:lnTo>
                    <a:pt x="679" y="569"/>
                  </a:lnTo>
                  <a:lnTo>
                    <a:pt x="679" y="570"/>
                  </a:lnTo>
                  <a:lnTo>
                    <a:pt x="676" y="572"/>
                  </a:lnTo>
                  <a:lnTo>
                    <a:pt x="672" y="570"/>
                  </a:lnTo>
                  <a:lnTo>
                    <a:pt x="671" y="569"/>
                  </a:lnTo>
                  <a:lnTo>
                    <a:pt x="667" y="567"/>
                  </a:lnTo>
                  <a:lnTo>
                    <a:pt x="669" y="567"/>
                  </a:lnTo>
                  <a:lnTo>
                    <a:pt x="666" y="563"/>
                  </a:lnTo>
                  <a:lnTo>
                    <a:pt x="666" y="560"/>
                  </a:lnTo>
                  <a:lnTo>
                    <a:pt x="666" y="556"/>
                  </a:lnTo>
                  <a:lnTo>
                    <a:pt x="660" y="556"/>
                  </a:lnTo>
                  <a:lnTo>
                    <a:pt x="659" y="556"/>
                  </a:lnTo>
                  <a:lnTo>
                    <a:pt x="659" y="553"/>
                  </a:lnTo>
                  <a:lnTo>
                    <a:pt x="659" y="548"/>
                  </a:lnTo>
                  <a:lnTo>
                    <a:pt x="653" y="544"/>
                  </a:lnTo>
                  <a:lnTo>
                    <a:pt x="653" y="544"/>
                  </a:lnTo>
                  <a:lnTo>
                    <a:pt x="657" y="542"/>
                  </a:lnTo>
                  <a:lnTo>
                    <a:pt x="657" y="539"/>
                  </a:lnTo>
                  <a:lnTo>
                    <a:pt x="659" y="536"/>
                  </a:lnTo>
                  <a:lnTo>
                    <a:pt x="657" y="537"/>
                  </a:lnTo>
                  <a:lnTo>
                    <a:pt x="653" y="536"/>
                  </a:lnTo>
                  <a:lnTo>
                    <a:pt x="653" y="537"/>
                  </a:lnTo>
                  <a:lnTo>
                    <a:pt x="653" y="539"/>
                  </a:lnTo>
                  <a:lnTo>
                    <a:pt x="653" y="536"/>
                  </a:lnTo>
                  <a:lnTo>
                    <a:pt x="652" y="536"/>
                  </a:lnTo>
                  <a:lnTo>
                    <a:pt x="652" y="534"/>
                  </a:lnTo>
                  <a:lnTo>
                    <a:pt x="648" y="532"/>
                  </a:lnTo>
                  <a:lnTo>
                    <a:pt x="648" y="529"/>
                  </a:lnTo>
                  <a:lnTo>
                    <a:pt x="648" y="525"/>
                  </a:lnTo>
                  <a:lnTo>
                    <a:pt x="652" y="522"/>
                  </a:lnTo>
                  <a:lnTo>
                    <a:pt x="652" y="516"/>
                  </a:lnTo>
                  <a:lnTo>
                    <a:pt x="650" y="516"/>
                  </a:lnTo>
                  <a:lnTo>
                    <a:pt x="648" y="516"/>
                  </a:lnTo>
                  <a:lnTo>
                    <a:pt x="648" y="520"/>
                  </a:lnTo>
                  <a:lnTo>
                    <a:pt x="646" y="522"/>
                  </a:lnTo>
                  <a:lnTo>
                    <a:pt x="646" y="522"/>
                  </a:lnTo>
                  <a:lnTo>
                    <a:pt x="643" y="520"/>
                  </a:lnTo>
                  <a:lnTo>
                    <a:pt x="643" y="516"/>
                  </a:lnTo>
                  <a:lnTo>
                    <a:pt x="646" y="509"/>
                  </a:lnTo>
                  <a:lnTo>
                    <a:pt x="650" y="502"/>
                  </a:lnTo>
                  <a:lnTo>
                    <a:pt x="650" y="497"/>
                  </a:lnTo>
                  <a:lnTo>
                    <a:pt x="648" y="494"/>
                  </a:lnTo>
                  <a:lnTo>
                    <a:pt x="645" y="494"/>
                  </a:lnTo>
                  <a:lnTo>
                    <a:pt x="643" y="490"/>
                  </a:lnTo>
                  <a:lnTo>
                    <a:pt x="643" y="490"/>
                  </a:lnTo>
                  <a:lnTo>
                    <a:pt x="641" y="490"/>
                  </a:lnTo>
                  <a:lnTo>
                    <a:pt x="639" y="489"/>
                  </a:lnTo>
                  <a:lnTo>
                    <a:pt x="639" y="485"/>
                  </a:lnTo>
                  <a:lnTo>
                    <a:pt x="638" y="485"/>
                  </a:lnTo>
                  <a:lnTo>
                    <a:pt x="636" y="482"/>
                  </a:lnTo>
                  <a:lnTo>
                    <a:pt x="634" y="476"/>
                  </a:lnTo>
                  <a:lnTo>
                    <a:pt x="631" y="475"/>
                  </a:lnTo>
                  <a:lnTo>
                    <a:pt x="629" y="475"/>
                  </a:lnTo>
                  <a:lnTo>
                    <a:pt x="626" y="475"/>
                  </a:lnTo>
                  <a:lnTo>
                    <a:pt x="622" y="476"/>
                  </a:lnTo>
                  <a:lnTo>
                    <a:pt x="622" y="476"/>
                  </a:lnTo>
                  <a:lnTo>
                    <a:pt x="622" y="478"/>
                  </a:lnTo>
                  <a:lnTo>
                    <a:pt x="620" y="476"/>
                  </a:lnTo>
                  <a:lnTo>
                    <a:pt x="617" y="482"/>
                  </a:lnTo>
                  <a:lnTo>
                    <a:pt x="613" y="482"/>
                  </a:lnTo>
                  <a:lnTo>
                    <a:pt x="608" y="483"/>
                  </a:lnTo>
                  <a:lnTo>
                    <a:pt x="606" y="482"/>
                  </a:lnTo>
                  <a:lnTo>
                    <a:pt x="606" y="480"/>
                  </a:lnTo>
                  <a:lnTo>
                    <a:pt x="608" y="482"/>
                  </a:lnTo>
                  <a:lnTo>
                    <a:pt x="608" y="480"/>
                  </a:lnTo>
                  <a:lnTo>
                    <a:pt x="608" y="478"/>
                  </a:lnTo>
                  <a:lnTo>
                    <a:pt x="606" y="476"/>
                  </a:lnTo>
                  <a:lnTo>
                    <a:pt x="603" y="475"/>
                  </a:lnTo>
                  <a:lnTo>
                    <a:pt x="603" y="475"/>
                  </a:lnTo>
                  <a:lnTo>
                    <a:pt x="606" y="475"/>
                  </a:lnTo>
                  <a:lnTo>
                    <a:pt x="606" y="475"/>
                  </a:lnTo>
                  <a:lnTo>
                    <a:pt x="603" y="471"/>
                  </a:lnTo>
                  <a:lnTo>
                    <a:pt x="603" y="471"/>
                  </a:lnTo>
                  <a:lnTo>
                    <a:pt x="601" y="468"/>
                  </a:lnTo>
                  <a:lnTo>
                    <a:pt x="601" y="471"/>
                  </a:lnTo>
                  <a:lnTo>
                    <a:pt x="603" y="475"/>
                  </a:lnTo>
                  <a:lnTo>
                    <a:pt x="600" y="471"/>
                  </a:lnTo>
                  <a:lnTo>
                    <a:pt x="596" y="468"/>
                  </a:lnTo>
                  <a:lnTo>
                    <a:pt x="593" y="468"/>
                  </a:lnTo>
                  <a:lnTo>
                    <a:pt x="587" y="468"/>
                  </a:lnTo>
                  <a:lnTo>
                    <a:pt x="587" y="468"/>
                  </a:lnTo>
                  <a:lnTo>
                    <a:pt x="593" y="468"/>
                  </a:lnTo>
                  <a:lnTo>
                    <a:pt x="594" y="466"/>
                  </a:lnTo>
                  <a:lnTo>
                    <a:pt x="594" y="466"/>
                  </a:lnTo>
                  <a:lnTo>
                    <a:pt x="589" y="466"/>
                  </a:lnTo>
                  <a:lnTo>
                    <a:pt x="586" y="468"/>
                  </a:lnTo>
                  <a:lnTo>
                    <a:pt x="584" y="468"/>
                  </a:lnTo>
                  <a:lnTo>
                    <a:pt x="580" y="468"/>
                  </a:lnTo>
                  <a:lnTo>
                    <a:pt x="579" y="466"/>
                  </a:lnTo>
                  <a:lnTo>
                    <a:pt x="575" y="468"/>
                  </a:lnTo>
                  <a:lnTo>
                    <a:pt x="570" y="468"/>
                  </a:lnTo>
                  <a:lnTo>
                    <a:pt x="568" y="468"/>
                  </a:lnTo>
                  <a:lnTo>
                    <a:pt x="565" y="466"/>
                  </a:lnTo>
                  <a:lnTo>
                    <a:pt x="563" y="462"/>
                  </a:lnTo>
                  <a:lnTo>
                    <a:pt x="565" y="462"/>
                  </a:lnTo>
                  <a:lnTo>
                    <a:pt x="561" y="462"/>
                  </a:lnTo>
                  <a:lnTo>
                    <a:pt x="561" y="466"/>
                  </a:lnTo>
                  <a:lnTo>
                    <a:pt x="561" y="466"/>
                  </a:lnTo>
                  <a:lnTo>
                    <a:pt x="558" y="466"/>
                  </a:lnTo>
                  <a:lnTo>
                    <a:pt x="556" y="466"/>
                  </a:lnTo>
                  <a:lnTo>
                    <a:pt x="549" y="466"/>
                  </a:lnTo>
                  <a:lnTo>
                    <a:pt x="540" y="468"/>
                  </a:lnTo>
                  <a:lnTo>
                    <a:pt x="539" y="471"/>
                  </a:lnTo>
                  <a:lnTo>
                    <a:pt x="532" y="475"/>
                  </a:lnTo>
                  <a:lnTo>
                    <a:pt x="530" y="476"/>
                  </a:lnTo>
                  <a:lnTo>
                    <a:pt x="530" y="480"/>
                  </a:lnTo>
                  <a:lnTo>
                    <a:pt x="532" y="478"/>
                  </a:lnTo>
                  <a:lnTo>
                    <a:pt x="535" y="476"/>
                  </a:lnTo>
                  <a:lnTo>
                    <a:pt x="535" y="476"/>
                  </a:lnTo>
                  <a:lnTo>
                    <a:pt x="535" y="478"/>
                  </a:lnTo>
                  <a:lnTo>
                    <a:pt x="539" y="480"/>
                  </a:lnTo>
                  <a:lnTo>
                    <a:pt x="539" y="480"/>
                  </a:lnTo>
                  <a:lnTo>
                    <a:pt x="532" y="483"/>
                  </a:lnTo>
                  <a:lnTo>
                    <a:pt x="532" y="485"/>
                  </a:lnTo>
                  <a:lnTo>
                    <a:pt x="535" y="489"/>
                  </a:lnTo>
                  <a:lnTo>
                    <a:pt x="539" y="490"/>
                  </a:lnTo>
                  <a:lnTo>
                    <a:pt x="544" y="494"/>
                  </a:lnTo>
                  <a:lnTo>
                    <a:pt x="542" y="494"/>
                  </a:lnTo>
                  <a:lnTo>
                    <a:pt x="540" y="494"/>
                  </a:lnTo>
                  <a:lnTo>
                    <a:pt x="539" y="497"/>
                  </a:lnTo>
                  <a:lnTo>
                    <a:pt x="539" y="494"/>
                  </a:lnTo>
                  <a:lnTo>
                    <a:pt x="539" y="494"/>
                  </a:lnTo>
                  <a:lnTo>
                    <a:pt x="535" y="494"/>
                  </a:lnTo>
                  <a:lnTo>
                    <a:pt x="535" y="490"/>
                  </a:lnTo>
                  <a:lnTo>
                    <a:pt x="530" y="490"/>
                  </a:lnTo>
                  <a:lnTo>
                    <a:pt x="530" y="485"/>
                  </a:lnTo>
                  <a:lnTo>
                    <a:pt x="527" y="485"/>
                  </a:lnTo>
                  <a:lnTo>
                    <a:pt x="527" y="489"/>
                  </a:lnTo>
                  <a:lnTo>
                    <a:pt x="527" y="494"/>
                  </a:lnTo>
                  <a:lnTo>
                    <a:pt x="525" y="494"/>
                  </a:lnTo>
                  <a:lnTo>
                    <a:pt x="523" y="494"/>
                  </a:lnTo>
                  <a:lnTo>
                    <a:pt x="521" y="490"/>
                  </a:lnTo>
                  <a:lnTo>
                    <a:pt x="518" y="494"/>
                  </a:lnTo>
                  <a:lnTo>
                    <a:pt x="516" y="494"/>
                  </a:lnTo>
                  <a:lnTo>
                    <a:pt x="511" y="494"/>
                  </a:lnTo>
                  <a:lnTo>
                    <a:pt x="509" y="490"/>
                  </a:lnTo>
                  <a:lnTo>
                    <a:pt x="507" y="490"/>
                  </a:lnTo>
                  <a:lnTo>
                    <a:pt x="504" y="490"/>
                  </a:lnTo>
                  <a:lnTo>
                    <a:pt x="507" y="490"/>
                  </a:lnTo>
                  <a:lnTo>
                    <a:pt x="507" y="489"/>
                  </a:lnTo>
                  <a:lnTo>
                    <a:pt x="507" y="485"/>
                  </a:lnTo>
                  <a:lnTo>
                    <a:pt x="504" y="485"/>
                  </a:lnTo>
                  <a:lnTo>
                    <a:pt x="504" y="485"/>
                  </a:lnTo>
                  <a:lnTo>
                    <a:pt x="504" y="482"/>
                  </a:lnTo>
                  <a:lnTo>
                    <a:pt x="502" y="482"/>
                  </a:lnTo>
                  <a:lnTo>
                    <a:pt x="500" y="482"/>
                  </a:lnTo>
                  <a:lnTo>
                    <a:pt x="499" y="482"/>
                  </a:lnTo>
                  <a:lnTo>
                    <a:pt x="499" y="480"/>
                  </a:lnTo>
                  <a:lnTo>
                    <a:pt x="497" y="478"/>
                  </a:lnTo>
                  <a:lnTo>
                    <a:pt x="494" y="480"/>
                  </a:lnTo>
                  <a:lnTo>
                    <a:pt x="494" y="482"/>
                  </a:lnTo>
                  <a:lnTo>
                    <a:pt x="494" y="483"/>
                  </a:lnTo>
                  <a:lnTo>
                    <a:pt x="490" y="485"/>
                  </a:lnTo>
                  <a:lnTo>
                    <a:pt x="481" y="483"/>
                  </a:lnTo>
                  <a:lnTo>
                    <a:pt x="481" y="482"/>
                  </a:lnTo>
                  <a:lnTo>
                    <a:pt x="473" y="480"/>
                  </a:lnTo>
                  <a:lnTo>
                    <a:pt x="467" y="480"/>
                  </a:lnTo>
                  <a:lnTo>
                    <a:pt x="462" y="482"/>
                  </a:lnTo>
                  <a:lnTo>
                    <a:pt x="459" y="482"/>
                  </a:lnTo>
                  <a:lnTo>
                    <a:pt x="457" y="483"/>
                  </a:lnTo>
                  <a:lnTo>
                    <a:pt x="454" y="485"/>
                  </a:lnTo>
                  <a:lnTo>
                    <a:pt x="450" y="485"/>
                  </a:lnTo>
                  <a:lnTo>
                    <a:pt x="452" y="485"/>
                  </a:lnTo>
                  <a:lnTo>
                    <a:pt x="450" y="482"/>
                  </a:lnTo>
                  <a:lnTo>
                    <a:pt x="452" y="478"/>
                  </a:lnTo>
                  <a:lnTo>
                    <a:pt x="452" y="475"/>
                  </a:lnTo>
                  <a:lnTo>
                    <a:pt x="450" y="476"/>
                  </a:lnTo>
                  <a:lnTo>
                    <a:pt x="447" y="480"/>
                  </a:lnTo>
                  <a:lnTo>
                    <a:pt x="445" y="480"/>
                  </a:lnTo>
                  <a:lnTo>
                    <a:pt x="443" y="478"/>
                  </a:lnTo>
                  <a:lnTo>
                    <a:pt x="445" y="483"/>
                  </a:lnTo>
                  <a:lnTo>
                    <a:pt x="445" y="485"/>
                  </a:lnTo>
                  <a:lnTo>
                    <a:pt x="447" y="490"/>
                  </a:lnTo>
                  <a:lnTo>
                    <a:pt x="445" y="490"/>
                  </a:lnTo>
                  <a:lnTo>
                    <a:pt x="441" y="490"/>
                  </a:lnTo>
                  <a:lnTo>
                    <a:pt x="436" y="497"/>
                  </a:lnTo>
                  <a:lnTo>
                    <a:pt x="429" y="499"/>
                  </a:lnTo>
                  <a:lnTo>
                    <a:pt x="427" y="499"/>
                  </a:lnTo>
                  <a:lnTo>
                    <a:pt x="424" y="502"/>
                  </a:lnTo>
                  <a:lnTo>
                    <a:pt x="422" y="502"/>
                  </a:lnTo>
                  <a:lnTo>
                    <a:pt x="424" y="499"/>
                  </a:lnTo>
                  <a:lnTo>
                    <a:pt x="422" y="497"/>
                  </a:lnTo>
                  <a:lnTo>
                    <a:pt x="421" y="499"/>
                  </a:lnTo>
                  <a:lnTo>
                    <a:pt x="419" y="497"/>
                  </a:lnTo>
                  <a:lnTo>
                    <a:pt x="415" y="499"/>
                  </a:lnTo>
                  <a:lnTo>
                    <a:pt x="417" y="501"/>
                  </a:lnTo>
                  <a:lnTo>
                    <a:pt x="414" y="502"/>
                  </a:lnTo>
                  <a:lnTo>
                    <a:pt x="412" y="501"/>
                  </a:lnTo>
                  <a:lnTo>
                    <a:pt x="412" y="506"/>
                  </a:lnTo>
                  <a:lnTo>
                    <a:pt x="408" y="508"/>
                  </a:lnTo>
                  <a:lnTo>
                    <a:pt x="408" y="506"/>
                  </a:lnTo>
                  <a:lnTo>
                    <a:pt x="405" y="511"/>
                  </a:lnTo>
                  <a:lnTo>
                    <a:pt x="408" y="513"/>
                  </a:lnTo>
                  <a:lnTo>
                    <a:pt x="403" y="516"/>
                  </a:lnTo>
                  <a:lnTo>
                    <a:pt x="400" y="516"/>
                  </a:lnTo>
                  <a:lnTo>
                    <a:pt x="403" y="522"/>
                  </a:lnTo>
                  <a:lnTo>
                    <a:pt x="400" y="525"/>
                  </a:lnTo>
                  <a:lnTo>
                    <a:pt x="398" y="530"/>
                  </a:lnTo>
                  <a:lnTo>
                    <a:pt x="396" y="536"/>
                  </a:lnTo>
                  <a:lnTo>
                    <a:pt x="398" y="539"/>
                  </a:lnTo>
                  <a:lnTo>
                    <a:pt x="398" y="544"/>
                  </a:lnTo>
                  <a:lnTo>
                    <a:pt x="398" y="548"/>
                  </a:lnTo>
                  <a:lnTo>
                    <a:pt x="398" y="553"/>
                  </a:lnTo>
                  <a:lnTo>
                    <a:pt x="394" y="556"/>
                  </a:lnTo>
                  <a:lnTo>
                    <a:pt x="394" y="555"/>
                  </a:lnTo>
                  <a:lnTo>
                    <a:pt x="393" y="553"/>
                  </a:lnTo>
                  <a:lnTo>
                    <a:pt x="389" y="553"/>
                  </a:lnTo>
                  <a:lnTo>
                    <a:pt x="386" y="553"/>
                  </a:lnTo>
                  <a:lnTo>
                    <a:pt x="381" y="548"/>
                  </a:lnTo>
                  <a:lnTo>
                    <a:pt x="377" y="548"/>
                  </a:lnTo>
                  <a:lnTo>
                    <a:pt x="377" y="544"/>
                  </a:lnTo>
                  <a:lnTo>
                    <a:pt x="374" y="544"/>
                  </a:lnTo>
                  <a:lnTo>
                    <a:pt x="372" y="544"/>
                  </a:lnTo>
                  <a:lnTo>
                    <a:pt x="372" y="544"/>
                  </a:lnTo>
                  <a:lnTo>
                    <a:pt x="370" y="542"/>
                  </a:lnTo>
                  <a:lnTo>
                    <a:pt x="370" y="539"/>
                  </a:lnTo>
                  <a:lnTo>
                    <a:pt x="367" y="529"/>
                  </a:lnTo>
                  <a:lnTo>
                    <a:pt x="367" y="527"/>
                  </a:lnTo>
                  <a:lnTo>
                    <a:pt x="367" y="525"/>
                  </a:lnTo>
                  <a:lnTo>
                    <a:pt x="367" y="525"/>
                  </a:lnTo>
                  <a:lnTo>
                    <a:pt x="367" y="522"/>
                  </a:lnTo>
                  <a:lnTo>
                    <a:pt x="363" y="516"/>
                  </a:lnTo>
                  <a:lnTo>
                    <a:pt x="361" y="513"/>
                  </a:lnTo>
                  <a:lnTo>
                    <a:pt x="361" y="511"/>
                  </a:lnTo>
                  <a:lnTo>
                    <a:pt x="358" y="509"/>
                  </a:lnTo>
                  <a:lnTo>
                    <a:pt x="358" y="508"/>
                  </a:lnTo>
                  <a:lnTo>
                    <a:pt x="358" y="506"/>
                  </a:lnTo>
                  <a:lnTo>
                    <a:pt x="355" y="499"/>
                  </a:lnTo>
                  <a:lnTo>
                    <a:pt x="355" y="497"/>
                  </a:lnTo>
                  <a:lnTo>
                    <a:pt x="353" y="497"/>
                  </a:lnTo>
                  <a:lnTo>
                    <a:pt x="353" y="494"/>
                  </a:lnTo>
                  <a:lnTo>
                    <a:pt x="353" y="490"/>
                  </a:lnTo>
                  <a:lnTo>
                    <a:pt x="351" y="490"/>
                  </a:lnTo>
                  <a:lnTo>
                    <a:pt x="349" y="485"/>
                  </a:lnTo>
                  <a:lnTo>
                    <a:pt x="348" y="482"/>
                  </a:lnTo>
                  <a:lnTo>
                    <a:pt x="344" y="478"/>
                  </a:lnTo>
                  <a:lnTo>
                    <a:pt x="342" y="476"/>
                  </a:lnTo>
                  <a:lnTo>
                    <a:pt x="339" y="475"/>
                  </a:lnTo>
                  <a:lnTo>
                    <a:pt x="337" y="475"/>
                  </a:lnTo>
                  <a:lnTo>
                    <a:pt x="335" y="475"/>
                  </a:lnTo>
                  <a:lnTo>
                    <a:pt x="335" y="475"/>
                  </a:lnTo>
                  <a:lnTo>
                    <a:pt x="332" y="475"/>
                  </a:lnTo>
                  <a:lnTo>
                    <a:pt x="330" y="475"/>
                  </a:lnTo>
                  <a:lnTo>
                    <a:pt x="327" y="475"/>
                  </a:lnTo>
                  <a:lnTo>
                    <a:pt x="325" y="475"/>
                  </a:lnTo>
                  <a:lnTo>
                    <a:pt x="325" y="475"/>
                  </a:lnTo>
                  <a:lnTo>
                    <a:pt x="323" y="475"/>
                  </a:lnTo>
                  <a:lnTo>
                    <a:pt x="323" y="475"/>
                  </a:lnTo>
                  <a:lnTo>
                    <a:pt x="320" y="475"/>
                  </a:lnTo>
                  <a:lnTo>
                    <a:pt x="318" y="476"/>
                  </a:lnTo>
                  <a:lnTo>
                    <a:pt x="316" y="482"/>
                  </a:lnTo>
                  <a:lnTo>
                    <a:pt x="315" y="483"/>
                  </a:lnTo>
                  <a:lnTo>
                    <a:pt x="315" y="485"/>
                  </a:lnTo>
                  <a:lnTo>
                    <a:pt x="315" y="485"/>
                  </a:lnTo>
                  <a:lnTo>
                    <a:pt x="313" y="485"/>
                  </a:lnTo>
                  <a:lnTo>
                    <a:pt x="309" y="489"/>
                  </a:lnTo>
                  <a:lnTo>
                    <a:pt x="309" y="490"/>
                  </a:lnTo>
                  <a:lnTo>
                    <a:pt x="308" y="490"/>
                  </a:lnTo>
                  <a:lnTo>
                    <a:pt x="308" y="490"/>
                  </a:lnTo>
                  <a:lnTo>
                    <a:pt x="308" y="489"/>
                  </a:lnTo>
                  <a:lnTo>
                    <a:pt x="302" y="485"/>
                  </a:lnTo>
                  <a:lnTo>
                    <a:pt x="301" y="485"/>
                  </a:lnTo>
                  <a:lnTo>
                    <a:pt x="299" y="485"/>
                  </a:lnTo>
                  <a:lnTo>
                    <a:pt x="295" y="483"/>
                  </a:lnTo>
                  <a:lnTo>
                    <a:pt x="294" y="483"/>
                  </a:lnTo>
                  <a:lnTo>
                    <a:pt x="292" y="482"/>
                  </a:lnTo>
                  <a:lnTo>
                    <a:pt x="292" y="482"/>
                  </a:lnTo>
                  <a:lnTo>
                    <a:pt x="292" y="480"/>
                  </a:lnTo>
                  <a:lnTo>
                    <a:pt x="290" y="478"/>
                  </a:lnTo>
                  <a:lnTo>
                    <a:pt x="288" y="480"/>
                  </a:lnTo>
                  <a:lnTo>
                    <a:pt x="287" y="478"/>
                  </a:lnTo>
                  <a:lnTo>
                    <a:pt x="287" y="478"/>
                  </a:lnTo>
                  <a:lnTo>
                    <a:pt x="287" y="476"/>
                  </a:lnTo>
                  <a:lnTo>
                    <a:pt x="285" y="475"/>
                  </a:lnTo>
                  <a:lnTo>
                    <a:pt x="285" y="471"/>
                  </a:lnTo>
                  <a:lnTo>
                    <a:pt x="282" y="468"/>
                  </a:lnTo>
                  <a:lnTo>
                    <a:pt x="282" y="466"/>
                  </a:lnTo>
                  <a:lnTo>
                    <a:pt x="282" y="466"/>
                  </a:lnTo>
                  <a:lnTo>
                    <a:pt x="285" y="466"/>
                  </a:lnTo>
                  <a:lnTo>
                    <a:pt x="285" y="462"/>
                  </a:lnTo>
                  <a:lnTo>
                    <a:pt x="282" y="462"/>
                  </a:lnTo>
                  <a:lnTo>
                    <a:pt x="282" y="461"/>
                  </a:lnTo>
                  <a:lnTo>
                    <a:pt x="282" y="461"/>
                  </a:lnTo>
                  <a:lnTo>
                    <a:pt x="280" y="459"/>
                  </a:lnTo>
                  <a:lnTo>
                    <a:pt x="280" y="454"/>
                  </a:lnTo>
                  <a:lnTo>
                    <a:pt x="278" y="452"/>
                  </a:lnTo>
                  <a:lnTo>
                    <a:pt x="275" y="450"/>
                  </a:lnTo>
                  <a:lnTo>
                    <a:pt x="273" y="450"/>
                  </a:lnTo>
                  <a:lnTo>
                    <a:pt x="275" y="449"/>
                  </a:lnTo>
                  <a:lnTo>
                    <a:pt x="275" y="447"/>
                  </a:lnTo>
                  <a:lnTo>
                    <a:pt x="271" y="445"/>
                  </a:lnTo>
                  <a:lnTo>
                    <a:pt x="268" y="443"/>
                  </a:lnTo>
                  <a:lnTo>
                    <a:pt x="269" y="443"/>
                  </a:lnTo>
                  <a:lnTo>
                    <a:pt x="268" y="440"/>
                  </a:lnTo>
                  <a:lnTo>
                    <a:pt x="266" y="440"/>
                  </a:lnTo>
                  <a:lnTo>
                    <a:pt x="266" y="440"/>
                  </a:lnTo>
                  <a:lnTo>
                    <a:pt x="264" y="435"/>
                  </a:lnTo>
                  <a:lnTo>
                    <a:pt x="262" y="433"/>
                  </a:lnTo>
                  <a:lnTo>
                    <a:pt x="259" y="431"/>
                  </a:lnTo>
                  <a:lnTo>
                    <a:pt x="231" y="429"/>
                  </a:lnTo>
                  <a:lnTo>
                    <a:pt x="231" y="435"/>
                  </a:lnTo>
                  <a:lnTo>
                    <a:pt x="182" y="435"/>
                  </a:lnTo>
                  <a:lnTo>
                    <a:pt x="123" y="409"/>
                  </a:lnTo>
                  <a:lnTo>
                    <a:pt x="123" y="407"/>
                  </a:lnTo>
                  <a:lnTo>
                    <a:pt x="123" y="403"/>
                  </a:lnTo>
                  <a:lnTo>
                    <a:pt x="82" y="407"/>
                  </a:lnTo>
                  <a:lnTo>
                    <a:pt x="82" y="403"/>
                  </a:lnTo>
                  <a:lnTo>
                    <a:pt x="82" y="398"/>
                  </a:lnTo>
                  <a:lnTo>
                    <a:pt x="82" y="393"/>
                  </a:lnTo>
                  <a:lnTo>
                    <a:pt x="77" y="384"/>
                  </a:lnTo>
                  <a:lnTo>
                    <a:pt x="73" y="381"/>
                  </a:lnTo>
                  <a:lnTo>
                    <a:pt x="71" y="381"/>
                  </a:lnTo>
                  <a:lnTo>
                    <a:pt x="70" y="381"/>
                  </a:lnTo>
                  <a:lnTo>
                    <a:pt x="68" y="381"/>
                  </a:lnTo>
                  <a:lnTo>
                    <a:pt x="68" y="377"/>
                  </a:lnTo>
                  <a:lnTo>
                    <a:pt x="68" y="376"/>
                  </a:lnTo>
                  <a:lnTo>
                    <a:pt x="63" y="376"/>
                  </a:lnTo>
                  <a:lnTo>
                    <a:pt x="59" y="376"/>
                  </a:lnTo>
                  <a:lnTo>
                    <a:pt x="56" y="372"/>
                  </a:lnTo>
                  <a:lnTo>
                    <a:pt x="56" y="369"/>
                  </a:lnTo>
                  <a:lnTo>
                    <a:pt x="54" y="367"/>
                  </a:lnTo>
                  <a:lnTo>
                    <a:pt x="49" y="367"/>
                  </a:lnTo>
                  <a:lnTo>
                    <a:pt x="47" y="365"/>
                  </a:lnTo>
                  <a:lnTo>
                    <a:pt x="44" y="363"/>
                  </a:lnTo>
                  <a:lnTo>
                    <a:pt x="40" y="363"/>
                  </a:lnTo>
                  <a:lnTo>
                    <a:pt x="37" y="363"/>
                  </a:lnTo>
                  <a:lnTo>
                    <a:pt x="33" y="362"/>
                  </a:lnTo>
                  <a:lnTo>
                    <a:pt x="33" y="358"/>
                  </a:lnTo>
                  <a:lnTo>
                    <a:pt x="33" y="358"/>
                  </a:lnTo>
                  <a:lnTo>
                    <a:pt x="33" y="356"/>
                  </a:lnTo>
                  <a:lnTo>
                    <a:pt x="37" y="351"/>
                  </a:lnTo>
                  <a:lnTo>
                    <a:pt x="33" y="348"/>
                  </a:lnTo>
                  <a:lnTo>
                    <a:pt x="31" y="344"/>
                  </a:lnTo>
                  <a:lnTo>
                    <a:pt x="31" y="344"/>
                  </a:lnTo>
                  <a:lnTo>
                    <a:pt x="33" y="343"/>
                  </a:lnTo>
                  <a:lnTo>
                    <a:pt x="31" y="341"/>
                  </a:lnTo>
                  <a:lnTo>
                    <a:pt x="28" y="337"/>
                  </a:lnTo>
                  <a:lnTo>
                    <a:pt x="24" y="330"/>
                  </a:lnTo>
                  <a:lnTo>
                    <a:pt x="23" y="325"/>
                  </a:lnTo>
                  <a:lnTo>
                    <a:pt x="21" y="322"/>
                  </a:lnTo>
                  <a:lnTo>
                    <a:pt x="21" y="320"/>
                  </a:lnTo>
                  <a:lnTo>
                    <a:pt x="21" y="316"/>
                  </a:lnTo>
                  <a:lnTo>
                    <a:pt x="19" y="313"/>
                  </a:lnTo>
                  <a:lnTo>
                    <a:pt x="19" y="311"/>
                  </a:lnTo>
                  <a:lnTo>
                    <a:pt x="21" y="311"/>
                  </a:lnTo>
                  <a:lnTo>
                    <a:pt x="23" y="311"/>
                  </a:lnTo>
                  <a:lnTo>
                    <a:pt x="23" y="306"/>
                  </a:lnTo>
                  <a:lnTo>
                    <a:pt x="21" y="306"/>
                  </a:lnTo>
                  <a:lnTo>
                    <a:pt x="19" y="303"/>
                  </a:lnTo>
                  <a:lnTo>
                    <a:pt x="17" y="299"/>
                  </a:lnTo>
                  <a:lnTo>
                    <a:pt x="16" y="299"/>
                  </a:lnTo>
                  <a:lnTo>
                    <a:pt x="16" y="297"/>
                  </a:lnTo>
                  <a:lnTo>
                    <a:pt x="17" y="294"/>
                  </a:lnTo>
                  <a:lnTo>
                    <a:pt x="16" y="292"/>
                  </a:lnTo>
                  <a:lnTo>
                    <a:pt x="17" y="290"/>
                  </a:lnTo>
                  <a:lnTo>
                    <a:pt x="17" y="289"/>
                  </a:lnTo>
                  <a:lnTo>
                    <a:pt x="19" y="287"/>
                  </a:lnTo>
                  <a:lnTo>
                    <a:pt x="21" y="287"/>
                  </a:lnTo>
                  <a:lnTo>
                    <a:pt x="23" y="290"/>
                  </a:lnTo>
                  <a:lnTo>
                    <a:pt x="24" y="292"/>
                  </a:lnTo>
                  <a:lnTo>
                    <a:pt x="24" y="290"/>
                  </a:lnTo>
                  <a:lnTo>
                    <a:pt x="23" y="289"/>
                  </a:lnTo>
                  <a:lnTo>
                    <a:pt x="23" y="283"/>
                  </a:lnTo>
                  <a:lnTo>
                    <a:pt x="21" y="283"/>
                  </a:lnTo>
                  <a:lnTo>
                    <a:pt x="21" y="280"/>
                  </a:lnTo>
                  <a:lnTo>
                    <a:pt x="23" y="280"/>
                  </a:lnTo>
                  <a:lnTo>
                    <a:pt x="24" y="280"/>
                  </a:lnTo>
                  <a:lnTo>
                    <a:pt x="28" y="280"/>
                  </a:lnTo>
                  <a:lnTo>
                    <a:pt x="28" y="280"/>
                  </a:lnTo>
                  <a:lnTo>
                    <a:pt x="26" y="280"/>
                  </a:lnTo>
                  <a:lnTo>
                    <a:pt x="24" y="276"/>
                  </a:lnTo>
                  <a:lnTo>
                    <a:pt x="23" y="276"/>
                  </a:lnTo>
                  <a:lnTo>
                    <a:pt x="21" y="275"/>
                  </a:lnTo>
                  <a:lnTo>
                    <a:pt x="21" y="276"/>
                  </a:lnTo>
                  <a:lnTo>
                    <a:pt x="17" y="275"/>
                  </a:lnTo>
                  <a:lnTo>
                    <a:pt x="17" y="280"/>
                  </a:lnTo>
                  <a:lnTo>
                    <a:pt x="17" y="283"/>
                  </a:lnTo>
                  <a:lnTo>
                    <a:pt x="17" y="283"/>
                  </a:lnTo>
                  <a:lnTo>
                    <a:pt x="16" y="283"/>
                  </a:lnTo>
                  <a:lnTo>
                    <a:pt x="16" y="280"/>
                  </a:lnTo>
                  <a:lnTo>
                    <a:pt x="11" y="276"/>
                  </a:lnTo>
                  <a:lnTo>
                    <a:pt x="11" y="275"/>
                  </a:lnTo>
                  <a:lnTo>
                    <a:pt x="11" y="271"/>
                  </a:lnTo>
                  <a:lnTo>
                    <a:pt x="11" y="269"/>
                  </a:lnTo>
                  <a:lnTo>
                    <a:pt x="5" y="259"/>
                  </a:lnTo>
                  <a:lnTo>
                    <a:pt x="4" y="256"/>
                  </a:lnTo>
                  <a:lnTo>
                    <a:pt x="5" y="254"/>
                  </a:lnTo>
                  <a:lnTo>
                    <a:pt x="5" y="252"/>
                  </a:lnTo>
                  <a:lnTo>
                    <a:pt x="5" y="249"/>
                  </a:lnTo>
                  <a:lnTo>
                    <a:pt x="4" y="247"/>
                  </a:lnTo>
                  <a:lnTo>
                    <a:pt x="4" y="243"/>
                  </a:lnTo>
                  <a:lnTo>
                    <a:pt x="5" y="242"/>
                  </a:lnTo>
                  <a:lnTo>
                    <a:pt x="5" y="236"/>
                  </a:lnTo>
                  <a:lnTo>
                    <a:pt x="5" y="229"/>
                  </a:lnTo>
                  <a:lnTo>
                    <a:pt x="4" y="224"/>
                  </a:lnTo>
                  <a:lnTo>
                    <a:pt x="0" y="221"/>
                  </a:lnTo>
                  <a:lnTo>
                    <a:pt x="0" y="216"/>
                  </a:lnTo>
                  <a:lnTo>
                    <a:pt x="2" y="212"/>
                  </a:lnTo>
                  <a:lnTo>
                    <a:pt x="9" y="209"/>
                  </a:lnTo>
                  <a:lnTo>
                    <a:pt x="9" y="203"/>
                  </a:lnTo>
                  <a:lnTo>
                    <a:pt x="9" y="203"/>
                  </a:lnTo>
                  <a:lnTo>
                    <a:pt x="9" y="202"/>
                  </a:lnTo>
                  <a:lnTo>
                    <a:pt x="9" y="198"/>
                  </a:lnTo>
                  <a:lnTo>
                    <a:pt x="11" y="196"/>
                  </a:lnTo>
                  <a:lnTo>
                    <a:pt x="11" y="189"/>
                  </a:lnTo>
                  <a:lnTo>
                    <a:pt x="11" y="184"/>
                  </a:lnTo>
                  <a:lnTo>
                    <a:pt x="11" y="181"/>
                  </a:lnTo>
                  <a:lnTo>
                    <a:pt x="12" y="179"/>
                  </a:lnTo>
                  <a:lnTo>
                    <a:pt x="9" y="176"/>
                  </a:lnTo>
                  <a:lnTo>
                    <a:pt x="9" y="170"/>
                  </a:lnTo>
                  <a:lnTo>
                    <a:pt x="11" y="165"/>
                  </a:lnTo>
                  <a:lnTo>
                    <a:pt x="11" y="158"/>
                  </a:lnTo>
                  <a:lnTo>
                    <a:pt x="12" y="155"/>
                  </a:lnTo>
                  <a:lnTo>
                    <a:pt x="16" y="151"/>
                  </a:lnTo>
                  <a:lnTo>
                    <a:pt x="17" y="146"/>
                  </a:lnTo>
                  <a:lnTo>
                    <a:pt x="19" y="144"/>
                  </a:lnTo>
                  <a:lnTo>
                    <a:pt x="21" y="139"/>
                  </a:lnTo>
                  <a:lnTo>
                    <a:pt x="24" y="136"/>
                  </a:lnTo>
                  <a:lnTo>
                    <a:pt x="28" y="130"/>
                  </a:lnTo>
                  <a:lnTo>
                    <a:pt x="28" y="122"/>
                  </a:lnTo>
                  <a:lnTo>
                    <a:pt x="33" y="115"/>
                  </a:lnTo>
                  <a:lnTo>
                    <a:pt x="33" y="106"/>
                  </a:lnTo>
                  <a:lnTo>
                    <a:pt x="37" y="96"/>
                  </a:lnTo>
                  <a:lnTo>
                    <a:pt x="38" y="92"/>
                  </a:lnTo>
                  <a:lnTo>
                    <a:pt x="42" y="89"/>
                  </a:lnTo>
                  <a:lnTo>
                    <a:pt x="42" y="85"/>
                  </a:lnTo>
                  <a:lnTo>
                    <a:pt x="42" y="80"/>
                  </a:lnTo>
                  <a:lnTo>
                    <a:pt x="45" y="78"/>
                  </a:lnTo>
                  <a:lnTo>
                    <a:pt x="45" y="75"/>
                  </a:lnTo>
                  <a:lnTo>
                    <a:pt x="45" y="75"/>
                  </a:lnTo>
                  <a:lnTo>
                    <a:pt x="49" y="75"/>
                  </a:lnTo>
                  <a:lnTo>
                    <a:pt x="54" y="76"/>
                  </a:lnTo>
                  <a:lnTo>
                    <a:pt x="56" y="78"/>
                  </a:lnTo>
                  <a:lnTo>
                    <a:pt x="59" y="76"/>
                  </a:lnTo>
                  <a:lnTo>
                    <a:pt x="61" y="80"/>
                  </a:lnTo>
                  <a:lnTo>
                    <a:pt x="63" y="83"/>
                  </a:lnTo>
                  <a:lnTo>
                    <a:pt x="63" y="78"/>
                  </a:lnTo>
                  <a:lnTo>
                    <a:pt x="59" y="76"/>
                  </a:lnTo>
                  <a:lnTo>
                    <a:pt x="56" y="76"/>
                  </a:lnTo>
                  <a:lnTo>
                    <a:pt x="56" y="73"/>
                  </a:lnTo>
                  <a:lnTo>
                    <a:pt x="50" y="73"/>
                  </a:lnTo>
                  <a:lnTo>
                    <a:pt x="45" y="71"/>
                  </a:lnTo>
                  <a:lnTo>
                    <a:pt x="45" y="70"/>
                  </a:lnTo>
                  <a:lnTo>
                    <a:pt x="45" y="70"/>
                  </a:lnTo>
                  <a:lnTo>
                    <a:pt x="47" y="70"/>
                  </a:lnTo>
                  <a:lnTo>
                    <a:pt x="49" y="66"/>
                  </a:lnTo>
                  <a:lnTo>
                    <a:pt x="49" y="64"/>
                  </a:lnTo>
                  <a:lnTo>
                    <a:pt x="50" y="61"/>
                  </a:lnTo>
                  <a:lnTo>
                    <a:pt x="47" y="61"/>
                  </a:lnTo>
                  <a:lnTo>
                    <a:pt x="45" y="57"/>
                  </a:lnTo>
                  <a:lnTo>
                    <a:pt x="47" y="56"/>
                  </a:lnTo>
                  <a:lnTo>
                    <a:pt x="49" y="56"/>
                  </a:lnTo>
                  <a:lnTo>
                    <a:pt x="50" y="54"/>
                  </a:lnTo>
                  <a:lnTo>
                    <a:pt x="50" y="52"/>
                  </a:lnTo>
                  <a:lnTo>
                    <a:pt x="47" y="52"/>
                  </a:lnTo>
                  <a:lnTo>
                    <a:pt x="47" y="50"/>
                  </a:lnTo>
                  <a:lnTo>
                    <a:pt x="49" y="45"/>
                  </a:lnTo>
                  <a:lnTo>
                    <a:pt x="47" y="40"/>
                  </a:lnTo>
                  <a:lnTo>
                    <a:pt x="49" y="33"/>
                  </a:lnTo>
                  <a:lnTo>
                    <a:pt x="47" y="26"/>
                  </a:lnTo>
                  <a:lnTo>
                    <a:pt x="47" y="23"/>
                  </a:lnTo>
                  <a:lnTo>
                    <a:pt x="50" y="16"/>
                  </a:lnTo>
                  <a:lnTo>
                    <a:pt x="50" y="12"/>
                  </a:lnTo>
                  <a:lnTo>
                    <a:pt x="52" y="12"/>
                  </a:lnTo>
                  <a:lnTo>
                    <a:pt x="59" y="19"/>
                  </a:lnTo>
                  <a:lnTo>
                    <a:pt x="63" y="23"/>
                  </a:lnTo>
                  <a:lnTo>
                    <a:pt x="71" y="23"/>
                  </a:lnTo>
                  <a:lnTo>
                    <a:pt x="73" y="24"/>
                  </a:lnTo>
                  <a:lnTo>
                    <a:pt x="75" y="28"/>
                  </a:lnTo>
                  <a:lnTo>
                    <a:pt x="77" y="26"/>
                  </a:lnTo>
                  <a:lnTo>
                    <a:pt x="78" y="26"/>
                  </a:lnTo>
                  <a:lnTo>
                    <a:pt x="78" y="30"/>
                  </a:lnTo>
                  <a:lnTo>
                    <a:pt x="78" y="30"/>
                  </a:lnTo>
                  <a:lnTo>
                    <a:pt x="75" y="33"/>
                  </a:lnTo>
                  <a:lnTo>
                    <a:pt x="71" y="35"/>
                  </a:lnTo>
                  <a:lnTo>
                    <a:pt x="71" y="38"/>
                  </a:lnTo>
                  <a:lnTo>
                    <a:pt x="75" y="38"/>
                  </a:lnTo>
                  <a:lnTo>
                    <a:pt x="77" y="33"/>
                  </a:lnTo>
                  <a:lnTo>
                    <a:pt x="78" y="33"/>
                  </a:lnTo>
                  <a:lnTo>
                    <a:pt x="82" y="30"/>
                  </a:lnTo>
                  <a:lnTo>
                    <a:pt x="82" y="33"/>
                  </a:lnTo>
                  <a:lnTo>
                    <a:pt x="78" y="35"/>
                  </a:lnTo>
                  <a:lnTo>
                    <a:pt x="77" y="40"/>
                  </a:lnTo>
                  <a:lnTo>
                    <a:pt x="77" y="43"/>
                  </a:lnTo>
                  <a:lnTo>
                    <a:pt x="77" y="45"/>
                  </a:lnTo>
                  <a:lnTo>
                    <a:pt x="75" y="43"/>
                  </a:lnTo>
                  <a:lnTo>
                    <a:pt x="73" y="45"/>
                  </a:lnTo>
                  <a:lnTo>
                    <a:pt x="71" y="43"/>
                  </a:lnTo>
                  <a:lnTo>
                    <a:pt x="70" y="47"/>
                  </a:lnTo>
                  <a:lnTo>
                    <a:pt x="71" y="49"/>
                  </a:lnTo>
                  <a:lnTo>
                    <a:pt x="73" y="50"/>
                  </a:lnTo>
                  <a:lnTo>
                    <a:pt x="78" y="47"/>
                  </a:lnTo>
                  <a:lnTo>
                    <a:pt x="78" y="43"/>
                  </a:lnTo>
                  <a:lnTo>
                    <a:pt x="78" y="42"/>
                  </a:lnTo>
                  <a:lnTo>
                    <a:pt x="78" y="38"/>
                  </a:lnTo>
                  <a:lnTo>
                    <a:pt x="82" y="38"/>
                  </a:lnTo>
                  <a:lnTo>
                    <a:pt x="82" y="33"/>
                  </a:lnTo>
                  <a:lnTo>
                    <a:pt x="85" y="30"/>
                  </a:lnTo>
                  <a:lnTo>
                    <a:pt x="90" y="28"/>
                  </a:lnTo>
                  <a:lnTo>
                    <a:pt x="87" y="26"/>
                  </a:lnTo>
                  <a:lnTo>
                    <a:pt x="87" y="23"/>
                  </a:lnTo>
                  <a:lnTo>
                    <a:pt x="85" y="23"/>
                  </a:lnTo>
                  <a:lnTo>
                    <a:pt x="87" y="19"/>
                  </a:lnTo>
                  <a:lnTo>
                    <a:pt x="90" y="17"/>
                  </a:lnTo>
                  <a:lnTo>
                    <a:pt x="85" y="16"/>
                  </a:lnTo>
                  <a:lnTo>
                    <a:pt x="85" y="12"/>
                  </a:lnTo>
                  <a:lnTo>
                    <a:pt x="90" y="10"/>
                  </a:lnTo>
                  <a:lnTo>
                    <a:pt x="90" y="10"/>
                  </a:lnTo>
                  <a:lnTo>
                    <a:pt x="85" y="7"/>
                  </a:lnTo>
                  <a:lnTo>
                    <a:pt x="85" y="0"/>
                  </a:lnTo>
                  <a:lnTo>
                    <a:pt x="85" y="0"/>
                  </a:lnTo>
                  <a:lnTo>
                    <a:pt x="85" y="0"/>
                  </a:lnTo>
                  <a:lnTo>
                    <a:pt x="85" y="0"/>
                  </a:lnTo>
                  <a:close/>
                  <a:moveTo>
                    <a:pt x="883" y="243"/>
                  </a:moveTo>
                  <a:lnTo>
                    <a:pt x="883" y="243"/>
                  </a:lnTo>
                  <a:lnTo>
                    <a:pt x="888" y="243"/>
                  </a:lnTo>
                  <a:lnTo>
                    <a:pt x="888" y="243"/>
                  </a:lnTo>
                  <a:lnTo>
                    <a:pt x="890" y="243"/>
                  </a:lnTo>
                  <a:lnTo>
                    <a:pt x="888" y="242"/>
                  </a:lnTo>
                  <a:lnTo>
                    <a:pt x="884" y="242"/>
                  </a:lnTo>
                  <a:lnTo>
                    <a:pt x="884" y="242"/>
                  </a:lnTo>
                  <a:lnTo>
                    <a:pt x="883" y="243"/>
                  </a:lnTo>
                  <a:lnTo>
                    <a:pt x="883" y="243"/>
                  </a:lnTo>
                  <a:lnTo>
                    <a:pt x="883" y="243"/>
                  </a:lnTo>
                  <a:lnTo>
                    <a:pt x="883" y="243"/>
                  </a:lnTo>
                  <a:close/>
                  <a:moveTo>
                    <a:pt x="831" y="257"/>
                  </a:moveTo>
                  <a:lnTo>
                    <a:pt x="829" y="257"/>
                  </a:lnTo>
                  <a:lnTo>
                    <a:pt x="834" y="257"/>
                  </a:lnTo>
                  <a:lnTo>
                    <a:pt x="834" y="256"/>
                  </a:lnTo>
                  <a:lnTo>
                    <a:pt x="838" y="256"/>
                  </a:lnTo>
                  <a:lnTo>
                    <a:pt x="841" y="256"/>
                  </a:lnTo>
                  <a:lnTo>
                    <a:pt x="846" y="254"/>
                  </a:lnTo>
                  <a:lnTo>
                    <a:pt x="848" y="254"/>
                  </a:lnTo>
                  <a:lnTo>
                    <a:pt x="853" y="254"/>
                  </a:lnTo>
                  <a:lnTo>
                    <a:pt x="857" y="252"/>
                  </a:lnTo>
                  <a:lnTo>
                    <a:pt x="857" y="252"/>
                  </a:lnTo>
                  <a:lnTo>
                    <a:pt x="862" y="252"/>
                  </a:lnTo>
                  <a:lnTo>
                    <a:pt x="864" y="249"/>
                  </a:lnTo>
                  <a:lnTo>
                    <a:pt x="860" y="252"/>
                  </a:lnTo>
                  <a:lnTo>
                    <a:pt x="860" y="249"/>
                  </a:lnTo>
                  <a:lnTo>
                    <a:pt x="857" y="252"/>
                  </a:lnTo>
                  <a:lnTo>
                    <a:pt x="857" y="249"/>
                  </a:lnTo>
                  <a:lnTo>
                    <a:pt x="857" y="249"/>
                  </a:lnTo>
                  <a:lnTo>
                    <a:pt x="857" y="249"/>
                  </a:lnTo>
                  <a:lnTo>
                    <a:pt x="853" y="249"/>
                  </a:lnTo>
                  <a:lnTo>
                    <a:pt x="848" y="249"/>
                  </a:lnTo>
                  <a:lnTo>
                    <a:pt x="843" y="252"/>
                  </a:lnTo>
                  <a:lnTo>
                    <a:pt x="839" y="252"/>
                  </a:lnTo>
                  <a:lnTo>
                    <a:pt x="834" y="252"/>
                  </a:lnTo>
                  <a:lnTo>
                    <a:pt x="831" y="252"/>
                  </a:lnTo>
                  <a:lnTo>
                    <a:pt x="829" y="256"/>
                  </a:lnTo>
                  <a:lnTo>
                    <a:pt x="829" y="257"/>
                  </a:lnTo>
                  <a:lnTo>
                    <a:pt x="831" y="257"/>
                  </a:lnTo>
                  <a:lnTo>
                    <a:pt x="831" y="257"/>
                  </a:lnTo>
                  <a:lnTo>
                    <a:pt x="831" y="257"/>
                  </a:lnTo>
                  <a:lnTo>
                    <a:pt x="831" y="257"/>
                  </a:lnTo>
                  <a:close/>
                  <a:moveTo>
                    <a:pt x="85" y="17"/>
                  </a:moveTo>
                  <a:lnTo>
                    <a:pt x="82" y="19"/>
                  </a:lnTo>
                  <a:lnTo>
                    <a:pt x="82" y="24"/>
                  </a:lnTo>
                  <a:lnTo>
                    <a:pt x="82" y="30"/>
                  </a:lnTo>
                  <a:lnTo>
                    <a:pt x="85" y="30"/>
                  </a:lnTo>
                  <a:lnTo>
                    <a:pt x="82" y="23"/>
                  </a:lnTo>
                  <a:lnTo>
                    <a:pt x="82" y="19"/>
                  </a:lnTo>
                  <a:lnTo>
                    <a:pt x="85" y="19"/>
                  </a:lnTo>
                  <a:lnTo>
                    <a:pt x="85" y="17"/>
                  </a:lnTo>
                  <a:lnTo>
                    <a:pt x="85" y="17"/>
                  </a:lnTo>
                  <a:lnTo>
                    <a:pt x="85" y="17"/>
                  </a:lnTo>
                  <a:lnTo>
                    <a:pt x="85" y="17"/>
                  </a:lnTo>
                  <a:close/>
                  <a:moveTo>
                    <a:pt x="408" y="516"/>
                  </a:moveTo>
                  <a:lnTo>
                    <a:pt x="408" y="513"/>
                  </a:lnTo>
                  <a:lnTo>
                    <a:pt x="412" y="511"/>
                  </a:lnTo>
                  <a:lnTo>
                    <a:pt x="414" y="508"/>
                  </a:lnTo>
                  <a:lnTo>
                    <a:pt x="412" y="509"/>
                  </a:lnTo>
                  <a:lnTo>
                    <a:pt x="408" y="516"/>
                  </a:lnTo>
                  <a:lnTo>
                    <a:pt x="408" y="516"/>
                  </a:lnTo>
                  <a:lnTo>
                    <a:pt x="408" y="516"/>
                  </a:lnTo>
                  <a:lnTo>
                    <a:pt x="408" y="516"/>
                  </a:lnTo>
                  <a:close/>
                  <a:moveTo>
                    <a:pt x="403" y="525"/>
                  </a:moveTo>
                  <a:lnTo>
                    <a:pt x="405" y="525"/>
                  </a:lnTo>
                  <a:lnTo>
                    <a:pt x="407" y="520"/>
                  </a:lnTo>
                  <a:lnTo>
                    <a:pt x="407" y="516"/>
                  </a:lnTo>
                  <a:lnTo>
                    <a:pt x="403" y="525"/>
                  </a:lnTo>
                  <a:lnTo>
                    <a:pt x="403" y="525"/>
                  </a:lnTo>
                  <a:lnTo>
                    <a:pt x="403" y="525"/>
                  </a:lnTo>
                  <a:lnTo>
                    <a:pt x="403" y="525"/>
                  </a:lnTo>
                  <a:close/>
                  <a:moveTo>
                    <a:pt x="400" y="548"/>
                  </a:moveTo>
                  <a:lnTo>
                    <a:pt x="400" y="542"/>
                  </a:lnTo>
                  <a:lnTo>
                    <a:pt x="400" y="536"/>
                  </a:lnTo>
                  <a:lnTo>
                    <a:pt x="403" y="527"/>
                  </a:lnTo>
                  <a:lnTo>
                    <a:pt x="400" y="534"/>
                  </a:lnTo>
                  <a:lnTo>
                    <a:pt x="400" y="542"/>
                  </a:lnTo>
                  <a:lnTo>
                    <a:pt x="400" y="542"/>
                  </a:lnTo>
                  <a:lnTo>
                    <a:pt x="400" y="548"/>
                  </a:lnTo>
                  <a:lnTo>
                    <a:pt x="400" y="548"/>
                  </a:lnTo>
                  <a:lnTo>
                    <a:pt x="400" y="548"/>
                  </a:lnTo>
                  <a:lnTo>
                    <a:pt x="400" y="54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9" name="Groupe 211">
            <a:extLst>
              <a:ext uri="{FF2B5EF4-FFF2-40B4-BE49-F238E27FC236}">
                <a16:creationId xmlns:a16="http://schemas.microsoft.com/office/drawing/2014/main" id="{EFE3FE53-5B0C-4E4D-AF49-1063FDADCA41}"/>
              </a:ext>
            </a:extLst>
          </p:cNvPr>
          <p:cNvGrpSpPr/>
          <p:nvPr/>
        </p:nvGrpSpPr>
        <p:grpSpPr>
          <a:xfrm>
            <a:off x="1535113" y="3568701"/>
            <a:ext cx="2152650" cy="2760662"/>
            <a:chOff x="1382713" y="3289301"/>
            <a:chExt cx="2152650" cy="2760662"/>
          </a:xfrm>
          <a:solidFill>
            <a:schemeClr val="accent4"/>
          </a:solidFill>
        </p:grpSpPr>
        <p:sp>
          <p:nvSpPr>
            <p:cNvPr id="1036" name="Freeform 42">
              <a:extLst>
                <a:ext uri="{FF2B5EF4-FFF2-40B4-BE49-F238E27FC236}">
                  <a16:creationId xmlns:a16="http://schemas.microsoft.com/office/drawing/2014/main" id="{4B68A786-0EB3-462F-BE29-FC000F16CEBC}"/>
                </a:ext>
              </a:extLst>
            </p:cNvPr>
            <p:cNvSpPr>
              <a:spLocks/>
            </p:cNvSpPr>
            <p:nvPr/>
          </p:nvSpPr>
          <p:spPr bwMode="auto">
            <a:xfrm>
              <a:off x="1990725" y="3770313"/>
              <a:ext cx="107950" cy="115888"/>
            </a:xfrm>
            <a:custGeom>
              <a:avLst/>
              <a:gdLst/>
              <a:ahLst/>
              <a:cxnLst>
                <a:cxn ang="0">
                  <a:pos x="35" y="73"/>
                </a:cxn>
                <a:cxn ang="0">
                  <a:pos x="37" y="67"/>
                </a:cxn>
                <a:cxn ang="0">
                  <a:pos x="46" y="64"/>
                </a:cxn>
                <a:cxn ang="0">
                  <a:pos x="49" y="61"/>
                </a:cxn>
                <a:cxn ang="0">
                  <a:pos x="51" y="54"/>
                </a:cxn>
                <a:cxn ang="0">
                  <a:pos x="60" y="45"/>
                </a:cxn>
                <a:cxn ang="0">
                  <a:pos x="65" y="41"/>
                </a:cxn>
                <a:cxn ang="0">
                  <a:pos x="68" y="38"/>
                </a:cxn>
                <a:cxn ang="0">
                  <a:pos x="68" y="34"/>
                </a:cxn>
                <a:cxn ang="0">
                  <a:pos x="63" y="38"/>
                </a:cxn>
                <a:cxn ang="0">
                  <a:pos x="60" y="34"/>
                </a:cxn>
                <a:cxn ang="0">
                  <a:pos x="56" y="33"/>
                </a:cxn>
                <a:cxn ang="0">
                  <a:pos x="53" y="33"/>
                </a:cxn>
                <a:cxn ang="0">
                  <a:pos x="53" y="0"/>
                </a:cxn>
                <a:cxn ang="0">
                  <a:pos x="23" y="10"/>
                </a:cxn>
                <a:cxn ang="0">
                  <a:pos x="20" y="12"/>
                </a:cxn>
                <a:cxn ang="0">
                  <a:pos x="23" y="17"/>
                </a:cxn>
                <a:cxn ang="0">
                  <a:pos x="27" y="19"/>
                </a:cxn>
                <a:cxn ang="0">
                  <a:pos x="28" y="22"/>
                </a:cxn>
                <a:cxn ang="0">
                  <a:pos x="33" y="26"/>
                </a:cxn>
                <a:cxn ang="0">
                  <a:pos x="35" y="27"/>
                </a:cxn>
                <a:cxn ang="0">
                  <a:pos x="11" y="31"/>
                </a:cxn>
                <a:cxn ang="0">
                  <a:pos x="2" y="50"/>
                </a:cxn>
                <a:cxn ang="0">
                  <a:pos x="2" y="54"/>
                </a:cxn>
                <a:cxn ang="0">
                  <a:pos x="4" y="54"/>
                </a:cxn>
                <a:cxn ang="0">
                  <a:pos x="2" y="57"/>
                </a:cxn>
                <a:cxn ang="0">
                  <a:pos x="0" y="59"/>
                </a:cxn>
                <a:cxn ang="0">
                  <a:pos x="6" y="64"/>
                </a:cxn>
                <a:cxn ang="0">
                  <a:pos x="9" y="69"/>
                </a:cxn>
                <a:cxn ang="0">
                  <a:pos x="23" y="73"/>
                </a:cxn>
                <a:cxn ang="0">
                  <a:pos x="33" y="73"/>
                </a:cxn>
                <a:cxn ang="0">
                  <a:pos x="33" y="73"/>
                </a:cxn>
              </a:cxnLst>
              <a:rect l="0" t="0" r="r" b="b"/>
              <a:pathLst>
                <a:path w="68" h="73">
                  <a:moveTo>
                    <a:pt x="33" y="73"/>
                  </a:moveTo>
                  <a:lnTo>
                    <a:pt x="35" y="73"/>
                  </a:lnTo>
                  <a:lnTo>
                    <a:pt x="35" y="71"/>
                  </a:lnTo>
                  <a:lnTo>
                    <a:pt x="37" y="67"/>
                  </a:lnTo>
                  <a:lnTo>
                    <a:pt x="42" y="64"/>
                  </a:lnTo>
                  <a:lnTo>
                    <a:pt x="46" y="64"/>
                  </a:lnTo>
                  <a:lnTo>
                    <a:pt x="46" y="64"/>
                  </a:lnTo>
                  <a:lnTo>
                    <a:pt x="49" y="61"/>
                  </a:lnTo>
                  <a:lnTo>
                    <a:pt x="53" y="55"/>
                  </a:lnTo>
                  <a:lnTo>
                    <a:pt x="51" y="54"/>
                  </a:lnTo>
                  <a:lnTo>
                    <a:pt x="54" y="50"/>
                  </a:lnTo>
                  <a:lnTo>
                    <a:pt x="60" y="45"/>
                  </a:lnTo>
                  <a:lnTo>
                    <a:pt x="60" y="45"/>
                  </a:lnTo>
                  <a:lnTo>
                    <a:pt x="65" y="41"/>
                  </a:lnTo>
                  <a:lnTo>
                    <a:pt x="66" y="40"/>
                  </a:lnTo>
                  <a:lnTo>
                    <a:pt x="68" y="38"/>
                  </a:lnTo>
                  <a:lnTo>
                    <a:pt x="68" y="36"/>
                  </a:lnTo>
                  <a:lnTo>
                    <a:pt x="68" y="34"/>
                  </a:lnTo>
                  <a:lnTo>
                    <a:pt x="65" y="34"/>
                  </a:lnTo>
                  <a:lnTo>
                    <a:pt x="63" y="38"/>
                  </a:lnTo>
                  <a:lnTo>
                    <a:pt x="63" y="34"/>
                  </a:lnTo>
                  <a:lnTo>
                    <a:pt x="60" y="34"/>
                  </a:lnTo>
                  <a:lnTo>
                    <a:pt x="58" y="33"/>
                  </a:lnTo>
                  <a:lnTo>
                    <a:pt x="56" y="33"/>
                  </a:lnTo>
                  <a:lnTo>
                    <a:pt x="56" y="33"/>
                  </a:lnTo>
                  <a:lnTo>
                    <a:pt x="53" y="33"/>
                  </a:lnTo>
                  <a:lnTo>
                    <a:pt x="53" y="0"/>
                  </a:lnTo>
                  <a:lnTo>
                    <a:pt x="53" y="0"/>
                  </a:lnTo>
                  <a:lnTo>
                    <a:pt x="23" y="0"/>
                  </a:lnTo>
                  <a:lnTo>
                    <a:pt x="23" y="10"/>
                  </a:lnTo>
                  <a:lnTo>
                    <a:pt x="16" y="10"/>
                  </a:lnTo>
                  <a:lnTo>
                    <a:pt x="20" y="12"/>
                  </a:lnTo>
                  <a:lnTo>
                    <a:pt x="20" y="14"/>
                  </a:lnTo>
                  <a:lnTo>
                    <a:pt x="23" y="17"/>
                  </a:lnTo>
                  <a:lnTo>
                    <a:pt x="27" y="19"/>
                  </a:lnTo>
                  <a:lnTo>
                    <a:pt x="27" y="19"/>
                  </a:lnTo>
                  <a:lnTo>
                    <a:pt x="28" y="22"/>
                  </a:lnTo>
                  <a:lnTo>
                    <a:pt x="28" y="22"/>
                  </a:lnTo>
                  <a:lnTo>
                    <a:pt x="30" y="26"/>
                  </a:lnTo>
                  <a:lnTo>
                    <a:pt x="33" y="26"/>
                  </a:lnTo>
                  <a:lnTo>
                    <a:pt x="35" y="26"/>
                  </a:lnTo>
                  <a:lnTo>
                    <a:pt x="35" y="27"/>
                  </a:lnTo>
                  <a:lnTo>
                    <a:pt x="33" y="31"/>
                  </a:lnTo>
                  <a:lnTo>
                    <a:pt x="11" y="31"/>
                  </a:lnTo>
                  <a:lnTo>
                    <a:pt x="2" y="48"/>
                  </a:lnTo>
                  <a:lnTo>
                    <a:pt x="2" y="50"/>
                  </a:lnTo>
                  <a:lnTo>
                    <a:pt x="2" y="50"/>
                  </a:lnTo>
                  <a:lnTo>
                    <a:pt x="2" y="54"/>
                  </a:lnTo>
                  <a:lnTo>
                    <a:pt x="4" y="54"/>
                  </a:lnTo>
                  <a:lnTo>
                    <a:pt x="4" y="54"/>
                  </a:lnTo>
                  <a:lnTo>
                    <a:pt x="4" y="55"/>
                  </a:lnTo>
                  <a:lnTo>
                    <a:pt x="2" y="57"/>
                  </a:lnTo>
                  <a:lnTo>
                    <a:pt x="0" y="59"/>
                  </a:lnTo>
                  <a:lnTo>
                    <a:pt x="0" y="59"/>
                  </a:lnTo>
                  <a:lnTo>
                    <a:pt x="4" y="62"/>
                  </a:lnTo>
                  <a:lnTo>
                    <a:pt x="6" y="64"/>
                  </a:lnTo>
                  <a:lnTo>
                    <a:pt x="9" y="64"/>
                  </a:lnTo>
                  <a:lnTo>
                    <a:pt x="9" y="69"/>
                  </a:lnTo>
                  <a:lnTo>
                    <a:pt x="20" y="73"/>
                  </a:lnTo>
                  <a:lnTo>
                    <a:pt x="23" y="73"/>
                  </a:lnTo>
                  <a:lnTo>
                    <a:pt x="27" y="73"/>
                  </a:lnTo>
                  <a:lnTo>
                    <a:pt x="33" y="73"/>
                  </a:lnTo>
                  <a:lnTo>
                    <a:pt x="33" y="73"/>
                  </a:lnTo>
                  <a:lnTo>
                    <a:pt x="33" y="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7" name="Freeform 43">
              <a:extLst>
                <a:ext uri="{FF2B5EF4-FFF2-40B4-BE49-F238E27FC236}">
                  <a16:creationId xmlns:a16="http://schemas.microsoft.com/office/drawing/2014/main" id="{2559F6E6-E6AE-4B90-9F4D-E77C24325347}"/>
                </a:ext>
              </a:extLst>
            </p:cNvPr>
            <p:cNvSpPr>
              <a:spLocks noEditPoints="1"/>
            </p:cNvSpPr>
            <p:nvPr/>
          </p:nvSpPr>
          <p:spPr bwMode="auto">
            <a:xfrm>
              <a:off x="1382713" y="3289301"/>
              <a:ext cx="771525" cy="574675"/>
            </a:xfrm>
            <a:custGeom>
              <a:avLst/>
              <a:gdLst/>
              <a:ahLst/>
              <a:cxnLst>
                <a:cxn ang="0">
                  <a:pos x="182" y="35"/>
                </a:cxn>
                <a:cxn ang="0">
                  <a:pos x="196" y="49"/>
                </a:cxn>
                <a:cxn ang="0">
                  <a:pos x="201" y="71"/>
                </a:cxn>
                <a:cxn ang="0">
                  <a:pos x="215" y="80"/>
                </a:cxn>
                <a:cxn ang="0">
                  <a:pos x="231" y="80"/>
                </a:cxn>
                <a:cxn ang="0">
                  <a:pos x="251" y="70"/>
                </a:cxn>
                <a:cxn ang="0">
                  <a:pos x="269" y="92"/>
                </a:cxn>
                <a:cxn ang="0">
                  <a:pos x="283" y="122"/>
                </a:cxn>
                <a:cxn ang="0">
                  <a:pos x="302" y="148"/>
                </a:cxn>
                <a:cxn ang="0">
                  <a:pos x="314" y="153"/>
                </a:cxn>
                <a:cxn ang="0">
                  <a:pos x="305" y="171"/>
                </a:cxn>
                <a:cxn ang="0">
                  <a:pos x="298" y="214"/>
                </a:cxn>
                <a:cxn ang="0">
                  <a:pos x="304" y="242"/>
                </a:cxn>
                <a:cxn ang="0">
                  <a:pos x="331" y="284"/>
                </a:cxn>
                <a:cxn ang="0">
                  <a:pos x="368" y="290"/>
                </a:cxn>
                <a:cxn ang="0">
                  <a:pos x="397" y="294"/>
                </a:cxn>
                <a:cxn ang="0">
                  <a:pos x="413" y="270"/>
                </a:cxn>
                <a:cxn ang="0">
                  <a:pos x="458" y="235"/>
                </a:cxn>
                <a:cxn ang="0">
                  <a:pos x="479" y="252"/>
                </a:cxn>
                <a:cxn ang="0">
                  <a:pos x="467" y="278"/>
                </a:cxn>
                <a:cxn ang="0">
                  <a:pos x="460" y="285"/>
                </a:cxn>
                <a:cxn ang="0">
                  <a:pos x="441" y="303"/>
                </a:cxn>
                <a:cxn ang="0">
                  <a:pos x="403" y="317"/>
                </a:cxn>
                <a:cxn ang="0">
                  <a:pos x="392" y="334"/>
                </a:cxn>
                <a:cxn ang="0">
                  <a:pos x="378" y="358"/>
                </a:cxn>
                <a:cxn ang="0">
                  <a:pos x="345" y="330"/>
                </a:cxn>
                <a:cxn ang="0">
                  <a:pos x="345" y="330"/>
                </a:cxn>
                <a:cxn ang="0">
                  <a:pos x="338" y="334"/>
                </a:cxn>
                <a:cxn ang="0">
                  <a:pos x="283" y="332"/>
                </a:cxn>
                <a:cxn ang="0">
                  <a:pos x="246" y="317"/>
                </a:cxn>
                <a:cxn ang="0">
                  <a:pos x="203" y="297"/>
                </a:cxn>
                <a:cxn ang="0">
                  <a:pos x="173" y="277"/>
                </a:cxn>
                <a:cxn ang="0">
                  <a:pos x="166" y="252"/>
                </a:cxn>
                <a:cxn ang="0">
                  <a:pos x="165" y="216"/>
                </a:cxn>
                <a:cxn ang="0">
                  <a:pos x="130" y="172"/>
                </a:cxn>
                <a:cxn ang="0">
                  <a:pos x="111" y="150"/>
                </a:cxn>
                <a:cxn ang="0">
                  <a:pos x="114" y="134"/>
                </a:cxn>
                <a:cxn ang="0">
                  <a:pos x="93" y="108"/>
                </a:cxn>
                <a:cxn ang="0">
                  <a:pos x="76" y="91"/>
                </a:cxn>
                <a:cxn ang="0">
                  <a:pos x="64" y="61"/>
                </a:cxn>
                <a:cxn ang="0">
                  <a:pos x="53" y="30"/>
                </a:cxn>
                <a:cxn ang="0">
                  <a:pos x="34" y="35"/>
                </a:cxn>
                <a:cxn ang="0">
                  <a:pos x="48" y="80"/>
                </a:cxn>
                <a:cxn ang="0">
                  <a:pos x="64" y="106"/>
                </a:cxn>
                <a:cxn ang="0">
                  <a:pos x="74" y="125"/>
                </a:cxn>
                <a:cxn ang="0">
                  <a:pos x="83" y="157"/>
                </a:cxn>
                <a:cxn ang="0">
                  <a:pos x="92" y="176"/>
                </a:cxn>
                <a:cxn ang="0">
                  <a:pos x="97" y="204"/>
                </a:cxn>
                <a:cxn ang="0">
                  <a:pos x="71" y="172"/>
                </a:cxn>
                <a:cxn ang="0">
                  <a:pos x="59" y="136"/>
                </a:cxn>
                <a:cxn ang="0">
                  <a:pos x="41" y="122"/>
                </a:cxn>
                <a:cxn ang="0">
                  <a:pos x="26" y="103"/>
                </a:cxn>
                <a:cxn ang="0">
                  <a:pos x="36" y="94"/>
                </a:cxn>
                <a:cxn ang="0">
                  <a:pos x="17" y="64"/>
                </a:cxn>
                <a:cxn ang="0">
                  <a:pos x="10" y="33"/>
                </a:cxn>
                <a:cxn ang="0">
                  <a:pos x="0" y="4"/>
                </a:cxn>
                <a:cxn ang="0">
                  <a:pos x="90" y="172"/>
                </a:cxn>
                <a:cxn ang="0">
                  <a:pos x="307" y="165"/>
                </a:cxn>
                <a:cxn ang="0">
                  <a:pos x="307" y="172"/>
                </a:cxn>
              </a:cxnLst>
              <a:rect l="0" t="0" r="r" b="b"/>
              <a:pathLst>
                <a:path w="486" h="362">
                  <a:moveTo>
                    <a:pt x="0" y="4"/>
                  </a:moveTo>
                  <a:lnTo>
                    <a:pt x="39" y="0"/>
                  </a:lnTo>
                  <a:lnTo>
                    <a:pt x="41" y="4"/>
                  </a:lnTo>
                  <a:lnTo>
                    <a:pt x="39" y="4"/>
                  </a:lnTo>
                  <a:lnTo>
                    <a:pt x="98" y="30"/>
                  </a:lnTo>
                  <a:lnTo>
                    <a:pt x="147" y="31"/>
                  </a:lnTo>
                  <a:lnTo>
                    <a:pt x="147" y="26"/>
                  </a:lnTo>
                  <a:lnTo>
                    <a:pt x="173" y="26"/>
                  </a:lnTo>
                  <a:lnTo>
                    <a:pt x="178" y="30"/>
                  </a:lnTo>
                  <a:lnTo>
                    <a:pt x="180" y="31"/>
                  </a:lnTo>
                  <a:lnTo>
                    <a:pt x="182" y="35"/>
                  </a:lnTo>
                  <a:lnTo>
                    <a:pt x="182" y="35"/>
                  </a:lnTo>
                  <a:lnTo>
                    <a:pt x="184" y="35"/>
                  </a:lnTo>
                  <a:lnTo>
                    <a:pt x="185" y="38"/>
                  </a:lnTo>
                  <a:lnTo>
                    <a:pt x="184" y="40"/>
                  </a:lnTo>
                  <a:lnTo>
                    <a:pt x="187" y="42"/>
                  </a:lnTo>
                  <a:lnTo>
                    <a:pt x="189" y="44"/>
                  </a:lnTo>
                  <a:lnTo>
                    <a:pt x="189" y="45"/>
                  </a:lnTo>
                  <a:lnTo>
                    <a:pt x="189" y="45"/>
                  </a:lnTo>
                  <a:lnTo>
                    <a:pt x="189" y="45"/>
                  </a:lnTo>
                  <a:lnTo>
                    <a:pt x="192" y="49"/>
                  </a:lnTo>
                  <a:lnTo>
                    <a:pt x="196" y="49"/>
                  </a:lnTo>
                  <a:lnTo>
                    <a:pt x="196" y="54"/>
                  </a:lnTo>
                  <a:lnTo>
                    <a:pt x="198" y="56"/>
                  </a:lnTo>
                  <a:lnTo>
                    <a:pt x="198" y="56"/>
                  </a:lnTo>
                  <a:lnTo>
                    <a:pt x="198" y="57"/>
                  </a:lnTo>
                  <a:lnTo>
                    <a:pt x="201" y="59"/>
                  </a:lnTo>
                  <a:lnTo>
                    <a:pt x="201" y="61"/>
                  </a:lnTo>
                  <a:lnTo>
                    <a:pt x="198" y="63"/>
                  </a:lnTo>
                  <a:lnTo>
                    <a:pt x="198" y="63"/>
                  </a:lnTo>
                  <a:lnTo>
                    <a:pt x="198" y="64"/>
                  </a:lnTo>
                  <a:lnTo>
                    <a:pt x="201" y="68"/>
                  </a:lnTo>
                  <a:lnTo>
                    <a:pt x="201" y="71"/>
                  </a:lnTo>
                  <a:lnTo>
                    <a:pt x="203" y="71"/>
                  </a:lnTo>
                  <a:lnTo>
                    <a:pt x="203" y="75"/>
                  </a:lnTo>
                  <a:lnTo>
                    <a:pt x="203" y="75"/>
                  </a:lnTo>
                  <a:lnTo>
                    <a:pt x="204" y="75"/>
                  </a:lnTo>
                  <a:lnTo>
                    <a:pt x="206" y="75"/>
                  </a:lnTo>
                  <a:lnTo>
                    <a:pt x="208" y="75"/>
                  </a:lnTo>
                  <a:lnTo>
                    <a:pt x="208" y="77"/>
                  </a:lnTo>
                  <a:lnTo>
                    <a:pt x="208" y="77"/>
                  </a:lnTo>
                  <a:lnTo>
                    <a:pt x="210" y="80"/>
                  </a:lnTo>
                  <a:lnTo>
                    <a:pt x="211" y="80"/>
                  </a:lnTo>
                  <a:lnTo>
                    <a:pt x="215" y="80"/>
                  </a:lnTo>
                  <a:lnTo>
                    <a:pt x="215" y="82"/>
                  </a:lnTo>
                  <a:lnTo>
                    <a:pt x="218" y="82"/>
                  </a:lnTo>
                  <a:lnTo>
                    <a:pt x="224" y="84"/>
                  </a:lnTo>
                  <a:lnTo>
                    <a:pt x="224" y="85"/>
                  </a:lnTo>
                  <a:lnTo>
                    <a:pt x="224" y="85"/>
                  </a:lnTo>
                  <a:lnTo>
                    <a:pt x="225" y="85"/>
                  </a:lnTo>
                  <a:lnTo>
                    <a:pt x="225" y="84"/>
                  </a:lnTo>
                  <a:lnTo>
                    <a:pt x="229" y="82"/>
                  </a:lnTo>
                  <a:lnTo>
                    <a:pt x="231" y="82"/>
                  </a:lnTo>
                  <a:lnTo>
                    <a:pt x="231" y="80"/>
                  </a:lnTo>
                  <a:lnTo>
                    <a:pt x="231" y="80"/>
                  </a:lnTo>
                  <a:lnTo>
                    <a:pt x="232" y="77"/>
                  </a:lnTo>
                  <a:lnTo>
                    <a:pt x="234" y="71"/>
                  </a:lnTo>
                  <a:lnTo>
                    <a:pt x="236" y="71"/>
                  </a:lnTo>
                  <a:lnTo>
                    <a:pt x="239" y="71"/>
                  </a:lnTo>
                  <a:lnTo>
                    <a:pt x="239" y="71"/>
                  </a:lnTo>
                  <a:lnTo>
                    <a:pt x="241" y="71"/>
                  </a:lnTo>
                  <a:lnTo>
                    <a:pt x="241" y="71"/>
                  </a:lnTo>
                  <a:lnTo>
                    <a:pt x="243" y="70"/>
                  </a:lnTo>
                  <a:lnTo>
                    <a:pt x="246" y="70"/>
                  </a:lnTo>
                  <a:lnTo>
                    <a:pt x="248" y="70"/>
                  </a:lnTo>
                  <a:lnTo>
                    <a:pt x="251" y="70"/>
                  </a:lnTo>
                  <a:lnTo>
                    <a:pt x="251" y="70"/>
                  </a:lnTo>
                  <a:lnTo>
                    <a:pt x="253" y="71"/>
                  </a:lnTo>
                  <a:lnTo>
                    <a:pt x="255" y="71"/>
                  </a:lnTo>
                  <a:lnTo>
                    <a:pt x="258" y="71"/>
                  </a:lnTo>
                  <a:lnTo>
                    <a:pt x="260" y="75"/>
                  </a:lnTo>
                  <a:lnTo>
                    <a:pt x="264" y="77"/>
                  </a:lnTo>
                  <a:lnTo>
                    <a:pt x="265" y="80"/>
                  </a:lnTo>
                  <a:lnTo>
                    <a:pt x="265" y="85"/>
                  </a:lnTo>
                  <a:lnTo>
                    <a:pt x="269" y="85"/>
                  </a:lnTo>
                  <a:lnTo>
                    <a:pt x="269" y="89"/>
                  </a:lnTo>
                  <a:lnTo>
                    <a:pt x="269" y="92"/>
                  </a:lnTo>
                  <a:lnTo>
                    <a:pt x="269" y="94"/>
                  </a:lnTo>
                  <a:lnTo>
                    <a:pt x="271" y="94"/>
                  </a:lnTo>
                  <a:lnTo>
                    <a:pt x="272" y="103"/>
                  </a:lnTo>
                  <a:lnTo>
                    <a:pt x="274" y="103"/>
                  </a:lnTo>
                  <a:lnTo>
                    <a:pt x="274" y="104"/>
                  </a:lnTo>
                  <a:lnTo>
                    <a:pt x="277" y="106"/>
                  </a:lnTo>
                  <a:lnTo>
                    <a:pt x="277" y="110"/>
                  </a:lnTo>
                  <a:lnTo>
                    <a:pt x="279" y="113"/>
                  </a:lnTo>
                  <a:lnTo>
                    <a:pt x="283" y="117"/>
                  </a:lnTo>
                  <a:lnTo>
                    <a:pt x="283" y="120"/>
                  </a:lnTo>
                  <a:lnTo>
                    <a:pt x="283" y="122"/>
                  </a:lnTo>
                  <a:lnTo>
                    <a:pt x="283" y="122"/>
                  </a:lnTo>
                  <a:lnTo>
                    <a:pt x="283" y="125"/>
                  </a:lnTo>
                  <a:lnTo>
                    <a:pt x="286" y="134"/>
                  </a:lnTo>
                  <a:lnTo>
                    <a:pt x="286" y="137"/>
                  </a:lnTo>
                  <a:lnTo>
                    <a:pt x="288" y="141"/>
                  </a:lnTo>
                  <a:lnTo>
                    <a:pt x="288" y="141"/>
                  </a:lnTo>
                  <a:lnTo>
                    <a:pt x="288" y="141"/>
                  </a:lnTo>
                  <a:lnTo>
                    <a:pt x="291" y="141"/>
                  </a:lnTo>
                  <a:lnTo>
                    <a:pt x="293" y="143"/>
                  </a:lnTo>
                  <a:lnTo>
                    <a:pt x="297" y="144"/>
                  </a:lnTo>
                  <a:lnTo>
                    <a:pt x="302" y="148"/>
                  </a:lnTo>
                  <a:lnTo>
                    <a:pt x="305" y="148"/>
                  </a:lnTo>
                  <a:lnTo>
                    <a:pt x="309" y="148"/>
                  </a:lnTo>
                  <a:lnTo>
                    <a:pt x="310" y="150"/>
                  </a:lnTo>
                  <a:lnTo>
                    <a:pt x="310" y="153"/>
                  </a:lnTo>
                  <a:lnTo>
                    <a:pt x="310" y="153"/>
                  </a:lnTo>
                  <a:lnTo>
                    <a:pt x="314" y="153"/>
                  </a:lnTo>
                  <a:lnTo>
                    <a:pt x="314" y="148"/>
                  </a:lnTo>
                  <a:lnTo>
                    <a:pt x="316" y="144"/>
                  </a:lnTo>
                  <a:lnTo>
                    <a:pt x="316" y="148"/>
                  </a:lnTo>
                  <a:lnTo>
                    <a:pt x="314" y="153"/>
                  </a:lnTo>
                  <a:lnTo>
                    <a:pt x="314" y="153"/>
                  </a:lnTo>
                  <a:lnTo>
                    <a:pt x="314" y="157"/>
                  </a:lnTo>
                  <a:lnTo>
                    <a:pt x="310" y="160"/>
                  </a:lnTo>
                  <a:lnTo>
                    <a:pt x="310" y="164"/>
                  </a:lnTo>
                  <a:lnTo>
                    <a:pt x="309" y="164"/>
                  </a:lnTo>
                  <a:lnTo>
                    <a:pt x="309" y="162"/>
                  </a:lnTo>
                  <a:lnTo>
                    <a:pt x="309" y="158"/>
                  </a:lnTo>
                  <a:lnTo>
                    <a:pt x="307" y="158"/>
                  </a:lnTo>
                  <a:lnTo>
                    <a:pt x="307" y="164"/>
                  </a:lnTo>
                  <a:lnTo>
                    <a:pt x="304" y="167"/>
                  </a:lnTo>
                  <a:lnTo>
                    <a:pt x="307" y="167"/>
                  </a:lnTo>
                  <a:lnTo>
                    <a:pt x="305" y="171"/>
                  </a:lnTo>
                  <a:lnTo>
                    <a:pt x="304" y="176"/>
                  </a:lnTo>
                  <a:lnTo>
                    <a:pt x="302" y="176"/>
                  </a:lnTo>
                  <a:lnTo>
                    <a:pt x="302" y="179"/>
                  </a:lnTo>
                  <a:lnTo>
                    <a:pt x="304" y="181"/>
                  </a:lnTo>
                  <a:lnTo>
                    <a:pt x="302" y="183"/>
                  </a:lnTo>
                  <a:lnTo>
                    <a:pt x="304" y="186"/>
                  </a:lnTo>
                  <a:lnTo>
                    <a:pt x="300" y="195"/>
                  </a:lnTo>
                  <a:lnTo>
                    <a:pt x="302" y="198"/>
                  </a:lnTo>
                  <a:lnTo>
                    <a:pt x="300" y="207"/>
                  </a:lnTo>
                  <a:lnTo>
                    <a:pt x="298" y="212"/>
                  </a:lnTo>
                  <a:lnTo>
                    <a:pt x="298" y="214"/>
                  </a:lnTo>
                  <a:lnTo>
                    <a:pt x="300" y="221"/>
                  </a:lnTo>
                  <a:lnTo>
                    <a:pt x="300" y="224"/>
                  </a:lnTo>
                  <a:lnTo>
                    <a:pt x="304" y="231"/>
                  </a:lnTo>
                  <a:lnTo>
                    <a:pt x="304" y="237"/>
                  </a:lnTo>
                  <a:lnTo>
                    <a:pt x="304" y="237"/>
                  </a:lnTo>
                  <a:lnTo>
                    <a:pt x="302" y="231"/>
                  </a:lnTo>
                  <a:lnTo>
                    <a:pt x="298" y="226"/>
                  </a:lnTo>
                  <a:lnTo>
                    <a:pt x="298" y="230"/>
                  </a:lnTo>
                  <a:lnTo>
                    <a:pt x="300" y="231"/>
                  </a:lnTo>
                  <a:lnTo>
                    <a:pt x="304" y="240"/>
                  </a:lnTo>
                  <a:lnTo>
                    <a:pt x="304" y="242"/>
                  </a:lnTo>
                  <a:lnTo>
                    <a:pt x="302" y="244"/>
                  </a:lnTo>
                  <a:lnTo>
                    <a:pt x="305" y="247"/>
                  </a:lnTo>
                  <a:lnTo>
                    <a:pt x="305" y="249"/>
                  </a:lnTo>
                  <a:lnTo>
                    <a:pt x="314" y="261"/>
                  </a:lnTo>
                  <a:lnTo>
                    <a:pt x="316" y="264"/>
                  </a:lnTo>
                  <a:lnTo>
                    <a:pt x="319" y="270"/>
                  </a:lnTo>
                  <a:lnTo>
                    <a:pt x="319" y="271"/>
                  </a:lnTo>
                  <a:lnTo>
                    <a:pt x="319" y="275"/>
                  </a:lnTo>
                  <a:lnTo>
                    <a:pt x="326" y="282"/>
                  </a:lnTo>
                  <a:lnTo>
                    <a:pt x="330" y="285"/>
                  </a:lnTo>
                  <a:lnTo>
                    <a:pt x="331" y="284"/>
                  </a:lnTo>
                  <a:lnTo>
                    <a:pt x="337" y="285"/>
                  </a:lnTo>
                  <a:lnTo>
                    <a:pt x="337" y="285"/>
                  </a:lnTo>
                  <a:lnTo>
                    <a:pt x="342" y="289"/>
                  </a:lnTo>
                  <a:lnTo>
                    <a:pt x="345" y="294"/>
                  </a:lnTo>
                  <a:lnTo>
                    <a:pt x="347" y="297"/>
                  </a:lnTo>
                  <a:lnTo>
                    <a:pt x="350" y="294"/>
                  </a:lnTo>
                  <a:lnTo>
                    <a:pt x="357" y="294"/>
                  </a:lnTo>
                  <a:lnTo>
                    <a:pt x="359" y="297"/>
                  </a:lnTo>
                  <a:lnTo>
                    <a:pt x="361" y="297"/>
                  </a:lnTo>
                  <a:lnTo>
                    <a:pt x="368" y="292"/>
                  </a:lnTo>
                  <a:lnTo>
                    <a:pt x="368" y="290"/>
                  </a:lnTo>
                  <a:lnTo>
                    <a:pt x="373" y="290"/>
                  </a:lnTo>
                  <a:lnTo>
                    <a:pt x="378" y="290"/>
                  </a:lnTo>
                  <a:lnTo>
                    <a:pt x="382" y="287"/>
                  </a:lnTo>
                  <a:lnTo>
                    <a:pt x="385" y="287"/>
                  </a:lnTo>
                  <a:lnTo>
                    <a:pt x="390" y="289"/>
                  </a:lnTo>
                  <a:lnTo>
                    <a:pt x="390" y="287"/>
                  </a:lnTo>
                  <a:lnTo>
                    <a:pt x="396" y="289"/>
                  </a:lnTo>
                  <a:lnTo>
                    <a:pt x="392" y="290"/>
                  </a:lnTo>
                  <a:lnTo>
                    <a:pt x="390" y="292"/>
                  </a:lnTo>
                  <a:lnTo>
                    <a:pt x="394" y="294"/>
                  </a:lnTo>
                  <a:lnTo>
                    <a:pt x="397" y="294"/>
                  </a:lnTo>
                  <a:lnTo>
                    <a:pt x="397" y="294"/>
                  </a:lnTo>
                  <a:lnTo>
                    <a:pt x="399" y="294"/>
                  </a:lnTo>
                  <a:lnTo>
                    <a:pt x="403" y="290"/>
                  </a:lnTo>
                  <a:lnTo>
                    <a:pt x="403" y="285"/>
                  </a:lnTo>
                  <a:lnTo>
                    <a:pt x="404" y="282"/>
                  </a:lnTo>
                  <a:lnTo>
                    <a:pt x="401" y="284"/>
                  </a:lnTo>
                  <a:lnTo>
                    <a:pt x="401" y="284"/>
                  </a:lnTo>
                  <a:lnTo>
                    <a:pt x="408" y="278"/>
                  </a:lnTo>
                  <a:lnTo>
                    <a:pt x="410" y="278"/>
                  </a:lnTo>
                  <a:lnTo>
                    <a:pt x="413" y="275"/>
                  </a:lnTo>
                  <a:lnTo>
                    <a:pt x="413" y="270"/>
                  </a:lnTo>
                  <a:lnTo>
                    <a:pt x="420" y="263"/>
                  </a:lnTo>
                  <a:lnTo>
                    <a:pt x="418" y="261"/>
                  </a:lnTo>
                  <a:lnTo>
                    <a:pt x="420" y="252"/>
                  </a:lnTo>
                  <a:lnTo>
                    <a:pt x="427" y="244"/>
                  </a:lnTo>
                  <a:lnTo>
                    <a:pt x="423" y="244"/>
                  </a:lnTo>
                  <a:lnTo>
                    <a:pt x="423" y="240"/>
                  </a:lnTo>
                  <a:lnTo>
                    <a:pt x="436" y="238"/>
                  </a:lnTo>
                  <a:lnTo>
                    <a:pt x="449" y="238"/>
                  </a:lnTo>
                  <a:lnTo>
                    <a:pt x="451" y="235"/>
                  </a:lnTo>
                  <a:lnTo>
                    <a:pt x="455" y="235"/>
                  </a:lnTo>
                  <a:lnTo>
                    <a:pt x="458" y="235"/>
                  </a:lnTo>
                  <a:lnTo>
                    <a:pt x="460" y="233"/>
                  </a:lnTo>
                  <a:lnTo>
                    <a:pt x="460" y="231"/>
                  </a:lnTo>
                  <a:lnTo>
                    <a:pt x="467" y="231"/>
                  </a:lnTo>
                  <a:lnTo>
                    <a:pt x="476" y="233"/>
                  </a:lnTo>
                  <a:lnTo>
                    <a:pt x="477" y="233"/>
                  </a:lnTo>
                  <a:lnTo>
                    <a:pt x="477" y="231"/>
                  </a:lnTo>
                  <a:lnTo>
                    <a:pt x="481" y="230"/>
                  </a:lnTo>
                  <a:lnTo>
                    <a:pt x="486" y="237"/>
                  </a:lnTo>
                  <a:lnTo>
                    <a:pt x="486" y="242"/>
                  </a:lnTo>
                  <a:lnTo>
                    <a:pt x="482" y="244"/>
                  </a:lnTo>
                  <a:lnTo>
                    <a:pt x="479" y="252"/>
                  </a:lnTo>
                  <a:lnTo>
                    <a:pt x="470" y="257"/>
                  </a:lnTo>
                  <a:lnTo>
                    <a:pt x="469" y="261"/>
                  </a:lnTo>
                  <a:lnTo>
                    <a:pt x="469" y="266"/>
                  </a:lnTo>
                  <a:lnTo>
                    <a:pt x="465" y="268"/>
                  </a:lnTo>
                  <a:lnTo>
                    <a:pt x="463" y="270"/>
                  </a:lnTo>
                  <a:lnTo>
                    <a:pt x="467" y="271"/>
                  </a:lnTo>
                  <a:lnTo>
                    <a:pt x="469" y="271"/>
                  </a:lnTo>
                  <a:lnTo>
                    <a:pt x="469" y="271"/>
                  </a:lnTo>
                  <a:lnTo>
                    <a:pt x="465" y="277"/>
                  </a:lnTo>
                  <a:lnTo>
                    <a:pt x="465" y="278"/>
                  </a:lnTo>
                  <a:lnTo>
                    <a:pt x="467" y="278"/>
                  </a:lnTo>
                  <a:lnTo>
                    <a:pt x="469" y="277"/>
                  </a:lnTo>
                  <a:lnTo>
                    <a:pt x="470" y="277"/>
                  </a:lnTo>
                  <a:lnTo>
                    <a:pt x="469" y="280"/>
                  </a:lnTo>
                  <a:lnTo>
                    <a:pt x="465" y="290"/>
                  </a:lnTo>
                  <a:lnTo>
                    <a:pt x="463" y="297"/>
                  </a:lnTo>
                  <a:lnTo>
                    <a:pt x="463" y="297"/>
                  </a:lnTo>
                  <a:lnTo>
                    <a:pt x="460" y="294"/>
                  </a:lnTo>
                  <a:lnTo>
                    <a:pt x="455" y="292"/>
                  </a:lnTo>
                  <a:lnTo>
                    <a:pt x="455" y="290"/>
                  </a:lnTo>
                  <a:lnTo>
                    <a:pt x="458" y="289"/>
                  </a:lnTo>
                  <a:lnTo>
                    <a:pt x="460" y="285"/>
                  </a:lnTo>
                  <a:lnTo>
                    <a:pt x="455" y="285"/>
                  </a:lnTo>
                  <a:lnTo>
                    <a:pt x="453" y="290"/>
                  </a:lnTo>
                  <a:lnTo>
                    <a:pt x="449" y="292"/>
                  </a:lnTo>
                  <a:lnTo>
                    <a:pt x="449" y="292"/>
                  </a:lnTo>
                  <a:lnTo>
                    <a:pt x="448" y="292"/>
                  </a:lnTo>
                  <a:lnTo>
                    <a:pt x="446" y="294"/>
                  </a:lnTo>
                  <a:lnTo>
                    <a:pt x="446" y="294"/>
                  </a:lnTo>
                  <a:lnTo>
                    <a:pt x="444" y="297"/>
                  </a:lnTo>
                  <a:lnTo>
                    <a:pt x="443" y="299"/>
                  </a:lnTo>
                  <a:lnTo>
                    <a:pt x="443" y="303"/>
                  </a:lnTo>
                  <a:lnTo>
                    <a:pt x="441" y="303"/>
                  </a:lnTo>
                  <a:lnTo>
                    <a:pt x="441" y="303"/>
                  </a:lnTo>
                  <a:lnTo>
                    <a:pt x="441" y="303"/>
                  </a:lnTo>
                  <a:lnTo>
                    <a:pt x="441" y="299"/>
                  </a:lnTo>
                  <a:lnTo>
                    <a:pt x="437" y="299"/>
                  </a:lnTo>
                  <a:lnTo>
                    <a:pt x="437" y="303"/>
                  </a:lnTo>
                  <a:lnTo>
                    <a:pt x="436" y="303"/>
                  </a:lnTo>
                  <a:lnTo>
                    <a:pt x="406" y="303"/>
                  </a:lnTo>
                  <a:lnTo>
                    <a:pt x="406" y="313"/>
                  </a:lnTo>
                  <a:lnTo>
                    <a:pt x="397" y="313"/>
                  </a:lnTo>
                  <a:lnTo>
                    <a:pt x="401" y="315"/>
                  </a:lnTo>
                  <a:lnTo>
                    <a:pt x="403" y="317"/>
                  </a:lnTo>
                  <a:lnTo>
                    <a:pt x="404" y="320"/>
                  </a:lnTo>
                  <a:lnTo>
                    <a:pt x="408" y="322"/>
                  </a:lnTo>
                  <a:lnTo>
                    <a:pt x="410" y="322"/>
                  </a:lnTo>
                  <a:lnTo>
                    <a:pt x="410" y="325"/>
                  </a:lnTo>
                  <a:lnTo>
                    <a:pt x="410" y="325"/>
                  </a:lnTo>
                  <a:lnTo>
                    <a:pt x="413" y="329"/>
                  </a:lnTo>
                  <a:lnTo>
                    <a:pt x="415" y="329"/>
                  </a:lnTo>
                  <a:lnTo>
                    <a:pt x="418" y="329"/>
                  </a:lnTo>
                  <a:lnTo>
                    <a:pt x="418" y="330"/>
                  </a:lnTo>
                  <a:lnTo>
                    <a:pt x="415" y="334"/>
                  </a:lnTo>
                  <a:lnTo>
                    <a:pt x="392" y="334"/>
                  </a:lnTo>
                  <a:lnTo>
                    <a:pt x="383" y="351"/>
                  </a:lnTo>
                  <a:lnTo>
                    <a:pt x="383" y="351"/>
                  </a:lnTo>
                  <a:lnTo>
                    <a:pt x="383" y="353"/>
                  </a:lnTo>
                  <a:lnTo>
                    <a:pt x="383" y="355"/>
                  </a:lnTo>
                  <a:lnTo>
                    <a:pt x="385" y="357"/>
                  </a:lnTo>
                  <a:lnTo>
                    <a:pt x="385" y="357"/>
                  </a:lnTo>
                  <a:lnTo>
                    <a:pt x="385" y="358"/>
                  </a:lnTo>
                  <a:lnTo>
                    <a:pt x="383" y="360"/>
                  </a:lnTo>
                  <a:lnTo>
                    <a:pt x="382" y="362"/>
                  </a:lnTo>
                  <a:lnTo>
                    <a:pt x="382" y="362"/>
                  </a:lnTo>
                  <a:lnTo>
                    <a:pt x="378" y="358"/>
                  </a:lnTo>
                  <a:lnTo>
                    <a:pt x="375" y="355"/>
                  </a:lnTo>
                  <a:lnTo>
                    <a:pt x="373" y="351"/>
                  </a:lnTo>
                  <a:lnTo>
                    <a:pt x="370" y="351"/>
                  </a:lnTo>
                  <a:lnTo>
                    <a:pt x="359" y="343"/>
                  </a:lnTo>
                  <a:lnTo>
                    <a:pt x="357" y="341"/>
                  </a:lnTo>
                  <a:lnTo>
                    <a:pt x="357" y="339"/>
                  </a:lnTo>
                  <a:lnTo>
                    <a:pt x="354" y="334"/>
                  </a:lnTo>
                  <a:lnTo>
                    <a:pt x="350" y="332"/>
                  </a:lnTo>
                  <a:lnTo>
                    <a:pt x="347" y="330"/>
                  </a:lnTo>
                  <a:lnTo>
                    <a:pt x="347" y="330"/>
                  </a:lnTo>
                  <a:lnTo>
                    <a:pt x="345" y="330"/>
                  </a:lnTo>
                  <a:lnTo>
                    <a:pt x="345" y="332"/>
                  </a:lnTo>
                  <a:lnTo>
                    <a:pt x="352" y="334"/>
                  </a:lnTo>
                  <a:lnTo>
                    <a:pt x="356" y="339"/>
                  </a:lnTo>
                  <a:lnTo>
                    <a:pt x="356" y="339"/>
                  </a:lnTo>
                  <a:lnTo>
                    <a:pt x="354" y="337"/>
                  </a:lnTo>
                  <a:lnTo>
                    <a:pt x="347" y="334"/>
                  </a:lnTo>
                  <a:lnTo>
                    <a:pt x="345" y="332"/>
                  </a:lnTo>
                  <a:lnTo>
                    <a:pt x="342" y="332"/>
                  </a:lnTo>
                  <a:lnTo>
                    <a:pt x="342" y="332"/>
                  </a:lnTo>
                  <a:lnTo>
                    <a:pt x="342" y="332"/>
                  </a:lnTo>
                  <a:lnTo>
                    <a:pt x="345" y="330"/>
                  </a:lnTo>
                  <a:lnTo>
                    <a:pt x="345" y="330"/>
                  </a:lnTo>
                  <a:lnTo>
                    <a:pt x="342" y="330"/>
                  </a:lnTo>
                  <a:lnTo>
                    <a:pt x="338" y="330"/>
                  </a:lnTo>
                  <a:lnTo>
                    <a:pt x="338" y="329"/>
                  </a:lnTo>
                  <a:lnTo>
                    <a:pt x="338" y="329"/>
                  </a:lnTo>
                  <a:lnTo>
                    <a:pt x="333" y="330"/>
                  </a:lnTo>
                  <a:lnTo>
                    <a:pt x="333" y="332"/>
                  </a:lnTo>
                  <a:lnTo>
                    <a:pt x="338" y="332"/>
                  </a:lnTo>
                  <a:lnTo>
                    <a:pt x="342" y="332"/>
                  </a:lnTo>
                  <a:lnTo>
                    <a:pt x="342" y="334"/>
                  </a:lnTo>
                  <a:lnTo>
                    <a:pt x="338" y="334"/>
                  </a:lnTo>
                  <a:lnTo>
                    <a:pt x="333" y="334"/>
                  </a:lnTo>
                  <a:lnTo>
                    <a:pt x="331" y="334"/>
                  </a:lnTo>
                  <a:lnTo>
                    <a:pt x="326" y="337"/>
                  </a:lnTo>
                  <a:lnTo>
                    <a:pt x="323" y="337"/>
                  </a:lnTo>
                  <a:lnTo>
                    <a:pt x="314" y="343"/>
                  </a:lnTo>
                  <a:lnTo>
                    <a:pt x="310" y="343"/>
                  </a:lnTo>
                  <a:lnTo>
                    <a:pt x="302" y="339"/>
                  </a:lnTo>
                  <a:lnTo>
                    <a:pt x="297" y="336"/>
                  </a:lnTo>
                  <a:lnTo>
                    <a:pt x="291" y="336"/>
                  </a:lnTo>
                  <a:lnTo>
                    <a:pt x="286" y="334"/>
                  </a:lnTo>
                  <a:lnTo>
                    <a:pt x="283" y="332"/>
                  </a:lnTo>
                  <a:lnTo>
                    <a:pt x="281" y="332"/>
                  </a:lnTo>
                  <a:lnTo>
                    <a:pt x="277" y="332"/>
                  </a:lnTo>
                  <a:lnTo>
                    <a:pt x="274" y="330"/>
                  </a:lnTo>
                  <a:lnTo>
                    <a:pt x="271" y="325"/>
                  </a:lnTo>
                  <a:lnTo>
                    <a:pt x="271" y="325"/>
                  </a:lnTo>
                  <a:lnTo>
                    <a:pt x="269" y="325"/>
                  </a:lnTo>
                  <a:lnTo>
                    <a:pt x="264" y="325"/>
                  </a:lnTo>
                  <a:lnTo>
                    <a:pt x="260" y="325"/>
                  </a:lnTo>
                  <a:lnTo>
                    <a:pt x="257" y="322"/>
                  </a:lnTo>
                  <a:lnTo>
                    <a:pt x="253" y="320"/>
                  </a:lnTo>
                  <a:lnTo>
                    <a:pt x="246" y="317"/>
                  </a:lnTo>
                  <a:lnTo>
                    <a:pt x="237" y="315"/>
                  </a:lnTo>
                  <a:lnTo>
                    <a:pt x="232" y="310"/>
                  </a:lnTo>
                  <a:lnTo>
                    <a:pt x="231" y="310"/>
                  </a:lnTo>
                  <a:lnTo>
                    <a:pt x="224" y="303"/>
                  </a:lnTo>
                  <a:lnTo>
                    <a:pt x="220" y="297"/>
                  </a:lnTo>
                  <a:lnTo>
                    <a:pt x="218" y="299"/>
                  </a:lnTo>
                  <a:lnTo>
                    <a:pt x="218" y="299"/>
                  </a:lnTo>
                  <a:lnTo>
                    <a:pt x="215" y="299"/>
                  </a:lnTo>
                  <a:lnTo>
                    <a:pt x="208" y="297"/>
                  </a:lnTo>
                  <a:lnTo>
                    <a:pt x="206" y="297"/>
                  </a:lnTo>
                  <a:lnTo>
                    <a:pt x="203" y="297"/>
                  </a:lnTo>
                  <a:lnTo>
                    <a:pt x="201" y="297"/>
                  </a:lnTo>
                  <a:lnTo>
                    <a:pt x="198" y="294"/>
                  </a:lnTo>
                  <a:lnTo>
                    <a:pt x="196" y="292"/>
                  </a:lnTo>
                  <a:lnTo>
                    <a:pt x="192" y="287"/>
                  </a:lnTo>
                  <a:lnTo>
                    <a:pt x="189" y="284"/>
                  </a:lnTo>
                  <a:lnTo>
                    <a:pt x="184" y="282"/>
                  </a:lnTo>
                  <a:lnTo>
                    <a:pt x="184" y="280"/>
                  </a:lnTo>
                  <a:lnTo>
                    <a:pt x="185" y="277"/>
                  </a:lnTo>
                  <a:lnTo>
                    <a:pt x="184" y="277"/>
                  </a:lnTo>
                  <a:lnTo>
                    <a:pt x="180" y="278"/>
                  </a:lnTo>
                  <a:lnTo>
                    <a:pt x="173" y="277"/>
                  </a:lnTo>
                  <a:lnTo>
                    <a:pt x="173" y="275"/>
                  </a:lnTo>
                  <a:lnTo>
                    <a:pt x="170" y="275"/>
                  </a:lnTo>
                  <a:lnTo>
                    <a:pt x="170" y="275"/>
                  </a:lnTo>
                  <a:lnTo>
                    <a:pt x="170" y="270"/>
                  </a:lnTo>
                  <a:lnTo>
                    <a:pt x="166" y="266"/>
                  </a:lnTo>
                  <a:lnTo>
                    <a:pt x="166" y="263"/>
                  </a:lnTo>
                  <a:lnTo>
                    <a:pt x="163" y="261"/>
                  </a:lnTo>
                  <a:lnTo>
                    <a:pt x="161" y="254"/>
                  </a:lnTo>
                  <a:lnTo>
                    <a:pt x="161" y="252"/>
                  </a:lnTo>
                  <a:lnTo>
                    <a:pt x="163" y="252"/>
                  </a:lnTo>
                  <a:lnTo>
                    <a:pt x="166" y="252"/>
                  </a:lnTo>
                  <a:lnTo>
                    <a:pt x="166" y="249"/>
                  </a:lnTo>
                  <a:lnTo>
                    <a:pt x="166" y="249"/>
                  </a:lnTo>
                  <a:lnTo>
                    <a:pt x="165" y="249"/>
                  </a:lnTo>
                  <a:lnTo>
                    <a:pt x="165" y="247"/>
                  </a:lnTo>
                  <a:lnTo>
                    <a:pt x="170" y="244"/>
                  </a:lnTo>
                  <a:lnTo>
                    <a:pt x="170" y="240"/>
                  </a:lnTo>
                  <a:lnTo>
                    <a:pt x="170" y="237"/>
                  </a:lnTo>
                  <a:lnTo>
                    <a:pt x="166" y="226"/>
                  </a:lnTo>
                  <a:lnTo>
                    <a:pt x="165" y="221"/>
                  </a:lnTo>
                  <a:lnTo>
                    <a:pt x="165" y="217"/>
                  </a:lnTo>
                  <a:lnTo>
                    <a:pt x="165" y="216"/>
                  </a:lnTo>
                  <a:lnTo>
                    <a:pt x="165" y="212"/>
                  </a:lnTo>
                  <a:lnTo>
                    <a:pt x="158" y="205"/>
                  </a:lnTo>
                  <a:lnTo>
                    <a:pt x="158" y="202"/>
                  </a:lnTo>
                  <a:lnTo>
                    <a:pt x="152" y="195"/>
                  </a:lnTo>
                  <a:lnTo>
                    <a:pt x="147" y="190"/>
                  </a:lnTo>
                  <a:lnTo>
                    <a:pt x="144" y="183"/>
                  </a:lnTo>
                  <a:lnTo>
                    <a:pt x="138" y="179"/>
                  </a:lnTo>
                  <a:lnTo>
                    <a:pt x="137" y="176"/>
                  </a:lnTo>
                  <a:lnTo>
                    <a:pt x="137" y="176"/>
                  </a:lnTo>
                  <a:lnTo>
                    <a:pt x="132" y="172"/>
                  </a:lnTo>
                  <a:lnTo>
                    <a:pt x="130" y="172"/>
                  </a:lnTo>
                  <a:lnTo>
                    <a:pt x="128" y="171"/>
                  </a:lnTo>
                  <a:lnTo>
                    <a:pt x="132" y="171"/>
                  </a:lnTo>
                  <a:lnTo>
                    <a:pt x="132" y="167"/>
                  </a:lnTo>
                  <a:lnTo>
                    <a:pt x="132" y="165"/>
                  </a:lnTo>
                  <a:lnTo>
                    <a:pt x="130" y="162"/>
                  </a:lnTo>
                  <a:lnTo>
                    <a:pt x="128" y="158"/>
                  </a:lnTo>
                  <a:lnTo>
                    <a:pt x="126" y="158"/>
                  </a:lnTo>
                  <a:lnTo>
                    <a:pt x="125" y="158"/>
                  </a:lnTo>
                  <a:lnTo>
                    <a:pt x="118" y="153"/>
                  </a:lnTo>
                  <a:lnTo>
                    <a:pt x="114" y="150"/>
                  </a:lnTo>
                  <a:lnTo>
                    <a:pt x="111" y="150"/>
                  </a:lnTo>
                  <a:lnTo>
                    <a:pt x="109" y="148"/>
                  </a:lnTo>
                  <a:lnTo>
                    <a:pt x="107" y="144"/>
                  </a:lnTo>
                  <a:lnTo>
                    <a:pt x="109" y="141"/>
                  </a:lnTo>
                  <a:lnTo>
                    <a:pt x="112" y="137"/>
                  </a:lnTo>
                  <a:lnTo>
                    <a:pt x="116" y="137"/>
                  </a:lnTo>
                  <a:lnTo>
                    <a:pt x="118" y="139"/>
                  </a:lnTo>
                  <a:lnTo>
                    <a:pt x="118" y="137"/>
                  </a:lnTo>
                  <a:lnTo>
                    <a:pt x="118" y="134"/>
                  </a:lnTo>
                  <a:lnTo>
                    <a:pt x="118" y="134"/>
                  </a:lnTo>
                  <a:lnTo>
                    <a:pt x="116" y="134"/>
                  </a:lnTo>
                  <a:lnTo>
                    <a:pt x="114" y="134"/>
                  </a:lnTo>
                  <a:lnTo>
                    <a:pt x="112" y="131"/>
                  </a:lnTo>
                  <a:lnTo>
                    <a:pt x="109" y="127"/>
                  </a:lnTo>
                  <a:lnTo>
                    <a:pt x="107" y="127"/>
                  </a:lnTo>
                  <a:lnTo>
                    <a:pt x="104" y="127"/>
                  </a:lnTo>
                  <a:lnTo>
                    <a:pt x="102" y="125"/>
                  </a:lnTo>
                  <a:lnTo>
                    <a:pt x="104" y="122"/>
                  </a:lnTo>
                  <a:lnTo>
                    <a:pt x="102" y="122"/>
                  </a:lnTo>
                  <a:lnTo>
                    <a:pt x="98" y="122"/>
                  </a:lnTo>
                  <a:lnTo>
                    <a:pt x="93" y="115"/>
                  </a:lnTo>
                  <a:lnTo>
                    <a:pt x="93" y="111"/>
                  </a:lnTo>
                  <a:lnTo>
                    <a:pt x="93" y="108"/>
                  </a:lnTo>
                  <a:lnTo>
                    <a:pt x="93" y="104"/>
                  </a:lnTo>
                  <a:lnTo>
                    <a:pt x="93" y="103"/>
                  </a:lnTo>
                  <a:lnTo>
                    <a:pt x="90" y="104"/>
                  </a:lnTo>
                  <a:lnTo>
                    <a:pt x="90" y="103"/>
                  </a:lnTo>
                  <a:lnTo>
                    <a:pt x="86" y="103"/>
                  </a:lnTo>
                  <a:lnTo>
                    <a:pt x="86" y="103"/>
                  </a:lnTo>
                  <a:lnTo>
                    <a:pt x="83" y="99"/>
                  </a:lnTo>
                  <a:lnTo>
                    <a:pt x="83" y="97"/>
                  </a:lnTo>
                  <a:lnTo>
                    <a:pt x="81" y="94"/>
                  </a:lnTo>
                  <a:lnTo>
                    <a:pt x="79" y="92"/>
                  </a:lnTo>
                  <a:lnTo>
                    <a:pt x="76" y="91"/>
                  </a:lnTo>
                  <a:lnTo>
                    <a:pt x="76" y="87"/>
                  </a:lnTo>
                  <a:lnTo>
                    <a:pt x="76" y="84"/>
                  </a:lnTo>
                  <a:lnTo>
                    <a:pt x="74" y="84"/>
                  </a:lnTo>
                  <a:lnTo>
                    <a:pt x="71" y="77"/>
                  </a:lnTo>
                  <a:lnTo>
                    <a:pt x="71" y="75"/>
                  </a:lnTo>
                  <a:lnTo>
                    <a:pt x="69" y="75"/>
                  </a:lnTo>
                  <a:lnTo>
                    <a:pt x="69" y="75"/>
                  </a:lnTo>
                  <a:lnTo>
                    <a:pt x="69" y="71"/>
                  </a:lnTo>
                  <a:lnTo>
                    <a:pt x="71" y="71"/>
                  </a:lnTo>
                  <a:lnTo>
                    <a:pt x="65" y="64"/>
                  </a:lnTo>
                  <a:lnTo>
                    <a:pt x="64" y="61"/>
                  </a:lnTo>
                  <a:lnTo>
                    <a:pt x="65" y="59"/>
                  </a:lnTo>
                  <a:lnTo>
                    <a:pt x="64" y="54"/>
                  </a:lnTo>
                  <a:lnTo>
                    <a:pt x="62" y="52"/>
                  </a:lnTo>
                  <a:lnTo>
                    <a:pt x="62" y="45"/>
                  </a:lnTo>
                  <a:lnTo>
                    <a:pt x="60" y="42"/>
                  </a:lnTo>
                  <a:lnTo>
                    <a:pt x="60" y="40"/>
                  </a:lnTo>
                  <a:lnTo>
                    <a:pt x="62" y="37"/>
                  </a:lnTo>
                  <a:lnTo>
                    <a:pt x="62" y="35"/>
                  </a:lnTo>
                  <a:lnTo>
                    <a:pt x="59" y="33"/>
                  </a:lnTo>
                  <a:lnTo>
                    <a:pt x="57" y="33"/>
                  </a:lnTo>
                  <a:lnTo>
                    <a:pt x="53" y="30"/>
                  </a:lnTo>
                  <a:lnTo>
                    <a:pt x="52" y="30"/>
                  </a:lnTo>
                  <a:lnTo>
                    <a:pt x="52" y="30"/>
                  </a:lnTo>
                  <a:lnTo>
                    <a:pt x="48" y="30"/>
                  </a:lnTo>
                  <a:lnTo>
                    <a:pt x="46" y="30"/>
                  </a:lnTo>
                  <a:lnTo>
                    <a:pt x="43" y="23"/>
                  </a:lnTo>
                  <a:lnTo>
                    <a:pt x="38" y="23"/>
                  </a:lnTo>
                  <a:lnTo>
                    <a:pt x="36" y="17"/>
                  </a:lnTo>
                  <a:lnTo>
                    <a:pt x="36" y="23"/>
                  </a:lnTo>
                  <a:lnTo>
                    <a:pt x="38" y="26"/>
                  </a:lnTo>
                  <a:lnTo>
                    <a:pt x="36" y="30"/>
                  </a:lnTo>
                  <a:lnTo>
                    <a:pt x="34" y="35"/>
                  </a:lnTo>
                  <a:lnTo>
                    <a:pt x="34" y="42"/>
                  </a:lnTo>
                  <a:lnTo>
                    <a:pt x="36" y="52"/>
                  </a:lnTo>
                  <a:lnTo>
                    <a:pt x="34" y="56"/>
                  </a:lnTo>
                  <a:lnTo>
                    <a:pt x="36" y="57"/>
                  </a:lnTo>
                  <a:lnTo>
                    <a:pt x="38" y="63"/>
                  </a:lnTo>
                  <a:lnTo>
                    <a:pt x="38" y="66"/>
                  </a:lnTo>
                  <a:lnTo>
                    <a:pt x="39" y="66"/>
                  </a:lnTo>
                  <a:lnTo>
                    <a:pt x="41" y="70"/>
                  </a:lnTo>
                  <a:lnTo>
                    <a:pt x="46" y="71"/>
                  </a:lnTo>
                  <a:lnTo>
                    <a:pt x="48" y="77"/>
                  </a:lnTo>
                  <a:lnTo>
                    <a:pt x="48" y="80"/>
                  </a:lnTo>
                  <a:lnTo>
                    <a:pt x="48" y="82"/>
                  </a:lnTo>
                  <a:lnTo>
                    <a:pt x="52" y="84"/>
                  </a:lnTo>
                  <a:lnTo>
                    <a:pt x="52" y="85"/>
                  </a:lnTo>
                  <a:lnTo>
                    <a:pt x="52" y="89"/>
                  </a:lnTo>
                  <a:lnTo>
                    <a:pt x="53" y="91"/>
                  </a:lnTo>
                  <a:lnTo>
                    <a:pt x="57" y="92"/>
                  </a:lnTo>
                  <a:lnTo>
                    <a:pt x="59" y="94"/>
                  </a:lnTo>
                  <a:lnTo>
                    <a:pt x="59" y="99"/>
                  </a:lnTo>
                  <a:lnTo>
                    <a:pt x="59" y="103"/>
                  </a:lnTo>
                  <a:lnTo>
                    <a:pt x="62" y="106"/>
                  </a:lnTo>
                  <a:lnTo>
                    <a:pt x="64" y="106"/>
                  </a:lnTo>
                  <a:lnTo>
                    <a:pt x="67" y="111"/>
                  </a:lnTo>
                  <a:lnTo>
                    <a:pt x="67" y="118"/>
                  </a:lnTo>
                  <a:lnTo>
                    <a:pt x="69" y="118"/>
                  </a:lnTo>
                  <a:lnTo>
                    <a:pt x="71" y="120"/>
                  </a:lnTo>
                  <a:lnTo>
                    <a:pt x="69" y="122"/>
                  </a:lnTo>
                  <a:lnTo>
                    <a:pt x="69" y="125"/>
                  </a:lnTo>
                  <a:lnTo>
                    <a:pt x="71" y="129"/>
                  </a:lnTo>
                  <a:lnTo>
                    <a:pt x="74" y="127"/>
                  </a:lnTo>
                  <a:lnTo>
                    <a:pt x="74" y="125"/>
                  </a:lnTo>
                  <a:lnTo>
                    <a:pt x="74" y="125"/>
                  </a:lnTo>
                  <a:lnTo>
                    <a:pt x="74" y="125"/>
                  </a:lnTo>
                  <a:lnTo>
                    <a:pt x="74" y="127"/>
                  </a:lnTo>
                  <a:lnTo>
                    <a:pt x="79" y="131"/>
                  </a:lnTo>
                  <a:lnTo>
                    <a:pt x="79" y="137"/>
                  </a:lnTo>
                  <a:lnTo>
                    <a:pt x="79" y="139"/>
                  </a:lnTo>
                  <a:lnTo>
                    <a:pt x="79" y="144"/>
                  </a:lnTo>
                  <a:lnTo>
                    <a:pt x="79" y="144"/>
                  </a:lnTo>
                  <a:lnTo>
                    <a:pt x="79" y="148"/>
                  </a:lnTo>
                  <a:lnTo>
                    <a:pt x="81" y="150"/>
                  </a:lnTo>
                  <a:lnTo>
                    <a:pt x="81" y="153"/>
                  </a:lnTo>
                  <a:lnTo>
                    <a:pt x="83" y="157"/>
                  </a:lnTo>
                  <a:lnTo>
                    <a:pt x="83" y="157"/>
                  </a:lnTo>
                  <a:lnTo>
                    <a:pt x="81" y="160"/>
                  </a:lnTo>
                  <a:lnTo>
                    <a:pt x="85" y="164"/>
                  </a:lnTo>
                  <a:lnTo>
                    <a:pt x="85" y="167"/>
                  </a:lnTo>
                  <a:lnTo>
                    <a:pt x="83" y="171"/>
                  </a:lnTo>
                  <a:lnTo>
                    <a:pt x="83" y="172"/>
                  </a:lnTo>
                  <a:lnTo>
                    <a:pt x="86" y="176"/>
                  </a:lnTo>
                  <a:lnTo>
                    <a:pt x="88" y="179"/>
                  </a:lnTo>
                  <a:lnTo>
                    <a:pt x="90" y="179"/>
                  </a:lnTo>
                  <a:lnTo>
                    <a:pt x="92" y="179"/>
                  </a:lnTo>
                  <a:lnTo>
                    <a:pt x="92" y="176"/>
                  </a:lnTo>
                  <a:lnTo>
                    <a:pt x="92" y="176"/>
                  </a:lnTo>
                  <a:lnTo>
                    <a:pt x="93" y="179"/>
                  </a:lnTo>
                  <a:lnTo>
                    <a:pt x="93" y="179"/>
                  </a:lnTo>
                  <a:lnTo>
                    <a:pt x="97" y="181"/>
                  </a:lnTo>
                  <a:lnTo>
                    <a:pt x="98" y="183"/>
                  </a:lnTo>
                  <a:lnTo>
                    <a:pt x="98" y="186"/>
                  </a:lnTo>
                  <a:lnTo>
                    <a:pt x="102" y="188"/>
                  </a:lnTo>
                  <a:lnTo>
                    <a:pt x="102" y="191"/>
                  </a:lnTo>
                  <a:lnTo>
                    <a:pt x="104" y="193"/>
                  </a:lnTo>
                  <a:lnTo>
                    <a:pt x="104" y="195"/>
                  </a:lnTo>
                  <a:lnTo>
                    <a:pt x="102" y="202"/>
                  </a:lnTo>
                  <a:lnTo>
                    <a:pt x="97" y="204"/>
                  </a:lnTo>
                  <a:lnTo>
                    <a:pt x="93" y="202"/>
                  </a:lnTo>
                  <a:lnTo>
                    <a:pt x="93" y="198"/>
                  </a:lnTo>
                  <a:lnTo>
                    <a:pt x="92" y="198"/>
                  </a:lnTo>
                  <a:lnTo>
                    <a:pt x="90" y="195"/>
                  </a:lnTo>
                  <a:lnTo>
                    <a:pt x="90" y="191"/>
                  </a:lnTo>
                  <a:lnTo>
                    <a:pt x="88" y="188"/>
                  </a:lnTo>
                  <a:lnTo>
                    <a:pt x="85" y="188"/>
                  </a:lnTo>
                  <a:lnTo>
                    <a:pt x="81" y="184"/>
                  </a:lnTo>
                  <a:lnTo>
                    <a:pt x="79" y="183"/>
                  </a:lnTo>
                  <a:lnTo>
                    <a:pt x="79" y="181"/>
                  </a:lnTo>
                  <a:lnTo>
                    <a:pt x="71" y="172"/>
                  </a:lnTo>
                  <a:lnTo>
                    <a:pt x="69" y="171"/>
                  </a:lnTo>
                  <a:lnTo>
                    <a:pt x="65" y="171"/>
                  </a:lnTo>
                  <a:lnTo>
                    <a:pt x="65" y="167"/>
                  </a:lnTo>
                  <a:lnTo>
                    <a:pt x="64" y="167"/>
                  </a:lnTo>
                  <a:lnTo>
                    <a:pt x="60" y="165"/>
                  </a:lnTo>
                  <a:lnTo>
                    <a:pt x="60" y="162"/>
                  </a:lnTo>
                  <a:lnTo>
                    <a:pt x="62" y="157"/>
                  </a:lnTo>
                  <a:lnTo>
                    <a:pt x="64" y="153"/>
                  </a:lnTo>
                  <a:lnTo>
                    <a:pt x="64" y="144"/>
                  </a:lnTo>
                  <a:lnTo>
                    <a:pt x="60" y="139"/>
                  </a:lnTo>
                  <a:lnTo>
                    <a:pt x="59" y="136"/>
                  </a:lnTo>
                  <a:lnTo>
                    <a:pt x="57" y="136"/>
                  </a:lnTo>
                  <a:lnTo>
                    <a:pt x="57" y="136"/>
                  </a:lnTo>
                  <a:lnTo>
                    <a:pt x="48" y="129"/>
                  </a:lnTo>
                  <a:lnTo>
                    <a:pt x="48" y="125"/>
                  </a:lnTo>
                  <a:lnTo>
                    <a:pt x="48" y="122"/>
                  </a:lnTo>
                  <a:lnTo>
                    <a:pt x="48" y="122"/>
                  </a:lnTo>
                  <a:lnTo>
                    <a:pt x="46" y="125"/>
                  </a:lnTo>
                  <a:lnTo>
                    <a:pt x="43" y="125"/>
                  </a:lnTo>
                  <a:lnTo>
                    <a:pt x="41" y="125"/>
                  </a:lnTo>
                  <a:lnTo>
                    <a:pt x="39" y="122"/>
                  </a:lnTo>
                  <a:lnTo>
                    <a:pt x="41" y="122"/>
                  </a:lnTo>
                  <a:lnTo>
                    <a:pt x="38" y="122"/>
                  </a:lnTo>
                  <a:lnTo>
                    <a:pt x="36" y="122"/>
                  </a:lnTo>
                  <a:lnTo>
                    <a:pt x="36" y="120"/>
                  </a:lnTo>
                  <a:lnTo>
                    <a:pt x="31" y="118"/>
                  </a:lnTo>
                  <a:lnTo>
                    <a:pt x="29" y="117"/>
                  </a:lnTo>
                  <a:lnTo>
                    <a:pt x="29" y="113"/>
                  </a:lnTo>
                  <a:lnTo>
                    <a:pt x="26" y="110"/>
                  </a:lnTo>
                  <a:lnTo>
                    <a:pt x="26" y="110"/>
                  </a:lnTo>
                  <a:lnTo>
                    <a:pt x="20" y="104"/>
                  </a:lnTo>
                  <a:lnTo>
                    <a:pt x="22" y="103"/>
                  </a:lnTo>
                  <a:lnTo>
                    <a:pt x="26" y="103"/>
                  </a:lnTo>
                  <a:lnTo>
                    <a:pt x="29" y="104"/>
                  </a:lnTo>
                  <a:lnTo>
                    <a:pt x="32" y="104"/>
                  </a:lnTo>
                  <a:lnTo>
                    <a:pt x="34" y="106"/>
                  </a:lnTo>
                  <a:lnTo>
                    <a:pt x="36" y="104"/>
                  </a:lnTo>
                  <a:lnTo>
                    <a:pt x="36" y="103"/>
                  </a:lnTo>
                  <a:lnTo>
                    <a:pt x="34" y="103"/>
                  </a:lnTo>
                  <a:lnTo>
                    <a:pt x="32" y="103"/>
                  </a:lnTo>
                  <a:lnTo>
                    <a:pt x="34" y="99"/>
                  </a:lnTo>
                  <a:lnTo>
                    <a:pt x="38" y="99"/>
                  </a:lnTo>
                  <a:lnTo>
                    <a:pt x="38" y="97"/>
                  </a:lnTo>
                  <a:lnTo>
                    <a:pt x="36" y="94"/>
                  </a:lnTo>
                  <a:lnTo>
                    <a:pt x="36" y="94"/>
                  </a:lnTo>
                  <a:lnTo>
                    <a:pt x="39" y="92"/>
                  </a:lnTo>
                  <a:lnTo>
                    <a:pt x="36" y="87"/>
                  </a:lnTo>
                  <a:lnTo>
                    <a:pt x="34" y="87"/>
                  </a:lnTo>
                  <a:lnTo>
                    <a:pt x="32" y="82"/>
                  </a:lnTo>
                  <a:lnTo>
                    <a:pt x="29" y="77"/>
                  </a:lnTo>
                  <a:lnTo>
                    <a:pt x="29" y="75"/>
                  </a:lnTo>
                  <a:lnTo>
                    <a:pt x="26" y="71"/>
                  </a:lnTo>
                  <a:lnTo>
                    <a:pt x="22" y="66"/>
                  </a:lnTo>
                  <a:lnTo>
                    <a:pt x="20" y="68"/>
                  </a:lnTo>
                  <a:lnTo>
                    <a:pt x="17" y="64"/>
                  </a:lnTo>
                  <a:lnTo>
                    <a:pt x="15" y="59"/>
                  </a:lnTo>
                  <a:lnTo>
                    <a:pt x="15" y="52"/>
                  </a:lnTo>
                  <a:lnTo>
                    <a:pt x="13" y="52"/>
                  </a:lnTo>
                  <a:lnTo>
                    <a:pt x="12" y="49"/>
                  </a:lnTo>
                  <a:lnTo>
                    <a:pt x="12" y="45"/>
                  </a:lnTo>
                  <a:lnTo>
                    <a:pt x="13" y="45"/>
                  </a:lnTo>
                  <a:lnTo>
                    <a:pt x="12" y="42"/>
                  </a:lnTo>
                  <a:lnTo>
                    <a:pt x="8" y="38"/>
                  </a:lnTo>
                  <a:lnTo>
                    <a:pt x="8" y="37"/>
                  </a:lnTo>
                  <a:lnTo>
                    <a:pt x="10" y="35"/>
                  </a:lnTo>
                  <a:lnTo>
                    <a:pt x="10" y="33"/>
                  </a:lnTo>
                  <a:lnTo>
                    <a:pt x="6" y="30"/>
                  </a:lnTo>
                  <a:lnTo>
                    <a:pt x="3" y="26"/>
                  </a:lnTo>
                  <a:lnTo>
                    <a:pt x="3" y="23"/>
                  </a:lnTo>
                  <a:lnTo>
                    <a:pt x="6" y="21"/>
                  </a:lnTo>
                  <a:lnTo>
                    <a:pt x="3" y="17"/>
                  </a:lnTo>
                  <a:lnTo>
                    <a:pt x="3" y="16"/>
                  </a:lnTo>
                  <a:lnTo>
                    <a:pt x="0" y="7"/>
                  </a:lnTo>
                  <a:lnTo>
                    <a:pt x="0" y="4"/>
                  </a:lnTo>
                  <a:lnTo>
                    <a:pt x="0" y="4"/>
                  </a:lnTo>
                  <a:lnTo>
                    <a:pt x="0" y="4"/>
                  </a:lnTo>
                  <a:lnTo>
                    <a:pt x="0" y="4"/>
                  </a:lnTo>
                  <a:close/>
                  <a:moveTo>
                    <a:pt x="86" y="165"/>
                  </a:moveTo>
                  <a:lnTo>
                    <a:pt x="88" y="164"/>
                  </a:lnTo>
                  <a:lnTo>
                    <a:pt x="88" y="162"/>
                  </a:lnTo>
                  <a:lnTo>
                    <a:pt x="86" y="158"/>
                  </a:lnTo>
                  <a:lnTo>
                    <a:pt x="85" y="160"/>
                  </a:lnTo>
                  <a:lnTo>
                    <a:pt x="86" y="162"/>
                  </a:lnTo>
                  <a:lnTo>
                    <a:pt x="86" y="165"/>
                  </a:lnTo>
                  <a:lnTo>
                    <a:pt x="86" y="165"/>
                  </a:lnTo>
                  <a:lnTo>
                    <a:pt x="86" y="165"/>
                  </a:lnTo>
                  <a:lnTo>
                    <a:pt x="86" y="165"/>
                  </a:lnTo>
                  <a:close/>
                  <a:moveTo>
                    <a:pt x="90" y="172"/>
                  </a:moveTo>
                  <a:lnTo>
                    <a:pt x="90" y="176"/>
                  </a:lnTo>
                  <a:lnTo>
                    <a:pt x="92" y="176"/>
                  </a:lnTo>
                  <a:lnTo>
                    <a:pt x="92" y="172"/>
                  </a:lnTo>
                  <a:lnTo>
                    <a:pt x="90" y="172"/>
                  </a:lnTo>
                  <a:lnTo>
                    <a:pt x="90" y="172"/>
                  </a:lnTo>
                  <a:lnTo>
                    <a:pt x="90" y="172"/>
                  </a:lnTo>
                  <a:lnTo>
                    <a:pt x="90" y="172"/>
                  </a:lnTo>
                  <a:close/>
                  <a:moveTo>
                    <a:pt x="307" y="167"/>
                  </a:moveTo>
                  <a:lnTo>
                    <a:pt x="309" y="167"/>
                  </a:lnTo>
                  <a:lnTo>
                    <a:pt x="309" y="165"/>
                  </a:lnTo>
                  <a:lnTo>
                    <a:pt x="307" y="165"/>
                  </a:lnTo>
                  <a:lnTo>
                    <a:pt x="307" y="167"/>
                  </a:lnTo>
                  <a:lnTo>
                    <a:pt x="307" y="167"/>
                  </a:lnTo>
                  <a:lnTo>
                    <a:pt x="307" y="167"/>
                  </a:lnTo>
                  <a:lnTo>
                    <a:pt x="307" y="167"/>
                  </a:lnTo>
                  <a:close/>
                  <a:moveTo>
                    <a:pt x="307" y="172"/>
                  </a:moveTo>
                  <a:lnTo>
                    <a:pt x="307" y="172"/>
                  </a:lnTo>
                  <a:lnTo>
                    <a:pt x="309" y="171"/>
                  </a:lnTo>
                  <a:lnTo>
                    <a:pt x="307" y="171"/>
                  </a:lnTo>
                  <a:lnTo>
                    <a:pt x="307" y="172"/>
                  </a:lnTo>
                  <a:lnTo>
                    <a:pt x="307" y="172"/>
                  </a:lnTo>
                  <a:lnTo>
                    <a:pt x="307" y="172"/>
                  </a:lnTo>
                  <a:lnTo>
                    <a:pt x="307" y="172"/>
                  </a:lnTo>
                  <a:close/>
                  <a:moveTo>
                    <a:pt x="305" y="179"/>
                  </a:moveTo>
                  <a:lnTo>
                    <a:pt x="307" y="176"/>
                  </a:lnTo>
                  <a:lnTo>
                    <a:pt x="305" y="172"/>
                  </a:lnTo>
                  <a:lnTo>
                    <a:pt x="305" y="179"/>
                  </a:lnTo>
                  <a:lnTo>
                    <a:pt x="305" y="179"/>
                  </a:lnTo>
                  <a:lnTo>
                    <a:pt x="305" y="1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8" name="Freeform 44">
              <a:extLst>
                <a:ext uri="{FF2B5EF4-FFF2-40B4-BE49-F238E27FC236}">
                  <a16:creationId xmlns:a16="http://schemas.microsoft.com/office/drawing/2014/main" id="{6A1F0014-2F00-4E36-9CF4-2CFADFBC9CA7}"/>
                </a:ext>
              </a:extLst>
            </p:cNvPr>
            <p:cNvSpPr>
              <a:spLocks noEditPoints="1"/>
            </p:cNvSpPr>
            <p:nvPr/>
          </p:nvSpPr>
          <p:spPr bwMode="auto">
            <a:xfrm>
              <a:off x="2476500" y="4119563"/>
              <a:ext cx="1058863" cy="1116013"/>
            </a:xfrm>
            <a:custGeom>
              <a:avLst/>
              <a:gdLst/>
              <a:ahLst/>
              <a:cxnLst>
                <a:cxn ang="0">
                  <a:pos x="393" y="98"/>
                </a:cxn>
                <a:cxn ang="0">
                  <a:pos x="400" y="87"/>
                </a:cxn>
                <a:cxn ang="0">
                  <a:pos x="409" y="82"/>
                </a:cxn>
                <a:cxn ang="0">
                  <a:pos x="405" y="87"/>
                </a:cxn>
                <a:cxn ang="0">
                  <a:pos x="412" y="93"/>
                </a:cxn>
                <a:cxn ang="0">
                  <a:pos x="402" y="56"/>
                </a:cxn>
                <a:cxn ang="0">
                  <a:pos x="367" y="39"/>
                </a:cxn>
                <a:cxn ang="0">
                  <a:pos x="341" y="56"/>
                </a:cxn>
                <a:cxn ang="0">
                  <a:pos x="304" y="49"/>
                </a:cxn>
                <a:cxn ang="0">
                  <a:pos x="285" y="56"/>
                </a:cxn>
                <a:cxn ang="0">
                  <a:pos x="245" y="58"/>
                </a:cxn>
                <a:cxn ang="0">
                  <a:pos x="242" y="18"/>
                </a:cxn>
                <a:cxn ang="0">
                  <a:pos x="216" y="13"/>
                </a:cxn>
                <a:cxn ang="0">
                  <a:pos x="160" y="23"/>
                </a:cxn>
                <a:cxn ang="0">
                  <a:pos x="153" y="68"/>
                </a:cxn>
                <a:cxn ang="0">
                  <a:pos x="99" y="63"/>
                </a:cxn>
                <a:cxn ang="0">
                  <a:pos x="66" y="86"/>
                </a:cxn>
                <a:cxn ang="0">
                  <a:pos x="56" y="164"/>
                </a:cxn>
                <a:cxn ang="0">
                  <a:pos x="11" y="197"/>
                </a:cxn>
                <a:cxn ang="0">
                  <a:pos x="14" y="251"/>
                </a:cxn>
                <a:cxn ang="0">
                  <a:pos x="59" y="279"/>
                </a:cxn>
                <a:cxn ang="0">
                  <a:pos x="105" y="279"/>
                </a:cxn>
                <a:cxn ang="0">
                  <a:pos x="150" y="286"/>
                </a:cxn>
                <a:cxn ang="0">
                  <a:pos x="204" y="322"/>
                </a:cxn>
                <a:cxn ang="0">
                  <a:pos x="270" y="387"/>
                </a:cxn>
                <a:cxn ang="0">
                  <a:pos x="287" y="475"/>
                </a:cxn>
                <a:cxn ang="0">
                  <a:pos x="343" y="512"/>
                </a:cxn>
                <a:cxn ang="0">
                  <a:pos x="360" y="553"/>
                </a:cxn>
                <a:cxn ang="0">
                  <a:pos x="329" y="593"/>
                </a:cxn>
                <a:cxn ang="0">
                  <a:pos x="304" y="633"/>
                </a:cxn>
                <a:cxn ang="0">
                  <a:pos x="351" y="658"/>
                </a:cxn>
                <a:cxn ang="0">
                  <a:pos x="379" y="703"/>
                </a:cxn>
                <a:cxn ang="0">
                  <a:pos x="402" y="653"/>
                </a:cxn>
                <a:cxn ang="0">
                  <a:pos x="414" y="633"/>
                </a:cxn>
                <a:cxn ang="0">
                  <a:pos x="400" y="663"/>
                </a:cxn>
                <a:cxn ang="0">
                  <a:pos x="445" y="593"/>
                </a:cxn>
                <a:cxn ang="0">
                  <a:pos x="443" y="555"/>
                </a:cxn>
                <a:cxn ang="0">
                  <a:pos x="466" y="527"/>
                </a:cxn>
                <a:cxn ang="0">
                  <a:pos x="509" y="496"/>
                </a:cxn>
                <a:cxn ang="0">
                  <a:pos x="523" y="496"/>
                </a:cxn>
                <a:cxn ang="0">
                  <a:pos x="555" y="489"/>
                </a:cxn>
                <a:cxn ang="0">
                  <a:pos x="581" y="449"/>
                </a:cxn>
                <a:cxn ang="0">
                  <a:pos x="598" y="380"/>
                </a:cxn>
                <a:cxn ang="0">
                  <a:pos x="600" y="320"/>
                </a:cxn>
                <a:cxn ang="0">
                  <a:pos x="603" y="315"/>
                </a:cxn>
                <a:cxn ang="0">
                  <a:pos x="643" y="268"/>
                </a:cxn>
                <a:cxn ang="0">
                  <a:pos x="659" y="195"/>
                </a:cxn>
                <a:cxn ang="0">
                  <a:pos x="595" y="147"/>
                </a:cxn>
                <a:cxn ang="0">
                  <a:pos x="546" y="138"/>
                </a:cxn>
                <a:cxn ang="0">
                  <a:pos x="516" y="136"/>
                </a:cxn>
                <a:cxn ang="0">
                  <a:pos x="501" y="143"/>
                </a:cxn>
                <a:cxn ang="0">
                  <a:pos x="482" y="117"/>
                </a:cxn>
                <a:cxn ang="0">
                  <a:pos x="454" y="105"/>
                </a:cxn>
                <a:cxn ang="0">
                  <a:pos x="419" y="131"/>
                </a:cxn>
                <a:cxn ang="0">
                  <a:pos x="417" y="126"/>
                </a:cxn>
                <a:cxn ang="0">
                  <a:pos x="419" y="120"/>
                </a:cxn>
                <a:cxn ang="0">
                  <a:pos x="409" y="94"/>
                </a:cxn>
                <a:cxn ang="0">
                  <a:pos x="383" y="114"/>
                </a:cxn>
                <a:cxn ang="0">
                  <a:pos x="389" y="89"/>
                </a:cxn>
                <a:cxn ang="0">
                  <a:pos x="400" y="58"/>
                </a:cxn>
              </a:cxnLst>
              <a:rect l="0" t="0" r="r" b="b"/>
              <a:pathLst>
                <a:path w="667" h="703">
                  <a:moveTo>
                    <a:pt x="389" y="101"/>
                  </a:moveTo>
                  <a:lnTo>
                    <a:pt x="391" y="101"/>
                  </a:lnTo>
                  <a:lnTo>
                    <a:pt x="395" y="100"/>
                  </a:lnTo>
                  <a:lnTo>
                    <a:pt x="395" y="100"/>
                  </a:lnTo>
                  <a:lnTo>
                    <a:pt x="395" y="101"/>
                  </a:lnTo>
                  <a:lnTo>
                    <a:pt x="391" y="101"/>
                  </a:lnTo>
                  <a:lnTo>
                    <a:pt x="389" y="101"/>
                  </a:lnTo>
                  <a:lnTo>
                    <a:pt x="389" y="101"/>
                  </a:lnTo>
                  <a:lnTo>
                    <a:pt x="389" y="101"/>
                  </a:lnTo>
                  <a:lnTo>
                    <a:pt x="389" y="101"/>
                  </a:lnTo>
                  <a:close/>
                  <a:moveTo>
                    <a:pt x="388" y="101"/>
                  </a:moveTo>
                  <a:lnTo>
                    <a:pt x="388" y="101"/>
                  </a:lnTo>
                  <a:lnTo>
                    <a:pt x="389" y="101"/>
                  </a:lnTo>
                  <a:lnTo>
                    <a:pt x="393" y="98"/>
                  </a:lnTo>
                  <a:lnTo>
                    <a:pt x="395" y="98"/>
                  </a:lnTo>
                  <a:lnTo>
                    <a:pt x="396" y="94"/>
                  </a:lnTo>
                  <a:lnTo>
                    <a:pt x="396" y="93"/>
                  </a:lnTo>
                  <a:lnTo>
                    <a:pt x="396" y="93"/>
                  </a:lnTo>
                  <a:lnTo>
                    <a:pt x="395" y="93"/>
                  </a:lnTo>
                  <a:lnTo>
                    <a:pt x="393" y="93"/>
                  </a:lnTo>
                  <a:lnTo>
                    <a:pt x="389" y="96"/>
                  </a:lnTo>
                  <a:lnTo>
                    <a:pt x="388" y="101"/>
                  </a:lnTo>
                  <a:lnTo>
                    <a:pt x="388" y="101"/>
                  </a:lnTo>
                  <a:lnTo>
                    <a:pt x="388" y="101"/>
                  </a:lnTo>
                  <a:lnTo>
                    <a:pt x="388" y="101"/>
                  </a:lnTo>
                  <a:close/>
                  <a:moveTo>
                    <a:pt x="402" y="89"/>
                  </a:moveTo>
                  <a:lnTo>
                    <a:pt x="400" y="87"/>
                  </a:lnTo>
                  <a:lnTo>
                    <a:pt x="400" y="87"/>
                  </a:lnTo>
                  <a:lnTo>
                    <a:pt x="400" y="89"/>
                  </a:lnTo>
                  <a:lnTo>
                    <a:pt x="400" y="91"/>
                  </a:lnTo>
                  <a:lnTo>
                    <a:pt x="400" y="91"/>
                  </a:lnTo>
                  <a:lnTo>
                    <a:pt x="402" y="89"/>
                  </a:lnTo>
                  <a:lnTo>
                    <a:pt x="402" y="89"/>
                  </a:lnTo>
                  <a:lnTo>
                    <a:pt x="402" y="89"/>
                  </a:lnTo>
                  <a:lnTo>
                    <a:pt x="402" y="89"/>
                  </a:lnTo>
                  <a:close/>
                  <a:moveTo>
                    <a:pt x="402" y="86"/>
                  </a:moveTo>
                  <a:lnTo>
                    <a:pt x="400" y="82"/>
                  </a:lnTo>
                  <a:lnTo>
                    <a:pt x="402" y="82"/>
                  </a:lnTo>
                  <a:lnTo>
                    <a:pt x="403" y="82"/>
                  </a:lnTo>
                  <a:lnTo>
                    <a:pt x="409" y="79"/>
                  </a:lnTo>
                  <a:lnTo>
                    <a:pt x="409" y="79"/>
                  </a:lnTo>
                  <a:lnTo>
                    <a:pt x="409" y="82"/>
                  </a:lnTo>
                  <a:lnTo>
                    <a:pt x="405" y="82"/>
                  </a:lnTo>
                  <a:lnTo>
                    <a:pt x="403" y="86"/>
                  </a:lnTo>
                  <a:lnTo>
                    <a:pt x="402" y="86"/>
                  </a:lnTo>
                  <a:lnTo>
                    <a:pt x="402" y="86"/>
                  </a:lnTo>
                  <a:lnTo>
                    <a:pt x="402" y="86"/>
                  </a:lnTo>
                  <a:lnTo>
                    <a:pt x="402" y="86"/>
                  </a:lnTo>
                  <a:close/>
                  <a:moveTo>
                    <a:pt x="402" y="89"/>
                  </a:moveTo>
                  <a:lnTo>
                    <a:pt x="403" y="89"/>
                  </a:lnTo>
                  <a:lnTo>
                    <a:pt x="409" y="89"/>
                  </a:lnTo>
                  <a:lnTo>
                    <a:pt x="410" y="91"/>
                  </a:lnTo>
                  <a:lnTo>
                    <a:pt x="412" y="89"/>
                  </a:lnTo>
                  <a:lnTo>
                    <a:pt x="412" y="87"/>
                  </a:lnTo>
                  <a:lnTo>
                    <a:pt x="410" y="86"/>
                  </a:lnTo>
                  <a:lnTo>
                    <a:pt x="405" y="87"/>
                  </a:lnTo>
                  <a:lnTo>
                    <a:pt x="403" y="87"/>
                  </a:lnTo>
                  <a:lnTo>
                    <a:pt x="402" y="89"/>
                  </a:lnTo>
                  <a:lnTo>
                    <a:pt x="402" y="89"/>
                  </a:lnTo>
                  <a:lnTo>
                    <a:pt x="402" y="89"/>
                  </a:lnTo>
                  <a:lnTo>
                    <a:pt x="402" y="89"/>
                  </a:lnTo>
                  <a:close/>
                  <a:moveTo>
                    <a:pt x="412" y="93"/>
                  </a:moveTo>
                  <a:lnTo>
                    <a:pt x="416" y="91"/>
                  </a:lnTo>
                  <a:lnTo>
                    <a:pt x="416" y="91"/>
                  </a:lnTo>
                  <a:lnTo>
                    <a:pt x="419" y="89"/>
                  </a:lnTo>
                  <a:lnTo>
                    <a:pt x="419" y="91"/>
                  </a:lnTo>
                  <a:lnTo>
                    <a:pt x="419" y="94"/>
                  </a:lnTo>
                  <a:lnTo>
                    <a:pt x="416" y="94"/>
                  </a:lnTo>
                  <a:lnTo>
                    <a:pt x="412" y="93"/>
                  </a:lnTo>
                  <a:lnTo>
                    <a:pt x="412" y="93"/>
                  </a:lnTo>
                  <a:lnTo>
                    <a:pt x="412" y="93"/>
                  </a:lnTo>
                  <a:lnTo>
                    <a:pt x="412" y="93"/>
                  </a:lnTo>
                  <a:close/>
                  <a:moveTo>
                    <a:pt x="402" y="56"/>
                  </a:moveTo>
                  <a:lnTo>
                    <a:pt x="400" y="54"/>
                  </a:lnTo>
                  <a:lnTo>
                    <a:pt x="400" y="51"/>
                  </a:lnTo>
                  <a:lnTo>
                    <a:pt x="400" y="49"/>
                  </a:lnTo>
                  <a:lnTo>
                    <a:pt x="402" y="51"/>
                  </a:lnTo>
                  <a:lnTo>
                    <a:pt x="403" y="54"/>
                  </a:lnTo>
                  <a:lnTo>
                    <a:pt x="403" y="58"/>
                  </a:lnTo>
                  <a:lnTo>
                    <a:pt x="403" y="58"/>
                  </a:lnTo>
                  <a:lnTo>
                    <a:pt x="402" y="56"/>
                  </a:lnTo>
                  <a:lnTo>
                    <a:pt x="402" y="56"/>
                  </a:lnTo>
                  <a:lnTo>
                    <a:pt x="402" y="56"/>
                  </a:lnTo>
                  <a:lnTo>
                    <a:pt x="402" y="56"/>
                  </a:lnTo>
                  <a:close/>
                  <a:moveTo>
                    <a:pt x="386" y="23"/>
                  </a:moveTo>
                  <a:lnTo>
                    <a:pt x="386" y="23"/>
                  </a:lnTo>
                  <a:lnTo>
                    <a:pt x="384" y="20"/>
                  </a:lnTo>
                  <a:lnTo>
                    <a:pt x="383" y="14"/>
                  </a:lnTo>
                  <a:lnTo>
                    <a:pt x="381" y="16"/>
                  </a:lnTo>
                  <a:lnTo>
                    <a:pt x="383" y="18"/>
                  </a:lnTo>
                  <a:lnTo>
                    <a:pt x="381" y="21"/>
                  </a:lnTo>
                  <a:lnTo>
                    <a:pt x="377" y="23"/>
                  </a:lnTo>
                  <a:lnTo>
                    <a:pt x="377" y="23"/>
                  </a:lnTo>
                  <a:lnTo>
                    <a:pt x="377" y="23"/>
                  </a:lnTo>
                  <a:lnTo>
                    <a:pt x="374" y="23"/>
                  </a:lnTo>
                  <a:lnTo>
                    <a:pt x="372" y="32"/>
                  </a:lnTo>
                  <a:lnTo>
                    <a:pt x="367" y="35"/>
                  </a:lnTo>
                  <a:lnTo>
                    <a:pt x="367" y="39"/>
                  </a:lnTo>
                  <a:lnTo>
                    <a:pt x="363" y="46"/>
                  </a:lnTo>
                  <a:lnTo>
                    <a:pt x="360" y="51"/>
                  </a:lnTo>
                  <a:lnTo>
                    <a:pt x="358" y="54"/>
                  </a:lnTo>
                  <a:lnTo>
                    <a:pt x="355" y="54"/>
                  </a:lnTo>
                  <a:lnTo>
                    <a:pt x="355" y="56"/>
                  </a:lnTo>
                  <a:lnTo>
                    <a:pt x="355" y="58"/>
                  </a:lnTo>
                  <a:lnTo>
                    <a:pt x="350" y="63"/>
                  </a:lnTo>
                  <a:lnTo>
                    <a:pt x="350" y="60"/>
                  </a:lnTo>
                  <a:lnTo>
                    <a:pt x="350" y="56"/>
                  </a:lnTo>
                  <a:lnTo>
                    <a:pt x="346" y="54"/>
                  </a:lnTo>
                  <a:lnTo>
                    <a:pt x="346" y="54"/>
                  </a:lnTo>
                  <a:lnTo>
                    <a:pt x="344" y="54"/>
                  </a:lnTo>
                  <a:lnTo>
                    <a:pt x="343" y="54"/>
                  </a:lnTo>
                  <a:lnTo>
                    <a:pt x="341" y="56"/>
                  </a:lnTo>
                  <a:lnTo>
                    <a:pt x="337" y="56"/>
                  </a:lnTo>
                  <a:lnTo>
                    <a:pt x="336" y="54"/>
                  </a:lnTo>
                  <a:lnTo>
                    <a:pt x="336" y="51"/>
                  </a:lnTo>
                  <a:lnTo>
                    <a:pt x="334" y="51"/>
                  </a:lnTo>
                  <a:lnTo>
                    <a:pt x="332" y="49"/>
                  </a:lnTo>
                  <a:lnTo>
                    <a:pt x="332" y="47"/>
                  </a:lnTo>
                  <a:lnTo>
                    <a:pt x="330" y="47"/>
                  </a:lnTo>
                  <a:lnTo>
                    <a:pt x="327" y="44"/>
                  </a:lnTo>
                  <a:lnTo>
                    <a:pt x="323" y="44"/>
                  </a:lnTo>
                  <a:lnTo>
                    <a:pt x="320" y="46"/>
                  </a:lnTo>
                  <a:lnTo>
                    <a:pt x="311" y="46"/>
                  </a:lnTo>
                  <a:lnTo>
                    <a:pt x="308" y="44"/>
                  </a:lnTo>
                  <a:lnTo>
                    <a:pt x="304" y="46"/>
                  </a:lnTo>
                  <a:lnTo>
                    <a:pt x="304" y="49"/>
                  </a:lnTo>
                  <a:lnTo>
                    <a:pt x="308" y="51"/>
                  </a:lnTo>
                  <a:lnTo>
                    <a:pt x="308" y="54"/>
                  </a:lnTo>
                  <a:lnTo>
                    <a:pt x="310" y="58"/>
                  </a:lnTo>
                  <a:lnTo>
                    <a:pt x="310" y="60"/>
                  </a:lnTo>
                  <a:lnTo>
                    <a:pt x="306" y="60"/>
                  </a:lnTo>
                  <a:lnTo>
                    <a:pt x="301" y="58"/>
                  </a:lnTo>
                  <a:lnTo>
                    <a:pt x="301" y="56"/>
                  </a:lnTo>
                  <a:lnTo>
                    <a:pt x="301" y="56"/>
                  </a:lnTo>
                  <a:lnTo>
                    <a:pt x="301" y="56"/>
                  </a:lnTo>
                  <a:lnTo>
                    <a:pt x="301" y="56"/>
                  </a:lnTo>
                  <a:lnTo>
                    <a:pt x="292" y="56"/>
                  </a:lnTo>
                  <a:lnTo>
                    <a:pt x="290" y="58"/>
                  </a:lnTo>
                  <a:lnTo>
                    <a:pt x="290" y="56"/>
                  </a:lnTo>
                  <a:lnTo>
                    <a:pt x="285" y="56"/>
                  </a:lnTo>
                  <a:lnTo>
                    <a:pt x="282" y="58"/>
                  </a:lnTo>
                  <a:lnTo>
                    <a:pt x="278" y="63"/>
                  </a:lnTo>
                  <a:lnTo>
                    <a:pt x="273" y="63"/>
                  </a:lnTo>
                  <a:lnTo>
                    <a:pt x="270" y="65"/>
                  </a:lnTo>
                  <a:lnTo>
                    <a:pt x="268" y="67"/>
                  </a:lnTo>
                  <a:lnTo>
                    <a:pt x="266" y="68"/>
                  </a:lnTo>
                  <a:lnTo>
                    <a:pt x="261" y="70"/>
                  </a:lnTo>
                  <a:lnTo>
                    <a:pt x="261" y="68"/>
                  </a:lnTo>
                  <a:lnTo>
                    <a:pt x="259" y="68"/>
                  </a:lnTo>
                  <a:lnTo>
                    <a:pt x="256" y="72"/>
                  </a:lnTo>
                  <a:lnTo>
                    <a:pt x="254" y="70"/>
                  </a:lnTo>
                  <a:lnTo>
                    <a:pt x="247" y="65"/>
                  </a:lnTo>
                  <a:lnTo>
                    <a:pt x="245" y="63"/>
                  </a:lnTo>
                  <a:lnTo>
                    <a:pt x="245" y="58"/>
                  </a:lnTo>
                  <a:lnTo>
                    <a:pt x="242" y="54"/>
                  </a:lnTo>
                  <a:lnTo>
                    <a:pt x="238" y="51"/>
                  </a:lnTo>
                  <a:lnTo>
                    <a:pt x="238" y="49"/>
                  </a:lnTo>
                  <a:lnTo>
                    <a:pt x="238" y="47"/>
                  </a:lnTo>
                  <a:lnTo>
                    <a:pt x="238" y="46"/>
                  </a:lnTo>
                  <a:lnTo>
                    <a:pt x="238" y="42"/>
                  </a:lnTo>
                  <a:lnTo>
                    <a:pt x="240" y="39"/>
                  </a:lnTo>
                  <a:lnTo>
                    <a:pt x="240" y="35"/>
                  </a:lnTo>
                  <a:lnTo>
                    <a:pt x="242" y="28"/>
                  </a:lnTo>
                  <a:lnTo>
                    <a:pt x="242" y="23"/>
                  </a:lnTo>
                  <a:lnTo>
                    <a:pt x="247" y="21"/>
                  </a:lnTo>
                  <a:lnTo>
                    <a:pt x="247" y="20"/>
                  </a:lnTo>
                  <a:lnTo>
                    <a:pt x="242" y="20"/>
                  </a:lnTo>
                  <a:lnTo>
                    <a:pt x="242" y="18"/>
                  </a:lnTo>
                  <a:lnTo>
                    <a:pt x="240" y="14"/>
                  </a:lnTo>
                  <a:lnTo>
                    <a:pt x="237" y="14"/>
                  </a:lnTo>
                  <a:lnTo>
                    <a:pt x="233" y="13"/>
                  </a:lnTo>
                  <a:lnTo>
                    <a:pt x="235" y="11"/>
                  </a:lnTo>
                  <a:lnTo>
                    <a:pt x="238" y="7"/>
                  </a:lnTo>
                  <a:lnTo>
                    <a:pt x="238" y="4"/>
                  </a:lnTo>
                  <a:lnTo>
                    <a:pt x="235" y="0"/>
                  </a:lnTo>
                  <a:lnTo>
                    <a:pt x="231" y="0"/>
                  </a:lnTo>
                  <a:lnTo>
                    <a:pt x="228" y="0"/>
                  </a:lnTo>
                  <a:lnTo>
                    <a:pt x="228" y="0"/>
                  </a:lnTo>
                  <a:lnTo>
                    <a:pt x="228" y="0"/>
                  </a:lnTo>
                  <a:lnTo>
                    <a:pt x="228" y="4"/>
                  </a:lnTo>
                  <a:lnTo>
                    <a:pt x="224" y="6"/>
                  </a:lnTo>
                  <a:lnTo>
                    <a:pt x="216" y="13"/>
                  </a:lnTo>
                  <a:lnTo>
                    <a:pt x="211" y="13"/>
                  </a:lnTo>
                  <a:lnTo>
                    <a:pt x="202" y="16"/>
                  </a:lnTo>
                  <a:lnTo>
                    <a:pt x="200" y="14"/>
                  </a:lnTo>
                  <a:lnTo>
                    <a:pt x="197" y="16"/>
                  </a:lnTo>
                  <a:lnTo>
                    <a:pt x="190" y="21"/>
                  </a:lnTo>
                  <a:lnTo>
                    <a:pt x="184" y="23"/>
                  </a:lnTo>
                  <a:lnTo>
                    <a:pt x="183" y="21"/>
                  </a:lnTo>
                  <a:lnTo>
                    <a:pt x="174" y="23"/>
                  </a:lnTo>
                  <a:lnTo>
                    <a:pt x="169" y="23"/>
                  </a:lnTo>
                  <a:lnTo>
                    <a:pt x="164" y="20"/>
                  </a:lnTo>
                  <a:lnTo>
                    <a:pt x="158" y="20"/>
                  </a:lnTo>
                  <a:lnTo>
                    <a:pt x="153" y="18"/>
                  </a:lnTo>
                  <a:lnTo>
                    <a:pt x="155" y="21"/>
                  </a:lnTo>
                  <a:lnTo>
                    <a:pt x="160" y="23"/>
                  </a:lnTo>
                  <a:lnTo>
                    <a:pt x="164" y="27"/>
                  </a:lnTo>
                  <a:lnTo>
                    <a:pt x="165" y="28"/>
                  </a:lnTo>
                  <a:lnTo>
                    <a:pt x="160" y="37"/>
                  </a:lnTo>
                  <a:lnTo>
                    <a:pt x="162" y="40"/>
                  </a:lnTo>
                  <a:lnTo>
                    <a:pt x="160" y="46"/>
                  </a:lnTo>
                  <a:lnTo>
                    <a:pt x="169" y="49"/>
                  </a:lnTo>
                  <a:lnTo>
                    <a:pt x="174" y="49"/>
                  </a:lnTo>
                  <a:lnTo>
                    <a:pt x="179" y="49"/>
                  </a:lnTo>
                  <a:lnTo>
                    <a:pt x="179" y="51"/>
                  </a:lnTo>
                  <a:lnTo>
                    <a:pt x="174" y="54"/>
                  </a:lnTo>
                  <a:lnTo>
                    <a:pt x="165" y="54"/>
                  </a:lnTo>
                  <a:lnTo>
                    <a:pt x="165" y="58"/>
                  </a:lnTo>
                  <a:lnTo>
                    <a:pt x="164" y="63"/>
                  </a:lnTo>
                  <a:lnTo>
                    <a:pt x="153" y="68"/>
                  </a:lnTo>
                  <a:lnTo>
                    <a:pt x="151" y="72"/>
                  </a:lnTo>
                  <a:lnTo>
                    <a:pt x="146" y="74"/>
                  </a:lnTo>
                  <a:lnTo>
                    <a:pt x="141" y="79"/>
                  </a:lnTo>
                  <a:lnTo>
                    <a:pt x="134" y="79"/>
                  </a:lnTo>
                  <a:lnTo>
                    <a:pt x="131" y="79"/>
                  </a:lnTo>
                  <a:lnTo>
                    <a:pt x="124" y="74"/>
                  </a:lnTo>
                  <a:lnTo>
                    <a:pt x="118" y="70"/>
                  </a:lnTo>
                  <a:lnTo>
                    <a:pt x="113" y="70"/>
                  </a:lnTo>
                  <a:lnTo>
                    <a:pt x="113" y="67"/>
                  </a:lnTo>
                  <a:lnTo>
                    <a:pt x="113" y="63"/>
                  </a:lnTo>
                  <a:lnTo>
                    <a:pt x="110" y="58"/>
                  </a:lnTo>
                  <a:lnTo>
                    <a:pt x="108" y="56"/>
                  </a:lnTo>
                  <a:lnTo>
                    <a:pt x="105" y="56"/>
                  </a:lnTo>
                  <a:lnTo>
                    <a:pt x="99" y="63"/>
                  </a:lnTo>
                  <a:lnTo>
                    <a:pt x="98" y="63"/>
                  </a:lnTo>
                  <a:lnTo>
                    <a:pt x="96" y="60"/>
                  </a:lnTo>
                  <a:lnTo>
                    <a:pt x="92" y="60"/>
                  </a:lnTo>
                  <a:lnTo>
                    <a:pt x="92" y="63"/>
                  </a:lnTo>
                  <a:lnTo>
                    <a:pt x="73" y="63"/>
                  </a:lnTo>
                  <a:lnTo>
                    <a:pt x="70" y="68"/>
                  </a:lnTo>
                  <a:lnTo>
                    <a:pt x="73" y="72"/>
                  </a:lnTo>
                  <a:lnTo>
                    <a:pt x="78" y="74"/>
                  </a:lnTo>
                  <a:lnTo>
                    <a:pt x="80" y="79"/>
                  </a:lnTo>
                  <a:lnTo>
                    <a:pt x="78" y="79"/>
                  </a:lnTo>
                  <a:lnTo>
                    <a:pt x="82" y="82"/>
                  </a:lnTo>
                  <a:lnTo>
                    <a:pt x="80" y="86"/>
                  </a:lnTo>
                  <a:lnTo>
                    <a:pt x="77" y="82"/>
                  </a:lnTo>
                  <a:lnTo>
                    <a:pt x="66" y="86"/>
                  </a:lnTo>
                  <a:lnTo>
                    <a:pt x="66" y="96"/>
                  </a:lnTo>
                  <a:lnTo>
                    <a:pt x="70" y="100"/>
                  </a:lnTo>
                  <a:lnTo>
                    <a:pt x="75" y="105"/>
                  </a:lnTo>
                  <a:lnTo>
                    <a:pt x="78" y="114"/>
                  </a:lnTo>
                  <a:lnTo>
                    <a:pt x="78" y="117"/>
                  </a:lnTo>
                  <a:lnTo>
                    <a:pt x="78" y="120"/>
                  </a:lnTo>
                  <a:lnTo>
                    <a:pt x="70" y="157"/>
                  </a:lnTo>
                  <a:lnTo>
                    <a:pt x="66" y="164"/>
                  </a:lnTo>
                  <a:lnTo>
                    <a:pt x="66" y="166"/>
                  </a:lnTo>
                  <a:lnTo>
                    <a:pt x="66" y="169"/>
                  </a:lnTo>
                  <a:lnTo>
                    <a:pt x="61" y="167"/>
                  </a:lnTo>
                  <a:lnTo>
                    <a:pt x="63" y="167"/>
                  </a:lnTo>
                  <a:lnTo>
                    <a:pt x="58" y="164"/>
                  </a:lnTo>
                  <a:lnTo>
                    <a:pt x="56" y="164"/>
                  </a:lnTo>
                  <a:lnTo>
                    <a:pt x="52" y="164"/>
                  </a:lnTo>
                  <a:lnTo>
                    <a:pt x="51" y="164"/>
                  </a:lnTo>
                  <a:lnTo>
                    <a:pt x="51" y="167"/>
                  </a:lnTo>
                  <a:lnTo>
                    <a:pt x="40" y="173"/>
                  </a:lnTo>
                  <a:lnTo>
                    <a:pt x="30" y="173"/>
                  </a:lnTo>
                  <a:lnTo>
                    <a:pt x="28" y="174"/>
                  </a:lnTo>
                  <a:lnTo>
                    <a:pt x="26" y="176"/>
                  </a:lnTo>
                  <a:lnTo>
                    <a:pt x="23" y="180"/>
                  </a:lnTo>
                  <a:lnTo>
                    <a:pt x="19" y="181"/>
                  </a:lnTo>
                  <a:lnTo>
                    <a:pt x="16" y="183"/>
                  </a:lnTo>
                  <a:lnTo>
                    <a:pt x="16" y="188"/>
                  </a:lnTo>
                  <a:lnTo>
                    <a:pt x="14" y="192"/>
                  </a:lnTo>
                  <a:lnTo>
                    <a:pt x="16" y="192"/>
                  </a:lnTo>
                  <a:lnTo>
                    <a:pt x="11" y="197"/>
                  </a:lnTo>
                  <a:lnTo>
                    <a:pt x="12" y="204"/>
                  </a:lnTo>
                  <a:lnTo>
                    <a:pt x="14" y="207"/>
                  </a:lnTo>
                  <a:lnTo>
                    <a:pt x="11" y="209"/>
                  </a:lnTo>
                  <a:lnTo>
                    <a:pt x="9" y="209"/>
                  </a:lnTo>
                  <a:lnTo>
                    <a:pt x="4" y="213"/>
                  </a:lnTo>
                  <a:lnTo>
                    <a:pt x="4" y="214"/>
                  </a:lnTo>
                  <a:lnTo>
                    <a:pt x="0" y="218"/>
                  </a:lnTo>
                  <a:lnTo>
                    <a:pt x="2" y="220"/>
                  </a:lnTo>
                  <a:lnTo>
                    <a:pt x="2" y="223"/>
                  </a:lnTo>
                  <a:lnTo>
                    <a:pt x="0" y="227"/>
                  </a:lnTo>
                  <a:lnTo>
                    <a:pt x="2" y="230"/>
                  </a:lnTo>
                  <a:lnTo>
                    <a:pt x="0" y="232"/>
                  </a:lnTo>
                  <a:lnTo>
                    <a:pt x="5" y="237"/>
                  </a:lnTo>
                  <a:lnTo>
                    <a:pt x="14" y="251"/>
                  </a:lnTo>
                  <a:lnTo>
                    <a:pt x="11" y="256"/>
                  </a:lnTo>
                  <a:lnTo>
                    <a:pt x="19" y="254"/>
                  </a:lnTo>
                  <a:lnTo>
                    <a:pt x="25" y="256"/>
                  </a:lnTo>
                  <a:lnTo>
                    <a:pt x="28" y="261"/>
                  </a:lnTo>
                  <a:lnTo>
                    <a:pt x="30" y="267"/>
                  </a:lnTo>
                  <a:lnTo>
                    <a:pt x="38" y="267"/>
                  </a:lnTo>
                  <a:lnTo>
                    <a:pt x="45" y="267"/>
                  </a:lnTo>
                  <a:lnTo>
                    <a:pt x="52" y="260"/>
                  </a:lnTo>
                  <a:lnTo>
                    <a:pt x="59" y="256"/>
                  </a:lnTo>
                  <a:lnTo>
                    <a:pt x="61" y="258"/>
                  </a:lnTo>
                  <a:lnTo>
                    <a:pt x="61" y="263"/>
                  </a:lnTo>
                  <a:lnTo>
                    <a:pt x="59" y="265"/>
                  </a:lnTo>
                  <a:lnTo>
                    <a:pt x="59" y="270"/>
                  </a:lnTo>
                  <a:lnTo>
                    <a:pt x="59" y="279"/>
                  </a:lnTo>
                  <a:lnTo>
                    <a:pt x="59" y="284"/>
                  </a:lnTo>
                  <a:lnTo>
                    <a:pt x="63" y="286"/>
                  </a:lnTo>
                  <a:lnTo>
                    <a:pt x="66" y="286"/>
                  </a:lnTo>
                  <a:lnTo>
                    <a:pt x="70" y="284"/>
                  </a:lnTo>
                  <a:lnTo>
                    <a:pt x="73" y="284"/>
                  </a:lnTo>
                  <a:lnTo>
                    <a:pt x="73" y="284"/>
                  </a:lnTo>
                  <a:lnTo>
                    <a:pt x="75" y="284"/>
                  </a:lnTo>
                  <a:lnTo>
                    <a:pt x="77" y="286"/>
                  </a:lnTo>
                  <a:lnTo>
                    <a:pt x="77" y="286"/>
                  </a:lnTo>
                  <a:lnTo>
                    <a:pt x="87" y="284"/>
                  </a:lnTo>
                  <a:lnTo>
                    <a:pt x="92" y="286"/>
                  </a:lnTo>
                  <a:lnTo>
                    <a:pt x="96" y="282"/>
                  </a:lnTo>
                  <a:lnTo>
                    <a:pt x="99" y="282"/>
                  </a:lnTo>
                  <a:lnTo>
                    <a:pt x="105" y="279"/>
                  </a:lnTo>
                  <a:lnTo>
                    <a:pt x="108" y="279"/>
                  </a:lnTo>
                  <a:lnTo>
                    <a:pt x="113" y="277"/>
                  </a:lnTo>
                  <a:lnTo>
                    <a:pt x="115" y="270"/>
                  </a:lnTo>
                  <a:lnTo>
                    <a:pt x="124" y="265"/>
                  </a:lnTo>
                  <a:lnTo>
                    <a:pt x="129" y="265"/>
                  </a:lnTo>
                  <a:lnTo>
                    <a:pt x="134" y="261"/>
                  </a:lnTo>
                  <a:lnTo>
                    <a:pt x="139" y="261"/>
                  </a:lnTo>
                  <a:lnTo>
                    <a:pt x="143" y="265"/>
                  </a:lnTo>
                  <a:lnTo>
                    <a:pt x="146" y="261"/>
                  </a:lnTo>
                  <a:lnTo>
                    <a:pt x="146" y="263"/>
                  </a:lnTo>
                  <a:lnTo>
                    <a:pt x="146" y="268"/>
                  </a:lnTo>
                  <a:lnTo>
                    <a:pt x="150" y="273"/>
                  </a:lnTo>
                  <a:lnTo>
                    <a:pt x="146" y="277"/>
                  </a:lnTo>
                  <a:lnTo>
                    <a:pt x="150" y="286"/>
                  </a:lnTo>
                  <a:lnTo>
                    <a:pt x="146" y="289"/>
                  </a:lnTo>
                  <a:lnTo>
                    <a:pt x="150" y="296"/>
                  </a:lnTo>
                  <a:lnTo>
                    <a:pt x="153" y="298"/>
                  </a:lnTo>
                  <a:lnTo>
                    <a:pt x="155" y="305"/>
                  </a:lnTo>
                  <a:lnTo>
                    <a:pt x="158" y="305"/>
                  </a:lnTo>
                  <a:lnTo>
                    <a:pt x="165" y="308"/>
                  </a:lnTo>
                  <a:lnTo>
                    <a:pt x="169" y="312"/>
                  </a:lnTo>
                  <a:lnTo>
                    <a:pt x="169" y="310"/>
                  </a:lnTo>
                  <a:lnTo>
                    <a:pt x="177" y="308"/>
                  </a:lnTo>
                  <a:lnTo>
                    <a:pt x="183" y="313"/>
                  </a:lnTo>
                  <a:lnTo>
                    <a:pt x="188" y="313"/>
                  </a:lnTo>
                  <a:lnTo>
                    <a:pt x="193" y="320"/>
                  </a:lnTo>
                  <a:lnTo>
                    <a:pt x="197" y="320"/>
                  </a:lnTo>
                  <a:lnTo>
                    <a:pt x="204" y="322"/>
                  </a:lnTo>
                  <a:lnTo>
                    <a:pt x="209" y="324"/>
                  </a:lnTo>
                  <a:lnTo>
                    <a:pt x="209" y="329"/>
                  </a:lnTo>
                  <a:lnTo>
                    <a:pt x="212" y="329"/>
                  </a:lnTo>
                  <a:lnTo>
                    <a:pt x="217" y="333"/>
                  </a:lnTo>
                  <a:lnTo>
                    <a:pt x="228" y="333"/>
                  </a:lnTo>
                  <a:lnTo>
                    <a:pt x="233" y="334"/>
                  </a:lnTo>
                  <a:lnTo>
                    <a:pt x="235" y="338"/>
                  </a:lnTo>
                  <a:lnTo>
                    <a:pt x="235" y="347"/>
                  </a:lnTo>
                  <a:lnTo>
                    <a:pt x="235" y="352"/>
                  </a:lnTo>
                  <a:lnTo>
                    <a:pt x="233" y="355"/>
                  </a:lnTo>
                  <a:lnTo>
                    <a:pt x="240" y="367"/>
                  </a:lnTo>
                  <a:lnTo>
                    <a:pt x="240" y="376"/>
                  </a:lnTo>
                  <a:lnTo>
                    <a:pt x="270" y="376"/>
                  </a:lnTo>
                  <a:lnTo>
                    <a:pt x="270" y="387"/>
                  </a:lnTo>
                  <a:lnTo>
                    <a:pt x="270" y="393"/>
                  </a:lnTo>
                  <a:lnTo>
                    <a:pt x="278" y="395"/>
                  </a:lnTo>
                  <a:lnTo>
                    <a:pt x="289" y="411"/>
                  </a:lnTo>
                  <a:lnTo>
                    <a:pt x="289" y="420"/>
                  </a:lnTo>
                  <a:lnTo>
                    <a:pt x="282" y="437"/>
                  </a:lnTo>
                  <a:lnTo>
                    <a:pt x="282" y="439"/>
                  </a:lnTo>
                  <a:lnTo>
                    <a:pt x="278" y="442"/>
                  </a:lnTo>
                  <a:lnTo>
                    <a:pt x="282" y="444"/>
                  </a:lnTo>
                  <a:lnTo>
                    <a:pt x="278" y="447"/>
                  </a:lnTo>
                  <a:lnTo>
                    <a:pt x="283" y="451"/>
                  </a:lnTo>
                  <a:lnTo>
                    <a:pt x="283" y="456"/>
                  </a:lnTo>
                  <a:lnTo>
                    <a:pt x="287" y="461"/>
                  </a:lnTo>
                  <a:lnTo>
                    <a:pt x="285" y="473"/>
                  </a:lnTo>
                  <a:lnTo>
                    <a:pt x="287" y="475"/>
                  </a:lnTo>
                  <a:lnTo>
                    <a:pt x="285" y="479"/>
                  </a:lnTo>
                  <a:lnTo>
                    <a:pt x="287" y="484"/>
                  </a:lnTo>
                  <a:lnTo>
                    <a:pt x="292" y="482"/>
                  </a:lnTo>
                  <a:lnTo>
                    <a:pt x="296" y="484"/>
                  </a:lnTo>
                  <a:lnTo>
                    <a:pt x="304" y="484"/>
                  </a:lnTo>
                  <a:lnTo>
                    <a:pt x="308" y="486"/>
                  </a:lnTo>
                  <a:lnTo>
                    <a:pt x="315" y="482"/>
                  </a:lnTo>
                  <a:lnTo>
                    <a:pt x="320" y="486"/>
                  </a:lnTo>
                  <a:lnTo>
                    <a:pt x="323" y="486"/>
                  </a:lnTo>
                  <a:lnTo>
                    <a:pt x="323" y="489"/>
                  </a:lnTo>
                  <a:lnTo>
                    <a:pt x="329" y="508"/>
                  </a:lnTo>
                  <a:lnTo>
                    <a:pt x="332" y="515"/>
                  </a:lnTo>
                  <a:lnTo>
                    <a:pt x="334" y="517"/>
                  </a:lnTo>
                  <a:lnTo>
                    <a:pt x="343" y="512"/>
                  </a:lnTo>
                  <a:lnTo>
                    <a:pt x="346" y="513"/>
                  </a:lnTo>
                  <a:lnTo>
                    <a:pt x="350" y="517"/>
                  </a:lnTo>
                  <a:lnTo>
                    <a:pt x="350" y="517"/>
                  </a:lnTo>
                  <a:lnTo>
                    <a:pt x="350" y="520"/>
                  </a:lnTo>
                  <a:lnTo>
                    <a:pt x="350" y="536"/>
                  </a:lnTo>
                  <a:lnTo>
                    <a:pt x="346" y="538"/>
                  </a:lnTo>
                  <a:lnTo>
                    <a:pt x="346" y="538"/>
                  </a:lnTo>
                  <a:lnTo>
                    <a:pt x="346" y="540"/>
                  </a:lnTo>
                  <a:lnTo>
                    <a:pt x="346" y="541"/>
                  </a:lnTo>
                  <a:lnTo>
                    <a:pt x="346" y="543"/>
                  </a:lnTo>
                  <a:lnTo>
                    <a:pt x="350" y="543"/>
                  </a:lnTo>
                  <a:lnTo>
                    <a:pt x="356" y="543"/>
                  </a:lnTo>
                  <a:lnTo>
                    <a:pt x="356" y="546"/>
                  </a:lnTo>
                  <a:lnTo>
                    <a:pt x="360" y="553"/>
                  </a:lnTo>
                  <a:lnTo>
                    <a:pt x="360" y="559"/>
                  </a:lnTo>
                  <a:lnTo>
                    <a:pt x="362" y="566"/>
                  </a:lnTo>
                  <a:lnTo>
                    <a:pt x="362" y="571"/>
                  </a:lnTo>
                  <a:lnTo>
                    <a:pt x="360" y="574"/>
                  </a:lnTo>
                  <a:lnTo>
                    <a:pt x="356" y="574"/>
                  </a:lnTo>
                  <a:lnTo>
                    <a:pt x="355" y="576"/>
                  </a:lnTo>
                  <a:lnTo>
                    <a:pt x="351" y="580"/>
                  </a:lnTo>
                  <a:lnTo>
                    <a:pt x="350" y="580"/>
                  </a:lnTo>
                  <a:lnTo>
                    <a:pt x="350" y="580"/>
                  </a:lnTo>
                  <a:lnTo>
                    <a:pt x="343" y="585"/>
                  </a:lnTo>
                  <a:lnTo>
                    <a:pt x="341" y="586"/>
                  </a:lnTo>
                  <a:lnTo>
                    <a:pt x="337" y="586"/>
                  </a:lnTo>
                  <a:lnTo>
                    <a:pt x="332" y="593"/>
                  </a:lnTo>
                  <a:lnTo>
                    <a:pt x="329" y="593"/>
                  </a:lnTo>
                  <a:lnTo>
                    <a:pt x="329" y="599"/>
                  </a:lnTo>
                  <a:lnTo>
                    <a:pt x="327" y="599"/>
                  </a:lnTo>
                  <a:lnTo>
                    <a:pt x="323" y="599"/>
                  </a:lnTo>
                  <a:lnTo>
                    <a:pt x="320" y="606"/>
                  </a:lnTo>
                  <a:lnTo>
                    <a:pt x="318" y="606"/>
                  </a:lnTo>
                  <a:lnTo>
                    <a:pt x="320" y="611"/>
                  </a:lnTo>
                  <a:lnTo>
                    <a:pt x="315" y="611"/>
                  </a:lnTo>
                  <a:lnTo>
                    <a:pt x="315" y="614"/>
                  </a:lnTo>
                  <a:lnTo>
                    <a:pt x="311" y="620"/>
                  </a:lnTo>
                  <a:lnTo>
                    <a:pt x="310" y="623"/>
                  </a:lnTo>
                  <a:lnTo>
                    <a:pt x="306" y="628"/>
                  </a:lnTo>
                  <a:lnTo>
                    <a:pt x="306" y="630"/>
                  </a:lnTo>
                  <a:lnTo>
                    <a:pt x="304" y="630"/>
                  </a:lnTo>
                  <a:lnTo>
                    <a:pt x="304" y="633"/>
                  </a:lnTo>
                  <a:lnTo>
                    <a:pt x="304" y="633"/>
                  </a:lnTo>
                  <a:lnTo>
                    <a:pt x="306" y="633"/>
                  </a:lnTo>
                  <a:lnTo>
                    <a:pt x="315" y="630"/>
                  </a:lnTo>
                  <a:lnTo>
                    <a:pt x="320" y="633"/>
                  </a:lnTo>
                  <a:lnTo>
                    <a:pt x="323" y="639"/>
                  </a:lnTo>
                  <a:lnTo>
                    <a:pt x="327" y="640"/>
                  </a:lnTo>
                  <a:lnTo>
                    <a:pt x="329" y="646"/>
                  </a:lnTo>
                  <a:lnTo>
                    <a:pt x="332" y="653"/>
                  </a:lnTo>
                  <a:lnTo>
                    <a:pt x="334" y="653"/>
                  </a:lnTo>
                  <a:lnTo>
                    <a:pt x="337" y="649"/>
                  </a:lnTo>
                  <a:lnTo>
                    <a:pt x="339" y="649"/>
                  </a:lnTo>
                  <a:lnTo>
                    <a:pt x="344" y="656"/>
                  </a:lnTo>
                  <a:lnTo>
                    <a:pt x="350" y="658"/>
                  </a:lnTo>
                  <a:lnTo>
                    <a:pt x="351" y="658"/>
                  </a:lnTo>
                  <a:lnTo>
                    <a:pt x="356" y="661"/>
                  </a:lnTo>
                  <a:lnTo>
                    <a:pt x="356" y="666"/>
                  </a:lnTo>
                  <a:lnTo>
                    <a:pt x="360" y="665"/>
                  </a:lnTo>
                  <a:lnTo>
                    <a:pt x="367" y="668"/>
                  </a:lnTo>
                  <a:lnTo>
                    <a:pt x="369" y="673"/>
                  </a:lnTo>
                  <a:lnTo>
                    <a:pt x="374" y="680"/>
                  </a:lnTo>
                  <a:lnTo>
                    <a:pt x="377" y="684"/>
                  </a:lnTo>
                  <a:lnTo>
                    <a:pt x="377" y="689"/>
                  </a:lnTo>
                  <a:lnTo>
                    <a:pt x="374" y="693"/>
                  </a:lnTo>
                  <a:lnTo>
                    <a:pt x="377" y="696"/>
                  </a:lnTo>
                  <a:lnTo>
                    <a:pt x="377" y="698"/>
                  </a:lnTo>
                  <a:lnTo>
                    <a:pt x="377" y="700"/>
                  </a:lnTo>
                  <a:lnTo>
                    <a:pt x="379" y="701"/>
                  </a:lnTo>
                  <a:lnTo>
                    <a:pt x="379" y="703"/>
                  </a:lnTo>
                  <a:lnTo>
                    <a:pt x="386" y="698"/>
                  </a:lnTo>
                  <a:lnTo>
                    <a:pt x="388" y="693"/>
                  </a:lnTo>
                  <a:lnTo>
                    <a:pt x="391" y="680"/>
                  </a:lnTo>
                  <a:lnTo>
                    <a:pt x="395" y="672"/>
                  </a:lnTo>
                  <a:lnTo>
                    <a:pt x="395" y="670"/>
                  </a:lnTo>
                  <a:lnTo>
                    <a:pt x="395" y="668"/>
                  </a:lnTo>
                  <a:lnTo>
                    <a:pt x="391" y="665"/>
                  </a:lnTo>
                  <a:lnTo>
                    <a:pt x="393" y="661"/>
                  </a:lnTo>
                  <a:lnTo>
                    <a:pt x="395" y="661"/>
                  </a:lnTo>
                  <a:lnTo>
                    <a:pt x="395" y="658"/>
                  </a:lnTo>
                  <a:lnTo>
                    <a:pt x="396" y="653"/>
                  </a:lnTo>
                  <a:lnTo>
                    <a:pt x="396" y="653"/>
                  </a:lnTo>
                  <a:lnTo>
                    <a:pt x="400" y="653"/>
                  </a:lnTo>
                  <a:lnTo>
                    <a:pt x="402" y="653"/>
                  </a:lnTo>
                  <a:lnTo>
                    <a:pt x="403" y="651"/>
                  </a:lnTo>
                  <a:lnTo>
                    <a:pt x="405" y="647"/>
                  </a:lnTo>
                  <a:lnTo>
                    <a:pt x="405" y="646"/>
                  </a:lnTo>
                  <a:lnTo>
                    <a:pt x="405" y="642"/>
                  </a:lnTo>
                  <a:lnTo>
                    <a:pt x="409" y="640"/>
                  </a:lnTo>
                  <a:lnTo>
                    <a:pt x="409" y="640"/>
                  </a:lnTo>
                  <a:lnTo>
                    <a:pt x="410" y="637"/>
                  </a:lnTo>
                  <a:lnTo>
                    <a:pt x="409" y="633"/>
                  </a:lnTo>
                  <a:lnTo>
                    <a:pt x="409" y="633"/>
                  </a:lnTo>
                  <a:lnTo>
                    <a:pt x="409" y="628"/>
                  </a:lnTo>
                  <a:lnTo>
                    <a:pt x="409" y="626"/>
                  </a:lnTo>
                  <a:lnTo>
                    <a:pt x="409" y="626"/>
                  </a:lnTo>
                  <a:lnTo>
                    <a:pt x="410" y="630"/>
                  </a:lnTo>
                  <a:lnTo>
                    <a:pt x="414" y="633"/>
                  </a:lnTo>
                  <a:lnTo>
                    <a:pt x="416" y="633"/>
                  </a:lnTo>
                  <a:lnTo>
                    <a:pt x="417" y="633"/>
                  </a:lnTo>
                  <a:lnTo>
                    <a:pt x="419" y="635"/>
                  </a:lnTo>
                  <a:lnTo>
                    <a:pt x="419" y="637"/>
                  </a:lnTo>
                  <a:lnTo>
                    <a:pt x="417" y="639"/>
                  </a:lnTo>
                  <a:lnTo>
                    <a:pt x="416" y="644"/>
                  </a:lnTo>
                  <a:lnTo>
                    <a:pt x="412" y="651"/>
                  </a:lnTo>
                  <a:lnTo>
                    <a:pt x="409" y="651"/>
                  </a:lnTo>
                  <a:lnTo>
                    <a:pt x="409" y="656"/>
                  </a:lnTo>
                  <a:lnTo>
                    <a:pt x="409" y="658"/>
                  </a:lnTo>
                  <a:lnTo>
                    <a:pt x="405" y="658"/>
                  </a:lnTo>
                  <a:lnTo>
                    <a:pt x="402" y="658"/>
                  </a:lnTo>
                  <a:lnTo>
                    <a:pt x="400" y="661"/>
                  </a:lnTo>
                  <a:lnTo>
                    <a:pt x="400" y="663"/>
                  </a:lnTo>
                  <a:lnTo>
                    <a:pt x="396" y="663"/>
                  </a:lnTo>
                  <a:lnTo>
                    <a:pt x="396" y="665"/>
                  </a:lnTo>
                  <a:lnTo>
                    <a:pt x="396" y="666"/>
                  </a:lnTo>
                  <a:lnTo>
                    <a:pt x="400" y="668"/>
                  </a:lnTo>
                  <a:lnTo>
                    <a:pt x="409" y="661"/>
                  </a:lnTo>
                  <a:lnTo>
                    <a:pt x="416" y="653"/>
                  </a:lnTo>
                  <a:lnTo>
                    <a:pt x="424" y="639"/>
                  </a:lnTo>
                  <a:lnTo>
                    <a:pt x="428" y="633"/>
                  </a:lnTo>
                  <a:lnTo>
                    <a:pt x="428" y="625"/>
                  </a:lnTo>
                  <a:lnTo>
                    <a:pt x="436" y="611"/>
                  </a:lnTo>
                  <a:lnTo>
                    <a:pt x="445" y="600"/>
                  </a:lnTo>
                  <a:lnTo>
                    <a:pt x="447" y="597"/>
                  </a:lnTo>
                  <a:lnTo>
                    <a:pt x="445" y="597"/>
                  </a:lnTo>
                  <a:lnTo>
                    <a:pt x="445" y="593"/>
                  </a:lnTo>
                  <a:lnTo>
                    <a:pt x="447" y="593"/>
                  </a:lnTo>
                  <a:lnTo>
                    <a:pt x="449" y="590"/>
                  </a:lnTo>
                  <a:lnTo>
                    <a:pt x="450" y="588"/>
                  </a:lnTo>
                  <a:lnTo>
                    <a:pt x="450" y="585"/>
                  </a:lnTo>
                  <a:lnTo>
                    <a:pt x="450" y="583"/>
                  </a:lnTo>
                  <a:lnTo>
                    <a:pt x="450" y="583"/>
                  </a:lnTo>
                  <a:lnTo>
                    <a:pt x="449" y="580"/>
                  </a:lnTo>
                  <a:lnTo>
                    <a:pt x="449" y="576"/>
                  </a:lnTo>
                  <a:lnTo>
                    <a:pt x="445" y="571"/>
                  </a:lnTo>
                  <a:lnTo>
                    <a:pt x="445" y="571"/>
                  </a:lnTo>
                  <a:lnTo>
                    <a:pt x="447" y="569"/>
                  </a:lnTo>
                  <a:lnTo>
                    <a:pt x="445" y="567"/>
                  </a:lnTo>
                  <a:lnTo>
                    <a:pt x="445" y="560"/>
                  </a:lnTo>
                  <a:lnTo>
                    <a:pt x="443" y="555"/>
                  </a:lnTo>
                  <a:lnTo>
                    <a:pt x="443" y="555"/>
                  </a:lnTo>
                  <a:lnTo>
                    <a:pt x="449" y="553"/>
                  </a:lnTo>
                  <a:lnTo>
                    <a:pt x="447" y="552"/>
                  </a:lnTo>
                  <a:lnTo>
                    <a:pt x="445" y="552"/>
                  </a:lnTo>
                  <a:lnTo>
                    <a:pt x="450" y="548"/>
                  </a:lnTo>
                  <a:lnTo>
                    <a:pt x="450" y="546"/>
                  </a:lnTo>
                  <a:lnTo>
                    <a:pt x="445" y="543"/>
                  </a:lnTo>
                  <a:lnTo>
                    <a:pt x="449" y="543"/>
                  </a:lnTo>
                  <a:lnTo>
                    <a:pt x="450" y="540"/>
                  </a:lnTo>
                  <a:lnTo>
                    <a:pt x="454" y="541"/>
                  </a:lnTo>
                  <a:lnTo>
                    <a:pt x="457" y="536"/>
                  </a:lnTo>
                  <a:lnTo>
                    <a:pt x="461" y="534"/>
                  </a:lnTo>
                  <a:lnTo>
                    <a:pt x="461" y="533"/>
                  </a:lnTo>
                  <a:lnTo>
                    <a:pt x="466" y="527"/>
                  </a:lnTo>
                  <a:lnTo>
                    <a:pt x="471" y="524"/>
                  </a:lnTo>
                  <a:lnTo>
                    <a:pt x="478" y="517"/>
                  </a:lnTo>
                  <a:lnTo>
                    <a:pt x="483" y="517"/>
                  </a:lnTo>
                  <a:lnTo>
                    <a:pt x="487" y="513"/>
                  </a:lnTo>
                  <a:lnTo>
                    <a:pt x="490" y="510"/>
                  </a:lnTo>
                  <a:lnTo>
                    <a:pt x="494" y="510"/>
                  </a:lnTo>
                  <a:lnTo>
                    <a:pt x="497" y="512"/>
                  </a:lnTo>
                  <a:lnTo>
                    <a:pt x="499" y="512"/>
                  </a:lnTo>
                  <a:lnTo>
                    <a:pt x="499" y="510"/>
                  </a:lnTo>
                  <a:lnTo>
                    <a:pt x="501" y="505"/>
                  </a:lnTo>
                  <a:lnTo>
                    <a:pt x="508" y="501"/>
                  </a:lnTo>
                  <a:lnTo>
                    <a:pt x="511" y="501"/>
                  </a:lnTo>
                  <a:lnTo>
                    <a:pt x="511" y="498"/>
                  </a:lnTo>
                  <a:lnTo>
                    <a:pt x="509" y="496"/>
                  </a:lnTo>
                  <a:lnTo>
                    <a:pt x="508" y="496"/>
                  </a:lnTo>
                  <a:lnTo>
                    <a:pt x="506" y="496"/>
                  </a:lnTo>
                  <a:lnTo>
                    <a:pt x="509" y="493"/>
                  </a:lnTo>
                  <a:lnTo>
                    <a:pt x="513" y="493"/>
                  </a:lnTo>
                  <a:lnTo>
                    <a:pt x="516" y="493"/>
                  </a:lnTo>
                  <a:lnTo>
                    <a:pt x="520" y="493"/>
                  </a:lnTo>
                  <a:lnTo>
                    <a:pt x="522" y="489"/>
                  </a:lnTo>
                  <a:lnTo>
                    <a:pt x="523" y="489"/>
                  </a:lnTo>
                  <a:lnTo>
                    <a:pt x="523" y="493"/>
                  </a:lnTo>
                  <a:lnTo>
                    <a:pt x="520" y="493"/>
                  </a:lnTo>
                  <a:lnTo>
                    <a:pt x="515" y="496"/>
                  </a:lnTo>
                  <a:lnTo>
                    <a:pt x="515" y="496"/>
                  </a:lnTo>
                  <a:lnTo>
                    <a:pt x="516" y="496"/>
                  </a:lnTo>
                  <a:lnTo>
                    <a:pt x="523" y="496"/>
                  </a:lnTo>
                  <a:lnTo>
                    <a:pt x="532" y="493"/>
                  </a:lnTo>
                  <a:lnTo>
                    <a:pt x="528" y="489"/>
                  </a:lnTo>
                  <a:lnTo>
                    <a:pt x="532" y="489"/>
                  </a:lnTo>
                  <a:lnTo>
                    <a:pt x="535" y="489"/>
                  </a:lnTo>
                  <a:lnTo>
                    <a:pt x="532" y="489"/>
                  </a:lnTo>
                  <a:lnTo>
                    <a:pt x="532" y="489"/>
                  </a:lnTo>
                  <a:lnTo>
                    <a:pt x="535" y="493"/>
                  </a:lnTo>
                  <a:lnTo>
                    <a:pt x="535" y="493"/>
                  </a:lnTo>
                  <a:lnTo>
                    <a:pt x="539" y="496"/>
                  </a:lnTo>
                  <a:lnTo>
                    <a:pt x="541" y="493"/>
                  </a:lnTo>
                  <a:lnTo>
                    <a:pt x="546" y="493"/>
                  </a:lnTo>
                  <a:lnTo>
                    <a:pt x="551" y="493"/>
                  </a:lnTo>
                  <a:lnTo>
                    <a:pt x="555" y="493"/>
                  </a:lnTo>
                  <a:lnTo>
                    <a:pt x="555" y="489"/>
                  </a:lnTo>
                  <a:lnTo>
                    <a:pt x="555" y="489"/>
                  </a:lnTo>
                  <a:lnTo>
                    <a:pt x="555" y="487"/>
                  </a:lnTo>
                  <a:lnTo>
                    <a:pt x="561" y="482"/>
                  </a:lnTo>
                  <a:lnTo>
                    <a:pt x="568" y="479"/>
                  </a:lnTo>
                  <a:lnTo>
                    <a:pt x="572" y="477"/>
                  </a:lnTo>
                  <a:lnTo>
                    <a:pt x="574" y="475"/>
                  </a:lnTo>
                  <a:lnTo>
                    <a:pt x="572" y="473"/>
                  </a:lnTo>
                  <a:lnTo>
                    <a:pt x="570" y="466"/>
                  </a:lnTo>
                  <a:lnTo>
                    <a:pt x="572" y="461"/>
                  </a:lnTo>
                  <a:lnTo>
                    <a:pt x="574" y="460"/>
                  </a:lnTo>
                  <a:lnTo>
                    <a:pt x="574" y="456"/>
                  </a:lnTo>
                  <a:lnTo>
                    <a:pt x="574" y="456"/>
                  </a:lnTo>
                  <a:lnTo>
                    <a:pt x="577" y="453"/>
                  </a:lnTo>
                  <a:lnTo>
                    <a:pt x="581" y="449"/>
                  </a:lnTo>
                  <a:lnTo>
                    <a:pt x="577" y="449"/>
                  </a:lnTo>
                  <a:lnTo>
                    <a:pt x="582" y="442"/>
                  </a:lnTo>
                  <a:lnTo>
                    <a:pt x="589" y="433"/>
                  </a:lnTo>
                  <a:lnTo>
                    <a:pt x="589" y="430"/>
                  </a:lnTo>
                  <a:lnTo>
                    <a:pt x="588" y="420"/>
                  </a:lnTo>
                  <a:lnTo>
                    <a:pt x="588" y="416"/>
                  </a:lnTo>
                  <a:lnTo>
                    <a:pt x="589" y="411"/>
                  </a:lnTo>
                  <a:lnTo>
                    <a:pt x="591" y="409"/>
                  </a:lnTo>
                  <a:lnTo>
                    <a:pt x="591" y="407"/>
                  </a:lnTo>
                  <a:lnTo>
                    <a:pt x="596" y="402"/>
                  </a:lnTo>
                  <a:lnTo>
                    <a:pt x="598" y="400"/>
                  </a:lnTo>
                  <a:lnTo>
                    <a:pt x="596" y="393"/>
                  </a:lnTo>
                  <a:lnTo>
                    <a:pt x="600" y="387"/>
                  </a:lnTo>
                  <a:lnTo>
                    <a:pt x="598" y="380"/>
                  </a:lnTo>
                  <a:lnTo>
                    <a:pt x="600" y="376"/>
                  </a:lnTo>
                  <a:lnTo>
                    <a:pt x="600" y="373"/>
                  </a:lnTo>
                  <a:lnTo>
                    <a:pt x="600" y="367"/>
                  </a:lnTo>
                  <a:lnTo>
                    <a:pt x="598" y="343"/>
                  </a:lnTo>
                  <a:lnTo>
                    <a:pt x="598" y="340"/>
                  </a:lnTo>
                  <a:lnTo>
                    <a:pt x="600" y="336"/>
                  </a:lnTo>
                  <a:lnTo>
                    <a:pt x="600" y="333"/>
                  </a:lnTo>
                  <a:lnTo>
                    <a:pt x="598" y="334"/>
                  </a:lnTo>
                  <a:lnTo>
                    <a:pt x="596" y="333"/>
                  </a:lnTo>
                  <a:lnTo>
                    <a:pt x="596" y="329"/>
                  </a:lnTo>
                  <a:lnTo>
                    <a:pt x="598" y="327"/>
                  </a:lnTo>
                  <a:lnTo>
                    <a:pt x="598" y="324"/>
                  </a:lnTo>
                  <a:lnTo>
                    <a:pt x="598" y="320"/>
                  </a:lnTo>
                  <a:lnTo>
                    <a:pt x="600" y="320"/>
                  </a:lnTo>
                  <a:lnTo>
                    <a:pt x="600" y="315"/>
                  </a:lnTo>
                  <a:lnTo>
                    <a:pt x="598" y="312"/>
                  </a:lnTo>
                  <a:lnTo>
                    <a:pt x="595" y="310"/>
                  </a:lnTo>
                  <a:lnTo>
                    <a:pt x="595" y="308"/>
                  </a:lnTo>
                  <a:lnTo>
                    <a:pt x="596" y="307"/>
                  </a:lnTo>
                  <a:lnTo>
                    <a:pt x="596" y="310"/>
                  </a:lnTo>
                  <a:lnTo>
                    <a:pt x="600" y="312"/>
                  </a:lnTo>
                  <a:lnTo>
                    <a:pt x="600" y="312"/>
                  </a:lnTo>
                  <a:lnTo>
                    <a:pt x="603" y="308"/>
                  </a:lnTo>
                  <a:lnTo>
                    <a:pt x="605" y="308"/>
                  </a:lnTo>
                  <a:lnTo>
                    <a:pt x="605" y="310"/>
                  </a:lnTo>
                  <a:lnTo>
                    <a:pt x="608" y="312"/>
                  </a:lnTo>
                  <a:lnTo>
                    <a:pt x="605" y="313"/>
                  </a:lnTo>
                  <a:lnTo>
                    <a:pt x="603" y="315"/>
                  </a:lnTo>
                  <a:lnTo>
                    <a:pt x="603" y="319"/>
                  </a:lnTo>
                  <a:lnTo>
                    <a:pt x="605" y="319"/>
                  </a:lnTo>
                  <a:lnTo>
                    <a:pt x="608" y="315"/>
                  </a:lnTo>
                  <a:lnTo>
                    <a:pt x="612" y="312"/>
                  </a:lnTo>
                  <a:lnTo>
                    <a:pt x="619" y="305"/>
                  </a:lnTo>
                  <a:lnTo>
                    <a:pt x="621" y="298"/>
                  </a:lnTo>
                  <a:lnTo>
                    <a:pt x="622" y="293"/>
                  </a:lnTo>
                  <a:lnTo>
                    <a:pt x="624" y="291"/>
                  </a:lnTo>
                  <a:lnTo>
                    <a:pt x="626" y="286"/>
                  </a:lnTo>
                  <a:lnTo>
                    <a:pt x="628" y="282"/>
                  </a:lnTo>
                  <a:lnTo>
                    <a:pt x="636" y="273"/>
                  </a:lnTo>
                  <a:lnTo>
                    <a:pt x="638" y="270"/>
                  </a:lnTo>
                  <a:lnTo>
                    <a:pt x="641" y="270"/>
                  </a:lnTo>
                  <a:lnTo>
                    <a:pt x="643" y="268"/>
                  </a:lnTo>
                  <a:lnTo>
                    <a:pt x="650" y="260"/>
                  </a:lnTo>
                  <a:lnTo>
                    <a:pt x="659" y="251"/>
                  </a:lnTo>
                  <a:lnTo>
                    <a:pt x="659" y="247"/>
                  </a:lnTo>
                  <a:lnTo>
                    <a:pt x="662" y="240"/>
                  </a:lnTo>
                  <a:lnTo>
                    <a:pt x="664" y="235"/>
                  </a:lnTo>
                  <a:lnTo>
                    <a:pt x="666" y="232"/>
                  </a:lnTo>
                  <a:lnTo>
                    <a:pt x="666" y="230"/>
                  </a:lnTo>
                  <a:lnTo>
                    <a:pt x="664" y="227"/>
                  </a:lnTo>
                  <a:lnTo>
                    <a:pt x="664" y="223"/>
                  </a:lnTo>
                  <a:lnTo>
                    <a:pt x="667" y="220"/>
                  </a:lnTo>
                  <a:lnTo>
                    <a:pt x="666" y="213"/>
                  </a:lnTo>
                  <a:lnTo>
                    <a:pt x="664" y="211"/>
                  </a:lnTo>
                  <a:lnTo>
                    <a:pt x="664" y="207"/>
                  </a:lnTo>
                  <a:lnTo>
                    <a:pt x="659" y="195"/>
                  </a:lnTo>
                  <a:lnTo>
                    <a:pt x="659" y="190"/>
                  </a:lnTo>
                  <a:lnTo>
                    <a:pt x="655" y="183"/>
                  </a:lnTo>
                  <a:lnTo>
                    <a:pt x="647" y="180"/>
                  </a:lnTo>
                  <a:lnTo>
                    <a:pt x="640" y="180"/>
                  </a:lnTo>
                  <a:lnTo>
                    <a:pt x="634" y="181"/>
                  </a:lnTo>
                  <a:lnTo>
                    <a:pt x="631" y="176"/>
                  </a:lnTo>
                  <a:lnTo>
                    <a:pt x="628" y="176"/>
                  </a:lnTo>
                  <a:lnTo>
                    <a:pt x="624" y="173"/>
                  </a:lnTo>
                  <a:lnTo>
                    <a:pt x="619" y="169"/>
                  </a:lnTo>
                  <a:lnTo>
                    <a:pt x="615" y="169"/>
                  </a:lnTo>
                  <a:lnTo>
                    <a:pt x="608" y="160"/>
                  </a:lnTo>
                  <a:lnTo>
                    <a:pt x="603" y="152"/>
                  </a:lnTo>
                  <a:lnTo>
                    <a:pt x="600" y="152"/>
                  </a:lnTo>
                  <a:lnTo>
                    <a:pt x="595" y="147"/>
                  </a:lnTo>
                  <a:lnTo>
                    <a:pt x="591" y="148"/>
                  </a:lnTo>
                  <a:lnTo>
                    <a:pt x="581" y="141"/>
                  </a:lnTo>
                  <a:lnTo>
                    <a:pt x="577" y="141"/>
                  </a:lnTo>
                  <a:lnTo>
                    <a:pt x="572" y="138"/>
                  </a:lnTo>
                  <a:lnTo>
                    <a:pt x="568" y="141"/>
                  </a:lnTo>
                  <a:lnTo>
                    <a:pt x="563" y="141"/>
                  </a:lnTo>
                  <a:lnTo>
                    <a:pt x="560" y="138"/>
                  </a:lnTo>
                  <a:lnTo>
                    <a:pt x="558" y="141"/>
                  </a:lnTo>
                  <a:lnTo>
                    <a:pt x="555" y="141"/>
                  </a:lnTo>
                  <a:lnTo>
                    <a:pt x="555" y="141"/>
                  </a:lnTo>
                  <a:lnTo>
                    <a:pt x="549" y="136"/>
                  </a:lnTo>
                  <a:lnTo>
                    <a:pt x="549" y="138"/>
                  </a:lnTo>
                  <a:lnTo>
                    <a:pt x="546" y="136"/>
                  </a:lnTo>
                  <a:lnTo>
                    <a:pt x="546" y="138"/>
                  </a:lnTo>
                  <a:lnTo>
                    <a:pt x="546" y="141"/>
                  </a:lnTo>
                  <a:lnTo>
                    <a:pt x="542" y="138"/>
                  </a:lnTo>
                  <a:lnTo>
                    <a:pt x="542" y="136"/>
                  </a:lnTo>
                  <a:lnTo>
                    <a:pt x="541" y="136"/>
                  </a:lnTo>
                  <a:lnTo>
                    <a:pt x="541" y="136"/>
                  </a:lnTo>
                  <a:lnTo>
                    <a:pt x="539" y="138"/>
                  </a:lnTo>
                  <a:lnTo>
                    <a:pt x="535" y="136"/>
                  </a:lnTo>
                  <a:lnTo>
                    <a:pt x="532" y="136"/>
                  </a:lnTo>
                  <a:lnTo>
                    <a:pt x="528" y="136"/>
                  </a:lnTo>
                  <a:lnTo>
                    <a:pt x="520" y="131"/>
                  </a:lnTo>
                  <a:lnTo>
                    <a:pt x="516" y="133"/>
                  </a:lnTo>
                  <a:lnTo>
                    <a:pt x="516" y="133"/>
                  </a:lnTo>
                  <a:lnTo>
                    <a:pt x="516" y="133"/>
                  </a:lnTo>
                  <a:lnTo>
                    <a:pt x="516" y="136"/>
                  </a:lnTo>
                  <a:lnTo>
                    <a:pt x="513" y="133"/>
                  </a:lnTo>
                  <a:lnTo>
                    <a:pt x="513" y="136"/>
                  </a:lnTo>
                  <a:lnTo>
                    <a:pt x="513" y="136"/>
                  </a:lnTo>
                  <a:lnTo>
                    <a:pt x="509" y="136"/>
                  </a:lnTo>
                  <a:lnTo>
                    <a:pt x="508" y="141"/>
                  </a:lnTo>
                  <a:lnTo>
                    <a:pt x="508" y="143"/>
                  </a:lnTo>
                  <a:lnTo>
                    <a:pt x="506" y="141"/>
                  </a:lnTo>
                  <a:lnTo>
                    <a:pt x="504" y="138"/>
                  </a:lnTo>
                  <a:lnTo>
                    <a:pt x="504" y="138"/>
                  </a:lnTo>
                  <a:lnTo>
                    <a:pt x="504" y="141"/>
                  </a:lnTo>
                  <a:lnTo>
                    <a:pt x="501" y="147"/>
                  </a:lnTo>
                  <a:lnTo>
                    <a:pt x="501" y="152"/>
                  </a:lnTo>
                  <a:lnTo>
                    <a:pt x="501" y="147"/>
                  </a:lnTo>
                  <a:lnTo>
                    <a:pt x="501" y="143"/>
                  </a:lnTo>
                  <a:lnTo>
                    <a:pt x="501" y="141"/>
                  </a:lnTo>
                  <a:lnTo>
                    <a:pt x="501" y="133"/>
                  </a:lnTo>
                  <a:lnTo>
                    <a:pt x="504" y="133"/>
                  </a:lnTo>
                  <a:lnTo>
                    <a:pt x="501" y="133"/>
                  </a:lnTo>
                  <a:lnTo>
                    <a:pt x="501" y="133"/>
                  </a:lnTo>
                  <a:lnTo>
                    <a:pt x="504" y="127"/>
                  </a:lnTo>
                  <a:lnTo>
                    <a:pt x="499" y="122"/>
                  </a:lnTo>
                  <a:lnTo>
                    <a:pt x="495" y="117"/>
                  </a:lnTo>
                  <a:lnTo>
                    <a:pt x="494" y="117"/>
                  </a:lnTo>
                  <a:lnTo>
                    <a:pt x="489" y="117"/>
                  </a:lnTo>
                  <a:lnTo>
                    <a:pt x="487" y="120"/>
                  </a:lnTo>
                  <a:lnTo>
                    <a:pt x="485" y="120"/>
                  </a:lnTo>
                  <a:lnTo>
                    <a:pt x="483" y="119"/>
                  </a:lnTo>
                  <a:lnTo>
                    <a:pt x="482" y="117"/>
                  </a:lnTo>
                  <a:lnTo>
                    <a:pt x="482" y="115"/>
                  </a:lnTo>
                  <a:lnTo>
                    <a:pt x="478" y="114"/>
                  </a:lnTo>
                  <a:lnTo>
                    <a:pt x="478" y="114"/>
                  </a:lnTo>
                  <a:lnTo>
                    <a:pt x="476" y="114"/>
                  </a:lnTo>
                  <a:lnTo>
                    <a:pt x="473" y="110"/>
                  </a:lnTo>
                  <a:lnTo>
                    <a:pt x="471" y="114"/>
                  </a:lnTo>
                  <a:lnTo>
                    <a:pt x="471" y="114"/>
                  </a:lnTo>
                  <a:lnTo>
                    <a:pt x="469" y="110"/>
                  </a:lnTo>
                  <a:lnTo>
                    <a:pt x="469" y="108"/>
                  </a:lnTo>
                  <a:lnTo>
                    <a:pt x="466" y="110"/>
                  </a:lnTo>
                  <a:lnTo>
                    <a:pt x="462" y="108"/>
                  </a:lnTo>
                  <a:lnTo>
                    <a:pt x="457" y="105"/>
                  </a:lnTo>
                  <a:lnTo>
                    <a:pt x="456" y="105"/>
                  </a:lnTo>
                  <a:lnTo>
                    <a:pt x="454" y="105"/>
                  </a:lnTo>
                  <a:lnTo>
                    <a:pt x="454" y="105"/>
                  </a:lnTo>
                  <a:lnTo>
                    <a:pt x="450" y="105"/>
                  </a:lnTo>
                  <a:lnTo>
                    <a:pt x="450" y="105"/>
                  </a:lnTo>
                  <a:lnTo>
                    <a:pt x="449" y="105"/>
                  </a:lnTo>
                  <a:lnTo>
                    <a:pt x="447" y="105"/>
                  </a:lnTo>
                  <a:lnTo>
                    <a:pt x="443" y="105"/>
                  </a:lnTo>
                  <a:lnTo>
                    <a:pt x="440" y="105"/>
                  </a:lnTo>
                  <a:lnTo>
                    <a:pt x="438" y="110"/>
                  </a:lnTo>
                  <a:lnTo>
                    <a:pt x="438" y="110"/>
                  </a:lnTo>
                  <a:lnTo>
                    <a:pt x="435" y="114"/>
                  </a:lnTo>
                  <a:lnTo>
                    <a:pt x="431" y="117"/>
                  </a:lnTo>
                  <a:lnTo>
                    <a:pt x="424" y="120"/>
                  </a:lnTo>
                  <a:lnTo>
                    <a:pt x="419" y="126"/>
                  </a:lnTo>
                  <a:lnTo>
                    <a:pt x="419" y="131"/>
                  </a:lnTo>
                  <a:lnTo>
                    <a:pt x="419" y="133"/>
                  </a:lnTo>
                  <a:lnTo>
                    <a:pt x="417" y="136"/>
                  </a:lnTo>
                  <a:lnTo>
                    <a:pt x="414" y="141"/>
                  </a:lnTo>
                  <a:lnTo>
                    <a:pt x="414" y="141"/>
                  </a:lnTo>
                  <a:lnTo>
                    <a:pt x="414" y="145"/>
                  </a:lnTo>
                  <a:lnTo>
                    <a:pt x="414" y="152"/>
                  </a:lnTo>
                  <a:lnTo>
                    <a:pt x="412" y="148"/>
                  </a:lnTo>
                  <a:lnTo>
                    <a:pt x="410" y="143"/>
                  </a:lnTo>
                  <a:lnTo>
                    <a:pt x="410" y="141"/>
                  </a:lnTo>
                  <a:lnTo>
                    <a:pt x="412" y="138"/>
                  </a:lnTo>
                  <a:lnTo>
                    <a:pt x="416" y="136"/>
                  </a:lnTo>
                  <a:lnTo>
                    <a:pt x="416" y="133"/>
                  </a:lnTo>
                  <a:lnTo>
                    <a:pt x="417" y="127"/>
                  </a:lnTo>
                  <a:lnTo>
                    <a:pt x="417" y="126"/>
                  </a:lnTo>
                  <a:lnTo>
                    <a:pt x="414" y="126"/>
                  </a:lnTo>
                  <a:lnTo>
                    <a:pt x="410" y="127"/>
                  </a:lnTo>
                  <a:lnTo>
                    <a:pt x="405" y="126"/>
                  </a:lnTo>
                  <a:lnTo>
                    <a:pt x="402" y="126"/>
                  </a:lnTo>
                  <a:lnTo>
                    <a:pt x="400" y="127"/>
                  </a:lnTo>
                  <a:lnTo>
                    <a:pt x="396" y="124"/>
                  </a:lnTo>
                  <a:lnTo>
                    <a:pt x="400" y="126"/>
                  </a:lnTo>
                  <a:lnTo>
                    <a:pt x="402" y="122"/>
                  </a:lnTo>
                  <a:lnTo>
                    <a:pt x="405" y="122"/>
                  </a:lnTo>
                  <a:lnTo>
                    <a:pt x="410" y="122"/>
                  </a:lnTo>
                  <a:lnTo>
                    <a:pt x="414" y="122"/>
                  </a:lnTo>
                  <a:lnTo>
                    <a:pt x="416" y="119"/>
                  </a:lnTo>
                  <a:lnTo>
                    <a:pt x="417" y="119"/>
                  </a:lnTo>
                  <a:lnTo>
                    <a:pt x="419" y="120"/>
                  </a:lnTo>
                  <a:lnTo>
                    <a:pt x="419" y="119"/>
                  </a:lnTo>
                  <a:lnTo>
                    <a:pt x="424" y="117"/>
                  </a:lnTo>
                  <a:lnTo>
                    <a:pt x="428" y="115"/>
                  </a:lnTo>
                  <a:lnTo>
                    <a:pt x="428" y="114"/>
                  </a:lnTo>
                  <a:lnTo>
                    <a:pt x="433" y="108"/>
                  </a:lnTo>
                  <a:lnTo>
                    <a:pt x="433" y="101"/>
                  </a:lnTo>
                  <a:lnTo>
                    <a:pt x="435" y="101"/>
                  </a:lnTo>
                  <a:lnTo>
                    <a:pt x="435" y="98"/>
                  </a:lnTo>
                  <a:lnTo>
                    <a:pt x="431" y="96"/>
                  </a:lnTo>
                  <a:lnTo>
                    <a:pt x="428" y="94"/>
                  </a:lnTo>
                  <a:lnTo>
                    <a:pt x="424" y="94"/>
                  </a:lnTo>
                  <a:lnTo>
                    <a:pt x="419" y="96"/>
                  </a:lnTo>
                  <a:lnTo>
                    <a:pt x="414" y="98"/>
                  </a:lnTo>
                  <a:lnTo>
                    <a:pt x="409" y="94"/>
                  </a:lnTo>
                  <a:lnTo>
                    <a:pt x="402" y="94"/>
                  </a:lnTo>
                  <a:lnTo>
                    <a:pt x="396" y="100"/>
                  </a:lnTo>
                  <a:lnTo>
                    <a:pt x="396" y="101"/>
                  </a:lnTo>
                  <a:lnTo>
                    <a:pt x="400" y="101"/>
                  </a:lnTo>
                  <a:lnTo>
                    <a:pt x="400" y="105"/>
                  </a:lnTo>
                  <a:lnTo>
                    <a:pt x="396" y="105"/>
                  </a:lnTo>
                  <a:lnTo>
                    <a:pt x="396" y="105"/>
                  </a:lnTo>
                  <a:lnTo>
                    <a:pt x="395" y="108"/>
                  </a:lnTo>
                  <a:lnTo>
                    <a:pt x="395" y="105"/>
                  </a:lnTo>
                  <a:lnTo>
                    <a:pt x="393" y="105"/>
                  </a:lnTo>
                  <a:lnTo>
                    <a:pt x="389" y="105"/>
                  </a:lnTo>
                  <a:lnTo>
                    <a:pt x="384" y="110"/>
                  </a:lnTo>
                  <a:lnTo>
                    <a:pt x="379" y="117"/>
                  </a:lnTo>
                  <a:lnTo>
                    <a:pt x="383" y="114"/>
                  </a:lnTo>
                  <a:lnTo>
                    <a:pt x="383" y="110"/>
                  </a:lnTo>
                  <a:lnTo>
                    <a:pt x="384" y="105"/>
                  </a:lnTo>
                  <a:lnTo>
                    <a:pt x="384" y="105"/>
                  </a:lnTo>
                  <a:lnTo>
                    <a:pt x="383" y="105"/>
                  </a:lnTo>
                  <a:lnTo>
                    <a:pt x="379" y="108"/>
                  </a:lnTo>
                  <a:lnTo>
                    <a:pt x="377" y="110"/>
                  </a:lnTo>
                  <a:lnTo>
                    <a:pt x="377" y="115"/>
                  </a:lnTo>
                  <a:lnTo>
                    <a:pt x="374" y="117"/>
                  </a:lnTo>
                  <a:lnTo>
                    <a:pt x="377" y="114"/>
                  </a:lnTo>
                  <a:lnTo>
                    <a:pt x="377" y="108"/>
                  </a:lnTo>
                  <a:lnTo>
                    <a:pt x="383" y="101"/>
                  </a:lnTo>
                  <a:lnTo>
                    <a:pt x="384" y="96"/>
                  </a:lnTo>
                  <a:lnTo>
                    <a:pt x="386" y="93"/>
                  </a:lnTo>
                  <a:lnTo>
                    <a:pt x="389" y="89"/>
                  </a:lnTo>
                  <a:lnTo>
                    <a:pt x="393" y="87"/>
                  </a:lnTo>
                  <a:lnTo>
                    <a:pt x="396" y="86"/>
                  </a:lnTo>
                  <a:lnTo>
                    <a:pt x="400" y="82"/>
                  </a:lnTo>
                  <a:lnTo>
                    <a:pt x="409" y="74"/>
                  </a:lnTo>
                  <a:lnTo>
                    <a:pt x="409" y="72"/>
                  </a:lnTo>
                  <a:lnTo>
                    <a:pt x="409" y="70"/>
                  </a:lnTo>
                  <a:lnTo>
                    <a:pt x="409" y="68"/>
                  </a:lnTo>
                  <a:lnTo>
                    <a:pt x="409" y="67"/>
                  </a:lnTo>
                  <a:lnTo>
                    <a:pt x="409" y="65"/>
                  </a:lnTo>
                  <a:lnTo>
                    <a:pt x="409" y="63"/>
                  </a:lnTo>
                  <a:lnTo>
                    <a:pt x="405" y="58"/>
                  </a:lnTo>
                  <a:lnTo>
                    <a:pt x="402" y="60"/>
                  </a:lnTo>
                  <a:lnTo>
                    <a:pt x="400" y="60"/>
                  </a:lnTo>
                  <a:lnTo>
                    <a:pt x="400" y="58"/>
                  </a:lnTo>
                  <a:lnTo>
                    <a:pt x="396" y="51"/>
                  </a:lnTo>
                  <a:lnTo>
                    <a:pt x="393" y="42"/>
                  </a:lnTo>
                  <a:lnTo>
                    <a:pt x="389" y="37"/>
                  </a:lnTo>
                  <a:lnTo>
                    <a:pt x="388" y="32"/>
                  </a:lnTo>
                  <a:lnTo>
                    <a:pt x="388" y="27"/>
                  </a:lnTo>
                  <a:lnTo>
                    <a:pt x="386" y="23"/>
                  </a:lnTo>
                  <a:lnTo>
                    <a:pt x="386" y="23"/>
                  </a:lnTo>
                  <a:lnTo>
                    <a:pt x="386"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9" name="Freeform 45">
              <a:extLst>
                <a:ext uri="{FF2B5EF4-FFF2-40B4-BE49-F238E27FC236}">
                  <a16:creationId xmlns:a16="http://schemas.microsoft.com/office/drawing/2014/main" id="{C045DC49-3FF7-45A0-9BFF-3CC8AE6E2917}"/>
                </a:ext>
              </a:extLst>
            </p:cNvPr>
            <p:cNvSpPr>
              <a:spLocks/>
            </p:cNvSpPr>
            <p:nvPr/>
          </p:nvSpPr>
          <p:spPr bwMode="auto">
            <a:xfrm>
              <a:off x="2338388" y="3919538"/>
              <a:ext cx="325438" cy="463550"/>
            </a:xfrm>
            <a:custGeom>
              <a:avLst/>
              <a:gdLst/>
              <a:ahLst/>
              <a:cxnLst>
                <a:cxn ang="0">
                  <a:pos x="165" y="240"/>
                </a:cxn>
                <a:cxn ang="0">
                  <a:pos x="164" y="210"/>
                </a:cxn>
                <a:cxn ang="0">
                  <a:pos x="165" y="200"/>
                </a:cxn>
                <a:cxn ang="0">
                  <a:pos x="179" y="187"/>
                </a:cxn>
                <a:cxn ang="0">
                  <a:pos x="195" y="184"/>
                </a:cxn>
                <a:cxn ang="0">
                  <a:pos x="205" y="196"/>
                </a:cxn>
                <a:cxn ang="0">
                  <a:pos x="197" y="175"/>
                </a:cxn>
                <a:cxn ang="0">
                  <a:pos x="192" y="172"/>
                </a:cxn>
                <a:cxn ang="0">
                  <a:pos x="190" y="144"/>
                </a:cxn>
                <a:cxn ang="0">
                  <a:pos x="192" y="125"/>
                </a:cxn>
                <a:cxn ang="0">
                  <a:pos x="197" y="109"/>
                </a:cxn>
                <a:cxn ang="0">
                  <a:pos x="183" y="109"/>
                </a:cxn>
                <a:cxn ang="0">
                  <a:pos x="172" y="107"/>
                </a:cxn>
                <a:cxn ang="0">
                  <a:pos x="141" y="93"/>
                </a:cxn>
                <a:cxn ang="0">
                  <a:pos x="124" y="93"/>
                </a:cxn>
                <a:cxn ang="0">
                  <a:pos x="113" y="85"/>
                </a:cxn>
                <a:cxn ang="0">
                  <a:pos x="105" y="55"/>
                </a:cxn>
                <a:cxn ang="0">
                  <a:pos x="105" y="45"/>
                </a:cxn>
                <a:cxn ang="0">
                  <a:pos x="113" y="22"/>
                </a:cxn>
                <a:cxn ang="0">
                  <a:pos x="132" y="8"/>
                </a:cxn>
                <a:cxn ang="0">
                  <a:pos x="136" y="3"/>
                </a:cxn>
                <a:cxn ang="0">
                  <a:pos x="124" y="3"/>
                </a:cxn>
                <a:cxn ang="0">
                  <a:pos x="117" y="7"/>
                </a:cxn>
                <a:cxn ang="0">
                  <a:pos x="98" y="19"/>
                </a:cxn>
                <a:cxn ang="0">
                  <a:pos x="84" y="26"/>
                </a:cxn>
                <a:cxn ang="0">
                  <a:pos x="80" y="26"/>
                </a:cxn>
                <a:cxn ang="0">
                  <a:pos x="66" y="26"/>
                </a:cxn>
                <a:cxn ang="0">
                  <a:pos x="58" y="43"/>
                </a:cxn>
                <a:cxn ang="0">
                  <a:pos x="53" y="53"/>
                </a:cxn>
                <a:cxn ang="0">
                  <a:pos x="39" y="64"/>
                </a:cxn>
                <a:cxn ang="0">
                  <a:pos x="39" y="80"/>
                </a:cxn>
                <a:cxn ang="0">
                  <a:pos x="32" y="73"/>
                </a:cxn>
                <a:cxn ang="0">
                  <a:pos x="28" y="74"/>
                </a:cxn>
                <a:cxn ang="0">
                  <a:pos x="19" y="90"/>
                </a:cxn>
                <a:cxn ang="0">
                  <a:pos x="25" y="102"/>
                </a:cxn>
                <a:cxn ang="0">
                  <a:pos x="28" y="113"/>
                </a:cxn>
                <a:cxn ang="0">
                  <a:pos x="28" y="123"/>
                </a:cxn>
                <a:cxn ang="0">
                  <a:pos x="25" y="144"/>
                </a:cxn>
                <a:cxn ang="0">
                  <a:pos x="33" y="151"/>
                </a:cxn>
                <a:cxn ang="0">
                  <a:pos x="23" y="168"/>
                </a:cxn>
                <a:cxn ang="0">
                  <a:pos x="2" y="191"/>
                </a:cxn>
                <a:cxn ang="0">
                  <a:pos x="21" y="205"/>
                </a:cxn>
                <a:cxn ang="0">
                  <a:pos x="35" y="217"/>
                </a:cxn>
                <a:cxn ang="0">
                  <a:pos x="47" y="212"/>
                </a:cxn>
                <a:cxn ang="0">
                  <a:pos x="59" y="219"/>
                </a:cxn>
                <a:cxn ang="0">
                  <a:pos x="73" y="224"/>
                </a:cxn>
                <a:cxn ang="0">
                  <a:pos x="84" y="240"/>
                </a:cxn>
                <a:cxn ang="0">
                  <a:pos x="98" y="253"/>
                </a:cxn>
                <a:cxn ang="0">
                  <a:pos x="106" y="260"/>
                </a:cxn>
                <a:cxn ang="0">
                  <a:pos x="127" y="259"/>
                </a:cxn>
                <a:cxn ang="0">
                  <a:pos x="143" y="260"/>
                </a:cxn>
                <a:cxn ang="0">
                  <a:pos x="141" y="286"/>
                </a:cxn>
                <a:cxn ang="0">
                  <a:pos x="152" y="292"/>
                </a:cxn>
              </a:cxnLst>
              <a:rect l="0" t="0" r="r" b="b"/>
              <a:pathLst>
                <a:path w="205" h="292">
                  <a:moveTo>
                    <a:pt x="152" y="292"/>
                  </a:moveTo>
                  <a:lnTo>
                    <a:pt x="155" y="283"/>
                  </a:lnTo>
                  <a:lnTo>
                    <a:pt x="165" y="246"/>
                  </a:lnTo>
                  <a:lnTo>
                    <a:pt x="165" y="245"/>
                  </a:lnTo>
                  <a:lnTo>
                    <a:pt x="165" y="240"/>
                  </a:lnTo>
                  <a:lnTo>
                    <a:pt x="162" y="231"/>
                  </a:lnTo>
                  <a:lnTo>
                    <a:pt x="155" y="227"/>
                  </a:lnTo>
                  <a:lnTo>
                    <a:pt x="152" y="224"/>
                  </a:lnTo>
                  <a:lnTo>
                    <a:pt x="152" y="213"/>
                  </a:lnTo>
                  <a:lnTo>
                    <a:pt x="164" y="210"/>
                  </a:lnTo>
                  <a:lnTo>
                    <a:pt x="167" y="212"/>
                  </a:lnTo>
                  <a:lnTo>
                    <a:pt x="169" y="210"/>
                  </a:lnTo>
                  <a:lnTo>
                    <a:pt x="165" y="206"/>
                  </a:lnTo>
                  <a:lnTo>
                    <a:pt x="167" y="205"/>
                  </a:lnTo>
                  <a:lnTo>
                    <a:pt x="165" y="200"/>
                  </a:lnTo>
                  <a:lnTo>
                    <a:pt x="159" y="200"/>
                  </a:lnTo>
                  <a:lnTo>
                    <a:pt x="157" y="196"/>
                  </a:lnTo>
                  <a:lnTo>
                    <a:pt x="159" y="189"/>
                  </a:lnTo>
                  <a:lnTo>
                    <a:pt x="178" y="189"/>
                  </a:lnTo>
                  <a:lnTo>
                    <a:pt x="179" y="187"/>
                  </a:lnTo>
                  <a:lnTo>
                    <a:pt x="183" y="187"/>
                  </a:lnTo>
                  <a:lnTo>
                    <a:pt x="185" y="189"/>
                  </a:lnTo>
                  <a:lnTo>
                    <a:pt x="186" y="189"/>
                  </a:lnTo>
                  <a:lnTo>
                    <a:pt x="190" y="184"/>
                  </a:lnTo>
                  <a:lnTo>
                    <a:pt x="195" y="184"/>
                  </a:lnTo>
                  <a:lnTo>
                    <a:pt x="197" y="186"/>
                  </a:lnTo>
                  <a:lnTo>
                    <a:pt x="200" y="189"/>
                  </a:lnTo>
                  <a:lnTo>
                    <a:pt x="200" y="194"/>
                  </a:lnTo>
                  <a:lnTo>
                    <a:pt x="200" y="196"/>
                  </a:lnTo>
                  <a:lnTo>
                    <a:pt x="205" y="196"/>
                  </a:lnTo>
                  <a:lnTo>
                    <a:pt x="205" y="194"/>
                  </a:lnTo>
                  <a:lnTo>
                    <a:pt x="200" y="186"/>
                  </a:lnTo>
                  <a:lnTo>
                    <a:pt x="197" y="180"/>
                  </a:lnTo>
                  <a:lnTo>
                    <a:pt x="200" y="179"/>
                  </a:lnTo>
                  <a:lnTo>
                    <a:pt x="197" y="175"/>
                  </a:lnTo>
                  <a:lnTo>
                    <a:pt x="197" y="173"/>
                  </a:lnTo>
                  <a:lnTo>
                    <a:pt x="195" y="172"/>
                  </a:lnTo>
                  <a:lnTo>
                    <a:pt x="195" y="172"/>
                  </a:lnTo>
                  <a:lnTo>
                    <a:pt x="193" y="172"/>
                  </a:lnTo>
                  <a:lnTo>
                    <a:pt x="192" y="172"/>
                  </a:lnTo>
                  <a:lnTo>
                    <a:pt x="190" y="168"/>
                  </a:lnTo>
                  <a:lnTo>
                    <a:pt x="197" y="160"/>
                  </a:lnTo>
                  <a:lnTo>
                    <a:pt x="192" y="149"/>
                  </a:lnTo>
                  <a:lnTo>
                    <a:pt x="192" y="149"/>
                  </a:lnTo>
                  <a:lnTo>
                    <a:pt x="190" y="144"/>
                  </a:lnTo>
                  <a:lnTo>
                    <a:pt x="190" y="140"/>
                  </a:lnTo>
                  <a:lnTo>
                    <a:pt x="192" y="135"/>
                  </a:lnTo>
                  <a:lnTo>
                    <a:pt x="192" y="133"/>
                  </a:lnTo>
                  <a:lnTo>
                    <a:pt x="190" y="126"/>
                  </a:lnTo>
                  <a:lnTo>
                    <a:pt x="192" y="125"/>
                  </a:lnTo>
                  <a:lnTo>
                    <a:pt x="197" y="123"/>
                  </a:lnTo>
                  <a:lnTo>
                    <a:pt x="197" y="121"/>
                  </a:lnTo>
                  <a:lnTo>
                    <a:pt x="197" y="118"/>
                  </a:lnTo>
                  <a:lnTo>
                    <a:pt x="197" y="114"/>
                  </a:lnTo>
                  <a:lnTo>
                    <a:pt x="197" y="109"/>
                  </a:lnTo>
                  <a:lnTo>
                    <a:pt x="195" y="107"/>
                  </a:lnTo>
                  <a:lnTo>
                    <a:pt x="192" y="107"/>
                  </a:lnTo>
                  <a:lnTo>
                    <a:pt x="192" y="109"/>
                  </a:lnTo>
                  <a:lnTo>
                    <a:pt x="186" y="109"/>
                  </a:lnTo>
                  <a:lnTo>
                    <a:pt x="183" y="109"/>
                  </a:lnTo>
                  <a:lnTo>
                    <a:pt x="179" y="109"/>
                  </a:lnTo>
                  <a:lnTo>
                    <a:pt x="178" y="109"/>
                  </a:lnTo>
                  <a:lnTo>
                    <a:pt x="174" y="109"/>
                  </a:lnTo>
                  <a:lnTo>
                    <a:pt x="172" y="109"/>
                  </a:lnTo>
                  <a:lnTo>
                    <a:pt x="172" y="107"/>
                  </a:lnTo>
                  <a:lnTo>
                    <a:pt x="167" y="109"/>
                  </a:lnTo>
                  <a:lnTo>
                    <a:pt x="155" y="95"/>
                  </a:lnTo>
                  <a:lnTo>
                    <a:pt x="152" y="93"/>
                  </a:lnTo>
                  <a:lnTo>
                    <a:pt x="146" y="93"/>
                  </a:lnTo>
                  <a:lnTo>
                    <a:pt x="141" y="93"/>
                  </a:lnTo>
                  <a:lnTo>
                    <a:pt x="139" y="95"/>
                  </a:lnTo>
                  <a:lnTo>
                    <a:pt x="134" y="93"/>
                  </a:lnTo>
                  <a:lnTo>
                    <a:pt x="132" y="93"/>
                  </a:lnTo>
                  <a:lnTo>
                    <a:pt x="127" y="95"/>
                  </a:lnTo>
                  <a:lnTo>
                    <a:pt x="124" y="93"/>
                  </a:lnTo>
                  <a:lnTo>
                    <a:pt x="120" y="92"/>
                  </a:lnTo>
                  <a:lnTo>
                    <a:pt x="117" y="90"/>
                  </a:lnTo>
                  <a:lnTo>
                    <a:pt x="113" y="86"/>
                  </a:lnTo>
                  <a:lnTo>
                    <a:pt x="113" y="85"/>
                  </a:lnTo>
                  <a:lnTo>
                    <a:pt x="113" y="85"/>
                  </a:lnTo>
                  <a:lnTo>
                    <a:pt x="113" y="81"/>
                  </a:lnTo>
                  <a:lnTo>
                    <a:pt x="115" y="78"/>
                  </a:lnTo>
                  <a:lnTo>
                    <a:pt x="115" y="74"/>
                  </a:lnTo>
                  <a:lnTo>
                    <a:pt x="112" y="69"/>
                  </a:lnTo>
                  <a:lnTo>
                    <a:pt x="105" y="55"/>
                  </a:lnTo>
                  <a:lnTo>
                    <a:pt x="101" y="55"/>
                  </a:lnTo>
                  <a:lnTo>
                    <a:pt x="98" y="59"/>
                  </a:lnTo>
                  <a:lnTo>
                    <a:pt x="101" y="53"/>
                  </a:lnTo>
                  <a:lnTo>
                    <a:pt x="101" y="50"/>
                  </a:lnTo>
                  <a:lnTo>
                    <a:pt x="105" y="45"/>
                  </a:lnTo>
                  <a:lnTo>
                    <a:pt x="101" y="41"/>
                  </a:lnTo>
                  <a:lnTo>
                    <a:pt x="105" y="38"/>
                  </a:lnTo>
                  <a:lnTo>
                    <a:pt x="108" y="31"/>
                  </a:lnTo>
                  <a:lnTo>
                    <a:pt x="110" y="27"/>
                  </a:lnTo>
                  <a:lnTo>
                    <a:pt x="113" y="22"/>
                  </a:lnTo>
                  <a:lnTo>
                    <a:pt x="117" y="22"/>
                  </a:lnTo>
                  <a:lnTo>
                    <a:pt x="119" y="20"/>
                  </a:lnTo>
                  <a:lnTo>
                    <a:pt x="124" y="13"/>
                  </a:lnTo>
                  <a:lnTo>
                    <a:pt x="132" y="10"/>
                  </a:lnTo>
                  <a:lnTo>
                    <a:pt x="132" y="8"/>
                  </a:lnTo>
                  <a:lnTo>
                    <a:pt x="134" y="8"/>
                  </a:lnTo>
                  <a:lnTo>
                    <a:pt x="134" y="8"/>
                  </a:lnTo>
                  <a:lnTo>
                    <a:pt x="138" y="7"/>
                  </a:lnTo>
                  <a:lnTo>
                    <a:pt x="138" y="5"/>
                  </a:lnTo>
                  <a:lnTo>
                    <a:pt x="136" y="3"/>
                  </a:lnTo>
                  <a:lnTo>
                    <a:pt x="129" y="0"/>
                  </a:lnTo>
                  <a:lnTo>
                    <a:pt x="127" y="0"/>
                  </a:lnTo>
                  <a:lnTo>
                    <a:pt x="127" y="0"/>
                  </a:lnTo>
                  <a:lnTo>
                    <a:pt x="127" y="3"/>
                  </a:lnTo>
                  <a:lnTo>
                    <a:pt x="124" y="3"/>
                  </a:lnTo>
                  <a:lnTo>
                    <a:pt x="120" y="3"/>
                  </a:lnTo>
                  <a:lnTo>
                    <a:pt x="120" y="3"/>
                  </a:lnTo>
                  <a:lnTo>
                    <a:pt x="117" y="3"/>
                  </a:lnTo>
                  <a:lnTo>
                    <a:pt x="115" y="5"/>
                  </a:lnTo>
                  <a:lnTo>
                    <a:pt x="117" y="7"/>
                  </a:lnTo>
                  <a:lnTo>
                    <a:pt x="117" y="8"/>
                  </a:lnTo>
                  <a:lnTo>
                    <a:pt x="112" y="12"/>
                  </a:lnTo>
                  <a:lnTo>
                    <a:pt x="105" y="15"/>
                  </a:lnTo>
                  <a:lnTo>
                    <a:pt x="101" y="17"/>
                  </a:lnTo>
                  <a:lnTo>
                    <a:pt x="98" y="19"/>
                  </a:lnTo>
                  <a:lnTo>
                    <a:pt x="92" y="19"/>
                  </a:lnTo>
                  <a:lnTo>
                    <a:pt x="87" y="19"/>
                  </a:lnTo>
                  <a:lnTo>
                    <a:pt x="82" y="20"/>
                  </a:lnTo>
                  <a:lnTo>
                    <a:pt x="84" y="22"/>
                  </a:lnTo>
                  <a:lnTo>
                    <a:pt x="84" y="26"/>
                  </a:lnTo>
                  <a:lnTo>
                    <a:pt x="84" y="27"/>
                  </a:lnTo>
                  <a:lnTo>
                    <a:pt x="80" y="31"/>
                  </a:lnTo>
                  <a:lnTo>
                    <a:pt x="79" y="31"/>
                  </a:lnTo>
                  <a:lnTo>
                    <a:pt x="80" y="26"/>
                  </a:lnTo>
                  <a:lnTo>
                    <a:pt x="80" y="26"/>
                  </a:lnTo>
                  <a:lnTo>
                    <a:pt x="82" y="26"/>
                  </a:lnTo>
                  <a:lnTo>
                    <a:pt x="79" y="26"/>
                  </a:lnTo>
                  <a:lnTo>
                    <a:pt x="75" y="22"/>
                  </a:lnTo>
                  <a:lnTo>
                    <a:pt x="73" y="22"/>
                  </a:lnTo>
                  <a:lnTo>
                    <a:pt x="66" y="26"/>
                  </a:lnTo>
                  <a:lnTo>
                    <a:pt x="66" y="27"/>
                  </a:lnTo>
                  <a:lnTo>
                    <a:pt x="61" y="33"/>
                  </a:lnTo>
                  <a:lnTo>
                    <a:pt x="56" y="41"/>
                  </a:lnTo>
                  <a:lnTo>
                    <a:pt x="56" y="45"/>
                  </a:lnTo>
                  <a:lnTo>
                    <a:pt x="58" y="43"/>
                  </a:lnTo>
                  <a:lnTo>
                    <a:pt x="59" y="45"/>
                  </a:lnTo>
                  <a:lnTo>
                    <a:pt x="59" y="48"/>
                  </a:lnTo>
                  <a:lnTo>
                    <a:pt x="58" y="50"/>
                  </a:lnTo>
                  <a:lnTo>
                    <a:pt x="56" y="53"/>
                  </a:lnTo>
                  <a:lnTo>
                    <a:pt x="53" y="53"/>
                  </a:lnTo>
                  <a:lnTo>
                    <a:pt x="51" y="53"/>
                  </a:lnTo>
                  <a:lnTo>
                    <a:pt x="47" y="59"/>
                  </a:lnTo>
                  <a:lnTo>
                    <a:pt x="46" y="59"/>
                  </a:lnTo>
                  <a:lnTo>
                    <a:pt x="42" y="64"/>
                  </a:lnTo>
                  <a:lnTo>
                    <a:pt x="39" y="64"/>
                  </a:lnTo>
                  <a:lnTo>
                    <a:pt x="37" y="64"/>
                  </a:lnTo>
                  <a:lnTo>
                    <a:pt x="37" y="67"/>
                  </a:lnTo>
                  <a:lnTo>
                    <a:pt x="40" y="71"/>
                  </a:lnTo>
                  <a:lnTo>
                    <a:pt x="40" y="76"/>
                  </a:lnTo>
                  <a:lnTo>
                    <a:pt x="39" y="80"/>
                  </a:lnTo>
                  <a:lnTo>
                    <a:pt x="37" y="80"/>
                  </a:lnTo>
                  <a:lnTo>
                    <a:pt x="33" y="76"/>
                  </a:lnTo>
                  <a:lnTo>
                    <a:pt x="33" y="74"/>
                  </a:lnTo>
                  <a:lnTo>
                    <a:pt x="35" y="73"/>
                  </a:lnTo>
                  <a:lnTo>
                    <a:pt x="32" y="73"/>
                  </a:lnTo>
                  <a:lnTo>
                    <a:pt x="32" y="69"/>
                  </a:lnTo>
                  <a:lnTo>
                    <a:pt x="28" y="66"/>
                  </a:lnTo>
                  <a:lnTo>
                    <a:pt x="28" y="67"/>
                  </a:lnTo>
                  <a:lnTo>
                    <a:pt x="28" y="71"/>
                  </a:lnTo>
                  <a:lnTo>
                    <a:pt x="28" y="74"/>
                  </a:lnTo>
                  <a:lnTo>
                    <a:pt x="28" y="80"/>
                  </a:lnTo>
                  <a:lnTo>
                    <a:pt x="25" y="85"/>
                  </a:lnTo>
                  <a:lnTo>
                    <a:pt x="25" y="85"/>
                  </a:lnTo>
                  <a:lnTo>
                    <a:pt x="23" y="85"/>
                  </a:lnTo>
                  <a:lnTo>
                    <a:pt x="19" y="90"/>
                  </a:lnTo>
                  <a:lnTo>
                    <a:pt x="21" y="90"/>
                  </a:lnTo>
                  <a:lnTo>
                    <a:pt x="21" y="95"/>
                  </a:lnTo>
                  <a:lnTo>
                    <a:pt x="21" y="99"/>
                  </a:lnTo>
                  <a:lnTo>
                    <a:pt x="25" y="104"/>
                  </a:lnTo>
                  <a:lnTo>
                    <a:pt x="25" y="102"/>
                  </a:lnTo>
                  <a:lnTo>
                    <a:pt x="28" y="102"/>
                  </a:lnTo>
                  <a:lnTo>
                    <a:pt x="28" y="104"/>
                  </a:lnTo>
                  <a:lnTo>
                    <a:pt x="28" y="107"/>
                  </a:lnTo>
                  <a:lnTo>
                    <a:pt x="28" y="109"/>
                  </a:lnTo>
                  <a:lnTo>
                    <a:pt x="28" y="113"/>
                  </a:lnTo>
                  <a:lnTo>
                    <a:pt x="28" y="113"/>
                  </a:lnTo>
                  <a:lnTo>
                    <a:pt x="28" y="118"/>
                  </a:lnTo>
                  <a:lnTo>
                    <a:pt x="28" y="120"/>
                  </a:lnTo>
                  <a:lnTo>
                    <a:pt x="25" y="121"/>
                  </a:lnTo>
                  <a:lnTo>
                    <a:pt x="28" y="123"/>
                  </a:lnTo>
                  <a:lnTo>
                    <a:pt x="28" y="126"/>
                  </a:lnTo>
                  <a:lnTo>
                    <a:pt x="28" y="132"/>
                  </a:lnTo>
                  <a:lnTo>
                    <a:pt x="28" y="140"/>
                  </a:lnTo>
                  <a:lnTo>
                    <a:pt x="25" y="142"/>
                  </a:lnTo>
                  <a:lnTo>
                    <a:pt x="25" y="144"/>
                  </a:lnTo>
                  <a:lnTo>
                    <a:pt x="28" y="149"/>
                  </a:lnTo>
                  <a:lnTo>
                    <a:pt x="30" y="146"/>
                  </a:lnTo>
                  <a:lnTo>
                    <a:pt x="28" y="149"/>
                  </a:lnTo>
                  <a:lnTo>
                    <a:pt x="32" y="151"/>
                  </a:lnTo>
                  <a:lnTo>
                    <a:pt x="33" y="151"/>
                  </a:lnTo>
                  <a:lnTo>
                    <a:pt x="33" y="153"/>
                  </a:lnTo>
                  <a:lnTo>
                    <a:pt x="32" y="154"/>
                  </a:lnTo>
                  <a:lnTo>
                    <a:pt x="30" y="158"/>
                  </a:lnTo>
                  <a:lnTo>
                    <a:pt x="25" y="165"/>
                  </a:lnTo>
                  <a:lnTo>
                    <a:pt x="23" y="168"/>
                  </a:lnTo>
                  <a:lnTo>
                    <a:pt x="18" y="172"/>
                  </a:lnTo>
                  <a:lnTo>
                    <a:pt x="11" y="173"/>
                  </a:lnTo>
                  <a:lnTo>
                    <a:pt x="6" y="177"/>
                  </a:lnTo>
                  <a:lnTo>
                    <a:pt x="2" y="186"/>
                  </a:lnTo>
                  <a:lnTo>
                    <a:pt x="2" y="191"/>
                  </a:lnTo>
                  <a:lnTo>
                    <a:pt x="0" y="194"/>
                  </a:lnTo>
                  <a:lnTo>
                    <a:pt x="6" y="196"/>
                  </a:lnTo>
                  <a:lnTo>
                    <a:pt x="11" y="200"/>
                  </a:lnTo>
                  <a:lnTo>
                    <a:pt x="18" y="205"/>
                  </a:lnTo>
                  <a:lnTo>
                    <a:pt x="21" y="205"/>
                  </a:lnTo>
                  <a:lnTo>
                    <a:pt x="25" y="208"/>
                  </a:lnTo>
                  <a:lnTo>
                    <a:pt x="25" y="212"/>
                  </a:lnTo>
                  <a:lnTo>
                    <a:pt x="25" y="213"/>
                  </a:lnTo>
                  <a:lnTo>
                    <a:pt x="30" y="215"/>
                  </a:lnTo>
                  <a:lnTo>
                    <a:pt x="35" y="217"/>
                  </a:lnTo>
                  <a:lnTo>
                    <a:pt x="39" y="219"/>
                  </a:lnTo>
                  <a:lnTo>
                    <a:pt x="44" y="219"/>
                  </a:lnTo>
                  <a:lnTo>
                    <a:pt x="46" y="219"/>
                  </a:lnTo>
                  <a:lnTo>
                    <a:pt x="46" y="215"/>
                  </a:lnTo>
                  <a:lnTo>
                    <a:pt x="47" y="212"/>
                  </a:lnTo>
                  <a:lnTo>
                    <a:pt x="51" y="213"/>
                  </a:lnTo>
                  <a:lnTo>
                    <a:pt x="56" y="215"/>
                  </a:lnTo>
                  <a:lnTo>
                    <a:pt x="56" y="217"/>
                  </a:lnTo>
                  <a:lnTo>
                    <a:pt x="58" y="219"/>
                  </a:lnTo>
                  <a:lnTo>
                    <a:pt x="59" y="219"/>
                  </a:lnTo>
                  <a:lnTo>
                    <a:pt x="59" y="219"/>
                  </a:lnTo>
                  <a:lnTo>
                    <a:pt x="61" y="219"/>
                  </a:lnTo>
                  <a:lnTo>
                    <a:pt x="63" y="222"/>
                  </a:lnTo>
                  <a:lnTo>
                    <a:pt x="70" y="224"/>
                  </a:lnTo>
                  <a:lnTo>
                    <a:pt x="73" y="224"/>
                  </a:lnTo>
                  <a:lnTo>
                    <a:pt x="75" y="227"/>
                  </a:lnTo>
                  <a:lnTo>
                    <a:pt x="79" y="229"/>
                  </a:lnTo>
                  <a:lnTo>
                    <a:pt x="79" y="233"/>
                  </a:lnTo>
                  <a:lnTo>
                    <a:pt x="82" y="240"/>
                  </a:lnTo>
                  <a:lnTo>
                    <a:pt x="84" y="240"/>
                  </a:lnTo>
                  <a:lnTo>
                    <a:pt x="92" y="241"/>
                  </a:lnTo>
                  <a:lnTo>
                    <a:pt x="96" y="246"/>
                  </a:lnTo>
                  <a:lnTo>
                    <a:pt x="96" y="250"/>
                  </a:lnTo>
                  <a:lnTo>
                    <a:pt x="98" y="250"/>
                  </a:lnTo>
                  <a:lnTo>
                    <a:pt x="98" y="253"/>
                  </a:lnTo>
                  <a:lnTo>
                    <a:pt x="101" y="259"/>
                  </a:lnTo>
                  <a:lnTo>
                    <a:pt x="101" y="259"/>
                  </a:lnTo>
                  <a:lnTo>
                    <a:pt x="101" y="260"/>
                  </a:lnTo>
                  <a:lnTo>
                    <a:pt x="105" y="262"/>
                  </a:lnTo>
                  <a:lnTo>
                    <a:pt x="106" y="260"/>
                  </a:lnTo>
                  <a:lnTo>
                    <a:pt x="110" y="262"/>
                  </a:lnTo>
                  <a:lnTo>
                    <a:pt x="115" y="262"/>
                  </a:lnTo>
                  <a:lnTo>
                    <a:pt x="117" y="260"/>
                  </a:lnTo>
                  <a:lnTo>
                    <a:pt x="120" y="259"/>
                  </a:lnTo>
                  <a:lnTo>
                    <a:pt x="127" y="259"/>
                  </a:lnTo>
                  <a:lnTo>
                    <a:pt x="129" y="260"/>
                  </a:lnTo>
                  <a:lnTo>
                    <a:pt x="136" y="259"/>
                  </a:lnTo>
                  <a:lnTo>
                    <a:pt x="139" y="259"/>
                  </a:lnTo>
                  <a:lnTo>
                    <a:pt x="141" y="260"/>
                  </a:lnTo>
                  <a:lnTo>
                    <a:pt x="143" y="260"/>
                  </a:lnTo>
                  <a:lnTo>
                    <a:pt x="146" y="262"/>
                  </a:lnTo>
                  <a:lnTo>
                    <a:pt x="148" y="264"/>
                  </a:lnTo>
                  <a:lnTo>
                    <a:pt x="152" y="264"/>
                  </a:lnTo>
                  <a:lnTo>
                    <a:pt x="152" y="266"/>
                  </a:lnTo>
                  <a:lnTo>
                    <a:pt x="141" y="286"/>
                  </a:lnTo>
                  <a:lnTo>
                    <a:pt x="141" y="286"/>
                  </a:lnTo>
                  <a:lnTo>
                    <a:pt x="146" y="286"/>
                  </a:lnTo>
                  <a:lnTo>
                    <a:pt x="150" y="286"/>
                  </a:lnTo>
                  <a:lnTo>
                    <a:pt x="152" y="288"/>
                  </a:lnTo>
                  <a:lnTo>
                    <a:pt x="152" y="292"/>
                  </a:lnTo>
                  <a:lnTo>
                    <a:pt x="152" y="292"/>
                  </a:lnTo>
                  <a:lnTo>
                    <a:pt x="152" y="2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0" name="Freeform 46">
              <a:extLst>
                <a:ext uri="{FF2B5EF4-FFF2-40B4-BE49-F238E27FC236}">
                  <a16:creationId xmlns:a16="http://schemas.microsoft.com/office/drawing/2014/main" id="{9ACEFA3D-C52A-476F-B920-3516CA7F0B99}"/>
                </a:ext>
              </a:extLst>
            </p:cNvPr>
            <p:cNvSpPr>
              <a:spLocks noEditPoints="1"/>
            </p:cNvSpPr>
            <p:nvPr/>
          </p:nvSpPr>
          <p:spPr bwMode="auto">
            <a:xfrm>
              <a:off x="2617788" y="4887913"/>
              <a:ext cx="438150" cy="1123950"/>
            </a:xfrm>
            <a:custGeom>
              <a:avLst/>
              <a:gdLst/>
              <a:ahLst/>
              <a:cxnLst>
                <a:cxn ang="0">
                  <a:pos x="76" y="3"/>
                </a:cxn>
                <a:cxn ang="0">
                  <a:pos x="92" y="3"/>
                </a:cxn>
                <a:cxn ang="0">
                  <a:pos x="144" y="26"/>
                </a:cxn>
                <a:cxn ang="0">
                  <a:pos x="200" y="57"/>
                </a:cxn>
                <a:cxn ang="0">
                  <a:pos x="193" y="96"/>
                </a:cxn>
                <a:cxn ang="0">
                  <a:pos x="236" y="101"/>
                </a:cxn>
                <a:cxn ang="0">
                  <a:pos x="261" y="69"/>
                </a:cxn>
                <a:cxn ang="0">
                  <a:pos x="276" y="90"/>
                </a:cxn>
                <a:cxn ang="0">
                  <a:pos x="252" y="106"/>
                </a:cxn>
                <a:cxn ang="0">
                  <a:pos x="229" y="130"/>
                </a:cxn>
                <a:cxn ang="0">
                  <a:pos x="212" y="158"/>
                </a:cxn>
                <a:cxn ang="0">
                  <a:pos x="208" y="195"/>
                </a:cxn>
                <a:cxn ang="0">
                  <a:pos x="207" y="228"/>
                </a:cxn>
                <a:cxn ang="0">
                  <a:pos x="236" y="257"/>
                </a:cxn>
                <a:cxn ang="0">
                  <a:pos x="245" y="280"/>
                </a:cxn>
                <a:cxn ang="0">
                  <a:pos x="236" y="311"/>
                </a:cxn>
                <a:cxn ang="0">
                  <a:pos x="181" y="329"/>
                </a:cxn>
                <a:cxn ang="0">
                  <a:pos x="160" y="330"/>
                </a:cxn>
                <a:cxn ang="0">
                  <a:pos x="160" y="349"/>
                </a:cxn>
                <a:cxn ang="0">
                  <a:pos x="160" y="372"/>
                </a:cxn>
                <a:cxn ang="0">
                  <a:pos x="120" y="370"/>
                </a:cxn>
                <a:cxn ang="0">
                  <a:pos x="125" y="402"/>
                </a:cxn>
                <a:cxn ang="0">
                  <a:pos x="132" y="402"/>
                </a:cxn>
                <a:cxn ang="0">
                  <a:pos x="148" y="412"/>
                </a:cxn>
                <a:cxn ang="0">
                  <a:pos x="125" y="414"/>
                </a:cxn>
                <a:cxn ang="0">
                  <a:pos x="125" y="429"/>
                </a:cxn>
                <a:cxn ang="0">
                  <a:pos x="125" y="454"/>
                </a:cxn>
                <a:cxn ang="0">
                  <a:pos x="115" y="468"/>
                </a:cxn>
                <a:cxn ang="0">
                  <a:pos x="92" y="488"/>
                </a:cxn>
                <a:cxn ang="0">
                  <a:pos x="123" y="515"/>
                </a:cxn>
                <a:cxn ang="0">
                  <a:pos x="128" y="530"/>
                </a:cxn>
                <a:cxn ang="0">
                  <a:pos x="120" y="548"/>
                </a:cxn>
                <a:cxn ang="0">
                  <a:pos x="109" y="568"/>
                </a:cxn>
                <a:cxn ang="0">
                  <a:pos x="95" y="584"/>
                </a:cxn>
                <a:cxn ang="0">
                  <a:pos x="95" y="619"/>
                </a:cxn>
                <a:cxn ang="0">
                  <a:pos x="113" y="638"/>
                </a:cxn>
                <a:cxn ang="0">
                  <a:pos x="59" y="631"/>
                </a:cxn>
                <a:cxn ang="0">
                  <a:pos x="29" y="607"/>
                </a:cxn>
                <a:cxn ang="0">
                  <a:pos x="28" y="535"/>
                </a:cxn>
                <a:cxn ang="0">
                  <a:pos x="28" y="483"/>
                </a:cxn>
                <a:cxn ang="0">
                  <a:pos x="24" y="462"/>
                </a:cxn>
                <a:cxn ang="0">
                  <a:pos x="16" y="429"/>
                </a:cxn>
                <a:cxn ang="0">
                  <a:pos x="5" y="379"/>
                </a:cxn>
                <a:cxn ang="0">
                  <a:pos x="9" y="304"/>
                </a:cxn>
                <a:cxn ang="0">
                  <a:pos x="12" y="250"/>
                </a:cxn>
                <a:cxn ang="0">
                  <a:pos x="5" y="193"/>
                </a:cxn>
                <a:cxn ang="0">
                  <a:pos x="5" y="136"/>
                </a:cxn>
                <a:cxn ang="0">
                  <a:pos x="26" y="89"/>
                </a:cxn>
                <a:cxn ang="0">
                  <a:pos x="22" y="57"/>
                </a:cxn>
                <a:cxn ang="0">
                  <a:pos x="184" y="699"/>
                </a:cxn>
                <a:cxn ang="0">
                  <a:pos x="184" y="699"/>
                </a:cxn>
                <a:cxn ang="0">
                  <a:pos x="113" y="661"/>
                </a:cxn>
                <a:cxn ang="0">
                  <a:pos x="122" y="668"/>
                </a:cxn>
                <a:cxn ang="0">
                  <a:pos x="160" y="694"/>
                </a:cxn>
                <a:cxn ang="0">
                  <a:pos x="160" y="706"/>
                </a:cxn>
                <a:cxn ang="0">
                  <a:pos x="122" y="697"/>
                </a:cxn>
                <a:cxn ang="0">
                  <a:pos x="113" y="664"/>
                </a:cxn>
              </a:cxnLst>
              <a:rect l="0" t="0" r="r" b="b"/>
              <a:pathLst>
                <a:path w="276" h="708">
                  <a:moveTo>
                    <a:pt x="43" y="16"/>
                  </a:moveTo>
                  <a:lnTo>
                    <a:pt x="45" y="14"/>
                  </a:lnTo>
                  <a:lnTo>
                    <a:pt x="49" y="7"/>
                  </a:lnTo>
                  <a:lnTo>
                    <a:pt x="54" y="2"/>
                  </a:lnTo>
                  <a:lnTo>
                    <a:pt x="59" y="0"/>
                  </a:lnTo>
                  <a:lnTo>
                    <a:pt x="64" y="3"/>
                  </a:lnTo>
                  <a:lnTo>
                    <a:pt x="68" y="3"/>
                  </a:lnTo>
                  <a:lnTo>
                    <a:pt x="73" y="2"/>
                  </a:lnTo>
                  <a:lnTo>
                    <a:pt x="76" y="3"/>
                  </a:lnTo>
                  <a:lnTo>
                    <a:pt x="82" y="2"/>
                  </a:lnTo>
                  <a:lnTo>
                    <a:pt x="85" y="2"/>
                  </a:lnTo>
                  <a:lnTo>
                    <a:pt x="85" y="7"/>
                  </a:lnTo>
                  <a:lnTo>
                    <a:pt x="88" y="14"/>
                  </a:lnTo>
                  <a:lnTo>
                    <a:pt x="88" y="16"/>
                  </a:lnTo>
                  <a:lnTo>
                    <a:pt x="90" y="14"/>
                  </a:lnTo>
                  <a:lnTo>
                    <a:pt x="90" y="10"/>
                  </a:lnTo>
                  <a:lnTo>
                    <a:pt x="92" y="7"/>
                  </a:lnTo>
                  <a:lnTo>
                    <a:pt x="92" y="3"/>
                  </a:lnTo>
                  <a:lnTo>
                    <a:pt x="95" y="0"/>
                  </a:lnTo>
                  <a:lnTo>
                    <a:pt x="104" y="0"/>
                  </a:lnTo>
                  <a:lnTo>
                    <a:pt x="113" y="0"/>
                  </a:lnTo>
                  <a:lnTo>
                    <a:pt x="118" y="3"/>
                  </a:lnTo>
                  <a:lnTo>
                    <a:pt x="122" y="7"/>
                  </a:lnTo>
                  <a:lnTo>
                    <a:pt x="125" y="9"/>
                  </a:lnTo>
                  <a:lnTo>
                    <a:pt x="128" y="16"/>
                  </a:lnTo>
                  <a:lnTo>
                    <a:pt x="141" y="26"/>
                  </a:lnTo>
                  <a:lnTo>
                    <a:pt x="144" y="26"/>
                  </a:lnTo>
                  <a:lnTo>
                    <a:pt x="148" y="29"/>
                  </a:lnTo>
                  <a:lnTo>
                    <a:pt x="151" y="35"/>
                  </a:lnTo>
                  <a:lnTo>
                    <a:pt x="160" y="38"/>
                  </a:lnTo>
                  <a:lnTo>
                    <a:pt x="168" y="42"/>
                  </a:lnTo>
                  <a:lnTo>
                    <a:pt x="172" y="42"/>
                  </a:lnTo>
                  <a:lnTo>
                    <a:pt x="179" y="49"/>
                  </a:lnTo>
                  <a:lnTo>
                    <a:pt x="186" y="52"/>
                  </a:lnTo>
                  <a:lnTo>
                    <a:pt x="196" y="54"/>
                  </a:lnTo>
                  <a:lnTo>
                    <a:pt x="200" y="57"/>
                  </a:lnTo>
                  <a:lnTo>
                    <a:pt x="205" y="62"/>
                  </a:lnTo>
                  <a:lnTo>
                    <a:pt x="207" y="66"/>
                  </a:lnTo>
                  <a:lnTo>
                    <a:pt x="207" y="69"/>
                  </a:lnTo>
                  <a:lnTo>
                    <a:pt x="205" y="75"/>
                  </a:lnTo>
                  <a:lnTo>
                    <a:pt x="200" y="76"/>
                  </a:lnTo>
                  <a:lnTo>
                    <a:pt x="200" y="80"/>
                  </a:lnTo>
                  <a:lnTo>
                    <a:pt x="200" y="83"/>
                  </a:lnTo>
                  <a:lnTo>
                    <a:pt x="196" y="89"/>
                  </a:lnTo>
                  <a:lnTo>
                    <a:pt x="193" y="96"/>
                  </a:lnTo>
                  <a:lnTo>
                    <a:pt x="193" y="99"/>
                  </a:lnTo>
                  <a:lnTo>
                    <a:pt x="194" y="99"/>
                  </a:lnTo>
                  <a:lnTo>
                    <a:pt x="207" y="97"/>
                  </a:lnTo>
                  <a:lnTo>
                    <a:pt x="217" y="101"/>
                  </a:lnTo>
                  <a:lnTo>
                    <a:pt x="224" y="104"/>
                  </a:lnTo>
                  <a:lnTo>
                    <a:pt x="228" y="102"/>
                  </a:lnTo>
                  <a:lnTo>
                    <a:pt x="229" y="102"/>
                  </a:lnTo>
                  <a:lnTo>
                    <a:pt x="233" y="104"/>
                  </a:lnTo>
                  <a:lnTo>
                    <a:pt x="236" y="101"/>
                  </a:lnTo>
                  <a:lnTo>
                    <a:pt x="236" y="99"/>
                  </a:lnTo>
                  <a:lnTo>
                    <a:pt x="241" y="101"/>
                  </a:lnTo>
                  <a:lnTo>
                    <a:pt x="243" y="96"/>
                  </a:lnTo>
                  <a:lnTo>
                    <a:pt x="245" y="92"/>
                  </a:lnTo>
                  <a:lnTo>
                    <a:pt x="254" y="85"/>
                  </a:lnTo>
                  <a:lnTo>
                    <a:pt x="255" y="83"/>
                  </a:lnTo>
                  <a:lnTo>
                    <a:pt x="257" y="80"/>
                  </a:lnTo>
                  <a:lnTo>
                    <a:pt x="261" y="76"/>
                  </a:lnTo>
                  <a:lnTo>
                    <a:pt x="261" y="69"/>
                  </a:lnTo>
                  <a:lnTo>
                    <a:pt x="261" y="68"/>
                  </a:lnTo>
                  <a:lnTo>
                    <a:pt x="261" y="62"/>
                  </a:lnTo>
                  <a:lnTo>
                    <a:pt x="264" y="61"/>
                  </a:lnTo>
                  <a:lnTo>
                    <a:pt x="271" y="61"/>
                  </a:lnTo>
                  <a:lnTo>
                    <a:pt x="271" y="64"/>
                  </a:lnTo>
                  <a:lnTo>
                    <a:pt x="274" y="73"/>
                  </a:lnTo>
                  <a:lnTo>
                    <a:pt x="274" y="78"/>
                  </a:lnTo>
                  <a:lnTo>
                    <a:pt x="276" y="85"/>
                  </a:lnTo>
                  <a:lnTo>
                    <a:pt x="276" y="90"/>
                  </a:lnTo>
                  <a:lnTo>
                    <a:pt x="274" y="94"/>
                  </a:lnTo>
                  <a:lnTo>
                    <a:pt x="271" y="94"/>
                  </a:lnTo>
                  <a:lnTo>
                    <a:pt x="269" y="96"/>
                  </a:lnTo>
                  <a:lnTo>
                    <a:pt x="266" y="97"/>
                  </a:lnTo>
                  <a:lnTo>
                    <a:pt x="264" y="99"/>
                  </a:lnTo>
                  <a:lnTo>
                    <a:pt x="264" y="99"/>
                  </a:lnTo>
                  <a:lnTo>
                    <a:pt x="257" y="104"/>
                  </a:lnTo>
                  <a:lnTo>
                    <a:pt x="255" y="106"/>
                  </a:lnTo>
                  <a:lnTo>
                    <a:pt x="252" y="106"/>
                  </a:lnTo>
                  <a:lnTo>
                    <a:pt x="247" y="111"/>
                  </a:lnTo>
                  <a:lnTo>
                    <a:pt x="243" y="111"/>
                  </a:lnTo>
                  <a:lnTo>
                    <a:pt x="243" y="116"/>
                  </a:lnTo>
                  <a:lnTo>
                    <a:pt x="241" y="116"/>
                  </a:lnTo>
                  <a:lnTo>
                    <a:pt x="238" y="116"/>
                  </a:lnTo>
                  <a:lnTo>
                    <a:pt x="233" y="123"/>
                  </a:lnTo>
                  <a:lnTo>
                    <a:pt x="233" y="125"/>
                  </a:lnTo>
                  <a:lnTo>
                    <a:pt x="233" y="130"/>
                  </a:lnTo>
                  <a:lnTo>
                    <a:pt x="229" y="130"/>
                  </a:lnTo>
                  <a:lnTo>
                    <a:pt x="228" y="134"/>
                  </a:lnTo>
                  <a:lnTo>
                    <a:pt x="224" y="139"/>
                  </a:lnTo>
                  <a:lnTo>
                    <a:pt x="224" y="142"/>
                  </a:lnTo>
                  <a:lnTo>
                    <a:pt x="221" y="146"/>
                  </a:lnTo>
                  <a:lnTo>
                    <a:pt x="221" y="148"/>
                  </a:lnTo>
                  <a:lnTo>
                    <a:pt x="217" y="149"/>
                  </a:lnTo>
                  <a:lnTo>
                    <a:pt x="215" y="153"/>
                  </a:lnTo>
                  <a:lnTo>
                    <a:pt x="214" y="156"/>
                  </a:lnTo>
                  <a:lnTo>
                    <a:pt x="212" y="158"/>
                  </a:lnTo>
                  <a:lnTo>
                    <a:pt x="212" y="165"/>
                  </a:lnTo>
                  <a:lnTo>
                    <a:pt x="210" y="167"/>
                  </a:lnTo>
                  <a:lnTo>
                    <a:pt x="212" y="170"/>
                  </a:lnTo>
                  <a:lnTo>
                    <a:pt x="212" y="179"/>
                  </a:lnTo>
                  <a:lnTo>
                    <a:pt x="210" y="181"/>
                  </a:lnTo>
                  <a:lnTo>
                    <a:pt x="210" y="184"/>
                  </a:lnTo>
                  <a:lnTo>
                    <a:pt x="208" y="188"/>
                  </a:lnTo>
                  <a:lnTo>
                    <a:pt x="210" y="193"/>
                  </a:lnTo>
                  <a:lnTo>
                    <a:pt x="208" y="195"/>
                  </a:lnTo>
                  <a:lnTo>
                    <a:pt x="210" y="203"/>
                  </a:lnTo>
                  <a:lnTo>
                    <a:pt x="212" y="209"/>
                  </a:lnTo>
                  <a:lnTo>
                    <a:pt x="210" y="210"/>
                  </a:lnTo>
                  <a:lnTo>
                    <a:pt x="207" y="212"/>
                  </a:lnTo>
                  <a:lnTo>
                    <a:pt x="207" y="216"/>
                  </a:lnTo>
                  <a:lnTo>
                    <a:pt x="207" y="216"/>
                  </a:lnTo>
                  <a:lnTo>
                    <a:pt x="207" y="216"/>
                  </a:lnTo>
                  <a:lnTo>
                    <a:pt x="205" y="221"/>
                  </a:lnTo>
                  <a:lnTo>
                    <a:pt x="207" y="228"/>
                  </a:lnTo>
                  <a:lnTo>
                    <a:pt x="207" y="229"/>
                  </a:lnTo>
                  <a:lnTo>
                    <a:pt x="208" y="231"/>
                  </a:lnTo>
                  <a:lnTo>
                    <a:pt x="208" y="235"/>
                  </a:lnTo>
                  <a:lnTo>
                    <a:pt x="207" y="235"/>
                  </a:lnTo>
                  <a:lnTo>
                    <a:pt x="210" y="240"/>
                  </a:lnTo>
                  <a:lnTo>
                    <a:pt x="217" y="243"/>
                  </a:lnTo>
                  <a:lnTo>
                    <a:pt x="224" y="247"/>
                  </a:lnTo>
                  <a:lnTo>
                    <a:pt x="233" y="254"/>
                  </a:lnTo>
                  <a:lnTo>
                    <a:pt x="236" y="257"/>
                  </a:lnTo>
                  <a:lnTo>
                    <a:pt x="236" y="261"/>
                  </a:lnTo>
                  <a:lnTo>
                    <a:pt x="229" y="268"/>
                  </a:lnTo>
                  <a:lnTo>
                    <a:pt x="229" y="269"/>
                  </a:lnTo>
                  <a:lnTo>
                    <a:pt x="233" y="275"/>
                  </a:lnTo>
                  <a:lnTo>
                    <a:pt x="236" y="278"/>
                  </a:lnTo>
                  <a:lnTo>
                    <a:pt x="241" y="278"/>
                  </a:lnTo>
                  <a:lnTo>
                    <a:pt x="243" y="276"/>
                  </a:lnTo>
                  <a:lnTo>
                    <a:pt x="245" y="276"/>
                  </a:lnTo>
                  <a:lnTo>
                    <a:pt x="245" y="280"/>
                  </a:lnTo>
                  <a:lnTo>
                    <a:pt x="245" y="285"/>
                  </a:lnTo>
                  <a:lnTo>
                    <a:pt x="245" y="290"/>
                  </a:lnTo>
                  <a:lnTo>
                    <a:pt x="240" y="294"/>
                  </a:lnTo>
                  <a:lnTo>
                    <a:pt x="240" y="301"/>
                  </a:lnTo>
                  <a:lnTo>
                    <a:pt x="238" y="302"/>
                  </a:lnTo>
                  <a:lnTo>
                    <a:pt x="238" y="301"/>
                  </a:lnTo>
                  <a:lnTo>
                    <a:pt x="236" y="301"/>
                  </a:lnTo>
                  <a:lnTo>
                    <a:pt x="236" y="308"/>
                  </a:lnTo>
                  <a:lnTo>
                    <a:pt x="236" y="311"/>
                  </a:lnTo>
                  <a:lnTo>
                    <a:pt x="236" y="315"/>
                  </a:lnTo>
                  <a:lnTo>
                    <a:pt x="224" y="320"/>
                  </a:lnTo>
                  <a:lnTo>
                    <a:pt x="217" y="322"/>
                  </a:lnTo>
                  <a:lnTo>
                    <a:pt x="217" y="320"/>
                  </a:lnTo>
                  <a:lnTo>
                    <a:pt x="215" y="322"/>
                  </a:lnTo>
                  <a:lnTo>
                    <a:pt x="205" y="327"/>
                  </a:lnTo>
                  <a:lnTo>
                    <a:pt x="194" y="330"/>
                  </a:lnTo>
                  <a:lnTo>
                    <a:pt x="186" y="330"/>
                  </a:lnTo>
                  <a:lnTo>
                    <a:pt x="181" y="329"/>
                  </a:lnTo>
                  <a:lnTo>
                    <a:pt x="177" y="330"/>
                  </a:lnTo>
                  <a:lnTo>
                    <a:pt x="172" y="330"/>
                  </a:lnTo>
                  <a:lnTo>
                    <a:pt x="168" y="329"/>
                  </a:lnTo>
                  <a:lnTo>
                    <a:pt x="163" y="327"/>
                  </a:lnTo>
                  <a:lnTo>
                    <a:pt x="160" y="327"/>
                  </a:lnTo>
                  <a:lnTo>
                    <a:pt x="160" y="325"/>
                  </a:lnTo>
                  <a:lnTo>
                    <a:pt x="158" y="325"/>
                  </a:lnTo>
                  <a:lnTo>
                    <a:pt x="158" y="329"/>
                  </a:lnTo>
                  <a:lnTo>
                    <a:pt x="160" y="330"/>
                  </a:lnTo>
                  <a:lnTo>
                    <a:pt x="160" y="337"/>
                  </a:lnTo>
                  <a:lnTo>
                    <a:pt x="160" y="339"/>
                  </a:lnTo>
                  <a:lnTo>
                    <a:pt x="160" y="339"/>
                  </a:lnTo>
                  <a:lnTo>
                    <a:pt x="163" y="339"/>
                  </a:lnTo>
                  <a:lnTo>
                    <a:pt x="165" y="344"/>
                  </a:lnTo>
                  <a:lnTo>
                    <a:pt x="163" y="348"/>
                  </a:lnTo>
                  <a:lnTo>
                    <a:pt x="163" y="348"/>
                  </a:lnTo>
                  <a:lnTo>
                    <a:pt x="163" y="348"/>
                  </a:lnTo>
                  <a:lnTo>
                    <a:pt x="160" y="349"/>
                  </a:lnTo>
                  <a:lnTo>
                    <a:pt x="160" y="351"/>
                  </a:lnTo>
                  <a:lnTo>
                    <a:pt x="158" y="355"/>
                  </a:lnTo>
                  <a:lnTo>
                    <a:pt x="158" y="358"/>
                  </a:lnTo>
                  <a:lnTo>
                    <a:pt x="160" y="362"/>
                  </a:lnTo>
                  <a:lnTo>
                    <a:pt x="163" y="362"/>
                  </a:lnTo>
                  <a:lnTo>
                    <a:pt x="163" y="365"/>
                  </a:lnTo>
                  <a:lnTo>
                    <a:pt x="160" y="367"/>
                  </a:lnTo>
                  <a:lnTo>
                    <a:pt x="163" y="370"/>
                  </a:lnTo>
                  <a:lnTo>
                    <a:pt x="160" y="372"/>
                  </a:lnTo>
                  <a:lnTo>
                    <a:pt x="158" y="374"/>
                  </a:lnTo>
                  <a:lnTo>
                    <a:pt x="158" y="375"/>
                  </a:lnTo>
                  <a:lnTo>
                    <a:pt x="153" y="381"/>
                  </a:lnTo>
                  <a:lnTo>
                    <a:pt x="142" y="381"/>
                  </a:lnTo>
                  <a:lnTo>
                    <a:pt x="137" y="379"/>
                  </a:lnTo>
                  <a:lnTo>
                    <a:pt x="132" y="374"/>
                  </a:lnTo>
                  <a:lnTo>
                    <a:pt x="125" y="372"/>
                  </a:lnTo>
                  <a:lnTo>
                    <a:pt x="122" y="372"/>
                  </a:lnTo>
                  <a:lnTo>
                    <a:pt x="120" y="370"/>
                  </a:lnTo>
                  <a:lnTo>
                    <a:pt x="122" y="370"/>
                  </a:lnTo>
                  <a:lnTo>
                    <a:pt x="118" y="370"/>
                  </a:lnTo>
                  <a:lnTo>
                    <a:pt x="115" y="372"/>
                  </a:lnTo>
                  <a:lnTo>
                    <a:pt x="115" y="379"/>
                  </a:lnTo>
                  <a:lnTo>
                    <a:pt x="118" y="382"/>
                  </a:lnTo>
                  <a:lnTo>
                    <a:pt x="120" y="389"/>
                  </a:lnTo>
                  <a:lnTo>
                    <a:pt x="120" y="398"/>
                  </a:lnTo>
                  <a:lnTo>
                    <a:pt x="122" y="402"/>
                  </a:lnTo>
                  <a:lnTo>
                    <a:pt x="125" y="402"/>
                  </a:lnTo>
                  <a:lnTo>
                    <a:pt x="130" y="402"/>
                  </a:lnTo>
                  <a:lnTo>
                    <a:pt x="132" y="402"/>
                  </a:lnTo>
                  <a:lnTo>
                    <a:pt x="130" y="403"/>
                  </a:lnTo>
                  <a:lnTo>
                    <a:pt x="128" y="405"/>
                  </a:lnTo>
                  <a:lnTo>
                    <a:pt x="132" y="407"/>
                  </a:lnTo>
                  <a:lnTo>
                    <a:pt x="137" y="405"/>
                  </a:lnTo>
                  <a:lnTo>
                    <a:pt x="137" y="403"/>
                  </a:lnTo>
                  <a:lnTo>
                    <a:pt x="135" y="402"/>
                  </a:lnTo>
                  <a:lnTo>
                    <a:pt x="132" y="402"/>
                  </a:lnTo>
                  <a:lnTo>
                    <a:pt x="135" y="402"/>
                  </a:lnTo>
                  <a:lnTo>
                    <a:pt x="137" y="402"/>
                  </a:lnTo>
                  <a:lnTo>
                    <a:pt x="141" y="398"/>
                  </a:lnTo>
                  <a:lnTo>
                    <a:pt x="142" y="398"/>
                  </a:lnTo>
                  <a:lnTo>
                    <a:pt x="146" y="402"/>
                  </a:lnTo>
                  <a:lnTo>
                    <a:pt x="144" y="405"/>
                  </a:lnTo>
                  <a:lnTo>
                    <a:pt x="142" y="405"/>
                  </a:lnTo>
                  <a:lnTo>
                    <a:pt x="146" y="409"/>
                  </a:lnTo>
                  <a:lnTo>
                    <a:pt x="148" y="412"/>
                  </a:lnTo>
                  <a:lnTo>
                    <a:pt x="146" y="415"/>
                  </a:lnTo>
                  <a:lnTo>
                    <a:pt x="141" y="417"/>
                  </a:lnTo>
                  <a:lnTo>
                    <a:pt x="137" y="417"/>
                  </a:lnTo>
                  <a:lnTo>
                    <a:pt x="137" y="415"/>
                  </a:lnTo>
                  <a:lnTo>
                    <a:pt x="137" y="414"/>
                  </a:lnTo>
                  <a:lnTo>
                    <a:pt x="137" y="412"/>
                  </a:lnTo>
                  <a:lnTo>
                    <a:pt x="132" y="409"/>
                  </a:lnTo>
                  <a:lnTo>
                    <a:pt x="128" y="410"/>
                  </a:lnTo>
                  <a:lnTo>
                    <a:pt x="125" y="414"/>
                  </a:lnTo>
                  <a:lnTo>
                    <a:pt x="125" y="415"/>
                  </a:lnTo>
                  <a:lnTo>
                    <a:pt x="125" y="417"/>
                  </a:lnTo>
                  <a:lnTo>
                    <a:pt x="130" y="417"/>
                  </a:lnTo>
                  <a:lnTo>
                    <a:pt x="135" y="417"/>
                  </a:lnTo>
                  <a:lnTo>
                    <a:pt x="135" y="421"/>
                  </a:lnTo>
                  <a:lnTo>
                    <a:pt x="130" y="424"/>
                  </a:lnTo>
                  <a:lnTo>
                    <a:pt x="125" y="426"/>
                  </a:lnTo>
                  <a:lnTo>
                    <a:pt x="123" y="429"/>
                  </a:lnTo>
                  <a:lnTo>
                    <a:pt x="125" y="429"/>
                  </a:lnTo>
                  <a:lnTo>
                    <a:pt x="123" y="433"/>
                  </a:lnTo>
                  <a:lnTo>
                    <a:pt x="120" y="436"/>
                  </a:lnTo>
                  <a:lnTo>
                    <a:pt x="122" y="440"/>
                  </a:lnTo>
                  <a:lnTo>
                    <a:pt x="123" y="443"/>
                  </a:lnTo>
                  <a:lnTo>
                    <a:pt x="123" y="445"/>
                  </a:lnTo>
                  <a:lnTo>
                    <a:pt x="122" y="447"/>
                  </a:lnTo>
                  <a:lnTo>
                    <a:pt x="127" y="452"/>
                  </a:lnTo>
                  <a:lnTo>
                    <a:pt x="127" y="452"/>
                  </a:lnTo>
                  <a:lnTo>
                    <a:pt x="125" y="454"/>
                  </a:lnTo>
                  <a:lnTo>
                    <a:pt x="125" y="455"/>
                  </a:lnTo>
                  <a:lnTo>
                    <a:pt x="120" y="459"/>
                  </a:lnTo>
                  <a:lnTo>
                    <a:pt x="120" y="461"/>
                  </a:lnTo>
                  <a:lnTo>
                    <a:pt x="120" y="462"/>
                  </a:lnTo>
                  <a:lnTo>
                    <a:pt x="123" y="464"/>
                  </a:lnTo>
                  <a:lnTo>
                    <a:pt x="125" y="466"/>
                  </a:lnTo>
                  <a:lnTo>
                    <a:pt x="125" y="468"/>
                  </a:lnTo>
                  <a:lnTo>
                    <a:pt x="118" y="469"/>
                  </a:lnTo>
                  <a:lnTo>
                    <a:pt x="115" y="468"/>
                  </a:lnTo>
                  <a:lnTo>
                    <a:pt x="109" y="469"/>
                  </a:lnTo>
                  <a:lnTo>
                    <a:pt x="108" y="471"/>
                  </a:lnTo>
                  <a:lnTo>
                    <a:pt x="104" y="471"/>
                  </a:lnTo>
                  <a:lnTo>
                    <a:pt x="101" y="475"/>
                  </a:lnTo>
                  <a:lnTo>
                    <a:pt x="99" y="476"/>
                  </a:lnTo>
                  <a:lnTo>
                    <a:pt x="95" y="480"/>
                  </a:lnTo>
                  <a:lnTo>
                    <a:pt x="95" y="483"/>
                  </a:lnTo>
                  <a:lnTo>
                    <a:pt x="92" y="485"/>
                  </a:lnTo>
                  <a:lnTo>
                    <a:pt x="92" y="488"/>
                  </a:lnTo>
                  <a:lnTo>
                    <a:pt x="94" y="492"/>
                  </a:lnTo>
                  <a:lnTo>
                    <a:pt x="94" y="494"/>
                  </a:lnTo>
                  <a:lnTo>
                    <a:pt x="95" y="502"/>
                  </a:lnTo>
                  <a:lnTo>
                    <a:pt x="102" y="502"/>
                  </a:lnTo>
                  <a:lnTo>
                    <a:pt x="104" y="504"/>
                  </a:lnTo>
                  <a:lnTo>
                    <a:pt x="108" y="508"/>
                  </a:lnTo>
                  <a:lnTo>
                    <a:pt x="115" y="515"/>
                  </a:lnTo>
                  <a:lnTo>
                    <a:pt x="120" y="515"/>
                  </a:lnTo>
                  <a:lnTo>
                    <a:pt x="123" y="515"/>
                  </a:lnTo>
                  <a:lnTo>
                    <a:pt x="125" y="513"/>
                  </a:lnTo>
                  <a:lnTo>
                    <a:pt x="128" y="515"/>
                  </a:lnTo>
                  <a:lnTo>
                    <a:pt x="130" y="516"/>
                  </a:lnTo>
                  <a:lnTo>
                    <a:pt x="128" y="518"/>
                  </a:lnTo>
                  <a:lnTo>
                    <a:pt x="128" y="520"/>
                  </a:lnTo>
                  <a:lnTo>
                    <a:pt x="130" y="522"/>
                  </a:lnTo>
                  <a:lnTo>
                    <a:pt x="130" y="525"/>
                  </a:lnTo>
                  <a:lnTo>
                    <a:pt x="127" y="530"/>
                  </a:lnTo>
                  <a:lnTo>
                    <a:pt x="128" y="530"/>
                  </a:lnTo>
                  <a:lnTo>
                    <a:pt x="132" y="534"/>
                  </a:lnTo>
                  <a:lnTo>
                    <a:pt x="130" y="534"/>
                  </a:lnTo>
                  <a:lnTo>
                    <a:pt x="130" y="535"/>
                  </a:lnTo>
                  <a:lnTo>
                    <a:pt x="130" y="537"/>
                  </a:lnTo>
                  <a:lnTo>
                    <a:pt x="127" y="539"/>
                  </a:lnTo>
                  <a:lnTo>
                    <a:pt x="125" y="541"/>
                  </a:lnTo>
                  <a:lnTo>
                    <a:pt x="123" y="544"/>
                  </a:lnTo>
                  <a:lnTo>
                    <a:pt x="122" y="544"/>
                  </a:lnTo>
                  <a:lnTo>
                    <a:pt x="120" y="548"/>
                  </a:lnTo>
                  <a:lnTo>
                    <a:pt x="118" y="553"/>
                  </a:lnTo>
                  <a:lnTo>
                    <a:pt x="115" y="553"/>
                  </a:lnTo>
                  <a:lnTo>
                    <a:pt x="113" y="556"/>
                  </a:lnTo>
                  <a:lnTo>
                    <a:pt x="109" y="560"/>
                  </a:lnTo>
                  <a:lnTo>
                    <a:pt x="108" y="563"/>
                  </a:lnTo>
                  <a:lnTo>
                    <a:pt x="108" y="567"/>
                  </a:lnTo>
                  <a:lnTo>
                    <a:pt x="104" y="568"/>
                  </a:lnTo>
                  <a:lnTo>
                    <a:pt x="108" y="567"/>
                  </a:lnTo>
                  <a:lnTo>
                    <a:pt x="109" y="568"/>
                  </a:lnTo>
                  <a:lnTo>
                    <a:pt x="109" y="574"/>
                  </a:lnTo>
                  <a:lnTo>
                    <a:pt x="109" y="575"/>
                  </a:lnTo>
                  <a:lnTo>
                    <a:pt x="108" y="579"/>
                  </a:lnTo>
                  <a:lnTo>
                    <a:pt x="108" y="581"/>
                  </a:lnTo>
                  <a:lnTo>
                    <a:pt x="102" y="584"/>
                  </a:lnTo>
                  <a:lnTo>
                    <a:pt x="101" y="584"/>
                  </a:lnTo>
                  <a:lnTo>
                    <a:pt x="99" y="581"/>
                  </a:lnTo>
                  <a:lnTo>
                    <a:pt x="95" y="579"/>
                  </a:lnTo>
                  <a:lnTo>
                    <a:pt x="95" y="584"/>
                  </a:lnTo>
                  <a:lnTo>
                    <a:pt x="95" y="584"/>
                  </a:lnTo>
                  <a:lnTo>
                    <a:pt x="99" y="586"/>
                  </a:lnTo>
                  <a:lnTo>
                    <a:pt x="95" y="589"/>
                  </a:lnTo>
                  <a:lnTo>
                    <a:pt x="92" y="593"/>
                  </a:lnTo>
                  <a:lnTo>
                    <a:pt x="90" y="598"/>
                  </a:lnTo>
                  <a:lnTo>
                    <a:pt x="92" y="603"/>
                  </a:lnTo>
                  <a:lnTo>
                    <a:pt x="95" y="608"/>
                  </a:lnTo>
                  <a:lnTo>
                    <a:pt x="95" y="617"/>
                  </a:lnTo>
                  <a:lnTo>
                    <a:pt x="95" y="619"/>
                  </a:lnTo>
                  <a:lnTo>
                    <a:pt x="99" y="619"/>
                  </a:lnTo>
                  <a:lnTo>
                    <a:pt x="99" y="622"/>
                  </a:lnTo>
                  <a:lnTo>
                    <a:pt x="95" y="624"/>
                  </a:lnTo>
                  <a:lnTo>
                    <a:pt x="95" y="626"/>
                  </a:lnTo>
                  <a:lnTo>
                    <a:pt x="99" y="624"/>
                  </a:lnTo>
                  <a:lnTo>
                    <a:pt x="102" y="626"/>
                  </a:lnTo>
                  <a:lnTo>
                    <a:pt x="104" y="629"/>
                  </a:lnTo>
                  <a:lnTo>
                    <a:pt x="108" y="635"/>
                  </a:lnTo>
                  <a:lnTo>
                    <a:pt x="113" y="638"/>
                  </a:lnTo>
                  <a:lnTo>
                    <a:pt x="113" y="640"/>
                  </a:lnTo>
                  <a:lnTo>
                    <a:pt x="113" y="640"/>
                  </a:lnTo>
                  <a:lnTo>
                    <a:pt x="108" y="638"/>
                  </a:lnTo>
                  <a:lnTo>
                    <a:pt x="102" y="635"/>
                  </a:lnTo>
                  <a:lnTo>
                    <a:pt x="99" y="635"/>
                  </a:lnTo>
                  <a:lnTo>
                    <a:pt x="95" y="631"/>
                  </a:lnTo>
                  <a:lnTo>
                    <a:pt x="76" y="631"/>
                  </a:lnTo>
                  <a:lnTo>
                    <a:pt x="62" y="635"/>
                  </a:lnTo>
                  <a:lnTo>
                    <a:pt x="59" y="631"/>
                  </a:lnTo>
                  <a:lnTo>
                    <a:pt x="50" y="631"/>
                  </a:lnTo>
                  <a:lnTo>
                    <a:pt x="49" y="626"/>
                  </a:lnTo>
                  <a:lnTo>
                    <a:pt x="49" y="619"/>
                  </a:lnTo>
                  <a:lnTo>
                    <a:pt x="43" y="615"/>
                  </a:lnTo>
                  <a:lnTo>
                    <a:pt x="43" y="607"/>
                  </a:lnTo>
                  <a:lnTo>
                    <a:pt x="43" y="602"/>
                  </a:lnTo>
                  <a:lnTo>
                    <a:pt x="40" y="602"/>
                  </a:lnTo>
                  <a:lnTo>
                    <a:pt x="33" y="603"/>
                  </a:lnTo>
                  <a:lnTo>
                    <a:pt x="29" y="607"/>
                  </a:lnTo>
                  <a:lnTo>
                    <a:pt x="26" y="607"/>
                  </a:lnTo>
                  <a:lnTo>
                    <a:pt x="21" y="591"/>
                  </a:lnTo>
                  <a:lnTo>
                    <a:pt x="17" y="586"/>
                  </a:lnTo>
                  <a:lnTo>
                    <a:pt x="21" y="572"/>
                  </a:lnTo>
                  <a:lnTo>
                    <a:pt x="24" y="567"/>
                  </a:lnTo>
                  <a:lnTo>
                    <a:pt x="29" y="560"/>
                  </a:lnTo>
                  <a:lnTo>
                    <a:pt x="31" y="551"/>
                  </a:lnTo>
                  <a:lnTo>
                    <a:pt x="29" y="542"/>
                  </a:lnTo>
                  <a:lnTo>
                    <a:pt x="28" y="535"/>
                  </a:lnTo>
                  <a:lnTo>
                    <a:pt x="29" y="528"/>
                  </a:lnTo>
                  <a:lnTo>
                    <a:pt x="33" y="525"/>
                  </a:lnTo>
                  <a:lnTo>
                    <a:pt x="29" y="516"/>
                  </a:lnTo>
                  <a:lnTo>
                    <a:pt x="29" y="511"/>
                  </a:lnTo>
                  <a:lnTo>
                    <a:pt x="33" y="508"/>
                  </a:lnTo>
                  <a:lnTo>
                    <a:pt x="31" y="502"/>
                  </a:lnTo>
                  <a:lnTo>
                    <a:pt x="29" y="492"/>
                  </a:lnTo>
                  <a:lnTo>
                    <a:pt x="28" y="487"/>
                  </a:lnTo>
                  <a:lnTo>
                    <a:pt x="28" y="483"/>
                  </a:lnTo>
                  <a:lnTo>
                    <a:pt x="31" y="480"/>
                  </a:lnTo>
                  <a:lnTo>
                    <a:pt x="31" y="476"/>
                  </a:lnTo>
                  <a:lnTo>
                    <a:pt x="28" y="471"/>
                  </a:lnTo>
                  <a:lnTo>
                    <a:pt x="22" y="466"/>
                  </a:lnTo>
                  <a:lnTo>
                    <a:pt x="21" y="466"/>
                  </a:lnTo>
                  <a:lnTo>
                    <a:pt x="17" y="468"/>
                  </a:lnTo>
                  <a:lnTo>
                    <a:pt x="16" y="466"/>
                  </a:lnTo>
                  <a:lnTo>
                    <a:pt x="16" y="462"/>
                  </a:lnTo>
                  <a:lnTo>
                    <a:pt x="24" y="462"/>
                  </a:lnTo>
                  <a:lnTo>
                    <a:pt x="28" y="457"/>
                  </a:lnTo>
                  <a:lnTo>
                    <a:pt x="28" y="454"/>
                  </a:lnTo>
                  <a:lnTo>
                    <a:pt x="26" y="452"/>
                  </a:lnTo>
                  <a:lnTo>
                    <a:pt x="22" y="454"/>
                  </a:lnTo>
                  <a:lnTo>
                    <a:pt x="21" y="454"/>
                  </a:lnTo>
                  <a:lnTo>
                    <a:pt x="17" y="447"/>
                  </a:lnTo>
                  <a:lnTo>
                    <a:pt x="16" y="440"/>
                  </a:lnTo>
                  <a:lnTo>
                    <a:pt x="16" y="435"/>
                  </a:lnTo>
                  <a:lnTo>
                    <a:pt x="16" y="429"/>
                  </a:lnTo>
                  <a:lnTo>
                    <a:pt x="9" y="426"/>
                  </a:lnTo>
                  <a:lnTo>
                    <a:pt x="9" y="421"/>
                  </a:lnTo>
                  <a:lnTo>
                    <a:pt x="9" y="409"/>
                  </a:lnTo>
                  <a:lnTo>
                    <a:pt x="12" y="407"/>
                  </a:lnTo>
                  <a:lnTo>
                    <a:pt x="12" y="402"/>
                  </a:lnTo>
                  <a:lnTo>
                    <a:pt x="9" y="398"/>
                  </a:lnTo>
                  <a:lnTo>
                    <a:pt x="7" y="398"/>
                  </a:lnTo>
                  <a:lnTo>
                    <a:pt x="7" y="389"/>
                  </a:lnTo>
                  <a:lnTo>
                    <a:pt x="5" y="379"/>
                  </a:lnTo>
                  <a:lnTo>
                    <a:pt x="7" y="365"/>
                  </a:lnTo>
                  <a:lnTo>
                    <a:pt x="3" y="360"/>
                  </a:lnTo>
                  <a:lnTo>
                    <a:pt x="2" y="353"/>
                  </a:lnTo>
                  <a:lnTo>
                    <a:pt x="9" y="344"/>
                  </a:lnTo>
                  <a:lnTo>
                    <a:pt x="9" y="335"/>
                  </a:lnTo>
                  <a:lnTo>
                    <a:pt x="16" y="334"/>
                  </a:lnTo>
                  <a:lnTo>
                    <a:pt x="16" y="330"/>
                  </a:lnTo>
                  <a:lnTo>
                    <a:pt x="7" y="311"/>
                  </a:lnTo>
                  <a:lnTo>
                    <a:pt x="9" y="304"/>
                  </a:lnTo>
                  <a:lnTo>
                    <a:pt x="9" y="299"/>
                  </a:lnTo>
                  <a:lnTo>
                    <a:pt x="9" y="289"/>
                  </a:lnTo>
                  <a:lnTo>
                    <a:pt x="12" y="280"/>
                  </a:lnTo>
                  <a:lnTo>
                    <a:pt x="16" y="276"/>
                  </a:lnTo>
                  <a:lnTo>
                    <a:pt x="16" y="269"/>
                  </a:lnTo>
                  <a:lnTo>
                    <a:pt x="12" y="262"/>
                  </a:lnTo>
                  <a:lnTo>
                    <a:pt x="9" y="262"/>
                  </a:lnTo>
                  <a:lnTo>
                    <a:pt x="12" y="257"/>
                  </a:lnTo>
                  <a:lnTo>
                    <a:pt x="12" y="250"/>
                  </a:lnTo>
                  <a:lnTo>
                    <a:pt x="16" y="243"/>
                  </a:lnTo>
                  <a:lnTo>
                    <a:pt x="17" y="243"/>
                  </a:lnTo>
                  <a:lnTo>
                    <a:pt x="17" y="235"/>
                  </a:lnTo>
                  <a:lnTo>
                    <a:pt x="16" y="221"/>
                  </a:lnTo>
                  <a:lnTo>
                    <a:pt x="16" y="217"/>
                  </a:lnTo>
                  <a:lnTo>
                    <a:pt x="12" y="209"/>
                  </a:lnTo>
                  <a:lnTo>
                    <a:pt x="9" y="203"/>
                  </a:lnTo>
                  <a:lnTo>
                    <a:pt x="7" y="196"/>
                  </a:lnTo>
                  <a:lnTo>
                    <a:pt x="5" y="193"/>
                  </a:lnTo>
                  <a:lnTo>
                    <a:pt x="2" y="189"/>
                  </a:lnTo>
                  <a:lnTo>
                    <a:pt x="0" y="181"/>
                  </a:lnTo>
                  <a:lnTo>
                    <a:pt x="2" y="174"/>
                  </a:lnTo>
                  <a:lnTo>
                    <a:pt x="7" y="172"/>
                  </a:lnTo>
                  <a:lnTo>
                    <a:pt x="7" y="165"/>
                  </a:lnTo>
                  <a:lnTo>
                    <a:pt x="9" y="162"/>
                  </a:lnTo>
                  <a:lnTo>
                    <a:pt x="9" y="153"/>
                  </a:lnTo>
                  <a:lnTo>
                    <a:pt x="7" y="148"/>
                  </a:lnTo>
                  <a:lnTo>
                    <a:pt x="5" y="136"/>
                  </a:lnTo>
                  <a:lnTo>
                    <a:pt x="9" y="134"/>
                  </a:lnTo>
                  <a:lnTo>
                    <a:pt x="9" y="122"/>
                  </a:lnTo>
                  <a:lnTo>
                    <a:pt x="12" y="116"/>
                  </a:lnTo>
                  <a:lnTo>
                    <a:pt x="16" y="106"/>
                  </a:lnTo>
                  <a:lnTo>
                    <a:pt x="21" y="101"/>
                  </a:lnTo>
                  <a:lnTo>
                    <a:pt x="24" y="99"/>
                  </a:lnTo>
                  <a:lnTo>
                    <a:pt x="28" y="96"/>
                  </a:lnTo>
                  <a:lnTo>
                    <a:pt x="26" y="94"/>
                  </a:lnTo>
                  <a:lnTo>
                    <a:pt x="26" y="89"/>
                  </a:lnTo>
                  <a:lnTo>
                    <a:pt x="24" y="89"/>
                  </a:lnTo>
                  <a:lnTo>
                    <a:pt x="22" y="85"/>
                  </a:lnTo>
                  <a:lnTo>
                    <a:pt x="22" y="83"/>
                  </a:lnTo>
                  <a:lnTo>
                    <a:pt x="26" y="80"/>
                  </a:lnTo>
                  <a:lnTo>
                    <a:pt x="26" y="76"/>
                  </a:lnTo>
                  <a:lnTo>
                    <a:pt x="22" y="71"/>
                  </a:lnTo>
                  <a:lnTo>
                    <a:pt x="21" y="64"/>
                  </a:lnTo>
                  <a:lnTo>
                    <a:pt x="22" y="61"/>
                  </a:lnTo>
                  <a:lnTo>
                    <a:pt x="22" y="57"/>
                  </a:lnTo>
                  <a:lnTo>
                    <a:pt x="21" y="56"/>
                  </a:lnTo>
                  <a:lnTo>
                    <a:pt x="21" y="52"/>
                  </a:lnTo>
                  <a:lnTo>
                    <a:pt x="40" y="40"/>
                  </a:lnTo>
                  <a:lnTo>
                    <a:pt x="45" y="21"/>
                  </a:lnTo>
                  <a:lnTo>
                    <a:pt x="43" y="16"/>
                  </a:lnTo>
                  <a:lnTo>
                    <a:pt x="43" y="16"/>
                  </a:lnTo>
                  <a:lnTo>
                    <a:pt x="43" y="16"/>
                  </a:lnTo>
                  <a:lnTo>
                    <a:pt x="43" y="16"/>
                  </a:lnTo>
                  <a:close/>
                  <a:moveTo>
                    <a:pt x="184" y="699"/>
                  </a:moveTo>
                  <a:lnTo>
                    <a:pt x="188" y="701"/>
                  </a:lnTo>
                  <a:lnTo>
                    <a:pt x="191" y="699"/>
                  </a:lnTo>
                  <a:lnTo>
                    <a:pt x="194" y="697"/>
                  </a:lnTo>
                  <a:lnTo>
                    <a:pt x="196" y="694"/>
                  </a:lnTo>
                  <a:lnTo>
                    <a:pt x="194" y="694"/>
                  </a:lnTo>
                  <a:lnTo>
                    <a:pt x="191" y="697"/>
                  </a:lnTo>
                  <a:lnTo>
                    <a:pt x="186" y="697"/>
                  </a:lnTo>
                  <a:lnTo>
                    <a:pt x="184" y="699"/>
                  </a:lnTo>
                  <a:lnTo>
                    <a:pt x="184" y="699"/>
                  </a:lnTo>
                  <a:lnTo>
                    <a:pt x="184" y="699"/>
                  </a:lnTo>
                  <a:lnTo>
                    <a:pt x="184" y="699"/>
                  </a:lnTo>
                  <a:close/>
                  <a:moveTo>
                    <a:pt x="108" y="643"/>
                  </a:moveTo>
                  <a:lnTo>
                    <a:pt x="108" y="643"/>
                  </a:lnTo>
                  <a:lnTo>
                    <a:pt x="109" y="647"/>
                  </a:lnTo>
                  <a:lnTo>
                    <a:pt x="116" y="654"/>
                  </a:lnTo>
                  <a:lnTo>
                    <a:pt x="118" y="661"/>
                  </a:lnTo>
                  <a:lnTo>
                    <a:pt x="116" y="661"/>
                  </a:lnTo>
                  <a:lnTo>
                    <a:pt x="113" y="661"/>
                  </a:lnTo>
                  <a:lnTo>
                    <a:pt x="113" y="662"/>
                  </a:lnTo>
                  <a:lnTo>
                    <a:pt x="108" y="643"/>
                  </a:lnTo>
                  <a:lnTo>
                    <a:pt x="108" y="643"/>
                  </a:lnTo>
                  <a:lnTo>
                    <a:pt x="108" y="643"/>
                  </a:lnTo>
                  <a:lnTo>
                    <a:pt x="108" y="643"/>
                  </a:lnTo>
                  <a:close/>
                  <a:moveTo>
                    <a:pt x="113" y="664"/>
                  </a:moveTo>
                  <a:lnTo>
                    <a:pt x="116" y="666"/>
                  </a:lnTo>
                  <a:lnTo>
                    <a:pt x="120" y="664"/>
                  </a:lnTo>
                  <a:lnTo>
                    <a:pt x="122" y="668"/>
                  </a:lnTo>
                  <a:lnTo>
                    <a:pt x="125" y="675"/>
                  </a:lnTo>
                  <a:lnTo>
                    <a:pt x="128" y="675"/>
                  </a:lnTo>
                  <a:lnTo>
                    <a:pt x="132" y="678"/>
                  </a:lnTo>
                  <a:lnTo>
                    <a:pt x="132" y="683"/>
                  </a:lnTo>
                  <a:lnTo>
                    <a:pt x="137" y="683"/>
                  </a:lnTo>
                  <a:lnTo>
                    <a:pt x="149" y="688"/>
                  </a:lnTo>
                  <a:lnTo>
                    <a:pt x="151" y="688"/>
                  </a:lnTo>
                  <a:lnTo>
                    <a:pt x="158" y="690"/>
                  </a:lnTo>
                  <a:lnTo>
                    <a:pt x="160" y="694"/>
                  </a:lnTo>
                  <a:lnTo>
                    <a:pt x="165" y="695"/>
                  </a:lnTo>
                  <a:lnTo>
                    <a:pt x="172" y="694"/>
                  </a:lnTo>
                  <a:lnTo>
                    <a:pt x="174" y="694"/>
                  </a:lnTo>
                  <a:lnTo>
                    <a:pt x="174" y="697"/>
                  </a:lnTo>
                  <a:lnTo>
                    <a:pt x="172" y="701"/>
                  </a:lnTo>
                  <a:lnTo>
                    <a:pt x="168" y="699"/>
                  </a:lnTo>
                  <a:lnTo>
                    <a:pt x="165" y="699"/>
                  </a:lnTo>
                  <a:lnTo>
                    <a:pt x="165" y="702"/>
                  </a:lnTo>
                  <a:lnTo>
                    <a:pt x="160" y="706"/>
                  </a:lnTo>
                  <a:lnTo>
                    <a:pt x="158" y="708"/>
                  </a:lnTo>
                  <a:lnTo>
                    <a:pt x="153" y="706"/>
                  </a:lnTo>
                  <a:lnTo>
                    <a:pt x="149" y="704"/>
                  </a:lnTo>
                  <a:lnTo>
                    <a:pt x="142" y="702"/>
                  </a:lnTo>
                  <a:lnTo>
                    <a:pt x="137" y="702"/>
                  </a:lnTo>
                  <a:lnTo>
                    <a:pt x="130" y="702"/>
                  </a:lnTo>
                  <a:lnTo>
                    <a:pt x="125" y="704"/>
                  </a:lnTo>
                  <a:lnTo>
                    <a:pt x="123" y="704"/>
                  </a:lnTo>
                  <a:lnTo>
                    <a:pt x="122" y="697"/>
                  </a:lnTo>
                  <a:lnTo>
                    <a:pt x="130" y="697"/>
                  </a:lnTo>
                  <a:lnTo>
                    <a:pt x="132" y="695"/>
                  </a:lnTo>
                  <a:lnTo>
                    <a:pt x="137" y="695"/>
                  </a:lnTo>
                  <a:lnTo>
                    <a:pt x="137" y="694"/>
                  </a:lnTo>
                  <a:lnTo>
                    <a:pt x="132" y="695"/>
                  </a:lnTo>
                  <a:lnTo>
                    <a:pt x="128" y="695"/>
                  </a:lnTo>
                  <a:lnTo>
                    <a:pt x="122" y="695"/>
                  </a:lnTo>
                  <a:lnTo>
                    <a:pt x="120" y="695"/>
                  </a:lnTo>
                  <a:lnTo>
                    <a:pt x="113" y="664"/>
                  </a:lnTo>
                  <a:lnTo>
                    <a:pt x="113" y="664"/>
                  </a:lnTo>
                  <a:lnTo>
                    <a:pt x="113" y="66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1" name="Freeform 47">
              <a:extLst>
                <a:ext uri="{FF2B5EF4-FFF2-40B4-BE49-F238E27FC236}">
                  <a16:creationId xmlns:a16="http://schemas.microsoft.com/office/drawing/2014/main" id="{87C022CF-C5CD-4796-8FAB-D75B69825379}"/>
                </a:ext>
              </a:extLst>
            </p:cNvPr>
            <p:cNvSpPr>
              <a:spLocks noEditPoints="1"/>
            </p:cNvSpPr>
            <p:nvPr/>
          </p:nvSpPr>
          <p:spPr bwMode="auto">
            <a:xfrm>
              <a:off x="2562225" y="4754563"/>
              <a:ext cx="295275" cy="1295400"/>
            </a:xfrm>
            <a:custGeom>
              <a:avLst/>
              <a:gdLst/>
              <a:ahLst/>
              <a:cxnLst>
                <a:cxn ang="0">
                  <a:pos x="122" y="781"/>
                </a:cxn>
                <a:cxn ang="0">
                  <a:pos x="129" y="800"/>
                </a:cxn>
                <a:cxn ang="0">
                  <a:pos x="144" y="774"/>
                </a:cxn>
                <a:cxn ang="0">
                  <a:pos x="123" y="738"/>
                </a:cxn>
                <a:cxn ang="0">
                  <a:pos x="96" y="717"/>
                </a:cxn>
                <a:cxn ang="0">
                  <a:pos x="68" y="586"/>
                </a:cxn>
                <a:cxn ang="0">
                  <a:pos x="45" y="493"/>
                </a:cxn>
                <a:cxn ang="0">
                  <a:pos x="49" y="334"/>
                </a:cxn>
                <a:cxn ang="0">
                  <a:pos x="63" y="180"/>
                </a:cxn>
                <a:cxn ang="0">
                  <a:pos x="52" y="46"/>
                </a:cxn>
                <a:cxn ang="0">
                  <a:pos x="19" y="28"/>
                </a:cxn>
                <a:cxn ang="0">
                  <a:pos x="24" y="148"/>
                </a:cxn>
                <a:cxn ang="0">
                  <a:pos x="14" y="242"/>
                </a:cxn>
                <a:cxn ang="0">
                  <a:pos x="18" y="331"/>
                </a:cxn>
                <a:cxn ang="0">
                  <a:pos x="2" y="390"/>
                </a:cxn>
                <a:cxn ang="0">
                  <a:pos x="9" y="468"/>
                </a:cxn>
                <a:cxn ang="0">
                  <a:pos x="35" y="494"/>
                </a:cxn>
                <a:cxn ang="0">
                  <a:pos x="45" y="545"/>
                </a:cxn>
                <a:cxn ang="0">
                  <a:pos x="24" y="581"/>
                </a:cxn>
                <a:cxn ang="0">
                  <a:pos x="12" y="600"/>
                </a:cxn>
                <a:cxn ang="0">
                  <a:pos x="28" y="612"/>
                </a:cxn>
                <a:cxn ang="0">
                  <a:pos x="37" y="637"/>
                </a:cxn>
                <a:cxn ang="0">
                  <a:pos x="42" y="670"/>
                </a:cxn>
                <a:cxn ang="0">
                  <a:pos x="59" y="710"/>
                </a:cxn>
                <a:cxn ang="0">
                  <a:pos x="77" y="713"/>
                </a:cxn>
                <a:cxn ang="0">
                  <a:pos x="73" y="724"/>
                </a:cxn>
                <a:cxn ang="0">
                  <a:pos x="82" y="739"/>
                </a:cxn>
                <a:cxn ang="0">
                  <a:pos x="87" y="741"/>
                </a:cxn>
                <a:cxn ang="0">
                  <a:pos x="108" y="741"/>
                </a:cxn>
                <a:cxn ang="0">
                  <a:pos x="110" y="769"/>
                </a:cxn>
                <a:cxn ang="0">
                  <a:pos x="144" y="724"/>
                </a:cxn>
                <a:cxn ang="0">
                  <a:pos x="12" y="513"/>
                </a:cxn>
                <a:cxn ang="0">
                  <a:pos x="26" y="494"/>
                </a:cxn>
                <a:cxn ang="0">
                  <a:pos x="30" y="531"/>
                </a:cxn>
                <a:cxn ang="0">
                  <a:pos x="18" y="536"/>
                </a:cxn>
                <a:cxn ang="0">
                  <a:pos x="24" y="548"/>
                </a:cxn>
                <a:cxn ang="0">
                  <a:pos x="18" y="546"/>
                </a:cxn>
                <a:cxn ang="0">
                  <a:pos x="24" y="571"/>
                </a:cxn>
                <a:cxn ang="0">
                  <a:pos x="30" y="548"/>
                </a:cxn>
                <a:cxn ang="0">
                  <a:pos x="19" y="559"/>
                </a:cxn>
                <a:cxn ang="0">
                  <a:pos x="28" y="635"/>
                </a:cxn>
                <a:cxn ang="0">
                  <a:pos x="24" y="639"/>
                </a:cxn>
                <a:cxn ang="0">
                  <a:pos x="19" y="656"/>
                </a:cxn>
                <a:cxn ang="0">
                  <a:pos x="33" y="668"/>
                </a:cxn>
                <a:cxn ang="0">
                  <a:pos x="37" y="673"/>
                </a:cxn>
                <a:cxn ang="0">
                  <a:pos x="33" y="687"/>
                </a:cxn>
                <a:cxn ang="0">
                  <a:pos x="37" y="686"/>
                </a:cxn>
                <a:cxn ang="0">
                  <a:pos x="47" y="705"/>
                </a:cxn>
                <a:cxn ang="0">
                  <a:pos x="45" y="717"/>
                </a:cxn>
                <a:cxn ang="0">
                  <a:pos x="49" y="732"/>
                </a:cxn>
                <a:cxn ang="0">
                  <a:pos x="57" y="724"/>
                </a:cxn>
                <a:cxn ang="0">
                  <a:pos x="59" y="738"/>
                </a:cxn>
                <a:cxn ang="0">
                  <a:pos x="77" y="755"/>
                </a:cxn>
                <a:cxn ang="0">
                  <a:pos x="87" y="776"/>
                </a:cxn>
                <a:cxn ang="0">
                  <a:pos x="96" y="766"/>
                </a:cxn>
                <a:cxn ang="0">
                  <a:pos x="117" y="776"/>
                </a:cxn>
                <a:cxn ang="0">
                  <a:pos x="127" y="769"/>
                </a:cxn>
                <a:cxn ang="0">
                  <a:pos x="115" y="797"/>
                </a:cxn>
                <a:cxn ang="0">
                  <a:pos x="146" y="793"/>
                </a:cxn>
                <a:cxn ang="0">
                  <a:pos x="158" y="799"/>
                </a:cxn>
                <a:cxn ang="0">
                  <a:pos x="139" y="802"/>
                </a:cxn>
              </a:cxnLst>
              <a:rect l="0" t="0" r="r" b="b"/>
              <a:pathLst>
                <a:path w="186" h="816">
                  <a:moveTo>
                    <a:pt x="158" y="788"/>
                  </a:moveTo>
                  <a:lnTo>
                    <a:pt x="158" y="783"/>
                  </a:lnTo>
                  <a:lnTo>
                    <a:pt x="155" y="783"/>
                  </a:lnTo>
                  <a:lnTo>
                    <a:pt x="151" y="781"/>
                  </a:lnTo>
                  <a:lnTo>
                    <a:pt x="146" y="779"/>
                  </a:lnTo>
                  <a:lnTo>
                    <a:pt x="139" y="776"/>
                  </a:lnTo>
                  <a:lnTo>
                    <a:pt x="132" y="774"/>
                  </a:lnTo>
                  <a:lnTo>
                    <a:pt x="132" y="776"/>
                  </a:lnTo>
                  <a:lnTo>
                    <a:pt x="136" y="778"/>
                  </a:lnTo>
                  <a:lnTo>
                    <a:pt x="132" y="779"/>
                  </a:lnTo>
                  <a:lnTo>
                    <a:pt x="132" y="778"/>
                  </a:lnTo>
                  <a:lnTo>
                    <a:pt x="125" y="776"/>
                  </a:lnTo>
                  <a:lnTo>
                    <a:pt x="123" y="774"/>
                  </a:lnTo>
                  <a:lnTo>
                    <a:pt x="122" y="774"/>
                  </a:lnTo>
                  <a:lnTo>
                    <a:pt x="123" y="776"/>
                  </a:lnTo>
                  <a:lnTo>
                    <a:pt x="130" y="779"/>
                  </a:lnTo>
                  <a:lnTo>
                    <a:pt x="132" y="781"/>
                  </a:lnTo>
                  <a:lnTo>
                    <a:pt x="129" y="781"/>
                  </a:lnTo>
                  <a:lnTo>
                    <a:pt x="129" y="781"/>
                  </a:lnTo>
                  <a:lnTo>
                    <a:pt x="129" y="783"/>
                  </a:lnTo>
                  <a:lnTo>
                    <a:pt x="127" y="783"/>
                  </a:lnTo>
                  <a:lnTo>
                    <a:pt x="125" y="781"/>
                  </a:lnTo>
                  <a:lnTo>
                    <a:pt x="122" y="779"/>
                  </a:lnTo>
                  <a:lnTo>
                    <a:pt x="122" y="781"/>
                  </a:lnTo>
                  <a:lnTo>
                    <a:pt x="122" y="783"/>
                  </a:lnTo>
                  <a:lnTo>
                    <a:pt x="120" y="783"/>
                  </a:lnTo>
                  <a:lnTo>
                    <a:pt x="113" y="783"/>
                  </a:lnTo>
                  <a:lnTo>
                    <a:pt x="113" y="785"/>
                  </a:lnTo>
                  <a:lnTo>
                    <a:pt x="113" y="786"/>
                  </a:lnTo>
                  <a:lnTo>
                    <a:pt x="113" y="786"/>
                  </a:lnTo>
                  <a:lnTo>
                    <a:pt x="110" y="786"/>
                  </a:lnTo>
                  <a:lnTo>
                    <a:pt x="108" y="786"/>
                  </a:lnTo>
                  <a:lnTo>
                    <a:pt x="108" y="788"/>
                  </a:lnTo>
                  <a:lnTo>
                    <a:pt x="113" y="788"/>
                  </a:lnTo>
                  <a:lnTo>
                    <a:pt x="115" y="788"/>
                  </a:lnTo>
                  <a:lnTo>
                    <a:pt x="115" y="788"/>
                  </a:lnTo>
                  <a:lnTo>
                    <a:pt x="117" y="786"/>
                  </a:lnTo>
                  <a:lnTo>
                    <a:pt x="118" y="788"/>
                  </a:lnTo>
                  <a:lnTo>
                    <a:pt x="122" y="788"/>
                  </a:lnTo>
                  <a:lnTo>
                    <a:pt x="123" y="788"/>
                  </a:lnTo>
                  <a:lnTo>
                    <a:pt x="125" y="792"/>
                  </a:lnTo>
                  <a:lnTo>
                    <a:pt x="125" y="792"/>
                  </a:lnTo>
                  <a:lnTo>
                    <a:pt x="127" y="793"/>
                  </a:lnTo>
                  <a:lnTo>
                    <a:pt x="123" y="793"/>
                  </a:lnTo>
                  <a:lnTo>
                    <a:pt x="122" y="797"/>
                  </a:lnTo>
                  <a:lnTo>
                    <a:pt x="125" y="800"/>
                  </a:lnTo>
                  <a:lnTo>
                    <a:pt x="127" y="800"/>
                  </a:lnTo>
                  <a:lnTo>
                    <a:pt x="129" y="800"/>
                  </a:lnTo>
                  <a:lnTo>
                    <a:pt x="132" y="804"/>
                  </a:lnTo>
                  <a:lnTo>
                    <a:pt x="132" y="804"/>
                  </a:lnTo>
                  <a:lnTo>
                    <a:pt x="132" y="802"/>
                  </a:lnTo>
                  <a:lnTo>
                    <a:pt x="132" y="800"/>
                  </a:lnTo>
                  <a:lnTo>
                    <a:pt x="129" y="799"/>
                  </a:lnTo>
                  <a:lnTo>
                    <a:pt x="129" y="797"/>
                  </a:lnTo>
                  <a:lnTo>
                    <a:pt x="129" y="797"/>
                  </a:lnTo>
                  <a:lnTo>
                    <a:pt x="132" y="797"/>
                  </a:lnTo>
                  <a:lnTo>
                    <a:pt x="132" y="797"/>
                  </a:lnTo>
                  <a:lnTo>
                    <a:pt x="132" y="797"/>
                  </a:lnTo>
                  <a:lnTo>
                    <a:pt x="132" y="793"/>
                  </a:lnTo>
                  <a:lnTo>
                    <a:pt x="130" y="793"/>
                  </a:lnTo>
                  <a:lnTo>
                    <a:pt x="136" y="792"/>
                  </a:lnTo>
                  <a:lnTo>
                    <a:pt x="139" y="788"/>
                  </a:lnTo>
                  <a:lnTo>
                    <a:pt x="153" y="792"/>
                  </a:lnTo>
                  <a:lnTo>
                    <a:pt x="155" y="792"/>
                  </a:lnTo>
                  <a:lnTo>
                    <a:pt x="155" y="788"/>
                  </a:lnTo>
                  <a:lnTo>
                    <a:pt x="158" y="788"/>
                  </a:lnTo>
                  <a:lnTo>
                    <a:pt x="158" y="788"/>
                  </a:lnTo>
                  <a:lnTo>
                    <a:pt x="158" y="788"/>
                  </a:lnTo>
                  <a:lnTo>
                    <a:pt x="158" y="788"/>
                  </a:lnTo>
                  <a:close/>
                  <a:moveTo>
                    <a:pt x="155" y="781"/>
                  </a:moveTo>
                  <a:lnTo>
                    <a:pt x="153" y="781"/>
                  </a:lnTo>
                  <a:lnTo>
                    <a:pt x="144" y="774"/>
                  </a:lnTo>
                  <a:lnTo>
                    <a:pt x="139" y="772"/>
                  </a:lnTo>
                  <a:lnTo>
                    <a:pt x="136" y="772"/>
                  </a:lnTo>
                  <a:lnTo>
                    <a:pt x="132" y="771"/>
                  </a:lnTo>
                  <a:lnTo>
                    <a:pt x="130" y="769"/>
                  </a:lnTo>
                  <a:lnTo>
                    <a:pt x="129" y="766"/>
                  </a:lnTo>
                  <a:lnTo>
                    <a:pt x="129" y="764"/>
                  </a:lnTo>
                  <a:lnTo>
                    <a:pt x="132" y="760"/>
                  </a:lnTo>
                  <a:lnTo>
                    <a:pt x="136" y="760"/>
                  </a:lnTo>
                  <a:lnTo>
                    <a:pt x="139" y="760"/>
                  </a:lnTo>
                  <a:lnTo>
                    <a:pt x="139" y="755"/>
                  </a:lnTo>
                  <a:lnTo>
                    <a:pt x="139" y="753"/>
                  </a:lnTo>
                  <a:lnTo>
                    <a:pt x="136" y="753"/>
                  </a:lnTo>
                  <a:lnTo>
                    <a:pt x="130" y="755"/>
                  </a:lnTo>
                  <a:lnTo>
                    <a:pt x="129" y="757"/>
                  </a:lnTo>
                  <a:lnTo>
                    <a:pt x="125" y="757"/>
                  </a:lnTo>
                  <a:lnTo>
                    <a:pt x="122" y="753"/>
                  </a:lnTo>
                  <a:lnTo>
                    <a:pt x="122" y="750"/>
                  </a:lnTo>
                  <a:lnTo>
                    <a:pt x="122" y="748"/>
                  </a:lnTo>
                  <a:lnTo>
                    <a:pt x="123" y="745"/>
                  </a:lnTo>
                  <a:lnTo>
                    <a:pt x="125" y="743"/>
                  </a:lnTo>
                  <a:lnTo>
                    <a:pt x="122" y="743"/>
                  </a:lnTo>
                  <a:lnTo>
                    <a:pt x="120" y="741"/>
                  </a:lnTo>
                  <a:lnTo>
                    <a:pt x="122" y="738"/>
                  </a:lnTo>
                  <a:lnTo>
                    <a:pt x="123" y="738"/>
                  </a:lnTo>
                  <a:lnTo>
                    <a:pt x="127" y="741"/>
                  </a:lnTo>
                  <a:lnTo>
                    <a:pt x="129" y="739"/>
                  </a:lnTo>
                  <a:lnTo>
                    <a:pt x="132" y="738"/>
                  </a:lnTo>
                  <a:lnTo>
                    <a:pt x="132" y="734"/>
                  </a:lnTo>
                  <a:lnTo>
                    <a:pt x="132" y="732"/>
                  </a:lnTo>
                  <a:lnTo>
                    <a:pt x="132" y="729"/>
                  </a:lnTo>
                  <a:lnTo>
                    <a:pt x="136" y="729"/>
                  </a:lnTo>
                  <a:lnTo>
                    <a:pt x="139" y="732"/>
                  </a:lnTo>
                  <a:lnTo>
                    <a:pt x="139" y="729"/>
                  </a:lnTo>
                  <a:lnTo>
                    <a:pt x="144" y="729"/>
                  </a:lnTo>
                  <a:lnTo>
                    <a:pt x="148" y="748"/>
                  </a:lnTo>
                  <a:lnTo>
                    <a:pt x="148" y="750"/>
                  </a:lnTo>
                  <a:lnTo>
                    <a:pt x="148" y="750"/>
                  </a:lnTo>
                  <a:lnTo>
                    <a:pt x="155" y="781"/>
                  </a:lnTo>
                  <a:lnTo>
                    <a:pt x="155" y="781"/>
                  </a:lnTo>
                  <a:lnTo>
                    <a:pt x="155" y="781"/>
                  </a:lnTo>
                  <a:lnTo>
                    <a:pt x="155" y="781"/>
                  </a:lnTo>
                  <a:close/>
                  <a:moveTo>
                    <a:pt x="144" y="724"/>
                  </a:moveTo>
                  <a:lnTo>
                    <a:pt x="139" y="719"/>
                  </a:lnTo>
                  <a:lnTo>
                    <a:pt x="136" y="719"/>
                  </a:lnTo>
                  <a:lnTo>
                    <a:pt x="132" y="717"/>
                  </a:lnTo>
                  <a:lnTo>
                    <a:pt x="113" y="717"/>
                  </a:lnTo>
                  <a:lnTo>
                    <a:pt x="99" y="719"/>
                  </a:lnTo>
                  <a:lnTo>
                    <a:pt x="96" y="717"/>
                  </a:lnTo>
                  <a:lnTo>
                    <a:pt x="87" y="717"/>
                  </a:lnTo>
                  <a:lnTo>
                    <a:pt x="87" y="710"/>
                  </a:lnTo>
                  <a:lnTo>
                    <a:pt x="85" y="705"/>
                  </a:lnTo>
                  <a:lnTo>
                    <a:pt x="80" y="701"/>
                  </a:lnTo>
                  <a:lnTo>
                    <a:pt x="80" y="691"/>
                  </a:lnTo>
                  <a:lnTo>
                    <a:pt x="80" y="686"/>
                  </a:lnTo>
                  <a:lnTo>
                    <a:pt x="77" y="686"/>
                  </a:lnTo>
                  <a:lnTo>
                    <a:pt x="70" y="689"/>
                  </a:lnTo>
                  <a:lnTo>
                    <a:pt x="68" y="692"/>
                  </a:lnTo>
                  <a:lnTo>
                    <a:pt x="64" y="692"/>
                  </a:lnTo>
                  <a:lnTo>
                    <a:pt x="57" y="675"/>
                  </a:lnTo>
                  <a:lnTo>
                    <a:pt x="56" y="670"/>
                  </a:lnTo>
                  <a:lnTo>
                    <a:pt x="57" y="656"/>
                  </a:lnTo>
                  <a:lnTo>
                    <a:pt x="63" y="651"/>
                  </a:lnTo>
                  <a:lnTo>
                    <a:pt x="68" y="646"/>
                  </a:lnTo>
                  <a:lnTo>
                    <a:pt x="68" y="635"/>
                  </a:lnTo>
                  <a:lnTo>
                    <a:pt x="68" y="626"/>
                  </a:lnTo>
                  <a:lnTo>
                    <a:pt x="64" y="619"/>
                  </a:lnTo>
                  <a:lnTo>
                    <a:pt x="68" y="612"/>
                  </a:lnTo>
                  <a:lnTo>
                    <a:pt x="70" y="609"/>
                  </a:lnTo>
                  <a:lnTo>
                    <a:pt x="68" y="600"/>
                  </a:lnTo>
                  <a:lnTo>
                    <a:pt x="68" y="595"/>
                  </a:lnTo>
                  <a:lnTo>
                    <a:pt x="70" y="592"/>
                  </a:lnTo>
                  <a:lnTo>
                    <a:pt x="68" y="586"/>
                  </a:lnTo>
                  <a:lnTo>
                    <a:pt x="68" y="576"/>
                  </a:lnTo>
                  <a:lnTo>
                    <a:pt x="64" y="571"/>
                  </a:lnTo>
                  <a:lnTo>
                    <a:pt x="64" y="567"/>
                  </a:lnTo>
                  <a:lnTo>
                    <a:pt x="68" y="564"/>
                  </a:lnTo>
                  <a:lnTo>
                    <a:pt x="68" y="560"/>
                  </a:lnTo>
                  <a:lnTo>
                    <a:pt x="64" y="555"/>
                  </a:lnTo>
                  <a:lnTo>
                    <a:pt x="59" y="550"/>
                  </a:lnTo>
                  <a:lnTo>
                    <a:pt x="57" y="550"/>
                  </a:lnTo>
                  <a:lnTo>
                    <a:pt x="56" y="552"/>
                  </a:lnTo>
                  <a:lnTo>
                    <a:pt x="54" y="550"/>
                  </a:lnTo>
                  <a:lnTo>
                    <a:pt x="54" y="546"/>
                  </a:lnTo>
                  <a:lnTo>
                    <a:pt x="63" y="546"/>
                  </a:lnTo>
                  <a:lnTo>
                    <a:pt x="64" y="541"/>
                  </a:lnTo>
                  <a:lnTo>
                    <a:pt x="64" y="538"/>
                  </a:lnTo>
                  <a:lnTo>
                    <a:pt x="64" y="536"/>
                  </a:lnTo>
                  <a:lnTo>
                    <a:pt x="59" y="538"/>
                  </a:lnTo>
                  <a:lnTo>
                    <a:pt x="57" y="538"/>
                  </a:lnTo>
                  <a:lnTo>
                    <a:pt x="56" y="531"/>
                  </a:lnTo>
                  <a:lnTo>
                    <a:pt x="52" y="524"/>
                  </a:lnTo>
                  <a:lnTo>
                    <a:pt x="52" y="519"/>
                  </a:lnTo>
                  <a:lnTo>
                    <a:pt x="52" y="512"/>
                  </a:lnTo>
                  <a:lnTo>
                    <a:pt x="47" y="510"/>
                  </a:lnTo>
                  <a:lnTo>
                    <a:pt x="45" y="505"/>
                  </a:lnTo>
                  <a:lnTo>
                    <a:pt x="45" y="493"/>
                  </a:lnTo>
                  <a:lnTo>
                    <a:pt x="49" y="491"/>
                  </a:lnTo>
                  <a:lnTo>
                    <a:pt x="51" y="486"/>
                  </a:lnTo>
                  <a:lnTo>
                    <a:pt x="47" y="482"/>
                  </a:lnTo>
                  <a:lnTo>
                    <a:pt x="45" y="480"/>
                  </a:lnTo>
                  <a:lnTo>
                    <a:pt x="45" y="472"/>
                  </a:lnTo>
                  <a:lnTo>
                    <a:pt x="42" y="461"/>
                  </a:lnTo>
                  <a:lnTo>
                    <a:pt x="45" y="447"/>
                  </a:lnTo>
                  <a:lnTo>
                    <a:pt x="40" y="444"/>
                  </a:lnTo>
                  <a:lnTo>
                    <a:pt x="40" y="437"/>
                  </a:lnTo>
                  <a:lnTo>
                    <a:pt x="45" y="428"/>
                  </a:lnTo>
                  <a:lnTo>
                    <a:pt x="47" y="418"/>
                  </a:lnTo>
                  <a:lnTo>
                    <a:pt x="52" y="416"/>
                  </a:lnTo>
                  <a:lnTo>
                    <a:pt x="54" y="413"/>
                  </a:lnTo>
                  <a:lnTo>
                    <a:pt x="45" y="393"/>
                  </a:lnTo>
                  <a:lnTo>
                    <a:pt x="45" y="386"/>
                  </a:lnTo>
                  <a:lnTo>
                    <a:pt x="45" y="381"/>
                  </a:lnTo>
                  <a:lnTo>
                    <a:pt x="45" y="371"/>
                  </a:lnTo>
                  <a:lnTo>
                    <a:pt x="49" y="362"/>
                  </a:lnTo>
                  <a:lnTo>
                    <a:pt x="52" y="359"/>
                  </a:lnTo>
                  <a:lnTo>
                    <a:pt x="52" y="353"/>
                  </a:lnTo>
                  <a:lnTo>
                    <a:pt x="49" y="345"/>
                  </a:lnTo>
                  <a:lnTo>
                    <a:pt x="45" y="345"/>
                  </a:lnTo>
                  <a:lnTo>
                    <a:pt x="51" y="339"/>
                  </a:lnTo>
                  <a:lnTo>
                    <a:pt x="49" y="334"/>
                  </a:lnTo>
                  <a:lnTo>
                    <a:pt x="52" y="326"/>
                  </a:lnTo>
                  <a:lnTo>
                    <a:pt x="56" y="326"/>
                  </a:lnTo>
                  <a:lnTo>
                    <a:pt x="56" y="317"/>
                  </a:lnTo>
                  <a:lnTo>
                    <a:pt x="54" y="303"/>
                  </a:lnTo>
                  <a:lnTo>
                    <a:pt x="52" y="300"/>
                  </a:lnTo>
                  <a:lnTo>
                    <a:pt x="51" y="291"/>
                  </a:lnTo>
                  <a:lnTo>
                    <a:pt x="47" y="286"/>
                  </a:lnTo>
                  <a:lnTo>
                    <a:pt x="45" y="279"/>
                  </a:lnTo>
                  <a:lnTo>
                    <a:pt x="42" y="275"/>
                  </a:lnTo>
                  <a:lnTo>
                    <a:pt x="40" y="270"/>
                  </a:lnTo>
                  <a:lnTo>
                    <a:pt x="37" y="263"/>
                  </a:lnTo>
                  <a:lnTo>
                    <a:pt x="40" y="256"/>
                  </a:lnTo>
                  <a:lnTo>
                    <a:pt x="45" y="254"/>
                  </a:lnTo>
                  <a:lnTo>
                    <a:pt x="45" y="246"/>
                  </a:lnTo>
                  <a:lnTo>
                    <a:pt x="45" y="242"/>
                  </a:lnTo>
                  <a:lnTo>
                    <a:pt x="47" y="235"/>
                  </a:lnTo>
                  <a:lnTo>
                    <a:pt x="45" y="230"/>
                  </a:lnTo>
                  <a:lnTo>
                    <a:pt x="42" y="218"/>
                  </a:lnTo>
                  <a:lnTo>
                    <a:pt x="45" y="216"/>
                  </a:lnTo>
                  <a:lnTo>
                    <a:pt x="47" y="202"/>
                  </a:lnTo>
                  <a:lnTo>
                    <a:pt x="51" y="199"/>
                  </a:lnTo>
                  <a:lnTo>
                    <a:pt x="54" y="186"/>
                  </a:lnTo>
                  <a:lnTo>
                    <a:pt x="59" y="183"/>
                  </a:lnTo>
                  <a:lnTo>
                    <a:pt x="63" y="180"/>
                  </a:lnTo>
                  <a:lnTo>
                    <a:pt x="64" y="176"/>
                  </a:lnTo>
                  <a:lnTo>
                    <a:pt x="64" y="176"/>
                  </a:lnTo>
                  <a:lnTo>
                    <a:pt x="64" y="171"/>
                  </a:lnTo>
                  <a:lnTo>
                    <a:pt x="63" y="169"/>
                  </a:lnTo>
                  <a:lnTo>
                    <a:pt x="59" y="167"/>
                  </a:lnTo>
                  <a:lnTo>
                    <a:pt x="59" y="164"/>
                  </a:lnTo>
                  <a:lnTo>
                    <a:pt x="64" y="160"/>
                  </a:lnTo>
                  <a:lnTo>
                    <a:pt x="64" y="157"/>
                  </a:lnTo>
                  <a:lnTo>
                    <a:pt x="59" y="152"/>
                  </a:lnTo>
                  <a:lnTo>
                    <a:pt x="59" y="146"/>
                  </a:lnTo>
                  <a:lnTo>
                    <a:pt x="59" y="143"/>
                  </a:lnTo>
                  <a:lnTo>
                    <a:pt x="59" y="140"/>
                  </a:lnTo>
                  <a:lnTo>
                    <a:pt x="57" y="136"/>
                  </a:lnTo>
                  <a:lnTo>
                    <a:pt x="57" y="133"/>
                  </a:lnTo>
                  <a:lnTo>
                    <a:pt x="78" y="120"/>
                  </a:lnTo>
                  <a:lnTo>
                    <a:pt x="82" y="101"/>
                  </a:lnTo>
                  <a:lnTo>
                    <a:pt x="80" y="96"/>
                  </a:lnTo>
                  <a:lnTo>
                    <a:pt x="78" y="98"/>
                  </a:lnTo>
                  <a:lnTo>
                    <a:pt x="77" y="100"/>
                  </a:lnTo>
                  <a:lnTo>
                    <a:pt x="71" y="100"/>
                  </a:lnTo>
                  <a:lnTo>
                    <a:pt x="59" y="65"/>
                  </a:lnTo>
                  <a:lnTo>
                    <a:pt x="51" y="60"/>
                  </a:lnTo>
                  <a:lnTo>
                    <a:pt x="49" y="54"/>
                  </a:lnTo>
                  <a:lnTo>
                    <a:pt x="52" y="46"/>
                  </a:lnTo>
                  <a:lnTo>
                    <a:pt x="51" y="42"/>
                  </a:lnTo>
                  <a:lnTo>
                    <a:pt x="54" y="37"/>
                  </a:lnTo>
                  <a:lnTo>
                    <a:pt x="52" y="33"/>
                  </a:lnTo>
                  <a:lnTo>
                    <a:pt x="45" y="28"/>
                  </a:lnTo>
                  <a:lnTo>
                    <a:pt x="42" y="25"/>
                  </a:lnTo>
                  <a:lnTo>
                    <a:pt x="40" y="18"/>
                  </a:lnTo>
                  <a:lnTo>
                    <a:pt x="40" y="16"/>
                  </a:lnTo>
                  <a:lnTo>
                    <a:pt x="40" y="13"/>
                  </a:lnTo>
                  <a:lnTo>
                    <a:pt x="40" y="9"/>
                  </a:lnTo>
                  <a:lnTo>
                    <a:pt x="40" y="9"/>
                  </a:lnTo>
                  <a:lnTo>
                    <a:pt x="37" y="6"/>
                  </a:lnTo>
                  <a:lnTo>
                    <a:pt x="37" y="0"/>
                  </a:lnTo>
                  <a:lnTo>
                    <a:pt x="33" y="0"/>
                  </a:lnTo>
                  <a:lnTo>
                    <a:pt x="31" y="2"/>
                  </a:lnTo>
                  <a:lnTo>
                    <a:pt x="30" y="6"/>
                  </a:lnTo>
                  <a:lnTo>
                    <a:pt x="33" y="9"/>
                  </a:lnTo>
                  <a:lnTo>
                    <a:pt x="31" y="11"/>
                  </a:lnTo>
                  <a:lnTo>
                    <a:pt x="28" y="14"/>
                  </a:lnTo>
                  <a:lnTo>
                    <a:pt x="26" y="13"/>
                  </a:lnTo>
                  <a:lnTo>
                    <a:pt x="21" y="16"/>
                  </a:lnTo>
                  <a:lnTo>
                    <a:pt x="18" y="18"/>
                  </a:lnTo>
                  <a:lnTo>
                    <a:pt x="19" y="20"/>
                  </a:lnTo>
                  <a:lnTo>
                    <a:pt x="19" y="25"/>
                  </a:lnTo>
                  <a:lnTo>
                    <a:pt x="19" y="28"/>
                  </a:lnTo>
                  <a:lnTo>
                    <a:pt x="19" y="33"/>
                  </a:lnTo>
                  <a:lnTo>
                    <a:pt x="23" y="46"/>
                  </a:lnTo>
                  <a:lnTo>
                    <a:pt x="23" y="51"/>
                  </a:lnTo>
                  <a:lnTo>
                    <a:pt x="21" y="54"/>
                  </a:lnTo>
                  <a:lnTo>
                    <a:pt x="19" y="56"/>
                  </a:lnTo>
                  <a:lnTo>
                    <a:pt x="21" y="61"/>
                  </a:lnTo>
                  <a:lnTo>
                    <a:pt x="23" y="68"/>
                  </a:lnTo>
                  <a:lnTo>
                    <a:pt x="24" y="73"/>
                  </a:lnTo>
                  <a:lnTo>
                    <a:pt x="24" y="84"/>
                  </a:lnTo>
                  <a:lnTo>
                    <a:pt x="24" y="84"/>
                  </a:lnTo>
                  <a:lnTo>
                    <a:pt x="23" y="87"/>
                  </a:lnTo>
                  <a:lnTo>
                    <a:pt x="24" y="100"/>
                  </a:lnTo>
                  <a:lnTo>
                    <a:pt x="24" y="101"/>
                  </a:lnTo>
                  <a:lnTo>
                    <a:pt x="21" y="103"/>
                  </a:lnTo>
                  <a:lnTo>
                    <a:pt x="19" y="105"/>
                  </a:lnTo>
                  <a:lnTo>
                    <a:pt x="19" y="112"/>
                  </a:lnTo>
                  <a:lnTo>
                    <a:pt x="21" y="113"/>
                  </a:lnTo>
                  <a:lnTo>
                    <a:pt x="23" y="112"/>
                  </a:lnTo>
                  <a:lnTo>
                    <a:pt x="24" y="113"/>
                  </a:lnTo>
                  <a:lnTo>
                    <a:pt x="23" y="115"/>
                  </a:lnTo>
                  <a:lnTo>
                    <a:pt x="23" y="133"/>
                  </a:lnTo>
                  <a:lnTo>
                    <a:pt x="24" y="141"/>
                  </a:lnTo>
                  <a:lnTo>
                    <a:pt x="26" y="146"/>
                  </a:lnTo>
                  <a:lnTo>
                    <a:pt x="24" y="148"/>
                  </a:lnTo>
                  <a:lnTo>
                    <a:pt x="21" y="153"/>
                  </a:lnTo>
                  <a:lnTo>
                    <a:pt x="21" y="159"/>
                  </a:lnTo>
                  <a:lnTo>
                    <a:pt x="24" y="166"/>
                  </a:lnTo>
                  <a:lnTo>
                    <a:pt x="24" y="169"/>
                  </a:lnTo>
                  <a:lnTo>
                    <a:pt x="24" y="176"/>
                  </a:lnTo>
                  <a:lnTo>
                    <a:pt x="23" y="180"/>
                  </a:lnTo>
                  <a:lnTo>
                    <a:pt x="23" y="185"/>
                  </a:lnTo>
                  <a:lnTo>
                    <a:pt x="23" y="186"/>
                  </a:lnTo>
                  <a:lnTo>
                    <a:pt x="23" y="190"/>
                  </a:lnTo>
                  <a:lnTo>
                    <a:pt x="19" y="193"/>
                  </a:lnTo>
                  <a:lnTo>
                    <a:pt x="19" y="199"/>
                  </a:lnTo>
                  <a:lnTo>
                    <a:pt x="18" y="202"/>
                  </a:lnTo>
                  <a:lnTo>
                    <a:pt x="19" y="207"/>
                  </a:lnTo>
                  <a:lnTo>
                    <a:pt x="18" y="207"/>
                  </a:lnTo>
                  <a:lnTo>
                    <a:pt x="18" y="214"/>
                  </a:lnTo>
                  <a:lnTo>
                    <a:pt x="18" y="218"/>
                  </a:lnTo>
                  <a:lnTo>
                    <a:pt x="19" y="223"/>
                  </a:lnTo>
                  <a:lnTo>
                    <a:pt x="19" y="228"/>
                  </a:lnTo>
                  <a:lnTo>
                    <a:pt x="21" y="230"/>
                  </a:lnTo>
                  <a:lnTo>
                    <a:pt x="19" y="233"/>
                  </a:lnTo>
                  <a:lnTo>
                    <a:pt x="18" y="235"/>
                  </a:lnTo>
                  <a:lnTo>
                    <a:pt x="19" y="239"/>
                  </a:lnTo>
                  <a:lnTo>
                    <a:pt x="18" y="242"/>
                  </a:lnTo>
                  <a:lnTo>
                    <a:pt x="14" y="242"/>
                  </a:lnTo>
                  <a:lnTo>
                    <a:pt x="14" y="247"/>
                  </a:lnTo>
                  <a:lnTo>
                    <a:pt x="18" y="253"/>
                  </a:lnTo>
                  <a:lnTo>
                    <a:pt x="18" y="256"/>
                  </a:lnTo>
                  <a:lnTo>
                    <a:pt x="19" y="266"/>
                  </a:lnTo>
                  <a:lnTo>
                    <a:pt x="19" y="270"/>
                  </a:lnTo>
                  <a:lnTo>
                    <a:pt x="18" y="273"/>
                  </a:lnTo>
                  <a:lnTo>
                    <a:pt x="18" y="275"/>
                  </a:lnTo>
                  <a:lnTo>
                    <a:pt x="23" y="282"/>
                  </a:lnTo>
                  <a:lnTo>
                    <a:pt x="23" y="287"/>
                  </a:lnTo>
                  <a:lnTo>
                    <a:pt x="21" y="293"/>
                  </a:lnTo>
                  <a:lnTo>
                    <a:pt x="21" y="294"/>
                  </a:lnTo>
                  <a:lnTo>
                    <a:pt x="23" y="298"/>
                  </a:lnTo>
                  <a:lnTo>
                    <a:pt x="21" y="298"/>
                  </a:lnTo>
                  <a:lnTo>
                    <a:pt x="21" y="301"/>
                  </a:lnTo>
                  <a:lnTo>
                    <a:pt x="23" y="303"/>
                  </a:lnTo>
                  <a:lnTo>
                    <a:pt x="26" y="308"/>
                  </a:lnTo>
                  <a:lnTo>
                    <a:pt x="26" y="312"/>
                  </a:lnTo>
                  <a:lnTo>
                    <a:pt x="24" y="315"/>
                  </a:lnTo>
                  <a:lnTo>
                    <a:pt x="21" y="317"/>
                  </a:lnTo>
                  <a:lnTo>
                    <a:pt x="19" y="322"/>
                  </a:lnTo>
                  <a:lnTo>
                    <a:pt x="19" y="322"/>
                  </a:lnTo>
                  <a:lnTo>
                    <a:pt x="21" y="326"/>
                  </a:lnTo>
                  <a:lnTo>
                    <a:pt x="19" y="327"/>
                  </a:lnTo>
                  <a:lnTo>
                    <a:pt x="18" y="331"/>
                  </a:lnTo>
                  <a:lnTo>
                    <a:pt x="18" y="334"/>
                  </a:lnTo>
                  <a:lnTo>
                    <a:pt x="18" y="339"/>
                  </a:lnTo>
                  <a:lnTo>
                    <a:pt x="18" y="341"/>
                  </a:lnTo>
                  <a:lnTo>
                    <a:pt x="18" y="345"/>
                  </a:lnTo>
                  <a:lnTo>
                    <a:pt x="14" y="345"/>
                  </a:lnTo>
                  <a:lnTo>
                    <a:pt x="14" y="350"/>
                  </a:lnTo>
                  <a:lnTo>
                    <a:pt x="14" y="353"/>
                  </a:lnTo>
                  <a:lnTo>
                    <a:pt x="14" y="353"/>
                  </a:lnTo>
                  <a:lnTo>
                    <a:pt x="14" y="357"/>
                  </a:lnTo>
                  <a:lnTo>
                    <a:pt x="12" y="359"/>
                  </a:lnTo>
                  <a:lnTo>
                    <a:pt x="12" y="364"/>
                  </a:lnTo>
                  <a:lnTo>
                    <a:pt x="12" y="367"/>
                  </a:lnTo>
                  <a:lnTo>
                    <a:pt x="11" y="369"/>
                  </a:lnTo>
                  <a:lnTo>
                    <a:pt x="11" y="373"/>
                  </a:lnTo>
                  <a:lnTo>
                    <a:pt x="9" y="374"/>
                  </a:lnTo>
                  <a:lnTo>
                    <a:pt x="9" y="378"/>
                  </a:lnTo>
                  <a:lnTo>
                    <a:pt x="11" y="379"/>
                  </a:lnTo>
                  <a:lnTo>
                    <a:pt x="11" y="381"/>
                  </a:lnTo>
                  <a:lnTo>
                    <a:pt x="7" y="385"/>
                  </a:lnTo>
                  <a:lnTo>
                    <a:pt x="5" y="385"/>
                  </a:lnTo>
                  <a:lnTo>
                    <a:pt x="4" y="385"/>
                  </a:lnTo>
                  <a:lnTo>
                    <a:pt x="0" y="385"/>
                  </a:lnTo>
                  <a:lnTo>
                    <a:pt x="0" y="386"/>
                  </a:lnTo>
                  <a:lnTo>
                    <a:pt x="2" y="390"/>
                  </a:lnTo>
                  <a:lnTo>
                    <a:pt x="2" y="395"/>
                  </a:lnTo>
                  <a:lnTo>
                    <a:pt x="4" y="400"/>
                  </a:lnTo>
                  <a:lnTo>
                    <a:pt x="7" y="402"/>
                  </a:lnTo>
                  <a:lnTo>
                    <a:pt x="9" y="407"/>
                  </a:lnTo>
                  <a:lnTo>
                    <a:pt x="7" y="409"/>
                  </a:lnTo>
                  <a:lnTo>
                    <a:pt x="14" y="421"/>
                  </a:lnTo>
                  <a:lnTo>
                    <a:pt x="14" y="421"/>
                  </a:lnTo>
                  <a:lnTo>
                    <a:pt x="14" y="425"/>
                  </a:lnTo>
                  <a:lnTo>
                    <a:pt x="14" y="430"/>
                  </a:lnTo>
                  <a:lnTo>
                    <a:pt x="14" y="439"/>
                  </a:lnTo>
                  <a:lnTo>
                    <a:pt x="14" y="439"/>
                  </a:lnTo>
                  <a:lnTo>
                    <a:pt x="14" y="440"/>
                  </a:lnTo>
                  <a:lnTo>
                    <a:pt x="14" y="444"/>
                  </a:lnTo>
                  <a:lnTo>
                    <a:pt x="12" y="444"/>
                  </a:lnTo>
                  <a:lnTo>
                    <a:pt x="11" y="444"/>
                  </a:lnTo>
                  <a:lnTo>
                    <a:pt x="9" y="446"/>
                  </a:lnTo>
                  <a:lnTo>
                    <a:pt x="11" y="449"/>
                  </a:lnTo>
                  <a:lnTo>
                    <a:pt x="12" y="451"/>
                  </a:lnTo>
                  <a:lnTo>
                    <a:pt x="11" y="458"/>
                  </a:lnTo>
                  <a:lnTo>
                    <a:pt x="11" y="461"/>
                  </a:lnTo>
                  <a:lnTo>
                    <a:pt x="9" y="463"/>
                  </a:lnTo>
                  <a:lnTo>
                    <a:pt x="11" y="465"/>
                  </a:lnTo>
                  <a:lnTo>
                    <a:pt x="11" y="468"/>
                  </a:lnTo>
                  <a:lnTo>
                    <a:pt x="9" y="468"/>
                  </a:lnTo>
                  <a:lnTo>
                    <a:pt x="11" y="468"/>
                  </a:lnTo>
                  <a:lnTo>
                    <a:pt x="14" y="477"/>
                  </a:lnTo>
                  <a:lnTo>
                    <a:pt x="18" y="479"/>
                  </a:lnTo>
                  <a:lnTo>
                    <a:pt x="18" y="482"/>
                  </a:lnTo>
                  <a:lnTo>
                    <a:pt x="23" y="484"/>
                  </a:lnTo>
                  <a:lnTo>
                    <a:pt x="28" y="484"/>
                  </a:lnTo>
                  <a:lnTo>
                    <a:pt x="28" y="479"/>
                  </a:lnTo>
                  <a:lnTo>
                    <a:pt x="30" y="477"/>
                  </a:lnTo>
                  <a:lnTo>
                    <a:pt x="33" y="477"/>
                  </a:lnTo>
                  <a:lnTo>
                    <a:pt x="35" y="480"/>
                  </a:lnTo>
                  <a:lnTo>
                    <a:pt x="37" y="480"/>
                  </a:lnTo>
                  <a:lnTo>
                    <a:pt x="37" y="479"/>
                  </a:lnTo>
                  <a:lnTo>
                    <a:pt x="37" y="482"/>
                  </a:lnTo>
                  <a:lnTo>
                    <a:pt x="33" y="486"/>
                  </a:lnTo>
                  <a:lnTo>
                    <a:pt x="33" y="487"/>
                  </a:lnTo>
                  <a:lnTo>
                    <a:pt x="37" y="489"/>
                  </a:lnTo>
                  <a:lnTo>
                    <a:pt x="37" y="487"/>
                  </a:lnTo>
                  <a:lnTo>
                    <a:pt x="37" y="491"/>
                  </a:lnTo>
                  <a:lnTo>
                    <a:pt x="37" y="496"/>
                  </a:lnTo>
                  <a:lnTo>
                    <a:pt x="40" y="499"/>
                  </a:lnTo>
                  <a:lnTo>
                    <a:pt x="40" y="499"/>
                  </a:lnTo>
                  <a:lnTo>
                    <a:pt x="37" y="496"/>
                  </a:lnTo>
                  <a:lnTo>
                    <a:pt x="37" y="494"/>
                  </a:lnTo>
                  <a:lnTo>
                    <a:pt x="35" y="494"/>
                  </a:lnTo>
                  <a:lnTo>
                    <a:pt x="33" y="496"/>
                  </a:lnTo>
                  <a:lnTo>
                    <a:pt x="33" y="496"/>
                  </a:lnTo>
                  <a:lnTo>
                    <a:pt x="37" y="499"/>
                  </a:lnTo>
                  <a:lnTo>
                    <a:pt x="37" y="499"/>
                  </a:lnTo>
                  <a:lnTo>
                    <a:pt x="35" y="501"/>
                  </a:lnTo>
                  <a:lnTo>
                    <a:pt x="33" y="503"/>
                  </a:lnTo>
                  <a:lnTo>
                    <a:pt x="35" y="508"/>
                  </a:lnTo>
                  <a:lnTo>
                    <a:pt x="37" y="510"/>
                  </a:lnTo>
                  <a:lnTo>
                    <a:pt x="35" y="513"/>
                  </a:lnTo>
                  <a:lnTo>
                    <a:pt x="35" y="515"/>
                  </a:lnTo>
                  <a:lnTo>
                    <a:pt x="35" y="517"/>
                  </a:lnTo>
                  <a:lnTo>
                    <a:pt x="31" y="519"/>
                  </a:lnTo>
                  <a:lnTo>
                    <a:pt x="33" y="522"/>
                  </a:lnTo>
                  <a:lnTo>
                    <a:pt x="37" y="524"/>
                  </a:lnTo>
                  <a:lnTo>
                    <a:pt x="35" y="527"/>
                  </a:lnTo>
                  <a:lnTo>
                    <a:pt x="35" y="531"/>
                  </a:lnTo>
                  <a:lnTo>
                    <a:pt x="33" y="533"/>
                  </a:lnTo>
                  <a:lnTo>
                    <a:pt x="33" y="536"/>
                  </a:lnTo>
                  <a:lnTo>
                    <a:pt x="35" y="536"/>
                  </a:lnTo>
                  <a:lnTo>
                    <a:pt x="37" y="538"/>
                  </a:lnTo>
                  <a:lnTo>
                    <a:pt x="40" y="539"/>
                  </a:lnTo>
                  <a:lnTo>
                    <a:pt x="40" y="541"/>
                  </a:lnTo>
                  <a:lnTo>
                    <a:pt x="42" y="543"/>
                  </a:lnTo>
                  <a:lnTo>
                    <a:pt x="45" y="545"/>
                  </a:lnTo>
                  <a:lnTo>
                    <a:pt x="45" y="550"/>
                  </a:lnTo>
                  <a:lnTo>
                    <a:pt x="40" y="555"/>
                  </a:lnTo>
                  <a:lnTo>
                    <a:pt x="37" y="555"/>
                  </a:lnTo>
                  <a:lnTo>
                    <a:pt x="35" y="555"/>
                  </a:lnTo>
                  <a:lnTo>
                    <a:pt x="35" y="559"/>
                  </a:lnTo>
                  <a:lnTo>
                    <a:pt x="37" y="562"/>
                  </a:lnTo>
                  <a:lnTo>
                    <a:pt x="35" y="564"/>
                  </a:lnTo>
                  <a:lnTo>
                    <a:pt x="35" y="567"/>
                  </a:lnTo>
                  <a:lnTo>
                    <a:pt x="37" y="567"/>
                  </a:lnTo>
                  <a:lnTo>
                    <a:pt x="35" y="571"/>
                  </a:lnTo>
                  <a:lnTo>
                    <a:pt x="31" y="576"/>
                  </a:lnTo>
                  <a:lnTo>
                    <a:pt x="31" y="581"/>
                  </a:lnTo>
                  <a:lnTo>
                    <a:pt x="33" y="581"/>
                  </a:lnTo>
                  <a:lnTo>
                    <a:pt x="33" y="583"/>
                  </a:lnTo>
                  <a:lnTo>
                    <a:pt x="33" y="588"/>
                  </a:lnTo>
                  <a:lnTo>
                    <a:pt x="30" y="590"/>
                  </a:lnTo>
                  <a:lnTo>
                    <a:pt x="30" y="595"/>
                  </a:lnTo>
                  <a:lnTo>
                    <a:pt x="28" y="592"/>
                  </a:lnTo>
                  <a:lnTo>
                    <a:pt x="30" y="590"/>
                  </a:lnTo>
                  <a:lnTo>
                    <a:pt x="31" y="586"/>
                  </a:lnTo>
                  <a:lnTo>
                    <a:pt x="30" y="583"/>
                  </a:lnTo>
                  <a:lnTo>
                    <a:pt x="31" y="581"/>
                  </a:lnTo>
                  <a:lnTo>
                    <a:pt x="30" y="581"/>
                  </a:lnTo>
                  <a:lnTo>
                    <a:pt x="24" y="581"/>
                  </a:lnTo>
                  <a:lnTo>
                    <a:pt x="21" y="583"/>
                  </a:lnTo>
                  <a:lnTo>
                    <a:pt x="19" y="583"/>
                  </a:lnTo>
                  <a:lnTo>
                    <a:pt x="19" y="583"/>
                  </a:lnTo>
                  <a:lnTo>
                    <a:pt x="23" y="581"/>
                  </a:lnTo>
                  <a:lnTo>
                    <a:pt x="24" y="579"/>
                  </a:lnTo>
                  <a:lnTo>
                    <a:pt x="24" y="574"/>
                  </a:lnTo>
                  <a:lnTo>
                    <a:pt x="23" y="574"/>
                  </a:lnTo>
                  <a:lnTo>
                    <a:pt x="19" y="576"/>
                  </a:lnTo>
                  <a:lnTo>
                    <a:pt x="14" y="576"/>
                  </a:lnTo>
                  <a:lnTo>
                    <a:pt x="12" y="574"/>
                  </a:lnTo>
                  <a:lnTo>
                    <a:pt x="11" y="576"/>
                  </a:lnTo>
                  <a:lnTo>
                    <a:pt x="11" y="578"/>
                  </a:lnTo>
                  <a:lnTo>
                    <a:pt x="12" y="581"/>
                  </a:lnTo>
                  <a:lnTo>
                    <a:pt x="14" y="581"/>
                  </a:lnTo>
                  <a:lnTo>
                    <a:pt x="14" y="583"/>
                  </a:lnTo>
                  <a:lnTo>
                    <a:pt x="12" y="583"/>
                  </a:lnTo>
                  <a:lnTo>
                    <a:pt x="11" y="586"/>
                  </a:lnTo>
                  <a:lnTo>
                    <a:pt x="9" y="588"/>
                  </a:lnTo>
                  <a:lnTo>
                    <a:pt x="7" y="592"/>
                  </a:lnTo>
                  <a:lnTo>
                    <a:pt x="2" y="595"/>
                  </a:lnTo>
                  <a:lnTo>
                    <a:pt x="2" y="597"/>
                  </a:lnTo>
                  <a:lnTo>
                    <a:pt x="7" y="602"/>
                  </a:lnTo>
                  <a:lnTo>
                    <a:pt x="11" y="602"/>
                  </a:lnTo>
                  <a:lnTo>
                    <a:pt x="12" y="600"/>
                  </a:lnTo>
                  <a:lnTo>
                    <a:pt x="11" y="599"/>
                  </a:lnTo>
                  <a:lnTo>
                    <a:pt x="7" y="597"/>
                  </a:lnTo>
                  <a:lnTo>
                    <a:pt x="7" y="595"/>
                  </a:lnTo>
                  <a:lnTo>
                    <a:pt x="9" y="592"/>
                  </a:lnTo>
                  <a:lnTo>
                    <a:pt x="14" y="592"/>
                  </a:lnTo>
                  <a:lnTo>
                    <a:pt x="14" y="590"/>
                  </a:lnTo>
                  <a:lnTo>
                    <a:pt x="14" y="595"/>
                  </a:lnTo>
                  <a:lnTo>
                    <a:pt x="18" y="597"/>
                  </a:lnTo>
                  <a:lnTo>
                    <a:pt x="21" y="597"/>
                  </a:lnTo>
                  <a:lnTo>
                    <a:pt x="23" y="595"/>
                  </a:lnTo>
                  <a:lnTo>
                    <a:pt x="24" y="597"/>
                  </a:lnTo>
                  <a:lnTo>
                    <a:pt x="26" y="599"/>
                  </a:lnTo>
                  <a:lnTo>
                    <a:pt x="31" y="600"/>
                  </a:lnTo>
                  <a:lnTo>
                    <a:pt x="33" y="602"/>
                  </a:lnTo>
                  <a:lnTo>
                    <a:pt x="31" y="604"/>
                  </a:lnTo>
                  <a:lnTo>
                    <a:pt x="30" y="606"/>
                  </a:lnTo>
                  <a:lnTo>
                    <a:pt x="31" y="606"/>
                  </a:lnTo>
                  <a:lnTo>
                    <a:pt x="30" y="609"/>
                  </a:lnTo>
                  <a:lnTo>
                    <a:pt x="28" y="611"/>
                  </a:lnTo>
                  <a:lnTo>
                    <a:pt x="30" y="612"/>
                  </a:lnTo>
                  <a:lnTo>
                    <a:pt x="33" y="614"/>
                  </a:lnTo>
                  <a:lnTo>
                    <a:pt x="31" y="614"/>
                  </a:lnTo>
                  <a:lnTo>
                    <a:pt x="30" y="614"/>
                  </a:lnTo>
                  <a:lnTo>
                    <a:pt x="28" y="612"/>
                  </a:lnTo>
                  <a:lnTo>
                    <a:pt x="26" y="614"/>
                  </a:lnTo>
                  <a:lnTo>
                    <a:pt x="26" y="614"/>
                  </a:lnTo>
                  <a:lnTo>
                    <a:pt x="28" y="618"/>
                  </a:lnTo>
                  <a:lnTo>
                    <a:pt x="30" y="619"/>
                  </a:lnTo>
                  <a:lnTo>
                    <a:pt x="35" y="619"/>
                  </a:lnTo>
                  <a:lnTo>
                    <a:pt x="37" y="618"/>
                  </a:lnTo>
                  <a:lnTo>
                    <a:pt x="40" y="619"/>
                  </a:lnTo>
                  <a:lnTo>
                    <a:pt x="42" y="619"/>
                  </a:lnTo>
                  <a:lnTo>
                    <a:pt x="45" y="618"/>
                  </a:lnTo>
                  <a:lnTo>
                    <a:pt x="45" y="623"/>
                  </a:lnTo>
                  <a:lnTo>
                    <a:pt x="45" y="623"/>
                  </a:lnTo>
                  <a:lnTo>
                    <a:pt x="42" y="623"/>
                  </a:lnTo>
                  <a:lnTo>
                    <a:pt x="40" y="623"/>
                  </a:lnTo>
                  <a:lnTo>
                    <a:pt x="40" y="625"/>
                  </a:lnTo>
                  <a:lnTo>
                    <a:pt x="37" y="623"/>
                  </a:lnTo>
                  <a:lnTo>
                    <a:pt x="31" y="623"/>
                  </a:lnTo>
                  <a:lnTo>
                    <a:pt x="31" y="626"/>
                  </a:lnTo>
                  <a:lnTo>
                    <a:pt x="31" y="628"/>
                  </a:lnTo>
                  <a:lnTo>
                    <a:pt x="35" y="630"/>
                  </a:lnTo>
                  <a:lnTo>
                    <a:pt x="35" y="633"/>
                  </a:lnTo>
                  <a:lnTo>
                    <a:pt x="37" y="633"/>
                  </a:lnTo>
                  <a:lnTo>
                    <a:pt x="40" y="633"/>
                  </a:lnTo>
                  <a:lnTo>
                    <a:pt x="40" y="635"/>
                  </a:lnTo>
                  <a:lnTo>
                    <a:pt x="37" y="637"/>
                  </a:lnTo>
                  <a:lnTo>
                    <a:pt x="37" y="639"/>
                  </a:lnTo>
                  <a:lnTo>
                    <a:pt x="37" y="640"/>
                  </a:lnTo>
                  <a:lnTo>
                    <a:pt x="37" y="642"/>
                  </a:lnTo>
                  <a:lnTo>
                    <a:pt x="37" y="642"/>
                  </a:lnTo>
                  <a:lnTo>
                    <a:pt x="35" y="646"/>
                  </a:lnTo>
                  <a:lnTo>
                    <a:pt x="37" y="652"/>
                  </a:lnTo>
                  <a:lnTo>
                    <a:pt x="40" y="654"/>
                  </a:lnTo>
                  <a:lnTo>
                    <a:pt x="40" y="659"/>
                  </a:lnTo>
                  <a:lnTo>
                    <a:pt x="40" y="663"/>
                  </a:lnTo>
                  <a:lnTo>
                    <a:pt x="45" y="663"/>
                  </a:lnTo>
                  <a:lnTo>
                    <a:pt x="45" y="658"/>
                  </a:lnTo>
                  <a:lnTo>
                    <a:pt x="45" y="651"/>
                  </a:lnTo>
                  <a:lnTo>
                    <a:pt x="47" y="651"/>
                  </a:lnTo>
                  <a:lnTo>
                    <a:pt x="49" y="651"/>
                  </a:lnTo>
                  <a:lnTo>
                    <a:pt x="47" y="651"/>
                  </a:lnTo>
                  <a:lnTo>
                    <a:pt x="45" y="658"/>
                  </a:lnTo>
                  <a:lnTo>
                    <a:pt x="45" y="661"/>
                  </a:lnTo>
                  <a:lnTo>
                    <a:pt x="47" y="663"/>
                  </a:lnTo>
                  <a:lnTo>
                    <a:pt x="49" y="663"/>
                  </a:lnTo>
                  <a:lnTo>
                    <a:pt x="49" y="663"/>
                  </a:lnTo>
                  <a:lnTo>
                    <a:pt x="45" y="665"/>
                  </a:lnTo>
                  <a:lnTo>
                    <a:pt x="42" y="666"/>
                  </a:lnTo>
                  <a:lnTo>
                    <a:pt x="42" y="668"/>
                  </a:lnTo>
                  <a:lnTo>
                    <a:pt x="42" y="670"/>
                  </a:lnTo>
                  <a:lnTo>
                    <a:pt x="42" y="673"/>
                  </a:lnTo>
                  <a:lnTo>
                    <a:pt x="40" y="675"/>
                  </a:lnTo>
                  <a:lnTo>
                    <a:pt x="40" y="679"/>
                  </a:lnTo>
                  <a:lnTo>
                    <a:pt x="40" y="682"/>
                  </a:lnTo>
                  <a:lnTo>
                    <a:pt x="45" y="684"/>
                  </a:lnTo>
                  <a:lnTo>
                    <a:pt x="51" y="686"/>
                  </a:lnTo>
                  <a:lnTo>
                    <a:pt x="52" y="687"/>
                  </a:lnTo>
                  <a:lnTo>
                    <a:pt x="52" y="689"/>
                  </a:lnTo>
                  <a:lnTo>
                    <a:pt x="51" y="689"/>
                  </a:lnTo>
                  <a:lnTo>
                    <a:pt x="52" y="692"/>
                  </a:lnTo>
                  <a:lnTo>
                    <a:pt x="52" y="694"/>
                  </a:lnTo>
                  <a:lnTo>
                    <a:pt x="56" y="691"/>
                  </a:lnTo>
                  <a:lnTo>
                    <a:pt x="56" y="694"/>
                  </a:lnTo>
                  <a:lnTo>
                    <a:pt x="56" y="696"/>
                  </a:lnTo>
                  <a:lnTo>
                    <a:pt x="52" y="698"/>
                  </a:lnTo>
                  <a:lnTo>
                    <a:pt x="51" y="699"/>
                  </a:lnTo>
                  <a:lnTo>
                    <a:pt x="52" y="701"/>
                  </a:lnTo>
                  <a:lnTo>
                    <a:pt x="54" y="701"/>
                  </a:lnTo>
                  <a:lnTo>
                    <a:pt x="54" y="701"/>
                  </a:lnTo>
                  <a:lnTo>
                    <a:pt x="57" y="705"/>
                  </a:lnTo>
                  <a:lnTo>
                    <a:pt x="59" y="705"/>
                  </a:lnTo>
                  <a:lnTo>
                    <a:pt x="59" y="705"/>
                  </a:lnTo>
                  <a:lnTo>
                    <a:pt x="59" y="706"/>
                  </a:lnTo>
                  <a:lnTo>
                    <a:pt x="59" y="710"/>
                  </a:lnTo>
                  <a:lnTo>
                    <a:pt x="59" y="710"/>
                  </a:lnTo>
                  <a:lnTo>
                    <a:pt x="57" y="710"/>
                  </a:lnTo>
                  <a:lnTo>
                    <a:pt x="56" y="710"/>
                  </a:lnTo>
                  <a:lnTo>
                    <a:pt x="56" y="712"/>
                  </a:lnTo>
                  <a:lnTo>
                    <a:pt x="59" y="715"/>
                  </a:lnTo>
                  <a:lnTo>
                    <a:pt x="59" y="715"/>
                  </a:lnTo>
                  <a:lnTo>
                    <a:pt x="59" y="719"/>
                  </a:lnTo>
                  <a:lnTo>
                    <a:pt x="63" y="720"/>
                  </a:lnTo>
                  <a:lnTo>
                    <a:pt x="64" y="724"/>
                  </a:lnTo>
                  <a:lnTo>
                    <a:pt x="68" y="724"/>
                  </a:lnTo>
                  <a:lnTo>
                    <a:pt x="64" y="719"/>
                  </a:lnTo>
                  <a:lnTo>
                    <a:pt x="68" y="717"/>
                  </a:lnTo>
                  <a:lnTo>
                    <a:pt x="64" y="713"/>
                  </a:lnTo>
                  <a:lnTo>
                    <a:pt x="68" y="717"/>
                  </a:lnTo>
                  <a:lnTo>
                    <a:pt x="68" y="719"/>
                  </a:lnTo>
                  <a:lnTo>
                    <a:pt x="71" y="722"/>
                  </a:lnTo>
                  <a:lnTo>
                    <a:pt x="71" y="719"/>
                  </a:lnTo>
                  <a:lnTo>
                    <a:pt x="75" y="717"/>
                  </a:lnTo>
                  <a:lnTo>
                    <a:pt x="75" y="713"/>
                  </a:lnTo>
                  <a:lnTo>
                    <a:pt x="71" y="713"/>
                  </a:lnTo>
                  <a:lnTo>
                    <a:pt x="68" y="712"/>
                  </a:lnTo>
                  <a:lnTo>
                    <a:pt x="68" y="712"/>
                  </a:lnTo>
                  <a:lnTo>
                    <a:pt x="70" y="712"/>
                  </a:lnTo>
                  <a:lnTo>
                    <a:pt x="77" y="713"/>
                  </a:lnTo>
                  <a:lnTo>
                    <a:pt x="77" y="713"/>
                  </a:lnTo>
                  <a:lnTo>
                    <a:pt x="80" y="713"/>
                  </a:lnTo>
                  <a:lnTo>
                    <a:pt x="80" y="712"/>
                  </a:lnTo>
                  <a:lnTo>
                    <a:pt x="77" y="710"/>
                  </a:lnTo>
                  <a:lnTo>
                    <a:pt x="70" y="710"/>
                  </a:lnTo>
                  <a:lnTo>
                    <a:pt x="70" y="706"/>
                  </a:lnTo>
                  <a:lnTo>
                    <a:pt x="71" y="706"/>
                  </a:lnTo>
                  <a:lnTo>
                    <a:pt x="77" y="710"/>
                  </a:lnTo>
                  <a:lnTo>
                    <a:pt x="82" y="712"/>
                  </a:lnTo>
                  <a:lnTo>
                    <a:pt x="82" y="717"/>
                  </a:lnTo>
                  <a:lnTo>
                    <a:pt x="82" y="719"/>
                  </a:lnTo>
                  <a:lnTo>
                    <a:pt x="82" y="722"/>
                  </a:lnTo>
                  <a:lnTo>
                    <a:pt x="82" y="726"/>
                  </a:lnTo>
                  <a:lnTo>
                    <a:pt x="82" y="729"/>
                  </a:lnTo>
                  <a:lnTo>
                    <a:pt x="80" y="729"/>
                  </a:lnTo>
                  <a:lnTo>
                    <a:pt x="82" y="727"/>
                  </a:lnTo>
                  <a:lnTo>
                    <a:pt x="80" y="720"/>
                  </a:lnTo>
                  <a:lnTo>
                    <a:pt x="77" y="719"/>
                  </a:lnTo>
                  <a:lnTo>
                    <a:pt x="75" y="720"/>
                  </a:lnTo>
                  <a:lnTo>
                    <a:pt x="75" y="724"/>
                  </a:lnTo>
                  <a:lnTo>
                    <a:pt x="77" y="726"/>
                  </a:lnTo>
                  <a:lnTo>
                    <a:pt x="75" y="729"/>
                  </a:lnTo>
                  <a:lnTo>
                    <a:pt x="75" y="727"/>
                  </a:lnTo>
                  <a:lnTo>
                    <a:pt x="73" y="724"/>
                  </a:lnTo>
                  <a:lnTo>
                    <a:pt x="71" y="724"/>
                  </a:lnTo>
                  <a:lnTo>
                    <a:pt x="68" y="726"/>
                  </a:lnTo>
                  <a:lnTo>
                    <a:pt x="64" y="726"/>
                  </a:lnTo>
                  <a:lnTo>
                    <a:pt x="63" y="727"/>
                  </a:lnTo>
                  <a:lnTo>
                    <a:pt x="64" y="729"/>
                  </a:lnTo>
                  <a:lnTo>
                    <a:pt x="64" y="732"/>
                  </a:lnTo>
                  <a:lnTo>
                    <a:pt x="68" y="738"/>
                  </a:lnTo>
                  <a:lnTo>
                    <a:pt x="68" y="738"/>
                  </a:lnTo>
                  <a:lnTo>
                    <a:pt x="68" y="739"/>
                  </a:lnTo>
                  <a:lnTo>
                    <a:pt x="68" y="741"/>
                  </a:lnTo>
                  <a:lnTo>
                    <a:pt x="68" y="741"/>
                  </a:lnTo>
                  <a:lnTo>
                    <a:pt x="70" y="738"/>
                  </a:lnTo>
                  <a:lnTo>
                    <a:pt x="71" y="739"/>
                  </a:lnTo>
                  <a:lnTo>
                    <a:pt x="75" y="739"/>
                  </a:lnTo>
                  <a:lnTo>
                    <a:pt x="75" y="741"/>
                  </a:lnTo>
                  <a:lnTo>
                    <a:pt x="71" y="743"/>
                  </a:lnTo>
                  <a:lnTo>
                    <a:pt x="70" y="745"/>
                  </a:lnTo>
                  <a:lnTo>
                    <a:pt x="70" y="746"/>
                  </a:lnTo>
                  <a:lnTo>
                    <a:pt x="75" y="746"/>
                  </a:lnTo>
                  <a:lnTo>
                    <a:pt x="80" y="750"/>
                  </a:lnTo>
                  <a:lnTo>
                    <a:pt x="82" y="748"/>
                  </a:lnTo>
                  <a:lnTo>
                    <a:pt x="82" y="746"/>
                  </a:lnTo>
                  <a:lnTo>
                    <a:pt x="82" y="743"/>
                  </a:lnTo>
                  <a:lnTo>
                    <a:pt x="82" y="739"/>
                  </a:lnTo>
                  <a:lnTo>
                    <a:pt x="82" y="738"/>
                  </a:lnTo>
                  <a:lnTo>
                    <a:pt x="80" y="738"/>
                  </a:lnTo>
                  <a:lnTo>
                    <a:pt x="77" y="738"/>
                  </a:lnTo>
                  <a:lnTo>
                    <a:pt x="78" y="738"/>
                  </a:lnTo>
                  <a:lnTo>
                    <a:pt x="80" y="738"/>
                  </a:lnTo>
                  <a:lnTo>
                    <a:pt x="80" y="732"/>
                  </a:lnTo>
                  <a:lnTo>
                    <a:pt x="82" y="732"/>
                  </a:lnTo>
                  <a:lnTo>
                    <a:pt x="85" y="734"/>
                  </a:lnTo>
                  <a:lnTo>
                    <a:pt x="87" y="732"/>
                  </a:lnTo>
                  <a:lnTo>
                    <a:pt x="87" y="734"/>
                  </a:lnTo>
                  <a:lnTo>
                    <a:pt x="90" y="738"/>
                  </a:lnTo>
                  <a:lnTo>
                    <a:pt x="90" y="734"/>
                  </a:lnTo>
                  <a:lnTo>
                    <a:pt x="92" y="732"/>
                  </a:lnTo>
                  <a:lnTo>
                    <a:pt x="96" y="734"/>
                  </a:lnTo>
                  <a:lnTo>
                    <a:pt x="99" y="734"/>
                  </a:lnTo>
                  <a:lnTo>
                    <a:pt x="103" y="734"/>
                  </a:lnTo>
                  <a:lnTo>
                    <a:pt x="103" y="734"/>
                  </a:lnTo>
                  <a:lnTo>
                    <a:pt x="101" y="738"/>
                  </a:lnTo>
                  <a:lnTo>
                    <a:pt x="99" y="738"/>
                  </a:lnTo>
                  <a:lnTo>
                    <a:pt x="97" y="738"/>
                  </a:lnTo>
                  <a:lnTo>
                    <a:pt x="94" y="738"/>
                  </a:lnTo>
                  <a:lnTo>
                    <a:pt x="92" y="738"/>
                  </a:lnTo>
                  <a:lnTo>
                    <a:pt x="87" y="741"/>
                  </a:lnTo>
                  <a:lnTo>
                    <a:pt x="87" y="741"/>
                  </a:lnTo>
                  <a:lnTo>
                    <a:pt x="85" y="741"/>
                  </a:lnTo>
                  <a:lnTo>
                    <a:pt x="82" y="743"/>
                  </a:lnTo>
                  <a:lnTo>
                    <a:pt x="82" y="746"/>
                  </a:lnTo>
                  <a:lnTo>
                    <a:pt x="82" y="748"/>
                  </a:lnTo>
                  <a:lnTo>
                    <a:pt x="82" y="750"/>
                  </a:lnTo>
                  <a:lnTo>
                    <a:pt x="82" y="752"/>
                  </a:lnTo>
                  <a:lnTo>
                    <a:pt x="82" y="752"/>
                  </a:lnTo>
                  <a:lnTo>
                    <a:pt x="82" y="753"/>
                  </a:lnTo>
                  <a:lnTo>
                    <a:pt x="82" y="755"/>
                  </a:lnTo>
                  <a:lnTo>
                    <a:pt x="87" y="757"/>
                  </a:lnTo>
                  <a:lnTo>
                    <a:pt x="90" y="760"/>
                  </a:lnTo>
                  <a:lnTo>
                    <a:pt x="90" y="760"/>
                  </a:lnTo>
                  <a:lnTo>
                    <a:pt x="90" y="757"/>
                  </a:lnTo>
                  <a:lnTo>
                    <a:pt x="90" y="755"/>
                  </a:lnTo>
                  <a:lnTo>
                    <a:pt x="92" y="753"/>
                  </a:lnTo>
                  <a:lnTo>
                    <a:pt x="96" y="753"/>
                  </a:lnTo>
                  <a:lnTo>
                    <a:pt x="96" y="752"/>
                  </a:lnTo>
                  <a:lnTo>
                    <a:pt x="92" y="748"/>
                  </a:lnTo>
                  <a:lnTo>
                    <a:pt x="97" y="746"/>
                  </a:lnTo>
                  <a:lnTo>
                    <a:pt x="101" y="745"/>
                  </a:lnTo>
                  <a:lnTo>
                    <a:pt x="103" y="739"/>
                  </a:lnTo>
                  <a:lnTo>
                    <a:pt x="106" y="739"/>
                  </a:lnTo>
                  <a:lnTo>
                    <a:pt x="106" y="739"/>
                  </a:lnTo>
                  <a:lnTo>
                    <a:pt x="108" y="741"/>
                  </a:lnTo>
                  <a:lnTo>
                    <a:pt x="110" y="741"/>
                  </a:lnTo>
                  <a:lnTo>
                    <a:pt x="110" y="741"/>
                  </a:lnTo>
                  <a:lnTo>
                    <a:pt x="108" y="743"/>
                  </a:lnTo>
                  <a:lnTo>
                    <a:pt x="106" y="746"/>
                  </a:lnTo>
                  <a:lnTo>
                    <a:pt x="106" y="748"/>
                  </a:lnTo>
                  <a:lnTo>
                    <a:pt x="103" y="752"/>
                  </a:lnTo>
                  <a:lnTo>
                    <a:pt x="103" y="755"/>
                  </a:lnTo>
                  <a:lnTo>
                    <a:pt x="104" y="757"/>
                  </a:lnTo>
                  <a:lnTo>
                    <a:pt x="103" y="757"/>
                  </a:lnTo>
                  <a:lnTo>
                    <a:pt x="99" y="760"/>
                  </a:lnTo>
                  <a:lnTo>
                    <a:pt x="99" y="757"/>
                  </a:lnTo>
                  <a:lnTo>
                    <a:pt x="101" y="757"/>
                  </a:lnTo>
                  <a:lnTo>
                    <a:pt x="101" y="753"/>
                  </a:lnTo>
                  <a:lnTo>
                    <a:pt x="99" y="753"/>
                  </a:lnTo>
                  <a:lnTo>
                    <a:pt x="97" y="753"/>
                  </a:lnTo>
                  <a:lnTo>
                    <a:pt x="97" y="757"/>
                  </a:lnTo>
                  <a:lnTo>
                    <a:pt x="96" y="755"/>
                  </a:lnTo>
                  <a:lnTo>
                    <a:pt x="94" y="757"/>
                  </a:lnTo>
                  <a:lnTo>
                    <a:pt x="92" y="757"/>
                  </a:lnTo>
                  <a:lnTo>
                    <a:pt x="96" y="760"/>
                  </a:lnTo>
                  <a:lnTo>
                    <a:pt x="101" y="766"/>
                  </a:lnTo>
                  <a:lnTo>
                    <a:pt x="106" y="766"/>
                  </a:lnTo>
                  <a:lnTo>
                    <a:pt x="110" y="769"/>
                  </a:lnTo>
                  <a:lnTo>
                    <a:pt x="110" y="769"/>
                  </a:lnTo>
                  <a:lnTo>
                    <a:pt x="113" y="769"/>
                  </a:lnTo>
                  <a:lnTo>
                    <a:pt x="113" y="769"/>
                  </a:lnTo>
                  <a:lnTo>
                    <a:pt x="117" y="764"/>
                  </a:lnTo>
                  <a:lnTo>
                    <a:pt x="115" y="757"/>
                  </a:lnTo>
                  <a:lnTo>
                    <a:pt x="115" y="757"/>
                  </a:lnTo>
                  <a:lnTo>
                    <a:pt x="115" y="753"/>
                  </a:lnTo>
                  <a:lnTo>
                    <a:pt x="115" y="750"/>
                  </a:lnTo>
                  <a:lnTo>
                    <a:pt x="115" y="745"/>
                  </a:lnTo>
                  <a:lnTo>
                    <a:pt x="115" y="739"/>
                  </a:lnTo>
                  <a:lnTo>
                    <a:pt x="115" y="738"/>
                  </a:lnTo>
                  <a:lnTo>
                    <a:pt x="120" y="734"/>
                  </a:lnTo>
                  <a:lnTo>
                    <a:pt x="123" y="732"/>
                  </a:lnTo>
                  <a:lnTo>
                    <a:pt x="125" y="729"/>
                  </a:lnTo>
                  <a:lnTo>
                    <a:pt x="130" y="729"/>
                  </a:lnTo>
                  <a:lnTo>
                    <a:pt x="130" y="729"/>
                  </a:lnTo>
                  <a:lnTo>
                    <a:pt x="130" y="726"/>
                  </a:lnTo>
                  <a:lnTo>
                    <a:pt x="132" y="722"/>
                  </a:lnTo>
                  <a:lnTo>
                    <a:pt x="136" y="722"/>
                  </a:lnTo>
                  <a:lnTo>
                    <a:pt x="139" y="724"/>
                  </a:lnTo>
                  <a:lnTo>
                    <a:pt x="144" y="724"/>
                  </a:lnTo>
                  <a:lnTo>
                    <a:pt x="144" y="724"/>
                  </a:lnTo>
                  <a:lnTo>
                    <a:pt x="144" y="724"/>
                  </a:lnTo>
                  <a:lnTo>
                    <a:pt x="144" y="724"/>
                  </a:lnTo>
                  <a:lnTo>
                    <a:pt x="144" y="724"/>
                  </a:lnTo>
                  <a:close/>
                  <a:moveTo>
                    <a:pt x="177" y="814"/>
                  </a:moveTo>
                  <a:lnTo>
                    <a:pt x="177" y="816"/>
                  </a:lnTo>
                  <a:lnTo>
                    <a:pt x="181" y="814"/>
                  </a:lnTo>
                  <a:lnTo>
                    <a:pt x="177" y="814"/>
                  </a:lnTo>
                  <a:lnTo>
                    <a:pt x="177" y="814"/>
                  </a:lnTo>
                  <a:lnTo>
                    <a:pt x="177" y="814"/>
                  </a:lnTo>
                  <a:lnTo>
                    <a:pt x="177" y="814"/>
                  </a:lnTo>
                  <a:lnTo>
                    <a:pt x="177" y="814"/>
                  </a:lnTo>
                  <a:lnTo>
                    <a:pt x="177" y="814"/>
                  </a:lnTo>
                  <a:close/>
                  <a:moveTo>
                    <a:pt x="23" y="501"/>
                  </a:moveTo>
                  <a:lnTo>
                    <a:pt x="19" y="499"/>
                  </a:lnTo>
                  <a:lnTo>
                    <a:pt x="18" y="499"/>
                  </a:lnTo>
                  <a:lnTo>
                    <a:pt x="18" y="503"/>
                  </a:lnTo>
                  <a:lnTo>
                    <a:pt x="23" y="508"/>
                  </a:lnTo>
                  <a:lnTo>
                    <a:pt x="21" y="508"/>
                  </a:lnTo>
                  <a:lnTo>
                    <a:pt x="24" y="512"/>
                  </a:lnTo>
                  <a:lnTo>
                    <a:pt x="23" y="512"/>
                  </a:lnTo>
                  <a:lnTo>
                    <a:pt x="19" y="512"/>
                  </a:lnTo>
                  <a:lnTo>
                    <a:pt x="19" y="513"/>
                  </a:lnTo>
                  <a:lnTo>
                    <a:pt x="19" y="517"/>
                  </a:lnTo>
                  <a:lnTo>
                    <a:pt x="19" y="519"/>
                  </a:lnTo>
                  <a:lnTo>
                    <a:pt x="14" y="519"/>
                  </a:lnTo>
                  <a:lnTo>
                    <a:pt x="11" y="519"/>
                  </a:lnTo>
                  <a:lnTo>
                    <a:pt x="12" y="513"/>
                  </a:lnTo>
                  <a:lnTo>
                    <a:pt x="11" y="503"/>
                  </a:lnTo>
                  <a:lnTo>
                    <a:pt x="11" y="499"/>
                  </a:lnTo>
                  <a:lnTo>
                    <a:pt x="9" y="499"/>
                  </a:lnTo>
                  <a:lnTo>
                    <a:pt x="7" y="496"/>
                  </a:lnTo>
                  <a:lnTo>
                    <a:pt x="9" y="494"/>
                  </a:lnTo>
                  <a:lnTo>
                    <a:pt x="11" y="493"/>
                  </a:lnTo>
                  <a:lnTo>
                    <a:pt x="11" y="489"/>
                  </a:lnTo>
                  <a:lnTo>
                    <a:pt x="11" y="487"/>
                  </a:lnTo>
                  <a:lnTo>
                    <a:pt x="11" y="486"/>
                  </a:lnTo>
                  <a:lnTo>
                    <a:pt x="12" y="484"/>
                  </a:lnTo>
                  <a:lnTo>
                    <a:pt x="14" y="484"/>
                  </a:lnTo>
                  <a:lnTo>
                    <a:pt x="18" y="486"/>
                  </a:lnTo>
                  <a:lnTo>
                    <a:pt x="21" y="489"/>
                  </a:lnTo>
                  <a:lnTo>
                    <a:pt x="21" y="494"/>
                  </a:lnTo>
                  <a:lnTo>
                    <a:pt x="21" y="496"/>
                  </a:lnTo>
                  <a:lnTo>
                    <a:pt x="21" y="499"/>
                  </a:lnTo>
                  <a:lnTo>
                    <a:pt x="18" y="496"/>
                  </a:lnTo>
                  <a:lnTo>
                    <a:pt x="23" y="499"/>
                  </a:lnTo>
                  <a:lnTo>
                    <a:pt x="23" y="501"/>
                  </a:lnTo>
                  <a:lnTo>
                    <a:pt x="23" y="501"/>
                  </a:lnTo>
                  <a:lnTo>
                    <a:pt x="23" y="501"/>
                  </a:lnTo>
                  <a:lnTo>
                    <a:pt x="23" y="501"/>
                  </a:lnTo>
                  <a:lnTo>
                    <a:pt x="23" y="501"/>
                  </a:lnTo>
                  <a:close/>
                  <a:moveTo>
                    <a:pt x="26" y="494"/>
                  </a:moveTo>
                  <a:lnTo>
                    <a:pt x="28" y="494"/>
                  </a:lnTo>
                  <a:lnTo>
                    <a:pt x="30" y="496"/>
                  </a:lnTo>
                  <a:lnTo>
                    <a:pt x="28" y="496"/>
                  </a:lnTo>
                  <a:lnTo>
                    <a:pt x="26" y="494"/>
                  </a:lnTo>
                  <a:lnTo>
                    <a:pt x="26" y="494"/>
                  </a:lnTo>
                  <a:lnTo>
                    <a:pt x="26" y="494"/>
                  </a:lnTo>
                  <a:lnTo>
                    <a:pt x="26" y="494"/>
                  </a:lnTo>
                  <a:close/>
                  <a:moveTo>
                    <a:pt x="5" y="527"/>
                  </a:moveTo>
                  <a:lnTo>
                    <a:pt x="7" y="526"/>
                  </a:lnTo>
                  <a:lnTo>
                    <a:pt x="11" y="526"/>
                  </a:lnTo>
                  <a:lnTo>
                    <a:pt x="12" y="527"/>
                  </a:lnTo>
                  <a:lnTo>
                    <a:pt x="9" y="527"/>
                  </a:lnTo>
                  <a:lnTo>
                    <a:pt x="5" y="527"/>
                  </a:lnTo>
                  <a:lnTo>
                    <a:pt x="5" y="527"/>
                  </a:lnTo>
                  <a:lnTo>
                    <a:pt x="5" y="527"/>
                  </a:lnTo>
                  <a:lnTo>
                    <a:pt x="5" y="527"/>
                  </a:lnTo>
                  <a:close/>
                  <a:moveTo>
                    <a:pt x="30" y="531"/>
                  </a:moveTo>
                  <a:lnTo>
                    <a:pt x="33" y="527"/>
                  </a:lnTo>
                  <a:lnTo>
                    <a:pt x="33" y="531"/>
                  </a:lnTo>
                  <a:lnTo>
                    <a:pt x="31" y="533"/>
                  </a:lnTo>
                  <a:lnTo>
                    <a:pt x="30" y="531"/>
                  </a:lnTo>
                  <a:lnTo>
                    <a:pt x="30" y="531"/>
                  </a:lnTo>
                  <a:lnTo>
                    <a:pt x="30" y="531"/>
                  </a:lnTo>
                  <a:lnTo>
                    <a:pt x="30" y="531"/>
                  </a:lnTo>
                  <a:close/>
                  <a:moveTo>
                    <a:pt x="24" y="531"/>
                  </a:moveTo>
                  <a:lnTo>
                    <a:pt x="26" y="531"/>
                  </a:lnTo>
                  <a:lnTo>
                    <a:pt x="28" y="533"/>
                  </a:lnTo>
                  <a:lnTo>
                    <a:pt x="24" y="536"/>
                  </a:lnTo>
                  <a:lnTo>
                    <a:pt x="24" y="533"/>
                  </a:lnTo>
                  <a:lnTo>
                    <a:pt x="23" y="531"/>
                  </a:lnTo>
                  <a:lnTo>
                    <a:pt x="24" y="531"/>
                  </a:lnTo>
                  <a:lnTo>
                    <a:pt x="24" y="531"/>
                  </a:lnTo>
                  <a:lnTo>
                    <a:pt x="24" y="531"/>
                  </a:lnTo>
                  <a:lnTo>
                    <a:pt x="24" y="531"/>
                  </a:lnTo>
                  <a:close/>
                  <a:moveTo>
                    <a:pt x="18" y="527"/>
                  </a:moveTo>
                  <a:lnTo>
                    <a:pt x="18" y="527"/>
                  </a:lnTo>
                  <a:lnTo>
                    <a:pt x="21" y="527"/>
                  </a:lnTo>
                  <a:lnTo>
                    <a:pt x="18" y="531"/>
                  </a:lnTo>
                  <a:lnTo>
                    <a:pt x="18" y="527"/>
                  </a:lnTo>
                  <a:lnTo>
                    <a:pt x="18" y="527"/>
                  </a:lnTo>
                  <a:lnTo>
                    <a:pt x="18" y="527"/>
                  </a:lnTo>
                  <a:lnTo>
                    <a:pt x="18" y="527"/>
                  </a:lnTo>
                  <a:close/>
                  <a:moveTo>
                    <a:pt x="18" y="536"/>
                  </a:moveTo>
                  <a:lnTo>
                    <a:pt x="18" y="536"/>
                  </a:lnTo>
                  <a:lnTo>
                    <a:pt x="19" y="536"/>
                  </a:lnTo>
                  <a:lnTo>
                    <a:pt x="19" y="538"/>
                  </a:lnTo>
                  <a:lnTo>
                    <a:pt x="18" y="536"/>
                  </a:lnTo>
                  <a:lnTo>
                    <a:pt x="18" y="536"/>
                  </a:lnTo>
                  <a:lnTo>
                    <a:pt x="18" y="536"/>
                  </a:lnTo>
                  <a:lnTo>
                    <a:pt x="18" y="536"/>
                  </a:lnTo>
                  <a:close/>
                  <a:moveTo>
                    <a:pt x="14" y="539"/>
                  </a:moveTo>
                  <a:lnTo>
                    <a:pt x="14" y="538"/>
                  </a:lnTo>
                  <a:lnTo>
                    <a:pt x="18" y="538"/>
                  </a:lnTo>
                  <a:lnTo>
                    <a:pt x="18" y="539"/>
                  </a:lnTo>
                  <a:lnTo>
                    <a:pt x="18" y="541"/>
                  </a:lnTo>
                  <a:lnTo>
                    <a:pt x="14" y="541"/>
                  </a:lnTo>
                  <a:lnTo>
                    <a:pt x="14" y="541"/>
                  </a:lnTo>
                  <a:lnTo>
                    <a:pt x="14" y="539"/>
                  </a:lnTo>
                  <a:lnTo>
                    <a:pt x="14" y="539"/>
                  </a:lnTo>
                  <a:lnTo>
                    <a:pt x="14" y="539"/>
                  </a:lnTo>
                  <a:lnTo>
                    <a:pt x="14" y="539"/>
                  </a:lnTo>
                  <a:close/>
                  <a:moveTo>
                    <a:pt x="11" y="545"/>
                  </a:moveTo>
                  <a:lnTo>
                    <a:pt x="12" y="548"/>
                  </a:lnTo>
                  <a:lnTo>
                    <a:pt x="11" y="550"/>
                  </a:lnTo>
                  <a:lnTo>
                    <a:pt x="9" y="548"/>
                  </a:lnTo>
                  <a:lnTo>
                    <a:pt x="11" y="545"/>
                  </a:lnTo>
                  <a:lnTo>
                    <a:pt x="11" y="545"/>
                  </a:lnTo>
                  <a:lnTo>
                    <a:pt x="11" y="545"/>
                  </a:lnTo>
                  <a:lnTo>
                    <a:pt x="11" y="545"/>
                  </a:lnTo>
                  <a:close/>
                  <a:moveTo>
                    <a:pt x="26" y="545"/>
                  </a:moveTo>
                  <a:lnTo>
                    <a:pt x="28" y="548"/>
                  </a:lnTo>
                  <a:lnTo>
                    <a:pt x="24" y="548"/>
                  </a:lnTo>
                  <a:lnTo>
                    <a:pt x="26" y="545"/>
                  </a:lnTo>
                  <a:lnTo>
                    <a:pt x="26" y="545"/>
                  </a:lnTo>
                  <a:lnTo>
                    <a:pt x="26" y="545"/>
                  </a:lnTo>
                  <a:lnTo>
                    <a:pt x="26" y="545"/>
                  </a:lnTo>
                  <a:close/>
                  <a:moveTo>
                    <a:pt x="21" y="543"/>
                  </a:moveTo>
                  <a:lnTo>
                    <a:pt x="24" y="541"/>
                  </a:lnTo>
                  <a:lnTo>
                    <a:pt x="24" y="546"/>
                  </a:lnTo>
                  <a:lnTo>
                    <a:pt x="21" y="543"/>
                  </a:lnTo>
                  <a:lnTo>
                    <a:pt x="21" y="543"/>
                  </a:lnTo>
                  <a:lnTo>
                    <a:pt x="21" y="543"/>
                  </a:lnTo>
                  <a:lnTo>
                    <a:pt x="21" y="543"/>
                  </a:lnTo>
                  <a:close/>
                  <a:moveTo>
                    <a:pt x="14" y="569"/>
                  </a:moveTo>
                  <a:lnTo>
                    <a:pt x="14" y="569"/>
                  </a:lnTo>
                  <a:lnTo>
                    <a:pt x="18" y="572"/>
                  </a:lnTo>
                  <a:lnTo>
                    <a:pt x="14" y="572"/>
                  </a:lnTo>
                  <a:lnTo>
                    <a:pt x="14" y="569"/>
                  </a:lnTo>
                  <a:lnTo>
                    <a:pt x="14" y="569"/>
                  </a:lnTo>
                  <a:lnTo>
                    <a:pt x="14" y="569"/>
                  </a:lnTo>
                  <a:lnTo>
                    <a:pt x="14" y="569"/>
                  </a:lnTo>
                  <a:close/>
                  <a:moveTo>
                    <a:pt x="14" y="548"/>
                  </a:moveTo>
                  <a:lnTo>
                    <a:pt x="14" y="545"/>
                  </a:lnTo>
                  <a:lnTo>
                    <a:pt x="14" y="543"/>
                  </a:lnTo>
                  <a:lnTo>
                    <a:pt x="18" y="543"/>
                  </a:lnTo>
                  <a:lnTo>
                    <a:pt x="18" y="546"/>
                  </a:lnTo>
                  <a:lnTo>
                    <a:pt x="18" y="546"/>
                  </a:lnTo>
                  <a:lnTo>
                    <a:pt x="14" y="548"/>
                  </a:lnTo>
                  <a:lnTo>
                    <a:pt x="14" y="548"/>
                  </a:lnTo>
                  <a:lnTo>
                    <a:pt x="14" y="548"/>
                  </a:lnTo>
                  <a:lnTo>
                    <a:pt x="14" y="548"/>
                  </a:lnTo>
                  <a:close/>
                  <a:moveTo>
                    <a:pt x="7" y="553"/>
                  </a:moveTo>
                  <a:lnTo>
                    <a:pt x="4" y="552"/>
                  </a:lnTo>
                  <a:lnTo>
                    <a:pt x="4" y="550"/>
                  </a:lnTo>
                  <a:lnTo>
                    <a:pt x="7" y="550"/>
                  </a:lnTo>
                  <a:lnTo>
                    <a:pt x="9" y="552"/>
                  </a:lnTo>
                  <a:lnTo>
                    <a:pt x="7" y="553"/>
                  </a:lnTo>
                  <a:lnTo>
                    <a:pt x="7" y="553"/>
                  </a:lnTo>
                  <a:lnTo>
                    <a:pt x="7" y="553"/>
                  </a:lnTo>
                  <a:lnTo>
                    <a:pt x="7" y="553"/>
                  </a:lnTo>
                  <a:close/>
                  <a:moveTo>
                    <a:pt x="19" y="564"/>
                  </a:moveTo>
                  <a:lnTo>
                    <a:pt x="21" y="564"/>
                  </a:lnTo>
                  <a:lnTo>
                    <a:pt x="21" y="567"/>
                  </a:lnTo>
                  <a:lnTo>
                    <a:pt x="19" y="564"/>
                  </a:lnTo>
                  <a:lnTo>
                    <a:pt x="19" y="564"/>
                  </a:lnTo>
                  <a:lnTo>
                    <a:pt x="19" y="564"/>
                  </a:lnTo>
                  <a:lnTo>
                    <a:pt x="19" y="564"/>
                  </a:lnTo>
                  <a:close/>
                  <a:moveTo>
                    <a:pt x="23" y="569"/>
                  </a:moveTo>
                  <a:lnTo>
                    <a:pt x="26" y="569"/>
                  </a:lnTo>
                  <a:lnTo>
                    <a:pt x="24" y="571"/>
                  </a:lnTo>
                  <a:lnTo>
                    <a:pt x="23" y="569"/>
                  </a:lnTo>
                  <a:lnTo>
                    <a:pt x="23" y="569"/>
                  </a:lnTo>
                  <a:lnTo>
                    <a:pt x="23" y="569"/>
                  </a:lnTo>
                  <a:lnTo>
                    <a:pt x="23" y="569"/>
                  </a:lnTo>
                  <a:close/>
                  <a:moveTo>
                    <a:pt x="30" y="538"/>
                  </a:moveTo>
                  <a:lnTo>
                    <a:pt x="31" y="538"/>
                  </a:lnTo>
                  <a:lnTo>
                    <a:pt x="35" y="539"/>
                  </a:lnTo>
                  <a:lnTo>
                    <a:pt x="31" y="539"/>
                  </a:lnTo>
                  <a:lnTo>
                    <a:pt x="30" y="538"/>
                  </a:lnTo>
                  <a:lnTo>
                    <a:pt x="30" y="538"/>
                  </a:lnTo>
                  <a:lnTo>
                    <a:pt x="30" y="538"/>
                  </a:lnTo>
                  <a:lnTo>
                    <a:pt x="30" y="538"/>
                  </a:lnTo>
                  <a:close/>
                  <a:moveTo>
                    <a:pt x="37" y="541"/>
                  </a:moveTo>
                  <a:lnTo>
                    <a:pt x="37" y="541"/>
                  </a:lnTo>
                  <a:lnTo>
                    <a:pt x="40" y="545"/>
                  </a:lnTo>
                  <a:lnTo>
                    <a:pt x="42" y="548"/>
                  </a:lnTo>
                  <a:lnTo>
                    <a:pt x="40" y="550"/>
                  </a:lnTo>
                  <a:lnTo>
                    <a:pt x="40" y="553"/>
                  </a:lnTo>
                  <a:lnTo>
                    <a:pt x="37" y="553"/>
                  </a:lnTo>
                  <a:lnTo>
                    <a:pt x="37" y="553"/>
                  </a:lnTo>
                  <a:lnTo>
                    <a:pt x="33" y="552"/>
                  </a:lnTo>
                  <a:lnTo>
                    <a:pt x="31" y="555"/>
                  </a:lnTo>
                  <a:lnTo>
                    <a:pt x="31" y="552"/>
                  </a:lnTo>
                  <a:lnTo>
                    <a:pt x="30" y="548"/>
                  </a:lnTo>
                  <a:lnTo>
                    <a:pt x="31" y="543"/>
                  </a:lnTo>
                  <a:lnTo>
                    <a:pt x="37" y="541"/>
                  </a:lnTo>
                  <a:lnTo>
                    <a:pt x="37" y="541"/>
                  </a:lnTo>
                  <a:lnTo>
                    <a:pt x="37" y="541"/>
                  </a:lnTo>
                  <a:lnTo>
                    <a:pt x="37" y="541"/>
                  </a:lnTo>
                  <a:close/>
                  <a:moveTo>
                    <a:pt x="18" y="552"/>
                  </a:moveTo>
                  <a:lnTo>
                    <a:pt x="18" y="550"/>
                  </a:lnTo>
                  <a:lnTo>
                    <a:pt x="24" y="550"/>
                  </a:lnTo>
                  <a:lnTo>
                    <a:pt x="23" y="552"/>
                  </a:lnTo>
                  <a:lnTo>
                    <a:pt x="18" y="552"/>
                  </a:lnTo>
                  <a:lnTo>
                    <a:pt x="18" y="553"/>
                  </a:lnTo>
                  <a:lnTo>
                    <a:pt x="18" y="553"/>
                  </a:lnTo>
                  <a:lnTo>
                    <a:pt x="18" y="552"/>
                  </a:lnTo>
                  <a:lnTo>
                    <a:pt x="18" y="552"/>
                  </a:lnTo>
                  <a:lnTo>
                    <a:pt x="18" y="552"/>
                  </a:lnTo>
                  <a:lnTo>
                    <a:pt x="18" y="552"/>
                  </a:lnTo>
                  <a:close/>
                  <a:moveTo>
                    <a:pt x="19" y="559"/>
                  </a:moveTo>
                  <a:lnTo>
                    <a:pt x="18" y="555"/>
                  </a:lnTo>
                  <a:lnTo>
                    <a:pt x="23" y="555"/>
                  </a:lnTo>
                  <a:lnTo>
                    <a:pt x="24" y="555"/>
                  </a:lnTo>
                  <a:lnTo>
                    <a:pt x="24" y="559"/>
                  </a:lnTo>
                  <a:lnTo>
                    <a:pt x="19" y="559"/>
                  </a:lnTo>
                  <a:lnTo>
                    <a:pt x="19" y="559"/>
                  </a:lnTo>
                  <a:lnTo>
                    <a:pt x="19" y="559"/>
                  </a:lnTo>
                  <a:lnTo>
                    <a:pt x="19" y="559"/>
                  </a:lnTo>
                  <a:close/>
                  <a:moveTo>
                    <a:pt x="21" y="560"/>
                  </a:moveTo>
                  <a:lnTo>
                    <a:pt x="24" y="559"/>
                  </a:lnTo>
                  <a:lnTo>
                    <a:pt x="28" y="559"/>
                  </a:lnTo>
                  <a:lnTo>
                    <a:pt x="28" y="564"/>
                  </a:lnTo>
                  <a:lnTo>
                    <a:pt x="26" y="567"/>
                  </a:lnTo>
                  <a:lnTo>
                    <a:pt x="24" y="566"/>
                  </a:lnTo>
                  <a:lnTo>
                    <a:pt x="23" y="562"/>
                  </a:lnTo>
                  <a:lnTo>
                    <a:pt x="21" y="560"/>
                  </a:lnTo>
                  <a:lnTo>
                    <a:pt x="21" y="560"/>
                  </a:lnTo>
                  <a:lnTo>
                    <a:pt x="21" y="560"/>
                  </a:lnTo>
                  <a:lnTo>
                    <a:pt x="21" y="560"/>
                  </a:lnTo>
                  <a:close/>
                  <a:moveTo>
                    <a:pt x="18" y="569"/>
                  </a:moveTo>
                  <a:lnTo>
                    <a:pt x="18" y="567"/>
                  </a:lnTo>
                  <a:lnTo>
                    <a:pt x="19" y="569"/>
                  </a:lnTo>
                  <a:lnTo>
                    <a:pt x="21" y="569"/>
                  </a:lnTo>
                  <a:lnTo>
                    <a:pt x="23" y="572"/>
                  </a:lnTo>
                  <a:lnTo>
                    <a:pt x="19" y="572"/>
                  </a:lnTo>
                  <a:lnTo>
                    <a:pt x="18" y="569"/>
                  </a:lnTo>
                  <a:lnTo>
                    <a:pt x="18" y="569"/>
                  </a:lnTo>
                  <a:lnTo>
                    <a:pt x="18" y="569"/>
                  </a:lnTo>
                  <a:lnTo>
                    <a:pt x="18" y="569"/>
                  </a:lnTo>
                  <a:close/>
                  <a:moveTo>
                    <a:pt x="26" y="637"/>
                  </a:moveTo>
                  <a:lnTo>
                    <a:pt x="28" y="635"/>
                  </a:lnTo>
                  <a:lnTo>
                    <a:pt x="26" y="633"/>
                  </a:lnTo>
                  <a:lnTo>
                    <a:pt x="24" y="635"/>
                  </a:lnTo>
                  <a:lnTo>
                    <a:pt x="21" y="628"/>
                  </a:lnTo>
                  <a:lnTo>
                    <a:pt x="18" y="625"/>
                  </a:lnTo>
                  <a:lnTo>
                    <a:pt x="19" y="623"/>
                  </a:lnTo>
                  <a:lnTo>
                    <a:pt x="23" y="623"/>
                  </a:lnTo>
                  <a:lnTo>
                    <a:pt x="24" y="623"/>
                  </a:lnTo>
                  <a:lnTo>
                    <a:pt x="26" y="626"/>
                  </a:lnTo>
                  <a:lnTo>
                    <a:pt x="30" y="628"/>
                  </a:lnTo>
                  <a:lnTo>
                    <a:pt x="30" y="632"/>
                  </a:lnTo>
                  <a:lnTo>
                    <a:pt x="31" y="635"/>
                  </a:lnTo>
                  <a:lnTo>
                    <a:pt x="33" y="640"/>
                  </a:lnTo>
                  <a:lnTo>
                    <a:pt x="30" y="640"/>
                  </a:lnTo>
                  <a:lnTo>
                    <a:pt x="26" y="640"/>
                  </a:lnTo>
                  <a:lnTo>
                    <a:pt x="26" y="637"/>
                  </a:lnTo>
                  <a:lnTo>
                    <a:pt x="26" y="637"/>
                  </a:lnTo>
                  <a:lnTo>
                    <a:pt x="26" y="637"/>
                  </a:lnTo>
                  <a:lnTo>
                    <a:pt x="26" y="637"/>
                  </a:lnTo>
                  <a:close/>
                  <a:moveTo>
                    <a:pt x="14" y="630"/>
                  </a:moveTo>
                  <a:lnTo>
                    <a:pt x="14" y="628"/>
                  </a:lnTo>
                  <a:lnTo>
                    <a:pt x="14" y="626"/>
                  </a:lnTo>
                  <a:lnTo>
                    <a:pt x="18" y="626"/>
                  </a:lnTo>
                  <a:lnTo>
                    <a:pt x="21" y="635"/>
                  </a:lnTo>
                  <a:lnTo>
                    <a:pt x="24" y="639"/>
                  </a:lnTo>
                  <a:lnTo>
                    <a:pt x="24" y="642"/>
                  </a:lnTo>
                  <a:lnTo>
                    <a:pt x="23" y="646"/>
                  </a:lnTo>
                  <a:lnTo>
                    <a:pt x="19" y="642"/>
                  </a:lnTo>
                  <a:lnTo>
                    <a:pt x="19" y="639"/>
                  </a:lnTo>
                  <a:lnTo>
                    <a:pt x="19" y="637"/>
                  </a:lnTo>
                  <a:lnTo>
                    <a:pt x="18" y="635"/>
                  </a:lnTo>
                  <a:lnTo>
                    <a:pt x="14" y="633"/>
                  </a:lnTo>
                  <a:lnTo>
                    <a:pt x="14" y="630"/>
                  </a:lnTo>
                  <a:lnTo>
                    <a:pt x="14" y="630"/>
                  </a:lnTo>
                  <a:lnTo>
                    <a:pt x="14" y="630"/>
                  </a:lnTo>
                  <a:lnTo>
                    <a:pt x="14" y="630"/>
                  </a:lnTo>
                  <a:close/>
                  <a:moveTo>
                    <a:pt x="14" y="635"/>
                  </a:moveTo>
                  <a:lnTo>
                    <a:pt x="14" y="637"/>
                  </a:lnTo>
                  <a:lnTo>
                    <a:pt x="18" y="637"/>
                  </a:lnTo>
                  <a:lnTo>
                    <a:pt x="18" y="640"/>
                  </a:lnTo>
                  <a:lnTo>
                    <a:pt x="18" y="642"/>
                  </a:lnTo>
                  <a:lnTo>
                    <a:pt x="18" y="642"/>
                  </a:lnTo>
                  <a:lnTo>
                    <a:pt x="18" y="642"/>
                  </a:lnTo>
                  <a:lnTo>
                    <a:pt x="14" y="640"/>
                  </a:lnTo>
                  <a:lnTo>
                    <a:pt x="14" y="635"/>
                  </a:lnTo>
                  <a:lnTo>
                    <a:pt x="14" y="635"/>
                  </a:lnTo>
                  <a:lnTo>
                    <a:pt x="14" y="635"/>
                  </a:lnTo>
                  <a:lnTo>
                    <a:pt x="14" y="635"/>
                  </a:lnTo>
                  <a:close/>
                  <a:moveTo>
                    <a:pt x="19" y="656"/>
                  </a:moveTo>
                  <a:lnTo>
                    <a:pt x="18" y="654"/>
                  </a:lnTo>
                  <a:lnTo>
                    <a:pt x="19" y="652"/>
                  </a:lnTo>
                  <a:lnTo>
                    <a:pt x="18" y="646"/>
                  </a:lnTo>
                  <a:lnTo>
                    <a:pt x="19" y="646"/>
                  </a:lnTo>
                  <a:lnTo>
                    <a:pt x="19" y="646"/>
                  </a:lnTo>
                  <a:lnTo>
                    <a:pt x="23" y="647"/>
                  </a:lnTo>
                  <a:lnTo>
                    <a:pt x="24" y="651"/>
                  </a:lnTo>
                  <a:lnTo>
                    <a:pt x="23" y="651"/>
                  </a:lnTo>
                  <a:lnTo>
                    <a:pt x="19" y="656"/>
                  </a:lnTo>
                  <a:lnTo>
                    <a:pt x="19" y="656"/>
                  </a:lnTo>
                  <a:lnTo>
                    <a:pt x="19" y="656"/>
                  </a:lnTo>
                  <a:lnTo>
                    <a:pt x="19" y="656"/>
                  </a:lnTo>
                  <a:close/>
                  <a:moveTo>
                    <a:pt x="24" y="670"/>
                  </a:moveTo>
                  <a:lnTo>
                    <a:pt x="23" y="670"/>
                  </a:lnTo>
                  <a:lnTo>
                    <a:pt x="21" y="668"/>
                  </a:lnTo>
                  <a:lnTo>
                    <a:pt x="21" y="666"/>
                  </a:lnTo>
                  <a:lnTo>
                    <a:pt x="19" y="665"/>
                  </a:lnTo>
                  <a:lnTo>
                    <a:pt x="23" y="663"/>
                  </a:lnTo>
                  <a:lnTo>
                    <a:pt x="24" y="666"/>
                  </a:lnTo>
                  <a:lnTo>
                    <a:pt x="24" y="670"/>
                  </a:lnTo>
                  <a:lnTo>
                    <a:pt x="24" y="670"/>
                  </a:lnTo>
                  <a:lnTo>
                    <a:pt x="24" y="670"/>
                  </a:lnTo>
                  <a:lnTo>
                    <a:pt x="24" y="670"/>
                  </a:lnTo>
                  <a:close/>
                  <a:moveTo>
                    <a:pt x="33" y="668"/>
                  </a:moveTo>
                  <a:lnTo>
                    <a:pt x="33" y="670"/>
                  </a:lnTo>
                  <a:lnTo>
                    <a:pt x="31" y="670"/>
                  </a:lnTo>
                  <a:lnTo>
                    <a:pt x="28" y="670"/>
                  </a:lnTo>
                  <a:lnTo>
                    <a:pt x="26" y="665"/>
                  </a:lnTo>
                  <a:lnTo>
                    <a:pt x="23" y="658"/>
                  </a:lnTo>
                  <a:lnTo>
                    <a:pt x="26" y="658"/>
                  </a:lnTo>
                  <a:lnTo>
                    <a:pt x="30" y="656"/>
                  </a:lnTo>
                  <a:lnTo>
                    <a:pt x="30" y="652"/>
                  </a:lnTo>
                  <a:lnTo>
                    <a:pt x="28" y="654"/>
                  </a:lnTo>
                  <a:lnTo>
                    <a:pt x="26" y="654"/>
                  </a:lnTo>
                  <a:lnTo>
                    <a:pt x="26" y="652"/>
                  </a:lnTo>
                  <a:lnTo>
                    <a:pt x="26" y="651"/>
                  </a:lnTo>
                  <a:lnTo>
                    <a:pt x="24" y="647"/>
                  </a:lnTo>
                  <a:lnTo>
                    <a:pt x="24" y="646"/>
                  </a:lnTo>
                  <a:lnTo>
                    <a:pt x="26" y="642"/>
                  </a:lnTo>
                  <a:lnTo>
                    <a:pt x="31" y="642"/>
                  </a:lnTo>
                  <a:lnTo>
                    <a:pt x="35" y="646"/>
                  </a:lnTo>
                  <a:lnTo>
                    <a:pt x="37" y="651"/>
                  </a:lnTo>
                  <a:lnTo>
                    <a:pt x="37" y="656"/>
                  </a:lnTo>
                  <a:lnTo>
                    <a:pt x="37" y="663"/>
                  </a:lnTo>
                  <a:lnTo>
                    <a:pt x="37" y="663"/>
                  </a:lnTo>
                  <a:lnTo>
                    <a:pt x="40" y="668"/>
                  </a:lnTo>
                  <a:lnTo>
                    <a:pt x="40" y="673"/>
                  </a:lnTo>
                  <a:lnTo>
                    <a:pt x="37" y="673"/>
                  </a:lnTo>
                  <a:lnTo>
                    <a:pt x="35" y="673"/>
                  </a:lnTo>
                  <a:lnTo>
                    <a:pt x="35" y="670"/>
                  </a:lnTo>
                  <a:lnTo>
                    <a:pt x="33" y="668"/>
                  </a:lnTo>
                  <a:lnTo>
                    <a:pt x="33" y="668"/>
                  </a:lnTo>
                  <a:lnTo>
                    <a:pt x="33" y="668"/>
                  </a:lnTo>
                  <a:lnTo>
                    <a:pt x="33" y="668"/>
                  </a:lnTo>
                  <a:close/>
                  <a:moveTo>
                    <a:pt x="31" y="684"/>
                  </a:moveTo>
                  <a:lnTo>
                    <a:pt x="30" y="682"/>
                  </a:lnTo>
                  <a:lnTo>
                    <a:pt x="28" y="682"/>
                  </a:lnTo>
                  <a:lnTo>
                    <a:pt x="30" y="679"/>
                  </a:lnTo>
                  <a:lnTo>
                    <a:pt x="30" y="677"/>
                  </a:lnTo>
                  <a:lnTo>
                    <a:pt x="30" y="675"/>
                  </a:lnTo>
                  <a:lnTo>
                    <a:pt x="31" y="677"/>
                  </a:lnTo>
                  <a:lnTo>
                    <a:pt x="35" y="677"/>
                  </a:lnTo>
                  <a:lnTo>
                    <a:pt x="35" y="682"/>
                  </a:lnTo>
                  <a:lnTo>
                    <a:pt x="35" y="682"/>
                  </a:lnTo>
                  <a:lnTo>
                    <a:pt x="33" y="684"/>
                  </a:lnTo>
                  <a:lnTo>
                    <a:pt x="31" y="684"/>
                  </a:lnTo>
                  <a:lnTo>
                    <a:pt x="31" y="684"/>
                  </a:lnTo>
                  <a:lnTo>
                    <a:pt x="31" y="684"/>
                  </a:lnTo>
                  <a:lnTo>
                    <a:pt x="31" y="684"/>
                  </a:lnTo>
                  <a:close/>
                  <a:moveTo>
                    <a:pt x="28" y="689"/>
                  </a:moveTo>
                  <a:lnTo>
                    <a:pt x="28" y="687"/>
                  </a:lnTo>
                  <a:lnTo>
                    <a:pt x="33" y="687"/>
                  </a:lnTo>
                  <a:lnTo>
                    <a:pt x="30" y="689"/>
                  </a:lnTo>
                  <a:lnTo>
                    <a:pt x="28" y="689"/>
                  </a:lnTo>
                  <a:lnTo>
                    <a:pt x="28" y="689"/>
                  </a:lnTo>
                  <a:lnTo>
                    <a:pt x="28" y="689"/>
                  </a:lnTo>
                  <a:lnTo>
                    <a:pt x="28" y="689"/>
                  </a:lnTo>
                  <a:close/>
                  <a:moveTo>
                    <a:pt x="35" y="687"/>
                  </a:moveTo>
                  <a:lnTo>
                    <a:pt x="37" y="689"/>
                  </a:lnTo>
                  <a:lnTo>
                    <a:pt x="37" y="692"/>
                  </a:lnTo>
                  <a:lnTo>
                    <a:pt x="37" y="694"/>
                  </a:lnTo>
                  <a:lnTo>
                    <a:pt x="35" y="691"/>
                  </a:lnTo>
                  <a:lnTo>
                    <a:pt x="35" y="687"/>
                  </a:lnTo>
                  <a:lnTo>
                    <a:pt x="35" y="687"/>
                  </a:lnTo>
                  <a:lnTo>
                    <a:pt x="35" y="687"/>
                  </a:lnTo>
                  <a:lnTo>
                    <a:pt x="35" y="687"/>
                  </a:lnTo>
                  <a:close/>
                  <a:moveTo>
                    <a:pt x="37" y="686"/>
                  </a:moveTo>
                  <a:lnTo>
                    <a:pt x="37" y="684"/>
                  </a:lnTo>
                  <a:lnTo>
                    <a:pt x="40" y="684"/>
                  </a:lnTo>
                  <a:lnTo>
                    <a:pt x="40" y="687"/>
                  </a:lnTo>
                  <a:lnTo>
                    <a:pt x="45" y="687"/>
                  </a:lnTo>
                  <a:lnTo>
                    <a:pt x="45" y="692"/>
                  </a:lnTo>
                  <a:lnTo>
                    <a:pt x="47" y="696"/>
                  </a:lnTo>
                  <a:lnTo>
                    <a:pt x="45" y="691"/>
                  </a:lnTo>
                  <a:lnTo>
                    <a:pt x="40" y="691"/>
                  </a:lnTo>
                  <a:lnTo>
                    <a:pt x="37" y="686"/>
                  </a:lnTo>
                  <a:lnTo>
                    <a:pt x="37" y="686"/>
                  </a:lnTo>
                  <a:lnTo>
                    <a:pt x="37" y="686"/>
                  </a:lnTo>
                  <a:lnTo>
                    <a:pt x="37" y="686"/>
                  </a:lnTo>
                  <a:close/>
                  <a:moveTo>
                    <a:pt x="37" y="692"/>
                  </a:moveTo>
                  <a:lnTo>
                    <a:pt x="40" y="692"/>
                  </a:lnTo>
                  <a:lnTo>
                    <a:pt x="42" y="694"/>
                  </a:lnTo>
                  <a:lnTo>
                    <a:pt x="45" y="699"/>
                  </a:lnTo>
                  <a:lnTo>
                    <a:pt x="45" y="701"/>
                  </a:lnTo>
                  <a:lnTo>
                    <a:pt x="42" y="701"/>
                  </a:lnTo>
                  <a:lnTo>
                    <a:pt x="37" y="696"/>
                  </a:lnTo>
                  <a:lnTo>
                    <a:pt x="37" y="692"/>
                  </a:lnTo>
                  <a:lnTo>
                    <a:pt x="37" y="692"/>
                  </a:lnTo>
                  <a:lnTo>
                    <a:pt x="37" y="692"/>
                  </a:lnTo>
                  <a:lnTo>
                    <a:pt x="37" y="692"/>
                  </a:lnTo>
                  <a:close/>
                  <a:moveTo>
                    <a:pt x="40" y="710"/>
                  </a:moveTo>
                  <a:lnTo>
                    <a:pt x="37" y="710"/>
                  </a:lnTo>
                  <a:lnTo>
                    <a:pt x="35" y="710"/>
                  </a:lnTo>
                  <a:lnTo>
                    <a:pt x="37" y="706"/>
                  </a:lnTo>
                  <a:lnTo>
                    <a:pt x="37" y="705"/>
                  </a:lnTo>
                  <a:lnTo>
                    <a:pt x="37" y="701"/>
                  </a:lnTo>
                  <a:lnTo>
                    <a:pt x="37" y="701"/>
                  </a:lnTo>
                  <a:lnTo>
                    <a:pt x="40" y="701"/>
                  </a:lnTo>
                  <a:lnTo>
                    <a:pt x="42" y="701"/>
                  </a:lnTo>
                  <a:lnTo>
                    <a:pt x="47" y="705"/>
                  </a:lnTo>
                  <a:lnTo>
                    <a:pt x="47" y="706"/>
                  </a:lnTo>
                  <a:lnTo>
                    <a:pt x="45" y="706"/>
                  </a:lnTo>
                  <a:lnTo>
                    <a:pt x="45" y="710"/>
                  </a:lnTo>
                  <a:lnTo>
                    <a:pt x="40" y="710"/>
                  </a:lnTo>
                  <a:lnTo>
                    <a:pt x="40" y="710"/>
                  </a:lnTo>
                  <a:lnTo>
                    <a:pt x="40" y="710"/>
                  </a:lnTo>
                  <a:lnTo>
                    <a:pt x="40" y="710"/>
                  </a:lnTo>
                  <a:close/>
                  <a:moveTo>
                    <a:pt x="45" y="724"/>
                  </a:moveTo>
                  <a:lnTo>
                    <a:pt x="42" y="724"/>
                  </a:lnTo>
                  <a:lnTo>
                    <a:pt x="40" y="722"/>
                  </a:lnTo>
                  <a:lnTo>
                    <a:pt x="40" y="719"/>
                  </a:lnTo>
                  <a:lnTo>
                    <a:pt x="40" y="717"/>
                  </a:lnTo>
                  <a:lnTo>
                    <a:pt x="42" y="717"/>
                  </a:lnTo>
                  <a:lnTo>
                    <a:pt x="42" y="715"/>
                  </a:lnTo>
                  <a:lnTo>
                    <a:pt x="40" y="713"/>
                  </a:lnTo>
                  <a:lnTo>
                    <a:pt x="45" y="713"/>
                  </a:lnTo>
                  <a:lnTo>
                    <a:pt x="45" y="715"/>
                  </a:lnTo>
                  <a:lnTo>
                    <a:pt x="45" y="719"/>
                  </a:lnTo>
                  <a:lnTo>
                    <a:pt x="42" y="720"/>
                  </a:lnTo>
                  <a:lnTo>
                    <a:pt x="45" y="724"/>
                  </a:lnTo>
                  <a:lnTo>
                    <a:pt x="45" y="724"/>
                  </a:lnTo>
                  <a:lnTo>
                    <a:pt x="45" y="724"/>
                  </a:lnTo>
                  <a:lnTo>
                    <a:pt x="45" y="724"/>
                  </a:lnTo>
                  <a:close/>
                  <a:moveTo>
                    <a:pt x="45" y="717"/>
                  </a:moveTo>
                  <a:lnTo>
                    <a:pt x="45" y="715"/>
                  </a:lnTo>
                  <a:lnTo>
                    <a:pt x="47" y="715"/>
                  </a:lnTo>
                  <a:lnTo>
                    <a:pt x="49" y="717"/>
                  </a:lnTo>
                  <a:lnTo>
                    <a:pt x="51" y="719"/>
                  </a:lnTo>
                  <a:lnTo>
                    <a:pt x="51" y="722"/>
                  </a:lnTo>
                  <a:lnTo>
                    <a:pt x="49" y="724"/>
                  </a:lnTo>
                  <a:lnTo>
                    <a:pt x="47" y="722"/>
                  </a:lnTo>
                  <a:lnTo>
                    <a:pt x="47" y="722"/>
                  </a:lnTo>
                  <a:lnTo>
                    <a:pt x="45" y="720"/>
                  </a:lnTo>
                  <a:lnTo>
                    <a:pt x="45" y="717"/>
                  </a:lnTo>
                  <a:lnTo>
                    <a:pt x="45" y="717"/>
                  </a:lnTo>
                  <a:lnTo>
                    <a:pt x="45" y="717"/>
                  </a:lnTo>
                  <a:lnTo>
                    <a:pt x="45" y="717"/>
                  </a:lnTo>
                  <a:close/>
                  <a:moveTo>
                    <a:pt x="51" y="719"/>
                  </a:moveTo>
                  <a:lnTo>
                    <a:pt x="56" y="720"/>
                  </a:lnTo>
                  <a:lnTo>
                    <a:pt x="56" y="724"/>
                  </a:lnTo>
                  <a:lnTo>
                    <a:pt x="54" y="724"/>
                  </a:lnTo>
                  <a:lnTo>
                    <a:pt x="52" y="722"/>
                  </a:lnTo>
                  <a:lnTo>
                    <a:pt x="51" y="719"/>
                  </a:lnTo>
                  <a:lnTo>
                    <a:pt x="51" y="719"/>
                  </a:lnTo>
                  <a:lnTo>
                    <a:pt x="51" y="719"/>
                  </a:lnTo>
                  <a:lnTo>
                    <a:pt x="51" y="719"/>
                  </a:lnTo>
                  <a:close/>
                  <a:moveTo>
                    <a:pt x="51" y="729"/>
                  </a:moveTo>
                  <a:lnTo>
                    <a:pt x="49" y="732"/>
                  </a:lnTo>
                  <a:lnTo>
                    <a:pt x="47" y="729"/>
                  </a:lnTo>
                  <a:lnTo>
                    <a:pt x="49" y="729"/>
                  </a:lnTo>
                  <a:lnTo>
                    <a:pt x="49" y="726"/>
                  </a:lnTo>
                  <a:lnTo>
                    <a:pt x="51" y="726"/>
                  </a:lnTo>
                  <a:lnTo>
                    <a:pt x="52" y="727"/>
                  </a:lnTo>
                  <a:lnTo>
                    <a:pt x="51" y="729"/>
                  </a:lnTo>
                  <a:lnTo>
                    <a:pt x="51" y="729"/>
                  </a:lnTo>
                  <a:lnTo>
                    <a:pt x="51" y="729"/>
                  </a:lnTo>
                  <a:lnTo>
                    <a:pt x="51" y="729"/>
                  </a:lnTo>
                  <a:close/>
                  <a:moveTo>
                    <a:pt x="59" y="722"/>
                  </a:moveTo>
                  <a:lnTo>
                    <a:pt x="56" y="720"/>
                  </a:lnTo>
                  <a:lnTo>
                    <a:pt x="54" y="717"/>
                  </a:lnTo>
                  <a:lnTo>
                    <a:pt x="54" y="712"/>
                  </a:lnTo>
                  <a:lnTo>
                    <a:pt x="56" y="712"/>
                  </a:lnTo>
                  <a:lnTo>
                    <a:pt x="57" y="717"/>
                  </a:lnTo>
                  <a:lnTo>
                    <a:pt x="59" y="720"/>
                  </a:lnTo>
                  <a:lnTo>
                    <a:pt x="59" y="722"/>
                  </a:lnTo>
                  <a:lnTo>
                    <a:pt x="59" y="722"/>
                  </a:lnTo>
                  <a:lnTo>
                    <a:pt x="59" y="722"/>
                  </a:lnTo>
                  <a:lnTo>
                    <a:pt x="59" y="722"/>
                  </a:lnTo>
                  <a:lnTo>
                    <a:pt x="59" y="722"/>
                  </a:lnTo>
                  <a:close/>
                  <a:moveTo>
                    <a:pt x="59" y="727"/>
                  </a:moveTo>
                  <a:lnTo>
                    <a:pt x="57" y="726"/>
                  </a:lnTo>
                  <a:lnTo>
                    <a:pt x="57" y="724"/>
                  </a:lnTo>
                  <a:lnTo>
                    <a:pt x="59" y="724"/>
                  </a:lnTo>
                  <a:lnTo>
                    <a:pt x="59" y="727"/>
                  </a:lnTo>
                  <a:lnTo>
                    <a:pt x="59" y="727"/>
                  </a:lnTo>
                  <a:lnTo>
                    <a:pt x="59" y="727"/>
                  </a:lnTo>
                  <a:lnTo>
                    <a:pt x="59" y="727"/>
                  </a:lnTo>
                  <a:lnTo>
                    <a:pt x="59" y="727"/>
                  </a:lnTo>
                  <a:close/>
                  <a:moveTo>
                    <a:pt x="59" y="732"/>
                  </a:moveTo>
                  <a:lnTo>
                    <a:pt x="57" y="729"/>
                  </a:lnTo>
                  <a:lnTo>
                    <a:pt x="56" y="727"/>
                  </a:lnTo>
                  <a:lnTo>
                    <a:pt x="57" y="727"/>
                  </a:lnTo>
                  <a:lnTo>
                    <a:pt x="63" y="729"/>
                  </a:lnTo>
                  <a:lnTo>
                    <a:pt x="63" y="732"/>
                  </a:lnTo>
                  <a:lnTo>
                    <a:pt x="59" y="732"/>
                  </a:lnTo>
                  <a:lnTo>
                    <a:pt x="59" y="732"/>
                  </a:lnTo>
                  <a:lnTo>
                    <a:pt x="59" y="732"/>
                  </a:lnTo>
                  <a:lnTo>
                    <a:pt x="59" y="732"/>
                  </a:lnTo>
                  <a:close/>
                  <a:moveTo>
                    <a:pt x="64" y="741"/>
                  </a:moveTo>
                  <a:lnTo>
                    <a:pt x="64" y="739"/>
                  </a:lnTo>
                  <a:lnTo>
                    <a:pt x="63" y="739"/>
                  </a:lnTo>
                  <a:lnTo>
                    <a:pt x="59" y="738"/>
                  </a:lnTo>
                  <a:lnTo>
                    <a:pt x="57" y="738"/>
                  </a:lnTo>
                  <a:lnTo>
                    <a:pt x="56" y="738"/>
                  </a:lnTo>
                  <a:lnTo>
                    <a:pt x="59" y="734"/>
                  </a:lnTo>
                  <a:lnTo>
                    <a:pt x="59" y="738"/>
                  </a:lnTo>
                  <a:lnTo>
                    <a:pt x="64" y="734"/>
                  </a:lnTo>
                  <a:lnTo>
                    <a:pt x="68" y="738"/>
                  </a:lnTo>
                  <a:lnTo>
                    <a:pt x="64" y="741"/>
                  </a:lnTo>
                  <a:lnTo>
                    <a:pt x="64" y="741"/>
                  </a:lnTo>
                  <a:lnTo>
                    <a:pt x="64" y="741"/>
                  </a:lnTo>
                  <a:lnTo>
                    <a:pt x="64" y="741"/>
                  </a:lnTo>
                  <a:close/>
                  <a:moveTo>
                    <a:pt x="75" y="757"/>
                  </a:moveTo>
                  <a:lnTo>
                    <a:pt x="70" y="757"/>
                  </a:lnTo>
                  <a:lnTo>
                    <a:pt x="68" y="757"/>
                  </a:lnTo>
                  <a:lnTo>
                    <a:pt x="68" y="757"/>
                  </a:lnTo>
                  <a:lnTo>
                    <a:pt x="64" y="755"/>
                  </a:lnTo>
                  <a:lnTo>
                    <a:pt x="59" y="753"/>
                  </a:lnTo>
                  <a:lnTo>
                    <a:pt x="57" y="753"/>
                  </a:lnTo>
                  <a:lnTo>
                    <a:pt x="54" y="748"/>
                  </a:lnTo>
                  <a:lnTo>
                    <a:pt x="54" y="745"/>
                  </a:lnTo>
                  <a:lnTo>
                    <a:pt x="54" y="743"/>
                  </a:lnTo>
                  <a:lnTo>
                    <a:pt x="56" y="745"/>
                  </a:lnTo>
                  <a:lnTo>
                    <a:pt x="59" y="750"/>
                  </a:lnTo>
                  <a:lnTo>
                    <a:pt x="63" y="752"/>
                  </a:lnTo>
                  <a:lnTo>
                    <a:pt x="64" y="752"/>
                  </a:lnTo>
                  <a:lnTo>
                    <a:pt x="68" y="752"/>
                  </a:lnTo>
                  <a:lnTo>
                    <a:pt x="70" y="753"/>
                  </a:lnTo>
                  <a:lnTo>
                    <a:pt x="75" y="753"/>
                  </a:lnTo>
                  <a:lnTo>
                    <a:pt x="77" y="755"/>
                  </a:lnTo>
                  <a:lnTo>
                    <a:pt x="80" y="757"/>
                  </a:lnTo>
                  <a:lnTo>
                    <a:pt x="82" y="757"/>
                  </a:lnTo>
                  <a:lnTo>
                    <a:pt x="82" y="760"/>
                  </a:lnTo>
                  <a:lnTo>
                    <a:pt x="82" y="760"/>
                  </a:lnTo>
                  <a:lnTo>
                    <a:pt x="78" y="760"/>
                  </a:lnTo>
                  <a:lnTo>
                    <a:pt x="75" y="757"/>
                  </a:lnTo>
                  <a:lnTo>
                    <a:pt x="75" y="757"/>
                  </a:lnTo>
                  <a:lnTo>
                    <a:pt x="75" y="757"/>
                  </a:lnTo>
                  <a:lnTo>
                    <a:pt x="75" y="757"/>
                  </a:lnTo>
                  <a:close/>
                  <a:moveTo>
                    <a:pt x="64" y="760"/>
                  </a:moveTo>
                  <a:lnTo>
                    <a:pt x="64" y="760"/>
                  </a:lnTo>
                  <a:lnTo>
                    <a:pt x="64" y="764"/>
                  </a:lnTo>
                  <a:lnTo>
                    <a:pt x="63" y="760"/>
                  </a:lnTo>
                  <a:lnTo>
                    <a:pt x="64" y="760"/>
                  </a:lnTo>
                  <a:lnTo>
                    <a:pt x="64" y="760"/>
                  </a:lnTo>
                  <a:lnTo>
                    <a:pt x="64" y="760"/>
                  </a:lnTo>
                  <a:lnTo>
                    <a:pt x="64" y="760"/>
                  </a:lnTo>
                  <a:close/>
                  <a:moveTo>
                    <a:pt x="87" y="776"/>
                  </a:moveTo>
                  <a:lnTo>
                    <a:pt x="87" y="776"/>
                  </a:lnTo>
                  <a:lnTo>
                    <a:pt x="90" y="776"/>
                  </a:lnTo>
                  <a:lnTo>
                    <a:pt x="87" y="774"/>
                  </a:lnTo>
                  <a:lnTo>
                    <a:pt x="87" y="774"/>
                  </a:lnTo>
                  <a:lnTo>
                    <a:pt x="87" y="776"/>
                  </a:lnTo>
                  <a:lnTo>
                    <a:pt x="87" y="776"/>
                  </a:lnTo>
                  <a:lnTo>
                    <a:pt x="87" y="776"/>
                  </a:lnTo>
                  <a:lnTo>
                    <a:pt x="87" y="776"/>
                  </a:lnTo>
                  <a:close/>
                  <a:moveTo>
                    <a:pt x="96" y="778"/>
                  </a:moveTo>
                  <a:lnTo>
                    <a:pt x="92" y="778"/>
                  </a:lnTo>
                  <a:lnTo>
                    <a:pt x="90" y="776"/>
                  </a:lnTo>
                  <a:lnTo>
                    <a:pt x="90" y="774"/>
                  </a:lnTo>
                  <a:lnTo>
                    <a:pt x="90" y="772"/>
                  </a:lnTo>
                  <a:lnTo>
                    <a:pt x="85" y="772"/>
                  </a:lnTo>
                  <a:lnTo>
                    <a:pt x="82" y="772"/>
                  </a:lnTo>
                  <a:lnTo>
                    <a:pt x="80" y="769"/>
                  </a:lnTo>
                  <a:lnTo>
                    <a:pt x="77" y="769"/>
                  </a:lnTo>
                  <a:lnTo>
                    <a:pt x="75" y="764"/>
                  </a:lnTo>
                  <a:lnTo>
                    <a:pt x="71" y="764"/>
                  </a:lnTo>
                  <a:lnTo>
                    <a:pt x="71" y="760"/>
                  </a:lnTo>
                  <a:lnTo>
                    <a:pt x="73" y="760"/>
                  </a:lnTo>
                  <a:lnTo>
                    <a:pt x="75" y="760"/>
                  </a:lnTo>
                  <a:lnTo>
                    <a:pt x="77" y="760"/>
                  </a:lnTo>
                  <a:lnTo>
                    <a:pt x="78" y="764"/>
                  </a:lnTo>
                  <a:lnTo>
                    <a:pt x="82" y="760"/>
                  </a:lnTo>
                  <a:lnTo>
                    <a:pt x="85" y="760"/>
                  </a:lnTo>
                  <a:lnTo>
                    <a:pt x="90" y="764"/>
                  </a:lnTo>
                  <a:lnTo>
                    <a:pt x="92" y="766"/>
                  </a:lnTo>
                  <a:lnTo>
                    <a:pt x="92" y="769"/>
                  </a:lnTo>
                  <a:lnTo>
                    <a:pt x="96" y="766"/>
                  </a:lnTo>
                  <a:lnTo>
                    <a:pt x="99" y="769"/>
                  </a:lnTo>
                  <a:lnTo>
                    <a:pt x="99" y="769"/>
                  </a:lnTo>
                  <a:lnTo>
                    <a:pt x="97" y="769"/>
                  </a:lnTo>
                  <a:lnTo>
                    <a:pt x="96" y="771"/>
                  </a:lnTo>
                  <a:lnTo>
                    <a:pt x="97" y="771"/>
                  </a:lnTo>
                  <a:lnTo>
                    <a:pt x="97" y="772"/>
                  </a:lnTo>
                  <a:lnTo>
                    <a:pt x="94" y="776"/>
                  </a:lnTo>
                  <a:lnTo>
                    <a:pt x="96" y="778"/>
                  </a:lnTo>
                  <a:lnTo>
                    <a:pt x="96" y="778"/>
                  </a:lnTo>
                  <a:lnTo>
                    <a:pt x="96" y="778"/>
                  </a:lnTo>
                  <a:lnTo>
                    <a:pt x="96" y="778"/>
                  </a:lnTo>
                  <a:close/>
                  <a:moveTo>
                    <a:pt x="99" y="776"/>
                  </a:moveTo>
                  <a:lnTo>
                    <a:pt x="97" y="779"/>
                  </a:lnTo>
                  <a:lnTo>
                    <a:pt x="97" y="781"/>
                  </a:lnTo>
                  <a:lnTo>
                    <a:pt x="101" y="779"/>
                  </a:lnTo>
                  <a:lnTo>
                    <a:pt x="101" y="778"/>
                  </a:lnTo>
                  <a:lnTo>
                    <a:pt x="103" y="776"/>
                  </a:lnTo>
                  <a:lnTo>
                    <a:pt x="101" y="776"/>
                  </a:lnTo>
                  <a:lnTo>
                    <a:pt x="99" y="776"/>
                  </a:lnTo>
                  <a:lnTo>
                    <a:pt x="99" y="776"/>
                  </a:lnTo>
                  <a:lnTo>
                    <a:pt x="99" y="776"/>
                  </a:lnTo>
                  <a:lnTo>
                    <a:pt x="99" y="776"/>
                  </a:lnTo>
                  <a:close/>
                  <a:moveTo>
                    <a:pt x="118" y="772"/>
                  </a:moveTo>
                  <a:lnTo>
                    <a:pt x="117" y="776"/>
                  </a:lnTo>
                  <a:lnTo>
                    <a:pt x="118" y="778"/>
                  </a:lnTo>
                  <a:lnTo>
                    <a:pt x="117" y="779"/>
                  </a:lnTo>
                  <a:lnTo>
                    <a:pt x="113" y="779"/>
                  </a:lnTo>
                  <a:lnTo>
                    <a:pt x="113" y="778"/>
                  </a:lnTo>
                  <a:lnTo>
                    <a:pt x="110" y="778"/>
                  </a:lnTo>
                  <a:lnTo>
                    <a:pt x="110" y="776"/>
                  </a:lnTo>
                  <a:lnTo>
                    <a:pt x="106" y="776"/>
                  </a:lnTo>
                  <a:lnTo>
                    <a:pt x="104" y="778"/>
                  </a:lnTo>
                  <a:lnTo>
                    <a:pt x="103" y="774"/>
                  </a:lnTo>
                  <a:lnTo>
                    <a:pt x="101" y="774"/>
                  </a:lnTo>
                  <a:lnTo>
                    <a:pt x="101" y="771"/>
                  </a:lnTo>
                  <a:lnTo>
                    <a:pt x="106" y="771"/>
                  </a:lnTo>
                  <a:lnTo>
                    <a:pt x="108" y="771"/>
                  </a:lnTo>
                  <a:lnTo>
                    <a:pt x="113" y="772"/>
                  </a:lnTo>
                  <a:lnTo>
                    <a:pt x="113" y="774"/>
                  </a:lnTo>
                  <a:lnTo>
                    <a:pt x="115" y="772"/>
                  </a:lnTo>
                  <a:lnTo>
                    <a:pt x="117" y="772"/>
                  </a:lnTo>
                  <a:lnTo>
                    <a:pt x="118" y="772"/>
                  </a:lnTo>
                  <a:lnTo>
                    <a:pt x="118" y="772"/>
                  </a:lnTo>
                  <a:lnTo>
                    <a:pt x="118" y="772"/>
                  </a:lnTo>
                  <a:lnTo>
                    <a:pt x="118" y="772"/>
                  </a:lnTo>
                  <a:close/>
                  <a:moveTo>
                    <a:pt x="129" y="772"/>
                  </a:moveTo>
                  <a:lnTo>
                    <a:pt x="125" y="769"/>
                  </a:lnTo>
                  <a:lnTo>
                    <a:pt x="127" y="769"/>
                  </a:lnTo>
                  <a:lnTo>
                    <a:pt x="125" y="764"/>
                  </a:lnTo>
                  <a:lnTo>
                    <a:pt x="125" y="764"/>
                  </a:lnTo>
                  <a:lnTo>
                    <a:pt x="123" y="760"/>
                  </a:lnTo>
                  <a:lnTo>
                    <a:pt x="123" y="757"/>
                  </a:lnTo>
                  <a:lnTo>
                    <a:pt x="120" y="757"/>
                  </a:lnTo>
                  <a:lnTo>
                    <a:pt x="120" y="760"/>
                  </a:lnTo>
                  <a:lnTo>
                    <a:pt x="118" y="764"/>
                  </a:lnTo>
                  <a:lnTo>
                    <a:pt x="120" y="766"/>
                  </a:lnTo>
                  <a:lnTo>
                    <a:pt x="120" y="769"/>
                  </a:lnTo>
                  <a:lnTo>
                    <a:pt x="120" y="769"/>
                  </a:lnTo>
                  <a:lnTo>
                    <a:pt x="122" y="771"/>
                  </a:lnTo>
                  <a:lnTo>
                    <a:pt x="125" y="772"/>
                  </a:lnTo>
                  <a:lnTo>
                    <a:pt x="127" y="774"/>
                  </a:lnTo>
                  <a:lnTo>
                    <a:pt x="129" y="772"/>
                  </a:lnTo>
                  <a:lnTo>
                    <a:pt x="129" y="772"/>
                  </a:lnTo>
                  <a:lnTo>
                    <a:pt x="129" y="772"/>
                  </a:lnTo>
                  <a:lnTo>
                    <a:pt x="129" y="772"/>
                  </a:lnTo>
                  <a:close/>
                  <a:moveTo>
                    <a:pt x="115" y="797"/>
                  </a:moveTo>
                  <a:lnTo>
                    <a:pt x="118" y="797"/>
                  </a:lnTo>
                  <a:lnTo>
                    <a:pt x="120" y="797"/>
                  </a:lnTo>
                  <a:lnTo>
                    <a:pt x="117" y="799"/>
                  </a:lnTo>
                  <a:lnTo>
                    <a:pt x="115" y="797"/>
                  </a:lnTo>
                  <a:lnTo>
                    <a:pt x="115" y="797"/>
                  </a:lnTo>
                  <a:lnTo>
                    <a:pt x="115" y="797"/>
                  </a:lnTo>
                  <a:lnTo>
                    <a:pt x="115" y="797"/>
                  </a:lnTo>
                  <a:close/>
                  <a:moveTo>
                    <a:pt x="117" y="793"/>
                  </a:moveTo>
                  <a:lnTo>
                    <a:pt x="115" y="793"/>
                  </a:lnTo>
                  <a:lnTo>
                    <a:pt x="117" y="792"/>
                  </a:lnTo>
                  <a:lnTo>
                    <a:pt x="118" y="792"/>
                  </a:lnTo>
                  <a:lnTo>
                    <a:pt x="118" y="793"/>
                  </a:lnTo>
                  <a:lnTo>
                    <a:pt x="117" y="793"/>
                  </a:lnTo>
                  <a:lnTo>
                    <a:pt x="117" y="793"/>
                  </a:lnTo>
                  <a:lnTo>
                    <a:pt x="117" y="793"/>
                  </a:lnTo>
                  <a:lnTo>
                    <a:pt x="117" y="793"/>
                  </a:lnTo>
                  <a:close/>
                  <a:moveTo>
                    <a:pt x="184" y="812"/>
                  </a:moveTo>
                  <a:lnTo>
                    <a:pt x="181" y="811"/>
                  </a:lnTo>
                  <a:lnTo>
                    <a:pt x="184" y="809"/>
                  </a:lnTo>
                  <a:lnTo>
                    <a:pt x="181" y="807"/>
                  </a:lnTo>
                  <a:lnTo>
                    <a:pt x="186" y="807"/>
                  </a:lnTo>
                  <a:lnTo>
                    <a:pt x="186" y="811"/>
                  </a:lnTo>
                  <a:lnTo>
                    <a:pt x="186" y="812"/>
                  </a:lnTo>
                  <a:lnTo>
                    <a:pt x="184" y="812"/>
                  </a:lnTo>
                  <a:lnTo>
                    <a:pt x="184" y="812"/>
                  </a:lnTo>
                  <a:lnTo>
                    <a:pt x="184" y="812"/>
                  </a:lnTo>
                  <a:lnTo>
                    <a:pt x="184" y="812"/>
                  </a:lnTo>
                  <a:close/>
                  <a:moveTo>
                    <a:pt x="141" y="797"/>
                  </a:moveTo>
                  <a:lnTo>
                    <a:pt x="144" y="793"/>
                  </a:lnTo>
                  <a:lnTo>
                    <a:pt x="146" y="793"/>
                  </a:lnTo>
                  <a:lnTo>
                    <a:pt x="148" y="793"/>
                  </a:lnTo>
                  <a:lnTo>
                    <a:pt x="151" y="793"/>
                  </a:lnTo>
                  <a:lnTo>
                    <a:pt x="158" y="792"/>
                  </a:lnTo>
                  <a:lnTo>
                    <a:pt x="163" y="792"/>
                  </a:lnTo>
                  <a:lnTo>
                    <a:pt x="169" y="792"/>
                  </a:lnTo>
                  <a:lnTo>
                    <a:pt x="174" y="792"/>
                  </a:lnTo>
                  <a:lnTo>
                    <a:pt x="177" y="792"/>
                  </a:lnTo>
                  <a:lnTo>
                    <a:pt x="181" y="792"/>
                  </a:lnTo>
                  <a:lnTo>
                    <a:pt x="181" y="793"/>
                  </a:lnTo>
                  <a:lnTo>
                    <a:pt x="184" y="797"/>
                  </a:lnTo>
                  <a:lnTo>
                    <a:pt x="181" y="797"/>
                  </a:lnTo>
                  <a:lnTo>
                    <a:pt x="181" y="799"/>
                  </a:lnTo>
                  <a:lnTo>
                    <a:pt x="177" y="797"/>
                  </a:lnTo>
                  <a:lnTo>
                    <a:pt x="177" y="797"/>
                  </a:lnTo>
                  <a:lnTo>
                    <a:pt x="174" y="799"/>
                  </a:lnTo>
                  <a:lnTo>
                    <a:pt x="169" y="799"/>
                  </a:lnTo>
                  <a:lnTo>
                    <a:pt x="167" y="797"/>
                  </a:lnTo>
                  <a:lnTo>
                    <a:pt x="167" y="793"/>
                  </a:lnTo>
                  <a:lnTo>
                    <a:pt x="163" y="793"/>
                  </a:lnTo>
                  <a:lnTo>
                    <a:pt x="162" y="797"/>
                  </a:lnTo>
                  <a:lnTo>
                    <a:pt x="158" y="797"/>
                  </a:lnTo>
                  <a:lnTo>
                    <a:pt x="155" y="797"/>
                  </a:lnTo>
                  <a:lnTo>
                    <a:pt x="158" y="799"/>
                  </a:lnTo>
                  <a:lnTo>
                    <a:pt x="158" y="799"/>
                  </a:lnTo>
                  <a:lnTo>
                    <a:pt x="163" y="800"/>
                  </a:lnTo>
                  <a:lnTo>
                    <a:pt x="163" y="800"/>
                  </a:lnTo>
                  <a:lnTo>
                    <a:pt x="163" y="802"/>
                  </a:lnTo>
                  <a:lnTo>
                    <a:pt x="167" y="804"/>
                  </a:lnTo>
                  <a:lnTo>
                    <a:pt x="170" y="807"/>
                  </a:lnTo>
                  <a:lnTo>
                    <a:pt x="170" y="811"/>
                  </a:lnTo>
                  <a:lnTo>
                    <a:pt x="169" y="809"/>
                  </a:lnTo>
                  <a:lnTo>
                    <a:pt x="167" y="806"/>
                  </a:lnTo>
                  <a:lnTo>
                    <a:pt x="163" y="806"/>
                  </a:lnTo>
                  <a:lnTo>
                    <a:pt x="158" y="807"/>
                  </a:lnTo>
                  <a:lnTo>
                    <a:pt x="158" y="806"/>
                  </a:lnTo>
                  <a:lnTo>
                    <a:pt x="155" y="802"/>
                  </a:lnTo>
                  <a:lnTo>
                    <a:pt x="153" y="802"/>
                  </a:lnTo>
                  <a:lnTo>
                    <a:pt x="153" y="804"/>
                  </a:lnTo>
                  <a:lnTo>
                    <a:pt x="155" y="806"/>
                  </a:lnTo>
                  <a:lnTo>
                    <a:pt x="155" y="809"/>
                  </a:lnTo>
                  <a:lnTo>
                    <a:pt x="153" y="809"/>
                  </a:lnTo>
                  <a:lnTo>
                    <a:pt x="150" y="806"/>
                  </a:lnTo>
                  <a:lnTo>
                    <a:pt x="148" y="807"/>
                  </a:lnTo>
                  <a:lnTo>
                    <a:pt x="146" y="806"/>
                  </a:lnTo>
                  <a:lnTo>
                    <a:pt x="144" y="804"/>
                  </a:lnTo>
                  <a:lnTo>
                    <a:pt x="144" y="802"/>
                  </a:lnTo>
                  <a:lnTo>
                    <a:pt x="144" y="804"/>
                  </a:lnTo>
                  <a:lnTo>
                    <a:pt x="139" y="802"/>
                  </a:lnTo>
                  <a:lnTo>
                    <a:pt x="139" y="800"/>
                  </a:lnTo>
                  <a:lnTo>
                    <a:pt x="144" y="799"/>
                  </a:lnTo>
                  <a:lnTo>
                    <a:pt x="148" y="797"/>
                  </a:lnTo>
                  <a:lnTo>
                    <a:pt x="144" y="797"/>
                  </a:lnTo>
                  <a:lnTo>
                    <a:pt x="144" y="797"/>
                  </a:lnTo>
                  <a:lnTo>
                    <a:pt x="141" y="797"/>
                  </a:lnTo>
                  <a:lnTo>
                    <a:pt x="141" y="797"/>
                  </a:lnTo>
                  <a:lnTo>
                    <a:pt x="141" y="79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20" name="Freeform 5">
            <a:extLst>
              <a:ext uri="{FF2B5EF4-FFF2-40B4-BE49-F238E27FC236}">
                <a16:creationId xmlns:a16="http://schemas.microsoft.com/office/drawing/2014/main" id="{1D6FA62A-25C4-47BF-BC26-8D7B292F463D}"/>
              </a:ext>
            </a:extLst>
          </p:cNvPr>
          <p:cNvSpPr>
            <a:spLocks noEditPoints="1"/>
          </p:cNvSpPr>
          <p:nvPr/>
        </p:nvSpPr>
        <p:spPr bwMode="auto">
          <a:xfrm>
            <a:off x="6253163" y="2716213"/>
            <a:ext cx="1763713" cy="1311275"/>
          </a:xfrm>
          <a:custGeom>
            <a:avLst/>
            <a:gdLst/>
            <a:ahLst/>
            <a:cxnLst>
              <a:cxn ang="0">
                <a:pos x="828" y="109"/>
              </a:cxn>
              <a:cxn ang="0">
                <a:pos x="836" y="78"/>
              </a:cxn>
              <a:cxn ang="0">
                <a:pos x="840" y="38"/>
              </a:cxn>
              <a:cxn ang="0">
                <a:pos x="834" y="14"/>
              </a:cxn>
              <a:cxn ang="0">
                <a:pos x="867" y="3"/>
              </a:cxn>
              <a:cxn ang="0">
                <a:pos x="900" y="5"/>
              </a:cxn>
              <a:cxn ang="0">
                <a:pos x="918" y="17"/>
              </a:cxn>
              <a:cxn ang="0">
                <a:pos x="935" y="38"/>
              </a:cxn>
              <a:cxn ang="0">
                <a:pos x="961" y="69"/>
              </a:cxn>
              <a:cxn ang="0">
                <a:pos x="984" y="99"/>
              </a:cxn>
              <a:cxn ang="0">
                <a:pos x="1006" y="101"/>
              </a:cxn>
              <a:cxn ang="0">
                <a:pos x="1029" y="116"/>
              </a:cxn>
              <a:cxn ang="0">
                <a:pos x="1039" y="137"/>
              </a:cxn>
              <a:cxn ang="0">
                <a:pos x="1073" y="142"/>
              </a:cxn>
              <a:cxn ang="0">
                <a:pos x="1095" y="120"/>
              </a:cxn>
              <a:cxn ang="0">
                <a:pos x="1106" y="148"/>
              </a:cxn>
              <a:cxn ang="0">
                <a:pos x="1107" y="177"/>
              </a:cxn>
              <a:cxn ang="0">
                <a:pos x="1106" y="203"/>
              </a:cxn>
              <a:cxn ang="0">
                <a:pos x="1076" y="219"/>
              </a:cxn>
              <a:cxn ang="0">
                <a:pos x="1086" y="264"/>
              </a:cxn>
              <a:cxn ang="0">
                <a:pos x="1003" y="356"/>
              </a:cxn>
              <a:cxn ang="0">
                <a:pos x="963" y="382"/>
              </a:cxn>
              <a:cxn ang="0">
                <a:pos x="963" y="372"/>
              </a:cxn>
              <a:cxn ang="0">
                <a:pos x="963" y="344"/>
              </a:cxn>
              <a:cxn ang="0">
                <a:pos x="923" y="356"/>
              </a:cxn>
              <a:cxn ang="0">
                <a:pos x="895" y="388"/>
              </a:cxn>
              <a:cxn ang="0">
                <a:pos x="918" y="410"/>
              </a:cxn>
              <a:cxn ang="0">
                <a:pos x="944" y="410"/>
              </a:cxn>
              <a:cxn ang="0">
                <a:pos x="986" y="419"/>
              </a:cxn>
              <a:cxn ang="0">
                <a:pos x="963" y="436"/>
              </a:cxn>
              <a:cxn ang="0">
                <a:pos x="940" y="461"/>
              </a:cxn>
              <a:cxn ang="0">
                <a:pos x="972" y="514"/>
              </a:cxn>
              <a:cxn ang="0">
                <a:pos x="979" y="542"/>
              </a:cxn>
              <a:cxn ang="0">
                <a:pos x="949" y="539"/>
              </a:cxn>
              <a:cxn ang="0">
                <a:pos x="991" y="572"/>
              </a:cxn>
              <a:cxn ang="0">
                <a:pos x="991" y="579"/>
              </a:cxn>
              <a:cxn ang="0">
                <a:pos x="1006" y="591"/>
              </a:cxn>
              <a:cxn ang="0">
                <a:pos x="1003" y="607"/>
              </a:cxn>
              <a:cxn ang="0">
                <a:pos x="994" y="628"/>
              </a:cxn>
              <a:cxn ang="0">
                <a:pos x="991" y="648"/>
              </a:cxn>
              <a:cxn ang="0">
                <a:pos x="979" y="662"/>
              </a:cxn>
              <a:cxn ang="0">
                <a:pos x="979" y="683"/>
              </a:cxn>
              <a:cxn ang="0">
                <a:pos x="968" y="690"/>
              </a:cxn>
              <a:cxn ang="0">
                <a:pos x="956" y="706"/>
              </a:cxn>
              <a:cxn ang="0">
                <a:pos x="944" y="716"/>
              </a:cxn>
              <a:cxn ang="0">
                <a:pos x="923" y="737"/>
              </a:cxn>
              <a:cxn ang="0">
                <a:pos x="899" y="744"/>
              </a:cxn>
              <a:cxn ang="0">
                <a:pos x="881" y="749"/>
              </a:cxn>
              <a:cxn ang="0">
                <a:pos x="848" y="763"/>
              </a:cxn>
              <a:cxn ang="0">
                <a:pos x="836" y="768"/>
              </a:cxn>
              <a:cxn ang="0">
                <a:pos x="829" y="784"/>
              </a:cxn>
              <a:cxn ang="0">
                <a:pos x="812" y="761"/>
              </a:cxn>
              <a:cxn ang="0">
                <a:pos x="682" y="779"/>
              </a:cxn>
              <a:cxn ang="0">
                <a:pos x="949" y="725"/>
              </a:cxn>
              <a:cxn ang="0">
                <a:pos x="980" y="678"/>
              </a:cxn>
              <a:cxn ang="0">
                <a:pos x="994" y="551"/>
              </a:cxn>
              <a:cxn ang="0">
                <a:pos x="1013" y="737"/>
              </a:cxn>
              <a:cxn ang="0">
                <a:pos x="1019" y="681"/>
              </a:cxn>
              <a:cxn ang="0">
                <a:pos x="996" y="730"/>
              </a:cxn>
              <a:cxn ang="0">
                <a:pos x="836" y="772"/>
              </a:cxn>
              <a:cxn ang="0">
                <a:pos x="824" y="793"/>
              </a:cxn>
              <a:cxn ang="0">
                <a:pos x="831" y="821"/>
              </a:cxn>
              <a:cxn ang="0">
                <a:pos x="840" y="791"/>
              </a:cxn>
            </a:cxnLst>
            <a:rect l="0" t="0" r="r" b="b"/>
            <a:pathLst>
              <a:path w="1111" h="826">
                <a:moveTo>
                  <a:pt x="336" y="175"/>
                </a:moveTo>
                <a:lnTo>
                  <a:pt x="341" y="175"/>
                </a:lnTo>
                <a:lnTo>
                  <a:pt x="344" y="177"/>
                </a:lnTo>
                <a:lnTo>
                  <a:pt x="346" y="177"/>
                </a:lnTo>
                <a:lnTo>
                  <a:pt x="497" y="181"/>
                </a:lnTo>
                <a:lnTo>
                  <a:pt x="763" y="153"/>
                </a:lnTo>
                <a:lnTo>
                  <a:pt x="798" y="116"/>
                </a:lnTo>
                <a:lnTo>
                  <a:pt x="805" y="115"/>
                </a:lnTo>
                <a:lnTo>
                  <a:pt x="805" y="115"/>
                </a:lnTo>
                <a:lnTo>
                  <a:pt x="808" y="116"/>
                </a:lnTo>
                <a:lnTo>
                  <a:pt x="812" y="116"/>
                </a:lnTo>
                <a:lnTo>
                  <a:pt x="817" y="116"/>
                </a:lnTo>
                <a:lnTo>
                  <a:pt x="817" y="118"/>
                </a:lnTo>
                <a:lnTo>
                  <a:pt x="819" y="118"/>
                </a:lnTo>
                <a:lnTo>
                  <a:pt x="828" y="109"/>
                </a:lnTo>
                <a:lnTo>
                  <a:pt x="833" y="109"/>
                </a:lnTo>
                <a:lnTo>
                  <a:pt x="836" y="106"/>
                </a:lnTo>
                <a:lnTo>
                  <a:pt x="840" y="106"/>
                </a:lnTo>
                <a:lnTo>
                  <a:pt x="841" y="101"/>
                </a:lnTo>
                <a:lnTo>
                  <a:pt x="840" y="97"/>
                </a:lnTo>
                <a:lnTo>
                  <a:pt x="840" y="97"/>
                </a:lnTo>
                <a:lnTo>
                  <a:pt x="840" y="97"/>
                </a:lnTo>
                <a:lnTo>
                  <a:pt x="836" y="97"/>
                </a:lnTo>
                <a:lnTo>
                  <a:pt x="836" y="97"/>
                </a:lnTo>
                <a:lnTo>
                  <a:pt x="836" y="92"/>
                </a:lnTo>
                <a:lnTo>
                  <a:pt x="836" y="90"/>
                </a:lnTo>
                <a:lnTo>
                  <a:pt x="836" y="85"/>
                </a:lnTo>
                <a:lnTo>
                  <a:pt x="834" y="82"/>
                </a:lnTo>
                <a:lnTo>
                  <a:pt x="836" y="82"/>
                </a:lnTo>
                <a:lnTo>
                  <a:pt x="836" y="78"/>
                </a:lnTo>
                <a:lnTo>
                  <a:pt x="836" y="76"/>
                </a:lnTo>
                <a:lnTo>
                  <a:pt x="836" y="75"/>
                </a:lnTo>
                <a:lnTo>
                  <a:pt x="836" y="71"/>
                </a:lnTo>
                <a:lnTo>
                  <a:pt x="836" y="68"/>
                </a:lnTo>
                <a:lnTo>
                  <a:pt x="834" y="66"/>
                </a:lnTo>
                <a:lnTo>
                  <a:pt x="834" y="62"/>
                </a:lnTo>
                <a:lnTo>
                  <a:pt x="836" y="59"/>
                </a:lnTo>
                <a:lnTo>
                  <a:pt x="840" y="59"/>
                </a:lnTo>
                <a:lnTo>
                  <a:pt x="840" y="54"/>
                </a:lnTo>
                <a:lnTo>
                  <a:pt x="840" y="50"/>
                </a:lnTo>
                <a:lnTo>
                  <a:pt x="845" y="48"/>
                </a:lnTo>
                <a:lnTo>
                  <a:pt x="845" y="45"/>
                </a:lnTo>
                <a:lnTo>
                  <a:pt x="841" y="43"/>
                </a:lnTo>
                <a:lnTo>
                  <a:pt x="841" y="40"/>
                </a:lnTo>
                <a:lnTo>
                  <a:pt x="840" y="38"/>
                </a:lnTo>
                <a:lnTo>
                  <a:pt x="840" y="35"/>
                </a:lnTo>
                <a:lnTo>
                  <a:pt x="836" y="31"/>
                </a:lnTo>
                <a:lnTo>
                  <a:pt x="834" y="31"/>
                </a:lnTo>
                <a:lnTo>
                  <a:pt x="833" y="31"/>
                </a:lnTo>
                <a:lnTo>
                  <a:pt x="829" y="33"/>
                </a:lnTo>
                <a:lnTo>
                  <a:pt x="826" y="33"/>
                </a:lnTo>
                <a:lnTo>
                  <a:pt x="826" y="31"/>
                </a:lnTo>
                <a:lnTo>
                  <a:pt x="826" y="28"/>
                </a:lnTo>
                <a:lnTo>
                  <a:pt x="826" y="28"/>
                </a:lnTo>
                <a:lnTo>
                  <a:pt x="826" y="26"/>
                </a:lnTo>
                <a:lnTo>
                  <a:pt x="828" y="22"/>
                </a:lnTo>
                <a:lnTo>
                  <a:pt x="829" y="19"/>
                </a:lnTo>
                <a:lnTo>
                  <a:pt x="831" y="17"/>
                </a:lnTo>
                <a:lnTo>
                  <a:pt x="831" y="15"/>
                </a:lnTo>
                <a:lnTo>
                  <a:pt x="834" y="14"/>
                </a:lnTo>
                <a:lnTo>
                  <a:pt x="836" y="12"/>
                </a:lnTo>
                <a:lnTo>
                  <a:pt x="840" y="12"/>
                </a:lnTo>
                <a:lnTo>
                  <a:pt x="841" y="12"/>
                </a:lnTo>
                <a:lnTo>
                  <a:pt x="841" y="10"/>
                </a:lnTo>
                <a:lnTo>
                  <a:pt x="845" y="12"/>
                </a:lnTo>
                <a:lnTo>
                  <a:pt x="847" y="10"/>
                </a:lnTo>
                <a:lnTo>
                  <a:pt x="848" y="7"/>
                </a:lnTo>
                <a:lnTo>
                  <a:pt x="852" y="7"/>
                </a:lnTo>
                <a:lnTo>
                  <a:pt x="854" y="5"/>
                </a:lnTo>
                <a:lnTo>
                  <a:pt x="857" y="5"/>
                </a:lnTo>
                <a:lnTo>
                  <a:pt x="861" y="5"/>
                </a:lnTo>
                <a:lnTo>
                  <a:pt x="864" y="5"/>
                </a:lnTo>
                <a:lnTo>
                  <a:pt x="864" y="3"/>
                </a:lnTo>
                <a:lnTo>
                  <a:pt x="867" y="3"/>
                </a:lnTo>
                <a:lnTo>
                  <a:pt x="867" y="3"/>
                </a:lnTo>
                <a:lnTo>
                  <a:pt x="871" y="0"/>
                </a:lnTo>
                <a:lnTo>
                  <a:pt x="873" y="0"/>
                </a:lnTo>
                <a:lnTo>
                  <a:pt x="874" y="0"/>
                </a:lnTo>
                <a:lnTo>
                  <a:pt x="878" y="0"/>
                </a:lnTo>
                <a:lnTo>
                  <a:pt x="880" y="3"/>
                </a:lnTo>
                <a:lnTo>
                  <a:pt x="885" y="3"/>
                </a:lnTo>
                <a:lnTo>
                  <a:pt x="887" y="5"/>
                </a:lnTo>
                <a:lnTo>
                  <a:pt x="887" y="7"/>
                </a:lnTo>
                <a:lnTo>
                  <a:pt x="892" y="7"/>
                </a:lnTo>
                <a:lnTo>
                  <a:pt x="895" y="5"/>
                </a:lnTo>
                <a:lnTo>
                  <a:pt x="895" y="7"/>
                </a:lnTo>
                <a:lnTo>
                  <a:pt x="899" y="8"/>
                </a:lnTo>
                <a:lnTo>
                  <a:pt x="899" y="8"/>
                </a:lnTo>
                <a:lnTo>
                  <a:pt x="899" y="5"/>
                </a:lnTo>
                <a:lnTo>
                  <a:pt x="900" y="5"/>
                </a:lnTo>
                <a:lnTo>
                  <a:pt x="902" y="5"/>
                </a:lnTo>
                <a:lnTo>
                  <a:pt x="906" y="5"/>
                </a:lnTo>
                <a:lnTo>
                  <a:pt x="906" y="5"/>
                </a:lnTo>
                <a:lnTo>
                  <a:pt x="907" y="7"/>
                </a:lnTo>
                <a:lnTo>
                  <a:pt x="909" y="7"/>
                </a:lnTo>
                <a:lnTo>
                  <a:pt x="913" y="7"/>
                </a:lnTo>
                <a:lnTo>
                  <a:pt x="913" y="8"/>
                </a:lnTo>
                <a:lnTo>
                  <a:pt x="913" y="10"/>
                </a:lnTo>
                <a:lnTo>
                  <a:pt x="914" y="12"/>
                </a:lnTo>
                <a:lnTo>
                  <a:pt x="914" y="14"/>
                </a:lnTo>
                <a:lnTo>
                  <a:pt x="914" y="14"/>
                </a:lnTo>
                <a:lnTo>
                  <a:pt x="918" y="12"/>
                </a:lnTo>
                <a:lnTo>
                  <a:pt x="921" y="14"/>
                </a:lnTo>
                <a:lnTo>
                  <a:pt x="921" y="15"/>
                </a:lnTo>
                <a:lnTo>
                  <a:pt x="918" y="17"/>
                </a:lnTo>
                <a:lnTo>
                  <a:pt x="921" y="19"/>
                </a:lnTo>
                <a:lnTo>
                  <a:pt x="923" y="19"/>
                </a:lnTo>
                <a:lnTo>
                  <a:pt x="925" y="19"/>
                </a:lnTo>
                <a:lnTo>
                  <a:pt x="925" y="19"/>
                </a:lnTo>
                <a:lnTo>
                  <a:pt x="925" y="22"/>
                </a:lnTo>
                <a:lnTo>
                  <a:pt x="928" y="22"/>
                </a:lnTo>
                <a:lnTo>
                  <a:pt x="928" y="22"/>
                </a:lnTo>
                <a:lnTo>
                  <a:pt x="928" y="28"/>
                </a:lnTo>
                <a:lnTo>
                  <a:pt x="930" y="28"/>
                </a:lnTo>
                <a:lnTo>
                  <a:pt x="930" y="31"/>
                </a:lnTo>
                <a:lnTo>
                  <a:pt x="930" y="31"/>
                </a:lnTo>
                <a:lnTo>
                  <a:pt x="935" y="31"/>
                </a:lnTo>
                <a:lnTo>
                  <a:pt x="935" y="33"/>
                </a:lnTo>
                <a:lnTo>
                  <a:pt x="935" y="36"/>
                </a:lnTo>
                <a:lnTo>
                  <a:pt x="935" y="38"/>
                </a:lnTo>
                <a:lnTo>
                  <a:pt x="937" y="40"/>
                </a:lnTo>
                <a:lnTo>
                  <a:pt x="940" y="43"/>
                </a:lnTo>
                <a:lnTo>
                  <a:pt x="940" y="45"/>
                </a:lnTo>
                <a:lnTo>
                  <a:pt x="944" y="48"/>
                </a:lnTo>
                <a:lnTo>
                  <a:pt x="944" y="50"/>
                </a:lnTo>
                <a:lnTo>
                  <a:pt x="946" y="50"/>
                </a:lnTo>
                <a:lnTo>
                  <a:pt x="949" y="54"/>
                </a:lnTo>
                <a:lnTo>
                  <a:pt x="949" y="54"/>
                </a:lnTo>
                <a:lnTo>
                  <a:pt x="946" y="55"/>
                </a:lnTo>
                <a:lnTo>
                  <a:pt x="949" y="59"/>
                </a:lnTo>
                <a:lnTo>
                  <a:pt x="949" y="55"/>
                </a:lnTo>
                <a:lnTo>
                  <a:pt x="951" y="59"/>
                </a:lnTo>
                <a:lnTo>
                  <a:pt x="951" y="61"/>
                </a:lnTo>
                <a:lnTo>
                  <a:pt x="954" y="66"/>
                </a:lnTo>
                <a:lnTo>
                  <a:pt x="961" y="69"/>
                </a:lnTo>
                <a:lnTo>
                  <a:pt x="963" y="73"/>
                </a:lnTo>
                <a:lnTo>
                  <a:pt x="963" y="76"/>
                </a:lnTo>
                <a:lnTo>
                  <a:pt x="965" y="78"/>
                </a:lnTo>
                <a:lnTo>
                  <a:pt x="965" y="82"/>
                </a:lnTo>
                <a:lnTo>
                  <a:pt x="967" y="82"/>
                </a:lnTo>
                <a:lnTo>
                  <a:pt x="968" y="82"/>
                </a:lnTo>
                <a:lnTo>
                  <a:pt x="968" y="85"/>
                </a:lnTo>
                <a:lnTo>
                  <a:pt x="968" y="87"/>
                </a:lnTo>
                <a:lnTo>
                  <a:pt x="972" y="90"/>
                </a:lnTo>
                <a:lnTo>
                  <a:pt x="973" y="95"/>
                </a:lnTo>
                <a:lnTo>
                  <a:pt x="977" y="95"/>
                </a:lnTo>
                <a:lnTo>
                  <a:pt x="979" y="99"/>
                </a:lnTo>
                <a:lnTo>
                  <a:pt x="980" y="99"/>
                </a:lnTo>
                <a:lnTo>
                  <a:pt x="982" y="97"/>
                </a:lnTo>
                <a:lnTo>
                  <a:pt x="984" y="99"/>
                </a:lnTo>
                <a:lnTo>
                  <a:pt x="986" y="99"/>
                </a:lnTo>
                <a:lnTo>
                  <a:pt x="989" y="99"/>
                </a:lnTo>
                <a:lnTo>
                  <a:pt x="991" y="97"/>
                </a:lnTo>
                <a:lnTo>
                  <a:pt x="994" y="97"/>
                </a:lnTo>
                <a:lnTo>
                  <a:pt x="994" y="99"/>
                </a:lnTo>
                <a:lnTo>
                  <a:pt x="991" y="99"/>
                </a:lnTo>
                <a:lnTo>
                  <a:pt x="994" y="101"/>
                </a:lnTo>
                <a:lnTo>
                  <a:pt x="996" y="101"/>
                </a:lnTo>
                <a:lnTo>
                  <a:pt x="1000" y="101"/>
                </a:lnTo>
                <a:lnTo>
                  <a:pt x="1000" y="104"/>
                </a:lnTo>
                <a:lnTo>
                  <a:pt x="1001" y="104"/>
                </a:lnTo>
                <a:lnTo>
                  <a:pt x="1001" y="104"/>
                </a:lnTo>
                <a:lnTo>
                  <a:pt x="1003" y="101"/>
                </a:lnTo>
                <a:lnTo>
                  <a:pt x="1005" y="104"/>
                </a:lnTo>
                <a:lnTo>
                  <a:pt x="1006" y="101"/>
                </a:lnTo>
                <a:lnTo>
                  <a:pt x="1008" y="101"/>
                </a:lnTo>
                <a:lnTo>
                  <a:pt x="1010" y="101"/>
                </a:lnTo>
                <a:lnTo>
                  <a:pt x="1010" y="104"/>
                </a:lnTo>
                <a:lnTo>
                  <a:pt x="1012" y="106"/>
                </a:lnTo>
                <a:lnTo>
                  <a:pt x="1013" y="106"/>
                </a:lnTo>
                <a:lnTo>
                  <a:pt x="1013" y="106"/>
                </a:lnTo>
                <a:lnTo>
                  <a:pt x="1017" y="109"/>
                </a:lnTo>
                <a:lnTo>
                  <a:pt x="1017" y="109"/>
                </a:lnTo>
                <a:lnTo>
                  <a:pt x="1019" y="109"/>
                </a:lnTo>
                <a:lnTo>
                  <a:pt x="1019" y="113"/>
                </a:lnTo>
                <a:lnTo>
                  <a:pt x="1022" y="113"/>
                </a:lnTo>
                <a:lnTo>
                  <a:pt x="1022" y="115"/>
                </a:lnTo>
                <a:lnTo>
                  <a:pt x="1024" y="115"/>
                </a:lnTo>
                <a:lnTo>
                  <a:pt x="1026" y="116"/>
                </a:lnTo>
                <a:lnTo>
                  <a:pt x="1029" y="116"/>
                </a:lnTo>
                <a:lnTo>
                  <a:pt x="1031" y="116"/>
                </a:lnTo>
                <a:lnTo>
                  <a:pt x="1033" y="116"/>
                </a:lnTo>
                <a:lnTo>
                  <a:pt x="1034" y="115"/>
                </a:lnTo>
                <a:lnTo>
                  <a:pt x="1036" y="115"/>
                </a:lnTo>
                <a:lnTo>
                  <a:pt x="1038" y="115"/>
                </a:lnTo>
                <a:lnTo>
                  <a:pt x="1038" y="116"/>
                </a:lnTo>
                <a:lnTo>
                  <a:pt x="1036" y="120"/>
                </a:lnTo>
                <a:lnTo>
                  <a:pt x="1036" y="122"/>
                </a:lnTo>
                <a:lnTo>
                  <a:pt x="1036" y="123"/>
                </a:lnTo>
                <a:lnTo>
                  <a:pt x="1039" y="123"/>
                </a:lnTo>
                <a:lnTo>
                  <a:pt x="1039" y="127"/>
                </a:lnTo>
                <a:lnTo>
                  <a:pt x="1041" y="130"/>
                </a:lnTo>
                <a:lnTo>
                  <a:pt x="1039" y="132"/>
                </a:lnTo>
                <a:lnTo>
                  <a:pt x="1039" y="132"/>
                </a:lnTo>
                <a:lnTo>
                  <a:pt x="1039" y="137"/>
                </a:lnTo>
                <a:lnTo>
                  <a:pt x="1041" y="141"/>
                </a:lnTo>
                <a:lnTo>
                  <a:pt x="1045" y="141"/>
                </a:lnTo>
                <a:lnTo>
                  <a:pt x="1045" y="144"/>
                </a:lnTo>
                <a:lnTo>
                  <a:pt x="1048" y="146"/>
                </a:lnTo>
                <a:lnTo>
                  <a:pt x="1050" y="146"/>
                </a:lnTo>
                <a:lnTo>
                  <a:pt x="1053" y="144"/>
                </a:lnTo>
                <a:lnTo>
                  <a:pt x="1053" y="144"/>
                </a:lnTo>
                <a:lnTo>
                  <a:pt x="1055" y="146"/>
                </a:lnTo>
                <a:lnTo>
                  <a:pt x="1057" y="148"/>
                </a:lnTo>
                <a:lnTo>
                  <a:pt x="1059" y="148"/>
                </a:lnTo>
                <a:lnTo>
                  <a:pt x="1060" y="146"/>
                </a:lnTo>
                <a:lnTo>
                  <a:pt x="1064" y="146"/>
                </a:lnTo>
                <a:lnTo>
                  <a:pt x="1064" y="146"/>
                </a:lnTo>
                <a:lnTo>
                  <a:pt x="1071" y="144"/>
                </a:lnTo>
                <a:lnTo>
                  <a:pt x="1073" y="142"/>
                </a:lnTo>
                <a:lnTo>
                  <a:pt x="1073" y="142"/>
                </a:lnTo>
                <a:lnTo>
                  <a:pt x="1073" y="141"/>
                </a:lnTo>
                <a:lnTo>
                  <a:pt x="1073" y="137"/>
                </a:lnTo>
                <a:lnTo>
                  <a:pt x="1076" y="137"/>
                </a:lnTo>
                <a:lnTo>
                  <a:pt x="1076" y="132"/>
                </a:lnTo>
                <a:lnTo>
                  <a:pt x="1076" y="132"/>
                </a:lnTo>
                <a:lnTo>
                  <a:pt x="1079" y="132"/>
                </a:lnTo>
                <a:lnTo>
                  <a:pt x="1083" y="132"/>
                </a:lnTo>
                <a:lnTo>
                  <a:pt x="1083" y="128"/>
                </a:lnTo>
                <a:lnTo>
                  <a:pt x="1085" y="127"/>
                </a:lnTo>
                <a:lnTo>
                  <a:pt x="1086" y="127"/>
                </a:lnTo>
                <a:lnTo>
                  <a:pt x="1088" y="123"/>
                </a:lnTo>
                <a:lnTo>
                  <a:pt x="1090" y="122"/>
                </a:lnTo>
                <a:lnTo>
                  <a:pt x="1093" y="122"/>
                </a:lnTo>
                <a:lnTo>
                  <a:pt x="1095" y="120"/>
                </a:lnTo>
                <a:lnTo>
                  <a:pt x="1099" y="122"/>
                </a:lnTo>
                <a:lnTo>
                  <a:pt x="1099" y="123"/>
                </a:lnTo>
                <a:lnTo>
                  <a:pt x="1100" y="123"/>
                </a:lnTo>
                <a:lnTo>
                  <a:pt x="1104" y="125"/>
                </a:lnTo>
                <a:lnTo>
                  <a:pt x="1104" y="128"/>
                </a:lnTo>
                <a:lnTo>
                  <a:pt x="1104" y="130"/>
                </a:lnTo>
                <a:lnTo>
                  <a:pt x="1104" y="132"/>
                </a:lnTo>
                <a:lnTo>
                  <a:pt x="1106" y="135"/>
                </a:lnTo>
                <a:lnTo>
                  <a:pt x="1106" y="137"/>
                </a:lnTo>
                <a:lnTo>
                  <a:pt x="1107" y="137"/>
                </a:lnTo>
                <a:lnTo>
                  <a:pt x="1111" y="141"/>
                </a:lnTo>
                <a:lnTo>
                  <a:pt x="1109" y="142"/>
                </a:lnTo>
                <a:lnTo>
                  <a:pt x="1109" y="146"/>
                </a:lnTo>
                <a:lnTo>
                  <a:pt x="1109" y="148"/>
                </a:lnTo>
                <a:lnTo>
                  <a:pt x="1106" y="148"/>
                </a:lnTo>
                <a:lnTo>
                  <a:pt x="1104" y="151"/>
                </a:lnTo>
                <a:lnTo>
                  <a:pt x="1104" y="153"/>
                </a:lnTo>
                <a:lnTo>
                  <a:pt x="1106" y="155"/>
                </a:lnTo>
                <a:lnTo>
                  <a:pt x="1106" y="156"/>
                </a:lnTo>
                <a:lnTo>
                  <a:pt x="1106" y="158"/>
                </a:lnTo>
                <a:lnTo>
                  <a:pt x="1104" y="160"/>
                </a:lnTo>
                <a:lnTo>
                  <a:pt x="1106" y="163"/>
                </a:lnTo>
                <a:lnTo>
                  <a:pt x="1107" y="163"/>
                </a:lnTo>
                <a:lnTo>
                  <a:pt x="1107" y="165"/>
                </a:lnTo>
                <a:lnTo>
                  <a:pt x="1107" y="165"/>
                </a:lnTo>
                <a:lnTo>
                  <a:pt x="1107" y="168"/>
                </a:lnTo>
                <a:lnTo>
                  <a:pt x="1107" y="168"/>
                </a:lnTo>
                <a:lnTo>
                  <a:pt x="1106" y="168"/>
                </a:lnTo>
                <a:lnTo>
                  <a:pt x="1106" y="172"/>
                </a:lnTo>
                <a:lnTo>
                  <a:pt x="1107" y="177"/>
                </a:lnTo>
                <a:lnTo>
                  <a:pt x="1109" y="179"/>
                </a:lnTo>
                <a:lnTo>
                  <a:pt x="1109" y="179"/>
                </a:lnTo>
                <a:lnTo>
                  <a:pt x="1107" y="181"/>
                </a:lnTo>
                <a:lnTo>
                  <a:pt x="1106" y="184"/>
                </a:lnTo>
                <a:lnTo>
                  <a:pt x="1107" y="186"/>
                </a:lnTo>
                <a:lnTo>
                  <a:pt x="1107" y="188"/>
                </a:lnTo>
                <a:lnTo>
                  <a:pt x="1109" y="188"/>
                </a:lnTo>
                <a:lnTo>
                  <a:pt x="1106" y="191"/>
                </a:lnTo>
                <a:lnTo>
                  <a:pt x="1106" y="191"/>
                </a:lnTo>
                <a:lnTo>
                  <a:pt x="1106" y="191"/>
                </a:lnTo>
                <a:lnTo>
                  <a:pt x="1107" y="196"/>
                </a:lnTo>
                <a:lnTo>
                  <a:pt x="1106" y="196"/>
                </a:lnTo>
                <a:lnTo>
                  <a:pt x="1104" y="200"/>
                </a:lnTo>
                <a:lnTo>
                  <a:pt x="1104" y="202"/>
                </a:lnTo>
                <a:lnTo>
                  <a:pt x="1106" y="203"/>
                </a:lnTo>
                <a:lnTo>
                  <a:pt x="1104" y="205"/>
                </a:lnTo>
                <a:lnTo>
                  <a:pt x="1106" y="207"/>
                </a:lnTo>
                <a:lnTo>
                  <a:pt x="1106" y="208"/>
                </a:lnTo>
                <a:lnTo>
                  <a:pt x="1106" y="212"/>
                </a:lnTo>
                <a:lnTo>
                  <a:pt x="1106" y="214"/>
                </a:lnTo>
                <a:lnTo>
                  <a:pt x="1104" y="214"/>
                </a:lnTo>
                <a:lnTo>
                  <a:pt x="1100" y="212"/>
                </a:lnTo>
                <a:lnTo>
                  <a:pt x="1092" y="210"/>
                </a:lnTo>
                <a:lnTo>
                  <a:pt x="1088" y="210"/>
                </a:lnTo>
                <a:lnTo>
                  <a:pt x="1086" y="208"/>
                </a:lnTo>
                <a:lnTo>
                  <a:pt x="1085" y="208"/>
                </a:lnTo>
                <a:lnTo>
                  <a:pt x="1081" y="214"/>
                </a:lnTo>
                <a:lnTo>
                  <a:pt x="1081" y="217"/>
                </a:lnTo>
                <a:lnTo>
                  <a:pt x="1079" y="219"/>
                </a:lnTo>
                <a:lnTo>
                  <a:pt x="1076" y="219"/>
                </a:lnTo>
                <a:lnTo>
                  <a:pt x="1076" y="219"/>
                </a:lnTo>
                <a:lnTo>
                  <a:pt x="1076" y="222"/>
                </a:lnTo>
                <a:lnTo>
                  <a:pt x="1076" y="224"/>
                </a:lnTo>
                <a:lnTo>
                  <a:pt x="1079" y="231"/>
                </a:lnTo>
                <a:lnTo>
                  <a:pt x="1079" y="233"/>
                </a:lnTo>
                <a:lnTo>
                  <a:pt x="1081" y="235"/>
                </a:lnTo>
                <a:lnTo>
                  <a:pt x="1083" y="238"/>
                </a:lnTo>
                <a:lnTo>
                  <a:pt x="1083" y="242"/>
                </a:lnTo>
                <a:lnTo>
                  <a:pt x="1085" y="247"/>
                </a:lnTo>
                <a:lnTo>
                  <a:pt x="1085" y="247"/>
                </a:lnTo>
                <a:lnTo>
                  <a:pt x="1085" y="254"/>
                </a:lnTo>
                <a:lnTo>
                  <a:pt x="1086" y="255"/>
                </a:lnTo>
                <a:lnTo>
                  <a:pt x="1086" y="259"/>
                </a:lnTo>
                <a:lnTo>
                  <a:pt x="1086" y="262"/>
                </a:lnTo>
                <a:lnTo>
                  <a:pt x="1086" y="264"/>
                </a:lnTo>
                <a:lnTo>
                  <a:pt x="1086" y="266"/>
                </a:lnTo>
                <a:lnTo>
                  <a:pt x="1086" y="268"/>
                </a:lnTo>
                <a:lnTo>
                  <a:pt x="1086" y="269"/>
                </a:lnTo>
                <a:lnTo>
                  <a:pt x="1085" y="269"/>
                </a:lnTo>
                <a:lnTo>
                  <a:pt x="1081" y="269"/>
                </a:lnTo>
                <a:lnTo>
                  <a:pt x="1078" y="269"/>
                </a:lnTo>
                <a:lnTo>
                  <a:pt x="1078" y="273"/>
                </a:lnTo>
                <a:lnTo>
                  <a:pt x="1079" y="275"/>
                </a:lnTo>
                <a:lnTo>
                  <a:pt x="1079" y="278"/>
                </a:lnTo>
                <a:lnTo>
                  <a:pt x="1079" y="278"/>
                </a:lnTo>
                <a:lnTo>
                  <a:pt x="1079" y="281"/>
                </a:lnTo>
                <a:lnTo>
                  <a:pt x="1064" y="292"/>
                </a:lnTo>
                <a:lnTo>
                  <a:pt x="1060" y="318"/>
                </a:lnTo>
                <a:lnTo>
                  <a:pt x="1012" y="355"/>
                </a:lnTo>
                <a:lnTo>
                  <a:pt x="1003" y="356"/>
                </a:lnTo>
                <a:lnTo>
                  <a:pt x="1001" y="356"/>
                </a:lnTo>
                <a:lnTo>
                  <a:pt x="1001" y="355"/>
                </a:lnTo>
                <a:lnTo>
                  <a:pt x="996" y="360"/>
                </a:lnTo>
                <a:lnTo>
                  <a:pt x="991" y="360"/>
                </a:lnTo>
                <a:lnTo>
                  <a:pt x="991" y="360"/>
                </a:lnTo>
                <a:lnTo>
                  <a:pt x="989" y="360"/>
                </a:lnTo>
                <a:lnTo>
                  <a:pt x="984" y="361"/>
                </a:lnTo>
                <a:lnTo>
                  <a:pt x="980" y="361"/>
                </a:lnTo>
                <a:lnTo>
                  <a:pt x="979" y="365"/>
                </a:lnTo>
                <a:lnTo>
                  <a:pt x="977" y="365"/>
                </a:lnTo>
                <a:lnTo>
                  <a:pt x="972" y="370"/>
                </a:lnTo>
                <a:lnTo>
                  <a:pt x="967" y="374"/>
                </a:lnTo>
                <a:lnTo>
                  <a:pt x="968" y="379"/>
                </a:lnTo>
                <a:lnTo>
                  <a:pt x="968" y="379"/>
                </a:lnTo>
                <a:lnTo>
                  <a:pt x="963" y="382"/>
                </a:lnTo>
                <a:lnTo>
                  <a:pt x="960" y="384"/>
                </a:lnTo>
                <a:lnTo>
                  <a:pt x="958" y="384"/>
                </a:lnTo>
                <a:lnTo>
                  <a:pt x="954" y="388"/>
                </a:lnTo>
                <a:lnTo>
                  <a:pt x="953" y="388"/>
                </a:lnTo>
                <a:lnTo>
                  <a:pt x="953" y="384"/>
                </a:lnTo>
                <a:lnTo>
                  <a:pt x="949" y="384"/>
                </a:lnTo>
                <a:lnTo>
                  <a:pt x="951" y="382"/>
                </a:lnTo>
                <a:lnTo>
                  <a:pt x="954" y="382"/>
                </a:lnTo>
                <a:lnTo>
                  <a:pt x="956" y="379"/>
                </a:lnTo>
                <a:lnTo>
                  <a:pt x="960" y="379"/>
                </a:lnTo>
                <a:lnTo>
                  <a:pt x="961" y="379"/>
                </a:lnTo>
                <a:lnTo>
                  <a:pt x="961" y="377"/>
                </a:lnTo>
                <a:lnTo>
                  <a:pt x="960" y="375"/>
                </a:lnTo>
                <a:lnTo>
                  <a:pt x="960" y="374"/>
                </a:lnTo>
                <a:lnTo>
                  <a:pt x="963" y="372"/>
                </a:lnTo>
                <a:lnTo>
                  <a:pt x="965" y="368"/>
                </a:lnTo>
                <a:lnTo>
                  <a:pt x="960" y="372"/>
                </a:lnTo>
                <a:lnTo>
                  <a:pt x="956" y="374"/>
                </a:lnTo>
                <a:lnTo>
                  <a:pt x="954" y="372"/>
                </a:lnTo>
                <a:lnTo>
                  <a:pt x="954" y="368"/>
                </a:lnTo>
                <a:lnTo>
                  <a:pt x="956" y="368"/>
                </a:lnTo>
                <a:lnTo>
                  <a:pt x="956" y="368"/>
                </a:lnTo>
                <a:lnTo>
                  <a:pt x="953" y="361"/>
                </a:lnTo>
                <a:lnTo>
                  <a:pt x="953" y="360"/>
                </a:lnTo>
                <a:lnTo>
                  <a:pt x="953" y="356"/>
                </a:lnTo>
                <a:lnTo>
                  <a:pt x="956" y="356"/>
                </a:lnTo>
                <a:lnTo>
                  <a:pt x="956" y="353"/>
                </a:lnTo>
                <a:lnTo>
                  <a:pt x="960" y="348"/>
                </a:lnTo>
                <a:lnTo>
                  <a:pt x="961" y="346"/>
                </a:lnTo>
                <a:lnTo>
                  <a:pt x="963" y="344"/>
                </a:lnTo>
                <a:lnTo>
                  <a:pt x="963" y="341"/>
                </a:lnTo>
                <a:lnTo>
                  <a:pt x="954" y="337"/>
                </a:lnTo>
                <a:lnTo>
                  <a:pt x="949" y="332"/>
                </a:lnTo>
                <a:lnTo>
                  <a:pt x="949" y="334"/>
                </a:lnTo>
                <a:lnTo>
                  <a:pt x="946" y="334"/>
                </a:lnTo>
                <a:lnTo>
                  <a:pt x="944" y="332"/>
                </a:lnTo>
                <a:lnTo>
                  <a:pt x="940" y="332"/>
                </a:lnTo>
                <a:lnTo>
                  <a:pt x="937" y="337"/>
                </a:lnTo>
                <a:lnTo>
                  <a:pt x="937" y="337"/>
                </a:lnTo>
                <a:lnTo>
                  <a:pt x="937" y="341"/>
                </a:lnTo>
                <a:lnTo>
                  <a:pt x="932" y="346"/>
                </a:lnTo>
                <a:lnTo>
                  <a:pt x="932" y="353"/>
                </a:lnTo>
                <a:lnTo>
                  <a:pt x="930" y="353"/>
                </a:lnTo>
                <a:lnTo>
                  <a:pt x="927" y="356"/>
                </a:lnTo>
                <a:lnTo>
                  <a:pt x="923" y="356"/>
                </a:lnTo>
                <a:lnTo>
                  <a:pt x="918" y="360"/>
                </a:lnTo>
                <a:lnTo>
                  <a:pt x="914" y="368"/>
                </a:lnTo>
                <a:lnTo>
                  <a:pt x="914" y="372"/>
                </a:lnTo>
                <a:lnTo>
                  <a:pt x="914" y="372"/>
                </a:lnTo>
                <a:lnTo>
                  <a:pt x="918" y="377"/>
                </a:lnTo>
                <a:lnTo>
                  <a:pt x="914" y="377"/>
                </a:lnTo>
                <a:lnTo>
                  <a:pt x="914" y="379"/>
                </a:lnTo>
                <a:lnTo>
                  <a:pt x="914" y="382"/>
                </a:lnTo>
                <a:lnTo>
                  <a:pt x="909" y="382"/>
                </a:lnTo>
                <a:lnTo>
                  <a:pt x="904" y="382"/>
                </a:lnTo>
                <a:lnTo>
                  <a:pt x="899" y="379"/>
                </a:lnTo>
                <a:lnTo>
                  <a:pt x="895" y="382"/>
                </a:lnTo>
                <a:lnTo>
                  <a:pt x="895" y="384"/>
                </a:lnTo>
                <a:lnTo>
                  <a:pt x="895" y="388"/>
                </a:lnTo>
                <a:lnTo>
                  <a:pt x="895" y="388"/>
                </a:lnTo>
                <a:lnTo>
                  <a:pt x="895" y="391"/>
                </a:lnTo>
                <a:lnTo>
                  <a:pt x="892" y="391"/>
                </a:lnTo>
                <a:lnTo>
                  <a:pt x="895" y="395"/>
                </a:lnTo>
                <a:lnTo>
                  <a:pt x="895" y="400"/>
                </a:lnTo>
                <a:lnTo>
                  <a:pt x="899" y="401"/>
                </a:lnTo>
                <a:lnTo>
                  <a:pt x="904" y="405"/>
                </a:lnTo>
                <a:lnTo>
                  <a:pt x="904" y="407"/>
                </a:lnTo>
                <a:lnTo>
                  <a:pt x="907" y="410"/>
                </a:lnTo>
                <a:lnTo>
                  <a:pt x="907" y="410"/>
                </a:lnTo>
                <a:lnTo>
                  <a:pt x="909" y="410"/>
                </a:lnTo>
                <a:lnTo>
                  <a:pt x="909" y="410"/>
                </a:lnTo>
                <a:lnTo>
                  <a:pt x="913" y="410"/>
                </a:lnTo>
                <a:lnTo>
                  <a:pt x="913" y="410"/>
                </a:lnTo>
                <a:lnTo>
                  <a:pt x="914" y="410"/>
                </a:lnTo>
                <a:lnTo>
                  <a:pt x="918" y="410"/>
                </a:lnTo>
                <a:lnTo>
                  <a:pt x="918" y="414"/>
                </a:lnTo>
                <a:lnTo>
                  <a:pt x="918" y="419"/>
                </a:lnTo>
                <a:lnTo>
                  <a:pt x="923" y="428"/>
                </a:lnTo>
                <a:lnTo>
                  <a:pt x="928" y="428"/>
                </a:lnTo>
                <a:lnTo>
                  <a:pt x="932" y="426"/>
                </a:lnTo>
                <a:lnTo>
                  <a:pt x="935" y="428"/>
                </a:lnTo>
                <a:lnTo>
                  <a:pt x="937" y="426"/>
                </a:lnTo>
                <a:lnTo>
                  <a:pt x="937" y="422"/>
                </a:lnTo>
                <a:lnTo>
                  <a:pt x="937" y="419"/>
                </a:lnTo>
                <a:lnTo>
                  <a:pt x="935" y="419"/>
                </a:lnTo>
                <a:lnTo>
                  <a:pt x="940" y="419"/>
                </a:lnTo>
                <a:lnTo>
                  <a:pt x="944" y="415"/>
                </a:lnTo>
                <a:lnTo>
                  <a:pt x="944" y="414"/>
                </a:lnTo>
                <a:lnTo>
                  <a:pt x="940" y="410"/>
                </a:lnTo>
                <a:lnTo>
                  <a:pt x="944" y="410"/>
                </a:lnTo>
                <a:lnTo>
                  <a:pt x="953" y="407"/>
                </a:lnTo>
                <a:lnTo>
                  <a:pt x="954" y="410"/>
                </a:lnTo>
                <a:lnTo>
                  <a:pt x="956" y="410"/>
                </a:lnTo>
                <a:lnTo>
                  <a:pt x="958" y="414"/>
                </a:lnTo>
                <a:lnTo>
                  <a:pt x="960" y="415"/>
                </a:lnTo>
                <a:lnTo>
                  <a:pt x="963" y="415"/>
                </a:lnTo>
                <a:lnTo>
                  <a:pt x="972" y="415"/>
                </a:lnTo>
                <a:lnTo>
                  <a:pt x="973" y="415"/>
                </a:lnTo>
                <a:lnTo>
                  <a:pt x="979" y="415"/>
                </a:lnTo>
                <a:lnTo>
                  <a:pt x="977" y="415"/>
                </a:lnTo>
                <a:lnTo>
                  <a:pt x="982" y="415"/>
                </a:lnTo>
                <a:lnTo>
                  <a:pt x="987" y="415"/>
                </a:lnTo>
                <a:lnTo>
                  <a:pt x="989" y="415"/>
                </a:lnTo>
                <a:lnTo>
                  <a:pt x="986" y="415"/>
                </a:lnTo>
                <a:lnTo>
                  <a:pt x="986" y="419"/>
                </a:lnTo>
                <a:lnTo>
                  <a:pt x="987" y="422"/>
                </a:lnTo>
                <a:lnTo>
                  <a:pt x="986" y="422"/>
                </a:lnTo>
                <a:lnTo>
                  <a:pt x="984" y="424"/>
                </a:lnTo>
                <a:lnTo>
                  <a:pt x="984" y="428"/>
                </a:lnTo>
                <a:lnTo>
                  <a:pt x="987" y="428"/>
                </a:lnTo>
                <a:lnTo>
                  <a:pt x="987" y="429"/>
                </a:lnTo>
                <a:lnTo>
                  <a:pt x="982" y="433"/>
                </a:lnTo>
                <a:lnTo>
                  <a:pt x="979" y="431"/>
                </a:lnTo>
                <a:lnTo>
                  <a:pt x="977" y="428"/>
                </a:lnTo>
                <a:lnTo>
                  <a:pt x="977" y="431"/>
                </a:lnTo>
                <a:lnTo>
                  <a:pt x="975" y="428"/>
                </a:lnTo>
                <a:lnTo>
                  <a:pt x="972" y="433"/>
                </a:lnTo>
                <a:lnTo>
                  <a:pt x="968" y="433"/>
                </a:lnTo>
                <a:lnTo>
                  <a:pt x="967" y="436"/>
                </a:lnTo>
                <a:lnTo>
                  <a:pt x="963" y="436"/>
                </a:lnTo>
                <a:lnTo>
                  <a:pt x="963" y="438"/>
                </a:lnTo>
                <a:lnTo>
                  <a:pt x="960" y="436"/>
                </a:lnTo>
                <a:lnTo>
                  <a:pt x="956" y="436"/>
                </a:lnTo>
                <a:lnTo>
                  <a:pt x="960" y="438"/>
                </a:lnTo>
                <a:lnTo>
                  <a:pt x="960" y="441"/>
                </a:lnTo>
                <a:lnTo>
                  <a:pt x="956" y="443"/>
                </a:lnTo>
                <a:lnTo>
                  <a:pt x="956" y="447"/>
                </a:lnTo>
                <a:lnTo>
                  <a:pt x="951" y="447"/>
                </a:lnTo>
                <a:lnTo>
                  <a:pt x="949" y="448"/>
                </a:lnTo>
                <a:lnTo>
                  <a:pt x="949" y="450"/>
                </a:lnTo>
                <a:lnTo>
                  <a:pt x="953" y="452"/>
                </a:lnTo>
                <a:lnTo>
                  <a:pt x="949" y="455"/>
                </a:lnTo>
                <a:lnTo>
                  <a:pt x="949" y="455"/>
                </a:lnTo>
                <a:lnTo>
                  <a:pt x="944" y="461"/>
                </a:lnTo>
                <a:lnTo>
                  <a:pt x="940" y="461"/>
                </a:lnTo>
                <a:lnTo>
                  <a:pt x="940" y="461"/>
                </a:lnTo>
                <a:lnTo>
                  <a:pt x="940" y="466"/>
                </a:lnTo>
                <a:lnTo>
                  <a:pt x="940" y="469"/>
                </a:lnTo>
                <a:lnTo>
                  <a:pt x="940" y="475"/>
                </a:lnTo>
                <a:lnTo>
                  <a:pt x="940" y="483"/>
                </a:lnTo>
                <a:lnTo>
                  <a:pt x="940" y="483"/>
                </a:lnTo>
                <a:lnTo>
                  <a:pt x="949" y="487"/>
                </a:lnTo>
                <a:lnTo>
                  <a:pt x="949" y="490"/>
                </a:lnTo>
                <a:lnTo>
                  <a:pt x="953" y="488"/>
                </a:lnTo>
                <a:lnTo>
                  <a:pt x="963" y="494"/>
                </a:lnTo>
                <a:lnTo>
                  <a:pt x="968" y="502"/>
                </a:lnTo>
                <a:lnTo>
                  <a:pt x="968" y="506"/>
                </a:lnTo>
                <a:lnTo>
                  <a:pt x="968" y="508"/>
                </a:lnTo>
                <a:lnTo>
                  <a:pt x="972" y="509"/>
                </a:lnTo>
                <a:lnTo>
                  <a:pt x="972" y="514"/>
                </a:lnTo>
                <a:lnTo>
                  <a:pt x="977" y="520"/>
                </a:lnTo>
                <a:lnTo>
                  <a:pt x="977" y="525"/>
                </a:lnTo>
                <a:lnTo>
                  <a:pt x="982" y="530"/>
                </a:lnTo>
                <a:lnTo>
                  <a:pt x="986" y="532"/>
                </a:lnTo>
                <a:lnTo>
                  <a:pt x="989" y="530"/>
                </a:lnTo>
                <a:lnTo>
                  <a:pt x="991" y="532"/>
                </a:lnTo>
                <a:lnTo>
                  <a:pt x="991" y="534"/>
                </a:lnTo>
                <a:lnTo>
                  <a:pt x="994" y="539"/>
                </a:lnTo>
                <a:lnTo>
                  <a:pt x="996" y="541"/>
                </a:lnTo>
                <a:lnTo>
                  <a:pt x="1000" y="546"/>
                </a:lnTo>
                <a:lnTo>
                  <a:pt x="996" y="546"/>
                </a:lnTo>
                <a:lnTo>
                  <a:pt x="991" y="544"/>
                </a:lnTo>
                <a:lnTo>
                  <a:pt x="986" y="548"/>
                </a:lnTo>
                <a:lnTo>
                  <a:pt x="982" y="542"/>
                </a:lnTo>
                <a:lnTo>
                  <a:pt x="979" y="542"/>
                </a:lnTo>
                <a:lnTo>
                  <a:pt x="975" y="541"/>
                </a:lnTo>
                <a:lnTo>
                  <a:pt x="968" y="539"/>
                </a:lnTo>
                <a:lnTo>
                  <a:pt x="968" y="542"/>
                </a:lnTo>
                <a:lnTo>
                  <a:pt x="965" y="542"/>
                </a:lnTo>
                <a:lnTo>
                  <a:pt x="963" y="541"/>
                </a:lnTo>
                <a:lnTo>
                  <a:pt x="960" y="535"/>
                </a:lnTo>
                <a:lnTo>
                  <a:pt x="956" y="537"/>
                </a:lnTo>
                <a:lnTo>
                  <a:pt x="953" y="535"/>
                </a:lnTo>
                <a:lnTo>
                  <a:pt x="953" y="537"/>
                </a:lnTo>
                <a:lnTo>
                  <a:pt x="949" y="537"/>
                </a:lnTo>
                <a:lnTo>
                  <a:pt x="949" y="537"/>
                </a:lnTo>
                <a:lnTo>
                  <a:pt x="944" y="537"/>
                </a:lnTo>
                <a:lnTo>
                  <a:pt x="940" y="546"/>
                </a:lnTo>
                <a:lnTo>
                  <a:pt x="946" y="541"/>
                </a:lnTo>
                <a:lnTo>
                  <a:pt x="949" y="539"/>
                </a:lnTo>
                <a:lnTo>
                  <a:pt x="954" y="539"/>
                </a:lnTo>
                <a:lnTo>
                  <a:pt x="958" y="537"/>
                </a:lnTo>
                <a:lnTo>
                  <a:pt x="960" y="539"/>
                </a:lnTo>
                <a:lnTo>
                  <a:pt x="960" y="541"/>
                </a:lnTo>
                <a:lnTo>
                  <a:pt x="965" y="544"/>
                </a:lnTo>
                <a:lnTo>
                  <a:pt x="967" y="546"/>
                </a:lnTo>
                <a:lnTo>
                  <a:pt x="972" y="541"/>
                </a:lnTo>
                <a:lnTo>
                  <a:pt x="975" y="541"/>
                </a:lnTo>
                <a:lnTo>
                  <a:pt x="982" y="548"/>
                </a:lnTo>
                <a:lnTo>
                  <a:pt x="989" y="551"/>
                </a:lnTo>
                <a:lnTo>
                  <a:pt x="996" y="556"/>
                </a:lnTo>
                <a:lnTo>
                  <a:pt x="1000" y="563"/>
                </a:lnTo>
                <a:lnTo>
                  <a:pt x="1000" y="565"/>
                </a:lnTo>
                <a:lnTo>
                  <a:pt x="996" y="567"/>
                </a:lnTo>
                <a:lnTo>
                  <a:pt x="991" y="572"/>
                </a:lnTo>
                <a:lnTo>
                  <a:pt x="991" y="570"/>
                </a:lnTo>
                <a:lnTo>
                  <a:pt x="989" y="572"/>
                </a:lnTo>
                <a:lnTo>
                  <a:pt x="989" y="575"/>
                </a:lnTo>
                <a:lnTo>
                  <a:pt x="986" y="575"/>
                </a:lnTo>
                <a:lnTo>
                  <a:pt x="980" y="575"/>
                </a:lnTo>
                <a:lnTo>
                  <a:pt x="979" y="575"/>
                </a:lnTo>
                <a:lnTo>
                  <a:pt x="977" y="575"/>
                </a:lnTo>
                <a:lnTo>
                  <a:pt x="972" y="579"/>
                </a:lnTo>
                <a:lnTo>
                  <a:pt x="972" y="584"/>
                </a:lnTo>
                <a:lnTo>
                  <a:pt x="973" y="579"/>
                </a:lnTo>
                <a:lnTo>
                  <a:pt x="977" y="579"/>
                </a:lnTo>
                <a:lnTo>
                  <a:pt x="980" y="575"/>
                </a:lnTo>
                <a:lnTo>
                  <a:pt x="984" y="581"/>
                </a:lnTo>
                <a:lnTo>
                  <a:pt x="987" y="584"/>
                </a:lnTo>
                <a:lnTo>
                  <a:pt x="991" y="579"/>
                </a:lnTo>
                <a:lnTo>
                  <a:pt x="994" y="579"/>
                </a:lnTo>
                <a:lnTo>
                  <a:pt x="1001" y="588"/>
                </a:lnTo>
                <a:lnTo>
                  <a:pt x="1001" y="584"/>
                </a:lnTo>
                <a:lnTo>
                  <a:pt x="1003" y="588"/>
                </a:lnTo>
                <a:lnTo>
                  <a:pt x="1006" y="588"/>
                </a:lnTo>
                <a:lnTo>
                  <a:pt x="1008" y="588"/>
                </a:lnTo>
                <a:lnTo>
                  <a:pt x="1000" y="594"/>
                </a:lnTo>
                <a:lnTo>
                  <a:pt x="994" y="594"/>
                </a:lnTo>
                <a:lnTo>
                  <a:pt x="994" y="598"/>
                </a:lnTo>
                <a:lnTo>
                  <a:pt x="996" y="600"/>
                </a:lnTo>
                <a:lnTo>
                  <a:pt x="1001" y="594"/>
                </a:lnTo>
                <a:lnTo>
                  <a:pt x="1005" y="596"/>
                </a:lnTo>
                <a:lnTo>
                  <a:pt x="1005" y="594"/>
                </a:lnTo>
                <a:lnTo>
                  <a:pt x="1005" y="593"/>
                </a:lnTo>
                <a:lnTo>
                  <a:pt x="1006" y="591"/>
                </a:lnTo>
                <a:lnTo>
                  <a:pt x="1008" y="593"/>
                </a:lnTo>
                <a:lnTo>
                  <a:pt x="1010" y="598"/>
                </a:lnTo>
                <a:lnTo>
                  <a:pt x="1010" y="600"/>
                </a:lnTo>
                <a:lnTo>
                  <a:pt x="1008" y="601"/>
                </a:lnTo>
                <a:lnTo>
                  <a:pt x="1008" y="600"/>
                </a:lnTo>
                <a:lnTo>
                  <a:pt x="1006" y="600"/>
                </a:lnTo>
                <a:lnTo>
                  <a:pt x="1005" y="601"/>
                </a:lnTo>
                <a:lnTo>
                  <a:pt x="1005" y="601"/>
                </a:lnTo>
                <a:lnTo>
                  <a:pt x="1001" y="601"/>
                </a:lnTo>
                <a:lnTo>
                  <a:pt x="996" y="605"/>
                </a:lnTo>
                <a:lnTo>
                  <a:pt x="996" y="607"/>
                </a:lnTo>
                <a:lnTo>
                  <a:pt x="1003" y="605"/>
                </a:lnTo>
                <a:lnTo>
                  <a:pt x="1005" y="607"/>
                </a:lnTo>
                <a:lnTo>
                  <a:pt x="1005" y="607"/>
                </a:lnTo>
                <a:lnTo>
                  <a:pt x="1003" y="607"/>
                </a:lnTo>
                <a:lnTo>
                  <a:pt x="1000" y="610"/>
                </a:lnTo>
                <a:lnTo>
                  <a:pt x="1003" y="610"/>
                </a:lnTo>
                <a:lnTo>
                  <a:pt x="1005" y="612"/>
                </a:lnTo>
                <a:lnTo>
                  <a:pt x="1001" y="615"/>
                </a:lnTo>
                <a:lnTo>
                  <a:pt x="1000" y="615"/>
                </a:lnTo>
                <a:lnTo>
                  <a:pt x="1000" y="615"/>
                </a:lnTo>
                <a:lnTo>
                  <a:pt x="1000" y="617"/>
                </a:lnTo>
                <a:lnTo>
                  <a:pt x="1003" y="617"/>
                </a:lnTo>
                <a:lnTo>
                  <a:pt x="1005" y="621"/>
                </a:lnTo>
                <a:lnTo>
                  <a:pt x="1003" y="622"/>
                </a:lnTo>
                <a:lnTo>
                  <a:pt x="1001" y="626"/>
                </a:lnTo>
                <a:lnTo>
                  <a:pt x="1001" y="624"/>
                </a:lnTo>
                <a:lnTo>
                  <a:pt x="1000" y="621"/>
                </a:lnTo>
                <a:lnTo>
                  <a:pt x="1000" y="622"/>
                </a:lnTo>
                <a:lnTo>
                  <a:pt x="994" y="628"/>
                </a:lnTo>
                <a:lnTo>
                  <a:pt x="994" y="629"/>
                </a:lnTo>
                <a:lnTo>
                  <a:pt x="989" y="628"/>
                </a:lnTo>
                <a:lnTo>
                  <a:pt x="991" y="629"/>
                </a:lnTo>
                <a:lnTo>
                  <a:pt x="991" y="633"/>
                </a:lnTo>
                <a:lnTo>
                  <a:pt x="994" y="634"/>
                </a:lnTo>
                <a:lnTo>
                  <a:pt x="991" y="634"/>
                </a:lnTo>
                <a:lnTo>
                  <a:pt x="991" y="638"/>
                </a:lnTo>
                <a:lnTo>
                  <a:pt x="991" y="638"/>
                </a:lnTo>
                <a:lnTo>
                  <a:pt x="991" y="640"/>
                </a:lnTo>
                <a:lnTo>
                  <a:pt x="991" y="643"/>
                </a:lnTo>
                <a:lnTo>
                  <a:pt x="989" y="645"/>
                </a:lnTo>
                <a:lnTo>
                  <a:pt x="987" y="641"/>
                </a:lnTo>
                <a:lnTo>
                  <a:pt x="986" y="645"/>
                </a:lnTo>
                <a:lnTo>
                  <a:pt x="989" y="645"/>
                </a:lnTo>
                <a:lnTo>
                  <a:pt x="991" y="648"/>
                </a:lnTo>
                <a:lnTo>
                  <a:pt x="987" y="648"/>
                </a:lnTo>
                <a:lnTo>
                  <a:pt x="987" y="650"/>
                </a:lnTo>
                <a:lnTo>
                  <a:pt x="982" y="655"/>
                </a:lnTo>
                <a:lnTo>
                  <a:pt x="980" y="655"/>
                </a:lnTo>
                <a:lnTo>
                  <a:pt x="980" y="652"/>
                </a:lnTo>
                <a:lnTo>
                  <a:pt x="979" y="652"/>
                </a:lnTo>
                <a:lnTo>
                  <a:pt x="977" y="652"/>
                </a:lnTo>
                <a:lnTo>
                  <a:pt x="977" y="654"/>
                </a:lnTo>
                <a:lnTo>
                  <a:pt x="973" y="654"/>
                </a:lnTo>
                <a:lnTo>
                  <a:pt x="975" y="655"/>
                </a:lnTo>
                <a:lnTo>
                  <a:pt x="973" y="657"/>
                </a:lnTo>
                <a:lnTo>
                  <a:pt x="977" y="657"/>
                </a:lnTo>
                <a:lnTo>
                  <a:pt x="979" y="661"/>
                </a:lnTo>
                <a:lnTo>
                  <a:pt x="975" y="661"/>
                </a:lnTo>
                <a:lnTo>
                  <a:pt x="979" y="662"/>
                </a:lnTo>
                <a:lnTo>
                  <a:pt x="982" y="662"/>
                </a:lnTo>
                <a:lnTo>
                  <a:pt x="984" y="662"/>
                </a:lnTo>
                <a:lnTo>
                  <a:pt x="977" y="666"/>
                </a:lnTo>
                <a:lnTo>
                  <a:pt x="973" y="668"/>
                </a:lnTo>
                <a:lnTo>
                  <a:pt x="973" y="671"/>
                </a:lnTo>
                <a:lnTo>
                  <a:pt x="975" y="669"/>
                </a:lnTo>
                <a:lnTo>
                  <a:pt x="977" y="669"/>
                </a:lnTo>
                <a:lnTo>
                  <a:pt x="979" y="671"/>
                </a:lnTo>
                <a:lnTo>
                  <a:pt x="975" y="674"/>
                </a:lnTo>
                <a:lnTo>
                  <a:pt x="979" y="676"/>
                </a:lnTo>
                <a:lnTo>
                  <a:pt x="979" y="678"/>
                </a:lnTo>
                <a:lnTo>
                  <a:pt x="975" y="680"/>
                </a:lnTo>
                <a:lnTo>
                  <a:pt x="977" y="681"/>
                </a:lnTo>
                <a:lnTo>
                  <a:pt x="979" y="681"/>
                </a:lnTo>
                <a:lnTo>
                  <a:pt x="979" y="683"/>
                </a:lnTo>
                <a:lnTo>
                  <a:pt x="979" y="688"/>
                </a:lnTo>
                <a:lnTo>
                  <a:pt x="977" y="685"/>
                </a:lnTo>
                <a:lnTo>
                  <a:pt x="975" y="685"/>
                </a:lnTo>
                <a:lnTo>
                  <a:pt x="975" y="683"/>
                </a:lnTo>
                <a:lnTo>
                  <a:pt x="972" y="680"/>
                </a:lnTo>
                <a:lnTo>
                  <a:pt x="972" y="683"/>
                </a:lnTo>
                <a:lnTo>
                  <a:pt x="972" y="683"/>
                </a:lnTo>
                <a:lnTo>
                  <a:pt x="968" y="685"/>
                </a:lnTo>
                <a:lnTo>
                  <a:pt x="972" y="688"/>
                </a:lnTo>
                <a:lnTo>
                  <a:pt x="972" y="690"/>
                </a:lnTo>
                <a:lnTo>
                  <a:pt x="972" y="688"/>
                </a:lnTo>
                <a:lnTo>
                  <a:pt x="968" y="688"/>
                </a:lnTo>
                <a:lnTo>
                  <a:pt x="968" y="685"/>
                </a:lnTo>
                <a:lnTo>
                  <a:pt x="967" y="688"/>
                </a:lnTo>
                <a:lnTo>
                  <a:pt x="968" y="690"/>
                </a:lnTo>
                <a:lnTo>
                  <a:pt x="968" y="694"/>
                </a:lnTo>
                <a:lnTo>
                  <a:pt x="972" y="694"/>
                </a:lnTo>
                <a:lnTo>
                  <a:pt x="972" y="694"/>
                </a:lnTo>
                <a:lnTo>
                  <a:pt x="968" y="694"/>
                </a:lnTo>
                <a:lnTo>
                  <a:pt x="967" y="694"/>
                </a:lnTo>
                <a:lnTo>
                  <a:pt x="967" y="694"/>
                </a:lnTo>
                <a:lnTo>
                  <a:pt x="967" y="697"/>
                </a:lnTo>
                <a:lnTo>
                  <a:pt x="968" y="697"/>
                </a:lnTo>
                <a:lnTo>
                  <a:pt x="968" y="701"/>
                </a:lnTo>
                <a:lnTo>
                  <a:pt x="963" y="697"/>
                </a:lnTo>
                <a:lnTo>
                  <a:pt x="961" y="699"/>
                </a:lnTo>
                <a:lnTo>
                  <a:pt x="960" y="699"/>
                </a:lnTo>
                <a:lnTo>
                  <a:pt x="958" y="702"/>
                </a:lnTo>
                <a:lnTo>
                  <a:pt x="951" y="702"/>
                </a:lnTo>
                <a:lnTo>
                  <a:pt x="956" y="706"/>
                </a:lnTo>
                <a:lnTo>
                  <a:pt x="960" y="704"/>
                </a:lnTo>
                <a:lnTo>
                  <a:pt x="961" y="706"/>
                </a:lnTo>
                <a:lnTo>
                  <a:pt x="961" y="708"/>
                </a:lnTo>
                <a:lnTo>
                  <a:pt x="958" y="709"/>
                </a:lnTo>
                <a:lnTo>
                  <a:pt x="958" y="713"/>
                </a:lnTo>
                <a:lnTo>
                  <a:pt x="956" y="709"/>
                </a:lnTo>
                <a:lnTo>
                  <a:pt x="954" y="713"/>
                </a:lnTo>
                <a:lnTo>
                  <a:pt x="953" y="714"/>
                </a:lnTo>
                <a:lnTo>
                  <a:pt x="953" y="713"/>
                </a:lnTo>
                <a:lnTo>
                  <a:pt x="951" y="713"/>
                </a:lnTo>
                <a:lnTo>
                  <a:pt x="951" y="716"/>
                </a:lnTo>
                <a:lnTo>
                  <a:pt x="949" y="716"/>
                </a:lnTo>
                <a:lnTo>
                  <a:pt x="949" y="720"/>
                </a:lnTo>
                <a:lnTo>
                  <a:pt x="944" y="720"/>
                </a:lnTo>
                <a:lnTo>
                  <a:pt x="944" y="716"/>
                </a:lnTo>
                <a:lnTo>
                  <a:pt x="940" y="716"/>
                </a:lnTo>
                <a:lnTo>
                  <a:pt x="937" y="721"/>
                </a:lnTo>
                <a:lnTo>
                  <a:pt x="937" y="720"/>
                </a:lnTo>
                <a:lnTo>
                  <a:pt x="937" y="721"/>
                </a:lnTo>
                <a:lnTo>
                  <a:pt x="937" y="727"/>
                </a:lnTo>
                <a:lnTo>
                  <a:pt x="937" y="728"/>
                </a:lnTo>
                <a:lnTo>
                  <a:pt x="937" y="730"/>
                </a:lnTo>
                <a:lnTo>
                  <a:pt x="935" y="732"/>
                </a:lnTo>
                <a:lnTo>
                  <a:pt x="934" y="732"/>
                </a:lnTo>
                <a:lnTo>
                  <a:pt x="932" y="734"/>
                </a:lnTo>
                <a:lnTo>
                  <a:pt x="932" y="730"/>
                </a:lnTo>
                <a:lnTo>
                  <a:pt x="930" y="732"/>
                </a:lnTo>
                <a:lnTo>
                  <a:pt x="928" y="735"/>
                </a:lnTo>
                <a:lnTo>
                  <a:pt x="923" y="735"/>
                </a:lnTo>
                <a:lnTo>
                  <a:pt x="923" y="737"/>
                </a:lnTo>
                <a:lnTo>
                  <a:pt x="921" y="737"/>
                </a:lnTo>
                <a:lnTo>
                  <a:pt x="921" y="735"/>
                </a:lnTo>
                <a:lnTo>
                  <a:pt x="918" y="735"/>
                </a:lnTo>
                <a:lnTo>
                  <a:pt x="918" y="739"/>
                </a:lnTo>
                <a:lnTo>
                  <a:pt x="918" y="741"/>
                </a:lnTo>
                <a:lnTo>
                  <a:pt x="914" y="737"/>
                </a:lnTo>
                <a:lnTo>
                  <a:pt x="913" y="735"/>
                </a:lnTo>
                <a:lnTo>
                  <a:pt x="913" y="737"/>
                </a:lnTo>
                <a:lnTo>
                  <a:pt x="909" y="737"/>
                </a:lnTo>
                <a:lnTo>
                  <a:pt x="909" y="741"/>
                </a:lnTo>
                <a:lnTo>
                  <a:pt x="906" y="741"/>
                </a:lnTo>
                <a:lnTo>
                  <a:pt x="904" y="739"/>
                </a:lnTo>
                <a:lnTo>
                  <a:pt x="902" y="741"/>
                </a:lnTo>
                <a:lnTo>
                  <a:pt x="899" y="742"/>
                </a:lnTo>
                <a:lnTo>
                  <a:pt x="899" y="744"/>
                </a:lnTo>
                <a:lnTo>
                  <a:pt x="892" y="748"/>
                </a:lnTo>
                <a:lnTo>
                  <a:pt x="892" y="748"/>
                </a:lnTo>
                <a:lnTo>
                  <a:pt x="895" y="744"/>
                </a:lnTo>
                <a:lnTo>
                  <a:pt x="895" y="744"/>
                </a:lnTo>
                <a:lnTo>
                  <a:pt x="895" y="744"/>
                </a:lnTo>
                <a:lnTo>
                  <a:pt x="890" y="741"/>
                </a:lnTo>
                <a:lnTo>
                  <a:pt x="890" y="739"/>
                </a:lnTo>
                <a:lnTo>
                  <a:pt x="887" y="735"/>
                </a:lnTo>
                <a:lnTo>
                  <a:pt x="885" y="734"/>
                </a:lnTo>
                <a:lnTo>
                  <a:pt x="885" y="735"/>
                </a:lnTo>
                <a:lnTo>
                  <a:pt x="885" y="739"/>
                </a:lnTo>
                <a:lnTo>
                  <a:pt x="885" y="742"/>
                </a:lnTo>
                <a:lnTo>
                  <a:pt x="887" y="744"/>
                </a:lnTo>
                <a:lnTo>
                  <a:pt x="883" y="748"/>
                </a:lnTo>
                <a:lnTo>
                  <a:pt x="881" y="749"/>
                </a:lnTo>
                <a:lnTo>
                  <a:pt x="880" y="753"/>
                </a:lnTo>
                <a:lnTo>
                  <a:pt x="878" y="749"/>
                </a:lnTo>
                <a:lnTo>
                  <a:pt x="878" y="748"/>
                </a:lnTo>
                <a:lnTo>
                  <a:pt x="876" y="749"/>
                </a:lnTo>
                <a:lnTo>
                  <a:pt x="874" y="753"/>
                </a:lnTo>
                <a:lnTo>
                  <a:pt x="871" y="756"/>
                </a:lnTo>
                <a:lnTo>
                  <a:pt x="867" y="758"/>
                </a:lnTo>
                <a:lnTo>
                  <a:pt x="867" y="758"/>
                </a:lnTo>
                <a:lnTo>
                  <a:pt x="864" y="758"/>
                </a:lnTo>
                <a:lnTo>
                  <a:pt x="861" y="758"/>
                </a:lnTo>
                <a:lnTo>
                  <a:pt x="857" y="758"/>
                </a:lnTo>
                <a:lnTo>
                  <a:pt x="859" y="761"/>
                </a:lnTo>
                <a:lnTo>
                  <a:pt x="854" y="763"/>
                </a:lnTo>
                <a:lnTo>
                  <a:pt x="850" y="765"/>
                </a:lnTo>
                <a:lnTo>
                  <a:pt x="848" y="763"/>
                </a:lnTo>
                <a:lnTo>
                  <a:pt x="847" y="765"/>
                </a:lnTo>
                <a:lnTo>
                  <a:pt x="845" y="767"/>
                </a:lnTo>
                <a:lnTo>
                  <a:pt x="841" y="768"/>
                </a:lnTo>
                <a:lnTo>
                  <a:pt x="840" y="768"/>
                </a:lnTo>
                <a:lnTo>
                  <a:pt x="841" y="767"/>
                </a:lnTo>
                <a:lnTo>
                  <a:pt x="840" y="767"/>
                </a:lnTo>
                <a:lnTo>
                  <a:pt x="840" y="767"/>
                </a:lnTo>
                <a:lnTo>
                  <a:pt x="840" y="765"/>
                </a:lnTo>
                <a:lnTo>
                  <a:pt x="840" y="765"/>
                </a:lnTo>
                <a:lnTo>
                  <a:pt x="840" y="765"/>
                </a:lnTo>
                <a:lnTo>
                  <a:pt x="840" y="763"/>
                </a:lnTo>
                <a:lnTo>
                  <a:pt x="836" y="765"/>
                </a:lnTo>
                <a:lnTo>
                  <a:pt x="836" y="765"/>
                </a:lnTo>
                <a:lnTo>
                  <a:pt x="836" y="767"/>
                </a:lnTo>
                <a:lnTo>
                  <a:pt x="836" y="768"/>
                </a:lnTo>
                <a:lnTo>
                  <a:pt x="834" y="772"/>
                </a:lnTo>
                <a:lnTo>
                  <a:pt x="834" y="772"/>
                </a:lnTo>
                <a:lnTo>
                  <a:pt x="834" y="775"/>
                </a:lnTo>
                <a:lnTo>
                  <a:pt x="836" y="775"/>
                </a:lnTo>
                <a:lnTo>
                  <a:pt x="840" y="779"/>
                </a:lnTo>
                <a:lnTo>
                  <a:pt x="840" y="779"/>
                </a:lnTo>
                <a:lnTo>
                  <a:pt x="840" y="779"/>
                </a:lnTo>
                <a:lnTo>
                  <a:pt x="840" y="781"/>
                </a:lnTo>
                <a:lnTo>
                  <a:pt x="836" y="784"/>
                </a:lnTo>
                <a:lnTo>
                  <a:pt x="836" y="784"/>
                </a:lnTo>
                <a:lnTo>
                  <a:pt x="836" y="784"/>
                </a:lnTo>
                <a:lnTo>
                  <a:pt x="833" y="784"/>
                </a:lnTo>
                <a:lnTo>
                  <a:pt x="831" y="786"/>
                </a:lnTo>
                <a:lnTo>
                  <a:pt x="829" y="786"/>
                </a:lnTo>
                <a:lnTo>
                  <a:pt x="829" y="784"/>
                </a:lnTo>
                <a:lnTo>
                  <a:pt x="829" y="781"/>
                </a:lnTo>
                <a:lnTo>
                  <a:pt x="828" y="779"/>
                </a:lnTo>
                <a:lnTo>
                  <a:pt x="822" y="775"/>
                </a:lnTo>
                <a:lnTo>
                  <a:pt x="822" y="772"/>
                </a:lnTo>
                <a:lnTo>
                  <a:pt x="826" y="768"/>
                </a:lnTo>
                <a:lnTo>
                  <a:pt x="826" y="767"/>
                </a:lnTo>
                <a:lnTo>
                  <a:pt x="829" y="765"/>
                </a:lnTo>
                <a:lnTo>
                  <a:pt x="828" y="765"/>
                </a:lnTo>
                <a:lnTo>
                  <a:pt x="826" y="763"/>
                </a:lnTo>
                <a:lnTo>
                  <a:pt x="824" y="765"/>
                </a:lnTo>
                <a:lnTo>
                  <a:pt x="821" y="761"/>
                </a:lnTo>
                <a:lnTo>
                  <a:pt x="819" y="765"/>
                </a:lnTo>
                <a:lnTo>
                  <a:pt x="817" y="765"/>
                </a:lnTo>
                <a:lnTo>
                  <a:pt x="817" y="765"/>
                </a:lnTo>
                <a:lnTo>
                  <a:pt x="812" y="761"/>
                </a:lnTo>
                <a:lnTo>
                  <a:pt x="810" y="763"/>
                </a:lnTo>
                <a:lnTo>
                  <a:pt x="805" y="760"/>
                </a:lnTo>
                <a:lnTo>
                  <a:pt x="805" y="756"/>
                </a:lnTo>
                <a:lnTo>
                  <a:pt x="805" y="760"/>
                </a:lnTo>
                <a:lnTo>
                  <a:pt x="805" y="761"/>
                </a:lnTo>
                <a:lnTo>
                  <a:pt x="801" y="763"/>
                </a:lnTo>
                <a:lnTo>
                  <a:pt x="800" y="761"/>
                </a:lnTo>
                <a:lnTo>
                  <a:pt x="798" y="763"/>
                </a:lnTo>
                <a:lnTo>
                  <a:pt x="796" y="761"/>
                </a:lnTo>
                <a:lnTo>
                  <a:pt x="796" y="761"/>
                </a:lnTo>
                <a:lnTo>
                  <a:pt x="796" y="761"/>
                </a:lnTo>
                <a:lnTo>
                  <a:pt x="794" y="761"/>
                </a:lnTo>
                <a:lnTo>
                  <a:pt x="777" y="763"/>
                </a:lnTo>
                <a:lnTo>
                  <a:pt x="741" y="748"/>
                </a:lnTo>
                <a:lnTo>
                  <a:pt x="682" y="779"/>
                </a:lnTo>
                <a:lnTo>
                  <a:pt x="640" y="765"/>
                </a:lnTo>
                <a:lnTo>
                  <a:pt x="539" y="692"/>
                </a:lnTo>
                <a:lnTo>
                  <a:pt x="327" y="671"/>
                </a:lnTo>
                <a:lnTo>
                  <a:pt x="214" y="565"/>
                </a:lnTo>
                <a:lnTo>
                  <a:pt x="0" y="471"/>
                </a:lnTo>
                <a:lnTo>
                  <a:pt x="18" y="288"/>
                </a:lnTo>
                <a:lnTo>
                  <a:pt x="159" y="212"/>
                </a:lnTo>
                <a:lnTo>
                  <a:pt x="324" y="177"/>
                </a:lnTo>
                <a:lnTo>
                  <a:pt x="336" y="175"/>
                </a:lnTo>
                <a:lnTo>
                  <a:pt x="336" y="175"/>
                </a:lnTo>
                <a:lnTo>
                  <a:pt x="336" y="175"/>
                </a:lnTo>
                <a:lnTo>
                  <a:pt x="336" y="175"/>
                </a:lnTo>
                <a:close/>
                <a:moveTo>
                  <a:pt x="944" y="721"/>
                </a:moveTo>
                <a:lnTo>
                  <a:pt x="944" y="725"/>
                </a:lnTo>
                <a:lnTo>
                  <a:pt x="949" y="725"/>
                </a:lnTo>
                <a:lnTo>
                  <a:pt x="949" y="725"/>
                </a:lnTo>
                <a:lnTo>
                  <a:pt x="946" y="721"/>
                </a:lnTo>
                <a:lnTo>
                  <a:pt x="944" y="721"/>
                </a:lnTo>
                <a:lnTo>
                  <a:pt x="944" y="721"/>
                </a:lnTo>
                <a:lnTo>
                  <a:pt x="944" y="721"/>
                </a:lnTo>
                <a:lnTo>
                  <a:pt x="944" y="721"/>
                </a:lnTo>
                <a:close/>
                <a:moveTo>
                  <a:pt x="980" y="678"/>
                </a:moveTo>
                <a:lnTo>
                  <a:pt x="982" y="683"/>
                </a:lnTo>
                <a:lnTo>
                  <a:pt x="984" y="681"/>
                </a:lnTo>
                <a:lnTo>
                  <a:pt x="984" y="680"/>
                </a:lnTo>
                <a:lnTo>
                  <a:pt x="982" y="678"/>
                </a:lnTo>
                <a:lnTo>
                  <a:pt x="980" y="678"/>
                </a:lnTo>
                <a:lnTo>
                  <a:pt x="980" y="678"/>
                </a:lnTo>
                <a:lnTo>
                  <a:pt x="980" y="678"/>
                </a:lnTo>
                <a:lnTo>
                  <a:pt x="980" y="678"/>
                </a:lnTo>
                <a:close/>
                <a:moveTo>
                  <a:pt x="1006" y="579"/>
                </a:moveTo>
                <a:lnTo>
                  <a:pt x="1008" y="581"/>
                </a:lnTo>
                <a:lnTo>
                  <a:pt x="1012" y="584"/>
                </a:lnTo>
                <a:lnTo>
                  <a:pt x="1013" y="584"/>
                </a:lnTo>
                <a:lnTo>
                  <a:pt x="1013" y="581"/>
                </a:lnTo>
                <a:lnTo>
                  <a:pt x="1010" y="579"/>
                </a:lnTo>
                <a:lnTo>
                  <a:pt x="1008" y="579"/>
                </a:lnTo>
                <a:lnTo>
                  <a:pt x="1006" y="579"/>
                </a:lnTo>
                <a:lnTo>
                  <a:pt x="1006" y="579"/>
                </a:lnTo>
                <a:lnTo>
                  <a:pt x="1006" y="579"/>
                </a:lnTo>
                <a:lnTo>
                  <a:pt x="1006" y="579"/>
                </a:lnTo>
                <a:close/>
                <a:moveTo>
                  <a:pt x="989" y="546"/>
                </a:moveTo>
                <a:lnTo>
                  <a:pt x="989" y="548"/>
                </a:lnTo>
                <a:lnTo>
                  <a:pt x="991" y="551"/>
                </a:lnTo>
                <a:lnTo>
                  <a:pt x="994" y="551"/>
                </a:lnTo>
                <a:lnTo>
                  <a:pt x="996" y="553"/>
                </a:lnTo>
                <a:lnTo>
                  <a:pt x="996" y="548"/>
                </a:lnTo>
                <a:lnTo>
                  <a:pt x="994" y="548"/>
                </a:lnTo>
                <a:lnTo>
                  <a:pt x="991" y="548"/>
                </a:lnTo>
                <a:lnTo>
                  <a:pt x="989" y="546"/>
                </a:lnTo>
                <a:lnTo>
                  <a:pt x="989" y="546"/>
                </a:lnTo>
                <a:lnTo>
                  <a:pt x="989" y="546"/>
                </a:lnTo>
                <a:lnTo>
                  <a:pt x="989" y="546"/>
                </a:lnTo>
                <a:close/>
                <a:moveTo>
                  <a:pt x="1010" y="753"/>
                </a:moveTo>
                <a:lnTo>
                  <a:pt x="1012" y="753"/>
                </a:lnTo>
                <a:lnTo>
                  <a:pt x="1013" y="753"/>
                </a:lnTo>
                <a:lnTo>
                  <a:pt x="1013" y="749"/>
                </a:lnTo>
                <a:lnTo>
                  <a:pt x="1013" y="744"/>
                </a:lnTo>
                <a:lnTo>
                  <a:pt x="1013" y="741"/>
                </a:lnTo>
                <a:lnTo>
                  <a:pt x="1013" y="737"/>
                </a:lnTo>
                <a:lnTo>
                  <a:pt x="1019" y="730"/>
                </a:lnTo>
                <a:lnTo>
                  <a:pt x="1019" y="725"/>
                </a:lnTo>
                <a:lnTo>
                  <a:pt x="1022" y="725"/>
                </a:lnTo>
                <a:lnTo>
                  <a:pt x="1019" y="725"/>
                </a:lnTo>
                <a:lnTo>
                  <a:pt x="1022" y="716"/>
                </a:lnTo>
                <a:lnTo>
                  <a:pt x="1022" y="713"/>
                </a:lnTo>
                <a:lnTo>
                  <a:pt x="1019" y="708"/>
                </a:lnTo>
                <a:lnTo>
                  <a:pt x="1022" y="704"/>
                </a:lnTo>
                <a:lnTo>
                  <a:pt x="1022" y="697"/>
                </a:lnTo>
                <a:lnTo>
                  <a:pt x="1024" y="692"/>
                </a:lnTo>
                <a:lnTo>
                  <a:pt x="1024" y="692"/>
                </a:lnTo>
                <a:lnTo>
                  <a:pt x="1024" y="688"/>
                </a:lnTo>
                <a:lnTo>
                  <a:pt x="1022" y="685"/>
                </a:lnTo>
                <a:lnTo>
                  <a:pt x="1022" y="685"/>
                </a:lnTo>
                <a:lnTo>
                  <a:pt x="1019" y="681"/>
                </a:lnTo>
                <a:lnTo>
                  <a:pt x="1013" y="681"/>
                </a:lnTo>
                <a:lnTo>
                  <a:pt x="1013" y="681"/>
                </a:lnTo>
                <a:lnTo>
                  <a:pt x="1013" y="685"/>
                </a:lnTo>
                <a:lnTo>
                  <a:pt x="1010" y="685"/>
                </a:lnTo>
                <a:lnTo>
                  <a:pt x="1006" y="690"/>
                </a:lnTo>
                <a:lnTo>
                  <a:pt x="1003" y="697"/>
                </a:lnTo>
                <a:lnTo>
                  <a:pt x="1003" y="697"/>
                </a:lnTo>
                <a:lnTo>
                  <a:pt x="1003" y="699"/>
                </a:lnTo>
                <a:lnTo>
                  <a:pt x="1001" y="701"/>
                </a:lnTo>
                <a:lnTo>
                  <a:pt x="1000" y="708"/>
                </a:lnTo>
                <a:lnTo>
                  <a:pt x="996" y="714"/>
                </a:lnTo>
                <a:lnTo>
                  <a:pt x="994" y="716"/>
                </a:lnTo>
                <a:lnTo>
                  <a:pt x="994" y="716"/>
                </a:lnTo>
                <a:lnTo>
                  <a:pt x="996" y="725"/>
                </a:lnTo>
                <a:lnTo>
                  <a:pt x="996" y="730"/>
                </a:lnTo>
                <a:lnTo>
                  <a:pt x="1000" y="732"/>
                </a:lnTo>
                <a:lnTo>
                  <a:pt x="1000" y="734"/>
                </a:lnTo>
                <a:lnTo>
                  <a:pt x="1000" y="734"/>
                </a:lnTo>
                <a:lnTo>
                  <a:pt x="1000" y="735"/>
                </a:lnTo>
                <a:lnTo>
                  <a:pt x="1000" y="739"/>
                </a:lnTo>
                <a:lnTo>
                  <a:pt x="1001" y="739"/>
                </a:lnTo>
                <a:lnTo>
                  <a:pt x="1001" y="742"/>
                </a:lnTo>
                <a:lnTo>
                  <a:pt x="1006" y="744"/>
                </a:lnTo>
                <a:lnTo>
                  <a:pt x="1010" y="748"/>
                </a:lnTo>
                <a:lnTo>
                  <a:pt x="1010" y="749"/>
                </a:lnTo>
                <a:lnTo>
                  <a:pt x="1010" y="753"/>
                </a:lnTo>
                <a:lnTo>
                  <a:pt x="1010" y="753"/>
                </a:lnTo>
                <a:lnTo>
                  <a:pt x="1010" y="753"/>
                </a:lnTo>
                <a:lnTo>
                  <a:pt x="1010" y="753"/>
                </a:lnTo>
                <a:close/>
                <a:moveTo>
                  <a:pt x="836" y="772"/>
                </a:moveTo>
                <a:lnTo>
                  <a:pt x="840" y="772"/>
                </a:lnTo>
                <a:lnTo>
                  <a:pt x="841" y="772"/>
                </a:lnTo>
                <a:lnTo>
                  <a:pt x="845" y="775"/>
                </a:lnTo>
                <a:lnTo>
                  <a:pt x="845" y="772"/>
                </a:lnTo>
                <a:lnTo>
                  <a:pt x="841" y="772"/>
                </a:lnTo>
                <a:lnTo>
                  <a:pt x="836" y="772"/>
                </a:lnTo>
                <a:lnTo>
                  <a:pt x="836" y="772"/>
                </a:lnTo>
                <a:lnTo>
                  <a:pt x="836" y="772"/>
                </a:lnTo>
                <a:lnTo>
                  <a:pt x="836" y="772"/>
                </a:lnTo>
                <a:close/>
                <a:moveTo>
                  <a:pt x="840" y="789"/>
                </a:moveTo>
                <a:lnTo>
                  <a:pt x="834" y="789"/>
                </a:lnTo>
                <a:lnTo>
                  <a:pt x="833" y="789"/>
                </a:lnTo>
                <a:lnTo>
                  <a:pt x="831" y="791"/>
                </a:lnTo>
                <a:lnTo>
                  <a:pt x="828" y="791"/>
                </a:lnTo>
                <a:lnTo>
                  <a:pt x="824" y="793"/>
                </a:lnTo>
                <a:lnTo>
                  <a:pt x="821" y="793"/>
                </a:lnTo>
                <a:lnTo>
                  <a:pt x="819" y="794"/>
                </a:lnTo>
                <a:lnTo>
                  <a:pt x="814" y="800"/>
                </a:lnTo>
                <a:lnTo>
                  <a:pt x="812" y="803"/>
                </a:lnTo>
                <a:lnTo>
                  <a:pt x="814" y="807"/>
                </a:lnTo>
                <a:lnTo>
                  <a:pt x="814" y="814"/>
                </a:lnTo>
                <a:lnTo>
                  <a:pt x="814" y="817"/>
                </a:lnTo>
                <a:lnTo>
                  <a:pt x="814" y="819"/>
                </a:lnTo>
                <a:lnTo>
                  <a:pt x="817" y="822"/>
                </a:lnTo>
                <a:lnTo>
                  <a:pt x="821" y="822"/>
                </a:lnTo>
                <a:lnTo>
                  <a:pt x="822" y="824"/>
                </a:lnTo>
                <a:lnTo>
                  <a:pt x="826" y="824"/>
                </a:lnTo>
                <a:lnTo>
                  <a:pt x="829" y="826"/>
                </a:lnTo>
                <a:lnTo>
                  <a:pt x="831" y="824"/>
                </a:lnTo>
                <a:lnTo>
                  <a:pt x="831" y="821"/>
                </a:lnTo>
                <a:lnTo>
                  <a:pt x="834" y="821"/>
                </a:lnTo>
                <a:lnTo>
                  <a:pt x="836" y="822"/>
                </a:lnTo>
                <a:lnTo>
                  <a:pt x="840" y="819"/>
                </a:lnTo>
                <a:lnTo>
                  <a:pt x="840" y="817"/>
                </a:lnTo>
                <a:lnTo>
                  <a:pt x="841" y="815"/>
                </a:lnTo>
                <a:lnTo>
                  <a:pt x="845" y="814"/>
                </a:lnTo>
                <a:lnTo>
                  <a:pt x="845" y="810"/>
                </a:lnTo>
                <a:lnTo>
                  <a:pt x="845" y="807"/>
                </a:lnTo>
                <a:lnTo>
                  <a:pt x="847" y="803"/>
                </a:lnTo>
                <a:lnTo>
                  <a:pt x="848" y="801"/>
                </a:lnTo>
                <a:lnTo>
                  <a:pt x="850" y="798"/>
                </a:lnTo>
                <a:lnTo>
                  <a:pt x="850" y="793"/>
                </a:lnTo>
                <a:lnTo>
                  <a:pt x="845" y="791"/>
                </a:lnTo>
                <a:lnTo>
                  <a:pt x="841" y="789"/>
                </a:lnTo>
                <a:lnTo>
                  <a:pt x="840" y="791"/>
                </a:lnTo>
                <a:lnTo>
                  <a:pt x="840" y="791"/>
                </a:lnTo>
                <a:lnTo>
                  <a:pt x="840" y="789"/>
                </a:lnTo>
                <a:lnTo>
                  <a:pt x="840" y="789"/>
                </a:lnTo>
                <a:lnTo>
                  <a:pt x="840" y="789"/>
                </a:lnTo>
                <a:lnTo>
                  <a:pt x="840" y="7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821" name="Groupe 220">
            <a:extLst>
              <a:ext uri="{FF2B5EF4-FFF2-40B4-BE49-F238E27FC236}">
                <a16:creationId xmlns:a16="http://schemas.microsoft.com/office/drawing/2014/main" id="{B4ECABCA-ACA6-41B6-AAEA-9397538CB762}"/>
              </a:ext>
            </a:extLst>
          </p:cNvPr>
          <p:cNvGrpSpPr/>
          <p:nvPr/>
        </p:nvGrpSpPr>
        <p:grpSpPr>
          <a:xfrm>
            <a:off x="4352925" y="1181101"/>
            <a:ext cx="4411663" cy="2332037"/>
            <a:chOff x="4200525" y="901701"/>
            <a:chExt cx="4411663" cy="2332037"/>
          </a:xfrm>
          <a:solidFill>
            <a:schemeClr val="accent3"/>
          </a:solidFill>
        </p:grpSpPr>
        <p:sp>
          <p:nvSpPr>
            <p:cNvPr id="1012" name="Freeform 6">
              <a:extLst>
                <a:ext uri="{FF2B5EF4-FFF2-40B4-BE49-F238E27FC236}">
                  <a16:creationId xmlns:a16="http://schemas.microsoft.com/office/drawing/2014/main" id="{DF55093F-C8B8-479D-9786-B98754B6DEB8}"/>
                </a:ext>
              </a:extLst>
            </p:cNvPr>
            <p:cNvSpPr>
              <a:spLocks noEditPoints="1"/>
            </p:cNvSpPr>
            <p:nvPr/>
          </p:nvSpPr>
          <p:spPr bwMode="auto">
            <a:xfrm>
              <a:off x="5049838" y="901701"/>
              <a:ext cx="3562350" cy="2163763"/>
            </a:xfrm>
            <a:custGeom>
              <a:avLst/>
              <a:gdLst/>
              <a:ahLst/>
              <a:cxnLst>
                <a:cxn ang="0">
                  <a:pos x="1712" y="1113"/>
                </a:cxn>
                <a:cxn ang="0">
                  <a:pos x="1557" y="975"/>
                </a:cxn>
                <a:cxn ang="0">
                  <a:pos x="1357" y="1113"/>
                </a:cxn>
                <a:cxn ang="0">
                  <a:pos x="1048" y="1104"/>
                </a:cxn>
                <a:cxn ang="0">
                  <a:pos x="732" y="1047"/>
                </a:cxn>
                <a:cxn ang="0">
                  <a:pos x="569" y="1120"/>
                </a:cxn>
                <a:cxn ang="0">
                  <a:pos x="400" y="1240"/>
                </a:cxn>
                <a:cxn ang="0">
                  <a:pos x="259" y="1309"/>
                </a:cxn>
                <a:cxn ang="0">
                  <a:pos x="115" y="1087"/>
                </a:cxn>
                <a:cxn ang="0">
                  <a:pos x="26" y="706"/>
                </a:cxn>
                <a:cxn ang="0">
                  <a:pos x="160" y="682"/>
                </a:cxn>
                <a:cxn ang="0">
                  <a:pos x="152" y="814"/>
                </a:cxn>
                <a:cxn ang="0">
                  <a:pos x="261" y="715"/>
                </a:cxn>
                <a:cxn ang="0">
                  <a:pos x="430" y="647"/>
                </a:cxn>
                <a:cxn ang="0">
                  <a:pos x="506" y="463"/>
                </a:cxn>
                <a:cxn ang="0">
                  <a:pos x="635" y="652"/>
                </a:cxn>
                <a:cxn ang="0">
                  <a:pos x="622" y="516"/>
                </a:cxn>
                <a:cxn ang="0">
                  <a:pos x="728" y="529"/>
                </a:cxn>
                <a:cxn ang="0">
                  <a:pos x="695" y="313"/>
                </a:cxn>
                <a:cxn ang="0">
                  <a:pos x="798" y="195"/>
                </a:cxn>
                <a:cxn ang="0">
                  <a:pos x="986" y="216"/>
                </a:cxn>
                <a:cxn ang="0">
                  <a:pos x="1010" y="299"/>
                </a:cxn>
                <a:cxn ang="0">
                  <a:pos x="1239" y="266"/>
                </a:cxn>
                <a:cxn ang="0">
                  <a:pos x="1411" y="303"/>
                </a:cxn>
                <a:cxn ang="0">
                  <a:pos x="1557" y="243"/>
                </a:cxn>
                <a:cxn ang="0">
                  <a:pos x="1886" y="250"/>
                </a:cxn>
                <a:cxn ang="0">
                  <a:pos x="2113" y="209"/>
                </a:cxn>
                <a:cxn ang="0">
                  <a:pos x="2216" y="273"/>
                </a:cxn>
                <a:cxn ang="0">
                  <a:pos x="2158" y="379"/>
                </a:cxn>
                <a:cxn ang="0">
                  <a:pos x="2165" y="522"/>
                </a:cxn>
                <a:cxn ang="0">
                  <a:pos x="2061" y="715"/>
                </a:cxn>
                <a:cxn ang="0">
                  <a:pos x="2082" y="956"/>
                </a:cxn>
                <a:cxn ang="0">
                  <a:pos x="1995" y="541"/>
                </a:cxn>
                <a:cxn ang="0">
                  <a:pos x="1924" y="690"/>
                </a:cxn>
                <a:cxn ang="0">
                  <a:pos x="1741" y="767"/>
                </a:cxn>
                <a:cxn ang="0">
                  <a:pos x="1827" y="972"/>
                </a:cxn>
                <a:cxn ang="0">
                  <a:pos x="106" y="165"/>
                </a:cxn>
                <a:cxn ang="0">
                  <a:pos x="131" y="160"/>
                </a:cxn>
                <a:cxn ang="0">
                  <a:pos x="214" y="92"/>
                </a:cxn>
                <a:cxn ang="0">
                  <a:pos x="219" y="137"/>
                </a:cxn>
                <a:cxn ang="0">
                  <a:pos x="209" y="169"/>
                </a:cxn>
                <a:cxn ang="0">
                  <a:pos x="247" y="172"/>
                </a:cxn>
                <a:cxn ang="0">
                  <a:pos x="278" y="118"/>
                </a:cxn>
                <a:cxn ang="0">
                  <a:pos x="379" y="374"/>
                </a:cxn>
                <a:cxn ang="0">
                  <a:pos x="298" y="400"/>
                </a:cxn>
                <a:cxn ang="0">
                  <a:pos x="365" y="565"/>
                </a:cxn>
                <a:cxn ang="0">
                  <a:pos x="325" y="574"/>
                </a:cxn>
                <a:cxn ang="0">
                  <a:pos x="355" y="656"/>
                </a:cxn>
                <a:cxn ang="0">
                  <a:pos x="410" y="588"/>
                </a:cxn>
                <a:cxn ang="0">
                  <a:pos x="570" y="421"/>
                </a:cxn>
                <a:cxn ang="0">
                  <a:pos x="664" y="363"/>
                </a:cxn>
                <a:cxn ang="0">
                  <a:pos x="735" y="238"/>
                </a:cxn>
                <a:cxn ang="0">
                  <a:pos x="605" y="82"/>
                </a:cxn>
                <a:cxn ang="0">
                  <a:pos x="1384" y="78"/>
                </a:cxn>
                <a:cxn ang="0">
                  <a:pos x="1295" y="77"/>
                </a:cxn>
                <a:cxn ang="0">
                  <a:pos x="1317" y="71"/>
                </a:cxn>
                <a:cxn ang="0">
                  <a:pos x="836" y="123"/>
                </a:cxn>
                <a:cxn ang="0">
                  <a:pos x="1411" y="183"/>
                </a:cxn>
                <a:cxn ang="0">
                  <a:pos x="1844" y="223"/>
                </a:cxn>
                <a:cxn ang="0">
                  <a:pos x="1844" y="930"/>
                </a:cxn>
                <a:cxn ang="0">
                  <a:pos x="1726" y="894"/>
                </a:cxn>
                <a:cxn ang="0">
                  <a:pos x="2066" y="975"/>
                </a:cxn>
                <a:cxn ang="0">
                  <a:pos x="2054" y="1095"/>
                </a:cxn>
              </a:cxnLst>
              <a:rect l="0" t="0" r="r" b="b"/>
              <a:pathLst>
                <a:path w="2244" h="1363">
                  <a:moveTo>
                    <a:pt x="1741" y="1250"/>
                  </a:moveTo>
                  <a:lnTo>
                    <a:pt x="1741" y="1250"/>
                  </a:lnTo>
                  <a:lnTo>
                    <a:pt x="1738" y="1248"/>
                  </a:lnTo>
                  <a:lnTo>
                    <a:pt x="1738" y="1248"/>
                  </a:lnTo>
                  <a:lnTo>
                    <a:pt x="1738" y="1247"/>
                  </a:lnTo>
                  <a:lnTo>
                    <a:pt x="1738" y="1245"/>
                  </a:lnTo>
                  <a:lnTo>
                    <a:pt x="1738" y="1242"/>
                  </a:lnTo>
                  <a:lnTo>
                    <a:pt x="1736" y="1240"/>
                  </a:lnTo>
                  <a:lnTo>
                    <a:pt x="1736" y="1238"/>
                  </a:lnTo>
                  <a:lnTo>
                    <a:pt x="1740" y="1238"/>
                  </a:lnTo>
                  <a:lnTo>
                    <a:pt x="1743" y="1238"/>
                  </a:lnTo>
                  <a:lnTo>
                    <a:pt x="1745" y="1238"/>
                  </a:lnTo>
                  <a:lnTo>
                    <a:pt x="1745" y="1235"/>
                  </a:lnTo>
                  <a:lnTo>
                    <a:pt x="1745" y="1233"/>
                  </a:lnTo>
                  <a:lnTo>
                    <a:pt x="1745" y="1231"/>
                  </a:lnTo>
                  <a:lnTo>
                    <a:pt x="1745" y="1231"/>
                  </a:lnTo>
                  <a:lnTo>
                    <a:pt x="1745" y="1226"/>
                  </a:lnTo>
                  <a:lnTo>
                    <a:pt x="1745" y="1222"/>
                  </a:lnTo>
                  <a:lnTo>
                    <a:pt x="1743" y="1222"/>
                  </a:lnTo>
                  <a:lnTo>
                    <a:pt x="1743" y="1215"/>
                  </a:lnTo>
                  <a:lnTo>
                    <a:pt x="1743" y="1214"/>
                  </a:lnTo>
                  <a:lnTo>
                    <a:pt x="1741" y="1209"/>
                  </a:lnTo>
                  <a:lnTo>
                    <a:pt x="1741" y="1205"/>
                  </a:lnTo>
                  <a:lnTo>
                    <a:pt x="1740" y="1202"/>
                  </a:lnTo>
                  <a:lnTo>
                    <a:pt x="1738" y="1200"/>
                  </a:lnTo>
                  <a:lnTo>
                    <a:pt x="1738" y="1200"/>
                  </a:lnTo>
                  <a:lnTo>
                    <a:pt x="1735" y="1191"/>
                  </a:lnTo>
                  <a:lnTo>
                    <a:pt x="1735" y="1189"/>
                  </a:lnTo>
                  <a:lnTo>
                    <a:pt x="1735" y="1188"/>
                  </a:lnTo>
                  <a:lnTo>
                    <a:pt x="1735" y="1186"/>
                  </a:lnTo>
                  <a:lnTo>
                    <a:pt x="1738" y="1186"/>
                  </a:lnTo>
                  <a:lnTo>
                    <a:pt x="1740" y="1184"/>
                  </a:lnTo>
                  <a:lnTo>
                    <a:pt x="1740" y="1181"/>
                  </a:lnTo>
                  <a:lnTo>
                    <a:pt x="1743" y="1175"/>
                  </a:lnTo>
                  <a:lnTo>
                    <a:pt x="1745" y="1175"/>
                  </a:lnTo>
                  <a:lnTo>
                    <a:pt x="1747" y="1177"/>
                  </a:lnTo>
                  <a:lnTo>
                    <a:pt x="1750" y="1177"/>
                  </a:lnTo>
                  <a:lnTo>
                    <a:pt x="1759" y="1179"/>
                  </a:lnTo>
                  <a:lnTo>
                    <a:pt x="1762" y="1181"/>
                  </a:lnTo>
                  <a:lnTo>
                    <a:pt x="1764" y="1181"/>
                  </a:lnTo>
                  <a:lnTo>
                    <a:pt x="1764" y="1179"/>
                  </a:lnTo>
                  <a:lnTo>
                    <a:pt x="1764" y="1175"/>
                  </a:lnTo>
                  <a:lnTo>
                    <a:pt x="1764" y="1174"/>
                  </a:lnTo>
                  <a:lnTo>
                    <a:pt x="1762" y="1172"/>
                  </a:lnTo>
                  <a:lnTo>
                    <a:pt x="1764" y="1172"/>
                  </a:lnTo>
                  <a:lnTo>
                    <a:pt x="1762" y="1169"/>
                  </a:lnTo>
                  <a:lnTo>
                    <a:pt x="1762" y="1169"/>
                  </a:lnTo>
                  <a:lnTo>
                    <a:pt x="1764" y="1163"/>
                  </a:lnTo>
                  <a:lnTo>
                    <a:pt x="1766" y="1163"/>
                  </a:lnTo>
                  <a:lnTo>
                    <a:pt x="1764" y="1160"/>
                  </a:lnTo>
                  <a:lnTo>
                    <a:pt x="1764" y="1158"/>
                  </a:lnTo>
                  <a:lnTo>
                    <a:pt x="1764" y="1158"/>
                  </a:lnTo>
                  <a:lnTo>
                    <a:pt x="1768" y="1156"/>
                  </a:lnTo>
                  <a:lnTo>
                    <a:pt x="1766" y="1155"/>
                  </a:lnTo>
                  <a:lnTo>
                    <a:pt x="1766" y="1153"/>
                  </a:lnTo>
                  <a:lnTo>
                    <a:pt x="1764" y="1151"/>
                  </a:lnTo>
                  <a:lnTo>
                    <a:pt x="1766" y="1148"/>
                  </a:lnTo>
                  <a:lnTo>
                    <a:pt x="1768" y="1146"/>
                  </a:lnTo>
                  <a:lnTo>
                    <a:pt x="1768" y="1146"/>
                  </a:lnTo>
                  <a:lnTo>
                    <a:pt x="1766" y="1144"/>
                  </a:lnTo>
                  <a:lnTo>
                    <a:pt x="1764" y="1141"/>
                  </a:lnTo>
                  <a:lnTo>
                    <a:pt x="1764" y="1135"/>
                  </a:lnTo>
                  <a:lnTo>
                    <a:pt x="1766" y="1135"/>
                  </a:lnTo>
                  <a:lnTo>
                    <a:pt x="1766" y="1135"/>
                  </a:lnTo>
                  <a:lnTo>
                    <a:pt x="1766" y="1132"/>
                  </a:lnTo>
                  <a:lnTo>
                    <a:pt x="1766" y="1132"/>
                  </a:lnTo>
                  <a:lnTo>
                    <a:pt x="1766" y="1130"/>
                  </a:lnTo>
                  <a:lnTo>
                    <a:pt x="1764" y="1130"/>
                  </a:lnTo>
                  <a:lnTo>
                    <a:pt x="1762" y="1129"/>
                  </a:lnTo>
                  <a:lnTo>
                    <a:pt x="1764" y="1125"/>
                  </a:lnTo>
                  <a:lnTo>
                    <a:pt x="1764" y="1123"/>
                  </a:lnTo>
                  <a:lnTo>
                    <a:pt x="1764" y="1122"/>
                  </a:lnTo>
                  <a:lnTo>
                    <a:pt x="1762" y="1120"/>
                  </a:lnTo>
                  <a:lnTo>
                    <a:pt x="1762" y="1118"/>
                  </a:lnTo>
                  <a:lnTo>
                    <a:pt x="1764" y="1115"/>
                  </a:lnTo>
                  <a:lnTo>
                    <a:pt x="1768" y="1115"/>
                  </a:lnTo>
                  <a:lnTo>
                    <a:pt x="1768" y="1113"/>
                  </a:lnTo>
                  <a:lnTo>
                    <a:pt x="1768" y="1109"/>
                  </a:lnTo>
                  <a:lnTo>
                    <a:pt x="1769" y="1108"/>
                  </a:lnTo>
                  <a:lnTo>
                    <a:pt x="1766" y="1104"/>
                  </a:lnTo>
                  <a:lnTo>
                    <a:pt x="1764" y="1104"/>
                  </a:lnTo>
                  <a:lnTo>
                    <a:pt x="1764" y="1102"/>
                  </a:lnTo>
                  <a:lnTo>
                    <a:pt x="1762" y="1099"/>
                  </a:lnTo>
                  <a:lnTo>
                    <a:pt x="1762" y="1097"/>
                  </a:lnTo>
                  <a:lnTo>
                    <a:pt x="1762" y="1095"/>
                  </a:lnTo>
                  <a:lnTo>
                    <a:pt x="1762" y="1092"/>
                  </a:lnTo>
                  <a:lnTo>
                    <a:pt x="1759" y="1090"/>
                  </a:lnTo>
                  <a:lnTo>
                    <a:pt x="1757" y="1090"/>
                  </a:lnTo>
                  <a:lnTo>
                    <a:pt x="1757" y="1089"/>
                  </a:lnTo>
                  <a:lnTo>
                    <a:pt x="1754" y="1087"/>
                  </a:lnTo>
                  <a:lnTo>
                    <a:pt x="1752" y="1089"/>
                  </a:lnTo>
                  <a:lnTo>
                    <a:pt x="1748" y="1089"/>
                  </a:lnTo>
                  <a:lnTo>
                    <a:pt x="1747" y="1090"/>
                  </a:lnTo>
                  <a:lnTo>
                    <a:pt x="1745" y="1094"/>
                  </a:lnTo>
                  <a:lnTo>
                    <a:pt x="1743" y="1094"/>
                  </a:lnTo>
                  <a:lnTo>
                    <a:pt x="1741" y="1095"/>
                  </a:lnTo>
                  <a:lnTo>
                    <a:pt x="1741" y="1099"/>
                  </a:lnTo>
                  <a:lnTo>
                    <a:pt x="1738" y="1099"/>
                  </a:lnTo>
                  <a:lnTo>
                    <a:pt x="1735" y="1099"/>
                  </a:lnTo>
                  <a:lnTo>
                    <a:pt x="1735" y="1101"/>
                  </a:lnTo>
                  <a:lnTo>
                    <a:pt x="1735" y="1104"/>
                  </a:lnTo>
                  <a:lnTo>
                    <a:pt x="1731" y="1104"/>
                  </a:lnTo>
                  <a:lnTo>
                    <a:pt x="1731" y="1109"/>
                  </a:lnTo>
                  <a:lnTo>
                    <a:pt x="1731" y="1109"/>
                  </a:lnTo>
                  <a:lnTo>
                    <a:pt x="1731" y="1109"/>
                  </a:lnTo>
                  <a:lnTo>
                    <a:pt x="1729" y="1113"/>
                  </a:lnTo>
                  <a:lnTo>
                    <a:pt x="1722" y="1113"/>
                  </a:lnTo>
                  <a:lnTo>
                    <a:pt x="1722" y="1113"/>
                  </a:lnTo>
                  <a:lnTo>
                    <a:pt x="1719" y="1113"/>
                  </a:lnTo>
                  <a:lnTo>
                    <a:pt x="1717" y="1115"/>
                  </a:lnTo>
                  <a:lnTo>
                    <a:pt x="1715" y="1115"/>
                  </a:lnTo>
                  <a:lnTo>
                    <a:pt x="1714" y="1113"/>
                  </a:lnTo>
                  <a:lnTo>
                    <a:pt x="1712" y="1113"/>
                  </a:lnTo>
                  <a:lnTo>
                    <a:pt x="1712" y="1113"/>
                  </a:lnTo>
                  <a:lnTo>
                    <a:pt x="1708" y="1113"/>
                  </a:lnTo>
                  <a:lnTo>
                    <a:pt x="1707" y="1113"/>
                  </a:lnTo>
                  <a:lnTo>
                    <a:pt x="1703" y="1113"/>
                  </a:lnTo>
                  <a:lnTo>
                    <a:pt x="1703" y="1109"/>
                  </a:lnTo>
                  <a:lnTo>
                    <a:pt x="1700" y="1108"/>
                  </a:lnTo>
                  <a:lnTo>
                    <a:pt x="1698" y="1104"/>
                  </a:lnTo>
                  <a:lnTo>
                    <a:pt x="1698" y="1101"/>
                  </a:lnTo>
                  <a:lnTo>
                    <a:pt x="1698" y="1101"/>
                  </a:lnTo>
                  <a:lnTo>
                    <a:pt x="1700" y="1097"/>
                  </a:lnTo>
                  <a:lnTo>
                    <a:pt x="1698" y="1094"/>
                  </a:lnTo>
                  <a:lnTo>
                    <a:pt x="1698" y="1090"/>
                  </a:lnTo>
                  <a:lnTo>
                    <a:pt x="1695" y="1090"/>
                  </a:lnTo>
                  <a:lnTo>
                    <a:pt x="1695" y="1089"/>
                  </a:lnTo>
                  <a:lnTo>
                    <a:pt x="1695" y="1087"/>
                  </a:lnTo>
                  <a:lnTo>
                    <a:pt x="1696" y="1085"/>
                  </a:lnTo>
                  <a:lnTo>
                    <a:pt x="1696" y="1082"/>
                  </a:lnTo>
                  <a:lnTo>
                    <a:pt x="1695" y="1082"/>
                  </a:lnTo>
                  <a:lnTo>
                    <a:pt x="1693" y="1082"/>
                  </a:lnTo>
                  <a:lnTo>
                    <a:pt x="1691" y="1085"/>
                  </a:lnTo>
                  <a:lnTo>
                    <a:pt x="1689" y="1085"/>
                  </a:lnTo>
                  <a:lnTo>
                    <a:pt x="1688" y="1085"/>
                  </a:lnTo>
                  <a:lnTo>
                    <a:pt x="1684" y="1085"/>
                  </a:lnTo>
                  <a:lnTo>
                    <a:pt x="1682" y="1082"/>
                  </a:lnTo>
                  <a:lnTo>
                    <a:pt x="1681" y="1082"/>
                  </a:lnTo>
                  <a:lnTo>
                    <a:pt x="1681" y="1082"/>
                  </a:lnTo>
                  <a:lnTo>
                    <a:pt x="1677" y="1080"/>
                  </a:lnTo>
                  <a:lnTo>
                    <a:pt x="1677" y="1078"/>
                  </a:lnTo>
                  <a:lnTo>
                    <a:pt x="1675" y="1076"/>
                  </a:lnTo>
                  <a:lnTo>
                    <a:pt x="1675" y="1076"/>
                  </a:lnTo>
                  <a:lnTo>
                    <a:pt x="1672" y="1073"/>
                  </a:lnTo>
                  <a:lnTo>
                    <a:pt x="1672" y="1073"/>
                  </a:lnTo>
                  <a:lnTo>
                    <a:pt x="1670" y="1073"/>
                  </a:lnTo>
                  <a:lnTo>
                    <a:pt x="1668" y="1071"/>
                  </a:lnTo>
                  <a:lnTo>
                    <a:pt x="1668" y="1069"/>
                  </a:lnTo>
                  <a:lnTo>
                    <a:pt x="1667" y="1068"/>
                  </a:lnTo>
                  <a:lnTo>
                    <a:pt x="1665" y="1068"/>
                  </a:lnTo>
                  <a:lnTo>
                    <a:pt x="1663" y="1071"/>
                  </a:lnTo>
                  <a:lnTo>
                    <a:pt x="1662" y="1069"/>
                  </a:lnTo>
                  <a:lnTo>
                    <a:pt x="1660" y="1071"/>
                  </a:lnTo>
                  <a:lnTo>
                    <a:pt x="1660" y="1071"/>
                  </a:lnTo>
                  <a:lnTo>
                    <a:pt x="1658" y="1071"/>
                  </a:lnTo>
                  <a:lnTo>
                    <a:pt x="1658" y="1069"/>
                  </a:lnTo>
                  <a:lnTo>
                    <a:pt x="1655" y="1068"/>
                  </a:lnTo>
                  <a:lnTo>
                    <a:pt x="1653" y="1068"/>
                  </a:lnTo>
                  <a:lnTo>
                    <a:pt x="1649" y="1066"/>
                  </a:lnTo>
                  <a:lnTo>
                    <a:pt x="1653" y="1066"/>
                  </a:lnTo>
                  <a:lnTo>
                    <a:pt x="1653" y="1064"/>
                  </a:lnTo>
                  <a:lnTo>
                    <a:pt x="1649" y="1064"/>
                  </a:lnTo>
                  <a:lnTo>
                    <a:pt x="1648" y="1066"/>
                  </a:lnTo>
                  <a:lnTo>
                    <a:pt x="1644" y="1066"/>
                  </a:lnTo>
                  <a:lnTo>
                    <a:pt x="1642" y="1066"/>
                  </a:lnTo>
                  <a:lnTo>
                    <a:pt x="1641" y="1064"/>
                  </a:lnTo>
                  <a:lnTo>
                    <a:pt x="1639" y="1066"/>
                  </a:lnTo>
                  <a:lnTo>
                    <a:pt x="1637" y="1066"/>
                  </a:lnTo>
                  <a:lnTo>
                    <a:pt x="1635" y="1062"/>
                  </a:lnTo>
                  <a:lnTo>
                    <a:pt x="1632" y="1062"/>
                  </a:lnTo>
                  <a:lnTo>
                    <a:pt x="1630" y="1057"/>
                  </a:lnTo>
                  <a:lnTo>
                    <a:pt x="1627" y="1054"/>
                  </a:lnTo>
                  <a:lnTo>
                    <a:pt x="1627" y="1054"/>
                  </a:lnTo>
                  <a:lnTo>
                    <a:pt x="1627" y="1050"/>
                  </a:lnTo>
                  <a:lnTo>
                    <a:pt x="1625" y="1050"/>
                  </a:lnTo>
                  <a:lnTo>
                    <a:pt x="1623" y="1049"/>
                  </a:lnTo>
                  <a:lnTo>
                    <a:pt x="1623" y="1045"/>
                  </a:lnTo>
                  <a:lnTo>
                    <a:pt x="1622" y="1043"/>
                  </a:lnTo>
                  <a:lnTo>
                    <a:pt x="1622" y="1040"/>
                  </a:lnTo>
                  <a:lnTo>
                    <a:pt x="1620" y="1036"/>
                  </a:lnTo>
                  <a:lnTo>
                    <a:pt x="1613" y="1035"/>
                  </a:lnTo>
                  <a:lnTo>
                    <a:pt x="1609" y="1028"/>
                  </a:lnTo>
                  <a:lnTo>
                    <a:pt x="1609" y="1026"/>
                  </a:lnTo>
                  <a:lnTo>
                    <a:pt x="1608" y="1022"/>
                  </a:lnTo>
                  <a:lnTo>
                    <a:pt x="1608" y="1026"/>
                  </a:lnTo>
                  <a:lnTo>
                    <a:pt x="1604" y="1022"/>
                  </a:lnTo>
                  <a:lnTo>
                    <a:pt x="1608" y="1022"/>
                  </a:lnTo>
                  <a:lnTo>
                    <a:pt x="1608" y="1021"/>
                  </a:lnTo>
                  <a:lnTo>
                    <a:pt x="1604" y="1019"/>
                  </a:lnTo>
                  <a:lnTo>
                    <a:pt x="1604" y="1017"/>
                  </a:lnTo>
                  <a:lnTo>
                    <a:pt x="1602" y="1015"/>
                  </a:lnTo>
                  <a:lnTo>
                    <a:pt x="1599" y="1012"/>
                  </a:lnTo>
                  <a:lnTo>
                    <a:pt x="1599" y="1010"/>
                  </a:lnTo>
                  <a:lnTo>
                    <a:pt x="1596" y="1007"/>
                  </a:lnTo>
                  <a:lnTo>
                    <a:pt x="1594" y="1005"/>
                  </a:lnTo>
                  <a:lnTo>
                    <a:pt x="1594" y="1003"/>
                  </a:lnTo>
                  <a:lnTo>
                    <a:pt x="1594" y="1000"/>
                  </a:lnTo>
                  <a:lnTo>
                    <a:pt x="1594" y="1000"/>
                  </a:lnTo>
                  <a:lnTo>
                    <a:pt x="1589" y="1000"/>
                  </a:lnTo>
                  <a:lnTo>
                    <a:pt x="1589" y="998"/>
                  </a:lnTo>
                  <a:lnTo>
                    <a:pt x="1589" y="995"/>
                  </a:lnTo>
                  <a:lnTo>
                    <a:pt x="1587" y="995"/>
                  </a:lnTo>
                  <a:lnTo>
                    <a:pt x="1587" y="991"/>
                  </a:lnTo>
                  <a:lnTo>
                    <a:pt x="1587" y="989"/>
                  </a:lnTo>
                  <a:lnTo>
                    <a:pt x="1583" y="989"/>
                  </a:lnTo>
                  <a:lnTo>
                    <a:pt x="1583" y="988"/>
                  </a:lnTo>
                  <a:lnTo>
                    <a:pt x="1583" y="986"/>
                  </a:lnTo>
                  <a:lnTo>
                    <a:pt x="1582" y="986"/>
                  </a:lnTo>
                  <a:lnTo>
                    <a:pt x="1580" y="986"/>
                  </a:lnTo>
                  <a:lnTo>
                    <a:pt x="1576" y="984"/>
                  </a:lnTo>
                  <a:lnTo>
                    <a:pt x="1580" y="982"/>
                  </a:lnTo>
                  <a:lnTo>
                    <a:pt x="1580" y="981"/>
                  </a:lnTo>
                  <a:lnTo>
                    <a:pt x="1576" y="979"/>
                  </a:lnTo>
                  <a:lnTo>
                    <a:pt x="1573" y="981"/>
                  </a:lnTo>
                  <a:lnTo>
                    <a:pt x="1573" y="981"/>
                  </a:lnTo>
                  <a:lnTo>
                    <a:pt x="1573" y="979"/>
                  </a:lnTo>
                  <a:lnTo>
                    <a:pt x="1571" y="977"/>
                  </a:lnTo>
                  <a:lnTo>
                    <a:pt x="1571" y="975"/>
                  </a:lnTo>
                  <a:lnTo>
                    <a:pt x="1571" y="975"/>
                  </a:lnTo>
                  <a:lnTo>
                    <a:pt x="1568" y="975"/>
                  </a:lnTo>
                  <a:lnTo>
                    <a:pt x="1566" y="975"/>
                  </a:lnTo>
                  <a:lnTo>
                    <a:pt x="1564" y="972"/>
                  </a:lnTo>
                  <a:lnTo>
                    <a:pt x="1564" y="972"/>
                  </a:lnTo>
                  <a:lnTo>
                    <a:pt x="1561" y="972"/>
                  </a:lnTo>
                  <a:lnTo>
                    <a:pt x="1559" y="972"/>
                  </a:lnTo>
                  <a:lnTo>
                    <a:pt x="1557" y="972"/>
                  </a:lnTo>
                  <a:lnTo>
                    <a:pt x="1557" y="975"/>
                  </a:lnTo>
                  <a:lnTo>
                    <a:pt x="1557" y="975"/>
                  </a:lnTo>
                  <a:lnTo>
                    <a:pt x="1554" y="975"/>
                  </a:lnTo>
                  <a:lnTo>
                    <a:pt x="1554" y="972"/>
                  </a:lnTo>
                  <a:lnTo>
                    <a:pt x="1550" y="975"/>
                  </a:lnTo>
                  <a:lnTo>
                    <a:pt x="1545" y="975"/>
                  </a:lnTo>
                  <a:lnTo>
                    <a:pt x="1545" y="972"/>
                  </a:lnTo>
                  <a:lnTo>
                    <a:pt x="1543" y="972"/>
                  </a:lnTo>
                  <a:lnTo>
                    <a:pt x="1538" y="972"/>
                  </a:lnTo>
                  <a:lnTo>
                    <a:pt x="1536" y="969"/>
                  </a:lnTo>
                  <a:lnTo>
                    <a:pt x="1535" y="969"/>
                  </a:lnTo>
                  <a:lnTo>
                    <a:pt x="1531" y="969"/>
                  </a:lnTo>
                  <a:lnTo>
                    <a:pt x="1529" y="969"/>
                  </a:lnTo>
                  <a:lnTo>
                    <a:pt x="1526" y="970"/>
                  </a:lnTo>
                  <a:lnTo>
                    <a:pt x="1526" y="972"/>
                  </a:lnTo>
                  <a:lnTo>
                    <a:pt x="1523" y="972"/>
                  </a:lnTo>
                  <a:lnTo>
                    <a:pt x="1523" y="972"/>
                  </a:lnTo>
                  <a:lnTo>
                    <a:pt x="1519" y="972"/>
                  </a:lnTo>
                  <a:lnTo>
                    <a:pt x="1516" y="972"/>
                  </a:lnTo>
                  <a:lnTo>
                    <a:pt x="1512" y="972"/>
                  </a:lnTo>
                  <a:lnTo>
                    <a:pt x="1510" y="975"/>
                  </a:lnTo>
                  <a:lnTo>
                    <a:pt x="1507" y="975"/>
                  </a:lnTo>
                  <a:lnTo>
                    <a:pt x="1505" y="977"/>
                  </a:lnTo>
                  <a:lnTo>
                    <a:pt x="1503" y="979"/>
                  </a:lnTo>
                  <a:lnTo>
                    <a:pt x="1500" y="977"/>
                  </a:lnTo>
                  <a:lnTo>
                    <a:pt x="1500" y="979"/>
                  </a:lnTo>
                  <a:lnTo>
                    <a:pt x="1500" y="979"/>
                  </a:lnTo>
                  <a:lnTo>
                    <a:pt x="1495" y="979"/>
                  </a:lnTo>
                  <a:lnTo>
                    <a:pt x="1493" y="981"/>
                  </a:lnTo>
                  <a:lnTo>
                    <a:pt x="1490" y="982"/>
                  </a:lnTo>
                  <a:lnTo>
                    <a:pt x="1490" y="984"/>
                  </a:lnTo>
                  <a:lnTo>
                    <a:pt x="1488" y="988"/>
                  </a:lnTo>
                  <a:lnTo>
                    <a:pt x="1486" y="991"/>
                  </a:lnTo>
                  <a:lnTo>
                    <a:pt x="1484" y="993"/>
                  </a:lnTo>
                  <a:lnTo>
                    <a:pt x="1484" y="995"/>
                  </a:lnTo>
                  <a:lnTo>
                    <a:pt x="1484" y="995"/>
                  </a:lnTo>
                  <a:lnTo>
                    <a:pt x="1484" y="1000"/>
                  </a:lnTo>
                  <a:lnTo>
                    <a:pt x="1484" y="1000"/>
                  </a:lnTo>
                  <a:lnTo>
                    <a:pt x="1488" y="1000"/>
                  </a:lnTo>
                  <a:lnTo>
                    <a:pt x="1491" y="1000"/>
                  </a:lnTo>
                  <a:lnTo>
                    <a:pt x="1493" y="998"/>
                  </a:lnTo>
                  <a:lnTo>
                    <a:pt x="1495" y="998"/>
                  </a:lnTo>
                  <a:lnTo>
                    <a:pt x="1498" y="1003"/>
                  </a:lnTo>
                  <a:lnTo>
                    <a:pt x="1500" y="1005"/>
                  </a:lnTo>
                  <a:lnTo>
                    <a:pt x="1500" y="1007"/>
                  </a:lnTo>
                  <a:lnTo>
                    <a:pt x="1500" y="1010"/>
                  </a:lnTo>
                  <a:lnTo>
                    <a:pt x="1503" y="1012"/>
                  </a:lnTo>
                  <a:lnTo>
                    <a:pt x="1503" y="1015"/>
                  </a:lnTo>
                  <a:lnTo>
                    <a:pt x="1500" y="1017"/>
                  </a:lnTo>
                  <a:lnTo>
                    <a:pt x="1498" y="1021"/>
                  </a:lnTo>
                  <a:lnTo>
                    <a:pt x="1498" y="1026"/>
                  </a:lnTo>
                  <a:lnTo>
                    <a:pt x="1495" y="1026"/>
                  </a:lnTo>
                  <a:lnTo>
                    <a:pt x="1493" y="1031"/>
                  </a:lnTo>
                  <a:lnTo>
                    <a:pt x="1493" y="1035"/>
                  </a:lnTo>
                  <a:lnTo>
                    <a:pt x="1495" y="1035"/>
                  </a:lnTo>
                  <a:lnTo>
                    <a:pt x="1495" y="1038"/>
                  </a:lnTo>
                  <a:lnTo>
                    <a:pt x="1495" y="1042"/>
                  </a:lnTo>
                  <a:lnTo>
                    <a:pt x="1495" y="1043"/>
                  </a:lnTo>
                  <a:lnTo>
                    <a:pt x="1495" y="1047"/>
                  </a:lnTo>
                  <a:lnTo>
                    <a:pt x="1495" y="1049"/>
                  </a:lnTo>
                  <a:lnTo>
                    <a:pt x="1493" y="1050"/>
                  </a:lnTo>
                  <a:lnTo>
                    <a:pt x="1495" y="1054"/>
                  </a:lnTo>
                  <a:lnTo>
                    <a:pt x="1495" y="1057"/>
                  </a:lnTo>
                  <a:lnTo>
                    <a:pt x="1495" y="1059"/>
                  </a:lnTo>
                  <a:lnTo>
                    <a:pt x="1495" y="1064"/>
                  </a:lnTo>
                  <a:lnTo>
                    <a:pt x="1495" y="1064"/>
                  </a:lnTo>
                  <a:lnTo>
                    <a:pt x="1498" y="1064"/>
                  </a:lnTo>
                  <a:lnTo>
                    <a:pt x="1498" y="1064"/>
                  </a:lnTo>
                  <a:lnTo>
                    <a:pt x="1500" y="1064"/>
                  </a:lnTo>
                  <a:lnTo>
                    <a:pt x="1500" y="1069"/>
                  </a:lnTo>
                  <a:lnTo>
                    <a:pt x="1500" y="1073"/>
                  </a:lnTo>
                  <a:lnTo>
                    <a:pt x="1495" y="1073"/>
                  </a:lnTo>
                  <a:lnTo>
                    <a:pt x="1491" y="1076"/>
                  </a:lnTo>
                  <a:lnTo>
                    <a:pt x="1486" y="1078"/>
                  </a:lnTo>
                  <a:lnTo>
                    <a:pt x="1477" y="1085"/>
                  </a:lnTo>
                  <a:lnTo>
                    <a:pt x="1476" y="1085"/>
                  </a:lnTo>
                  <a:lnTo>
                    <a:pt x="1476" y="1085"/>
                  </a:lnTo>
                  <a:lnTo>
                    <a:pt x="1470" y="1085"/>
                  </a:lnTo>
                  <a:lnTo>
                    <a:pt x="1467" y="1085"/>
                  </a:lnTo>
                  <a:lnTo>
                    <a:pt x="1465" y="1082"/>
                  </a:lnTo>
                  <a:lnTo>
                    <a:pt x="1463" y="1082"/>
                  </a:lnTo>
                  <a:lnTo>
                    <a:pt x="1462" y="1082"/>
                  </a:lnTo>
                  <a:lnTo>
                    <a:pt x="1460" y="1082"/>
                  </a:lnTo>
                  <a:lnTo>
                    <a:pt x="1453" y="1080"/>
                  </a:lnTo>
                  <a:lnTo>
                    <a:pt x="1446" y="1082"/>
                  </a:lnTo>
                  <a:lnTo>
                    <a:pt x="1446" y="1082"/>
                  </a:lnTo>
                  <a:lnTo>
                    <a:pt x="1444" y="1085"/>
                  </a:lnTo>
                  <a:lnTo>
                    <a:pt x="1441" y="1085"/>
                  </a:lnTo>
                  <a:lnTo>
                    <a:pt x="1439" y="1082"/>
                  </a:lnTo>
                  <a:lnTo>
                    <a:pt x="1436" y="1085"/>
                  </a:lnTo>
                  <a:lnTo>
                    <a:pt x="1432" y="1085"/>
                  </a:lnTo>
                  <a:lnTo>
                    <a:pt x="1430" y="1082"/>
                  </a:lnTo>
                  <a:lnTo>
                    <a:pt x="1427" y="1078"/>
                  </a:lnTo>
                  <a:lnTo>
                    <a:pt x="1423" y="1078"/>
                  </a:lnTo>
                  <a:lnTo>
                    <a:pt x="1418" y="1080"/>
                  </a:lnTo>
                  <a:lnTo>
                    <a:pt x="1418" y="1078"/>
                  </a:lnTo>
                  <a:lnTo>
                    <a:pt x="1415" y="1078"/>
                  </a:lnTo>
                  <a:lnTo>
                    <a:pt x="1413" y="1082"/>
                  </a:lnTo>
                  <a:lnTo>
                    <a:pt x="1411" y="1085"/>
                  </a:lnTo>
                  <a:lnTo>
                    <a:pt x="1408" y="1087"/>
                  </a:lnTo>
                  <a:lnTo>
                    <a:pt x="1404" y="1089"/>
                  </a:lnTo>
                  <a:lnTo>
                    <a:pt x="1403" y="1092"/>
                  </a:lnTo>
                  <a:lnTo>
                    <a:pt x="1403" y="1094"/>
                  </a:lnTo>
                  <a:lnTo>
                    <a:pt x="1401" y="1097"/>
                  </a:lnTo>
                  <a:lnTo>
                    <a:pt x="1399" y="1101"/>
                  </a:lnTo>
                  <a:lnTo>
                    <a:pt x="1390" y="1101"/>
                  </a:lnTo>
                  <a:lnTo>
                    <a:pt x="1389" y="1101"/>
                  </a:lnTo>
                  <a:lnTo>
                    <a:pt x="1385" y="1104"/>
                  </a:lnTo>
                  <a:lnTo>
                    <a:pt x="1380" y="1104"/>
                  </a:lnTo>
                  <a:lnTo>
                    <a:pt x="1377" y="1108"/>
                  </a:lnTo>
                  <a:lnTo>
                    <a:pt x="1371" y="1113"/>
                  </a:lnTo>
                  <a:lnTo>
                    <a:pt x="1371" y="1113"/>
                  </a:lnTo>
                  <a:lnTo>
                    <a:pt x="1368" y="1109"/>
                  </a:lnTo>
                  <a:lnTo>
                    <a:pt x="1363" y="1109"/>
                  </a:lnTo>
                  <a:lnTo>
                    <a:pt x="1361" y="1109"/>
                  </a:lnTo>
                  <a:lnTo>
                    <a:pt x="1357" y="1113"/>
                  </a:lnTo>
                  <a:lnTo>
                    <a:pt x="1345" y="1113"/>
                  </a:lnTo>
                  <a:lnTo>
                    <a:pt x="1340" y="1109"/>
                  </a:lnTo>
                  <a:lnTo>
                    <a:pt x="1333" y="1109"/>
                  </a:lnTo>
                  <a:lnTo>
                    <a:pt x="1330" y="1109"/>
                  </a:lnTo>
                  <a:lnTo>
                    <a:pt x="1326" y="1108"/>
                  </a:lnTo>
                  <a:lnTo>
                    <a:pt x="1326" y="1108"/>
                  </a:lnTo>
                  <a:lnTo>
                    <a:pt x="1321" y="1104"/>
                  </a:lnTo>
                  <a:lnTo>
                    <a:pt x="1317" y="1104"/>
                  </a:lnTo>
                  <a:lnTo>
                    <a:pt x="1317" y="1097"/>
                  </a:lnTo>
                  <a:lnTo>
                    <a:pt x="1314" y="1095"/>
                  </a:lnTo>
                  <a:lnTo>
                    <a:pt x="1312" y="1097"/>
                  </a:lnTo>
                  <a:lnTo>
                    <a:pt x="1307" y="1097"/>
                  </a:lnTo>
                  <a:lnTo>
                    <a:pt x="1300" y="1094"/>
                  </a:lnTo>
                  <a:lnTo>
                    <a:pt x="1298" y="1089"/>
                  </a:lnTo>
                  <a:lnTo>
                    <a:pt x="1291" y="1090"/>
                  </a:lnTo>
                  <a:lnTo>
                    <a:pt x="1286" y="1089"/>
                  </a:lnTo>
                  <a:lnTo>
                    <a:pt x="1283" y="1087"/>
                  </a:lnTo>
                  <a:lnTo>
                    <a:pt x="1278" y="1089"/>
                  </a:lnTo>
                  <a:lnTo>
                    <a:pt x="1272" y="1089"/>
                  </a:lnTo>
                  <a:lnTo>
                    <a:pt x="1269" y="1090"/>
                  </a:lnTo>
                  <a:lnTo>
                    <a:pt x="1264" y="1090"/>
                  </a:lnTo>
                  <a:lnTo>
                    <a:pt x="1258" y="1092"/>
                  </a:lnTo>
                  <a:lnTo>
                    <a:pt x="1255" y="1095"/>
                  </a:lnTo>
                  <a:lnTo>
                    <a:pt x="1253" y="1097"/>
                  </a:lnTo>
                  <a:lnTo>
                    <a:pt x="1251" y="1095"/>
                  </a:lnTo>
                  <a:lnTo>
                    <a:pt x="1248" y="1095"/>
                  </a:lnTo>
                  <a:lnTo>
                    <a:pt x="1246" y="1097"/>
                  </a:lnTo>
                  <a:lnTo>
                    <a:pt x="1241" y="1097"/>
                  </a:lnTo>
                  <a:lnTo>
                    <a:pt x="1241" y="1099"/>
                  </a:lnTo>
                  <a:lnTo>
                    <a:pt x="1238" y="1099"/>
                  </a:lnTo>
                  <a:lnTo>
                    <a:pt x="1232" y="1095"/>
                  </a:lnTo>
                  <a:lnTo>
                    <a:pt x="1227" y="1094"/>
                  </a:lnTo>
                  <a:lnTo>
                    <a:pt x="1225" y="1092"/>
                  </a:lnTo>
                  <a:lnTo>
                    <a:pt x="1222" y="1089"/>
                  </a:lnTo>
                  <a:lnTo>
                    <a:pt x="1222" y="1089"/>
                  </a:lnTo>
                  <a:lnTo>
                    <a:pt x="1218" y="1087"/>
                  </a:lnTo>
                  <a:lnTo>
                    <a:pt x="1218" y="1085"/>
                  </a:lnTo>
                  <a:lnTo>
                    <a:pt x="1218" y="1082"/>
                  </a:lnTo>
                  <a:lnTo>
                    <a:pt x="1217" y="1080"/>
                  </a:lnTo>
                  <a:lnTo>
                    <a:pt x="1217" y="1076"/>
                  </a:lnTo>
                  <a:lnTo>
                    <a:pt x="1213" y="1073"/>
                  </a:lnTo>
                  <a:lnTo>
                    <a:pt x="1213" y="1071"/>
                  </a:lnTo>
                  <a:lnTo>
                    <a:pt x="1213" y="1069"/>
                  </a:lnTo>
                  <a:lnTo>
                    <a:pt x="1210" y="1068"/>
                  </a:lnTo>
                  <a:lnTo>
                    <a:pt x="1203" y="1068"/>
                  </a:lnTo>
                  <a:lnTo>
                    <a:pt x="1199" y="1068"/>
                  </a:lnTo>
                  <a:lnTo>
                    <a:pt x="1196" y="1066"/>
                  </a:lnTo>
                  <a:lnTo>
                    <a:pt x="1194" y="1066"/>
                  </a:lnTo>
                  <a:lnTo>
                    <a:pt x="1191" y="1064"/>
                  </a:lnTo>
                  <a:lnTo>
                    <a:pt x="1187" y="1062"/>
                  </a:lnTo>
                  <a:lnTo>
                    <a:pt x="1184" y="1062"/>
                  </a:lnTo>
                  <a:lnTo>
                    <a:pt x="1178" y="1062"/>
                  </a:lnTo>
                  <a:lnTo>
                    <a:pt x="1175" y="1062"/>
                  </a:lnTo>
                  <a:lnTo>
                    <a:pt x="1173" y="1059"/>
                  </a:lnTo>
                  <a:lnTo>
                    <a:pt x="1168" y="1057"/>
                  </a:lnTo>
                  <a:lnTo>
                    <a:pt x="1165" y="1057"/>
                  </a:lnTo>
                  <a:lnTo>
                    <a:pt x="1163" y="1054"/>
                  </a:lnTo>
                  <a:lnTo>
                    <a:pt x="1159" y="1054"/>
                  </a:lnTo>
                  <a:lnTo>
                    <a:pt x="1158" y="1057"/>
                  </a:lnTo>
                  <a:lnTo>
                    <a:pt x="1158" y="1059"/>
                  </a:lnTo>
                  <a:lnTo>
                    <a:pt x="1158" y="1062"/>
                  </a:lnTo>
                  <a:lnTo>
                    <a:pt x="1156" y="1064"/>
                  </a:lnTo>
                  <a:lnTo>
                    <a:pt x="1154" y="1064"/>
                  </a:lnTo>
                  <a:lnTo>
                    <a:pt x="1152" y="1066"/>
                  </a:lnTo>
                  <a:lnTo>
                    <a:pt x="1151" y="1068"/>
                  </a:lnTo>
                  <a:lnTo>
                    <a:pt x="1151" y="1071"/>
                  </a:lnTo>
                  <a:lnTo>
                    <a:pt x="1145" y="1073"/>
                  </a:lnTo>
                  <a:lnTo>
                    <a:pt x="1145" y="1085"/>
                  </a:lnTo>
                  <a:lnTo>
                    <a:pt x="1149" y="1087"/>
                  </a:lnTo>
                  <a:lnTo>
                    <a:pt x="1152" y="1089"/>
                  </a:lnTo>
                  <a:lnTo>
                    <a:pt x="1154" y="1090"/>
                  </a:lnTo>
                  <a:lnTo>
                    <a:pt x="1158" y="1092"/>
                  </a:lnTo>
                  <a:lnTo>
                    <a:pt x="1159" y="1094"/>
                  </a:lnTo>
                  <a:lnTo>
                    <a:pt x="1158" y="1101"/>
                  </a:lnTo>
                  <a:lnTo>
                    <a:pt x="1158" y="1104"/>
                  </a:lnTo>
                  <a:lnTo>
                    <a:pt x="1159" y="1108"/>
                  </a:lnTo>
                  <a:lnTo>
                    <a:pt x="1163" y="1109"/>
                  </a:lnTo>
                  <a:lnTo>
                    <a:pt x="1159" y="1115"/>
                  </a:lnTo>
                  <a:lnTo>
                    <a:pt x="1154" y="1115"/>
                  </a:lnTo>
                  <a:lnTo>
                    <a:pt x="1151" y="1115"/>
                  </a:lnTo>
                  <a:lnTo>
                    <a:pt x="1149" y="1115"/>
                  </a:lnTo>
                  <a:lnTo>
                    <a:pt x="1145" y="1116"/>
                  </a:lnTo>
                  <a:lnTo>
                    <a:pt x="1144" y="1115"/>
                  </a:lnTo>
                  <a:lnTo>
                    <a:pt x="1137" y="1115"/>
                  </a:lnTo>
                  <a:lnTo>
                    <a:pt x="1133" y="1115"/>
                  </a:lnTo>
                  <a:lnTo>
                    <a:pt x="1132" y="1113"/>
                  </a:lnTo>
                  <a:lnTo>
                    <a:pt x="1128" y="1113"/>
                  </a:lnTo>
                  <a:lnTo>
                    <a:pt x="1125" y="1113"/>
                  </a:lnTo>
                  <a:lnTo>
                    <a:pt x="1121" y="1115"/>
                  </a:lnTo>
                  <a:lnTo>
                    <a:pt x="1118" y="1116"/>
                  </a:lnTo>
                  <a:lnTo>
                    <a:pt x="1114" y="1118"/>
                  </a:lnTo>
                  <a:lnTo>
                    <a:pt x="1109" y="1115"/>
                  </a:lnTo>
                  <a:lnTo>
                    <a:pt x="1107" y="1113"/>
                  </a:lnTo>
                  <a:lnTo>
                    <a:pt x="1097" y="1109"/>
                  </a:lnTo>
                  <a:lnTo>
                    <a:pt x="1097" y="1104"/>
                  </a:lnTo>
                  <a:lnTo>
                    <a:pt x="1095" y="1104"/>
                  </a:lnTo>
                  <a:lnTo>
                    <a:pt x="1095" y="1101"/>
                  </a:lnTo>
                  <a:lnTo>
                    <a:pt x="1090" y="1101"/>
                  </a:lnTo>
                  <a:lnTo>
                    <a:pt x="1086" y="1102"/>
                  </a:lnTo>
                  <a:lnTo>
                    <a:pt x="1085" y="1102"/>
                  </a:lnTo>
                  <a:lnTo>
                    <a:pt x="1083" y="1102"/>
                  </a:lnTo>
                  <a:lnTo>
                    <a:pt x="1079" y="1104"/>
                  </a:lnTo>
                  <a:lnTo>
                    <a:pt x="1078" y="1101"/>
                  </a:lnTo>
                  <a:lnTo>
                    <a:pt x="1076" y="1099"/>
                  </a:lnTo>
                  <a:lnTo>
                    <a:pt x="1074" y="1095"/>
                  </a:lnTo>
                  <a:lnTo>
                    <a:pt x="1072" y="1095"/>
                  </a:lnTo>
                  <a:lnTo>
                    <a:pt x="1071" y="1097"/>
                  </a:lnTo>
                  <a:lnTo>
                    <a:pt x="1067" y="1097"/>
                  </a:lnTo>
                  <a:lnTo>
                    <a:pt x="1064" y="1097"/>
                  </a:lnTo>
                  <a:lnTo>
                    <a:pt x="1062" y="1099"/>
                  </a:lnTo>
                  <a:lnTo>
                    <a:pt x="1055" y="1099"/>
                  </a:lnTo>
                  <a:lnTo>
                    <a:pt x="1052" y="1101"/>
                  </a:lnTo>
                  <a:lnTo>
                    <a:pt x="1050" y="1104"/>
                  </a:lnTo>
                  <a:lnTo>
                    <a:pt x="1048" y="1104"/>
                  </a:lnTo>
                  <a:lnTo>
                    <a:pt x="1041" y="1104"/>
                  </a:lnTo>
                  <a:lnTo>
                    <a:pt x="1041" y="1104"/>
                  </a:lnTo>
                  <a:lnTo>
                    <a:pt x="1041" y="1109"/>
                  </a:lnTo>
                  <a:lnTo>
                    <a:pt x="1045" y="1109"/>
                  </a:lnTo>
                  <a:lnTo>
                    <a:pt x="1041" y="1109"/>
                  </a:lnTo>
                  <a:lnTo>
                    <a:pt x="1039" y="1113"/>
                  </a:lnTo>
                  <a:lnTo>
                    <a:pt x="1036" y="1115"/>
                  </a:lnTo>
                  <a:lnTo>
                    <a:pt x="1033" y="1118"/>
                  </a:lnTo>
                  <a:lnTo>
                    <a:pt x="1033" y="1120"/>
                  </a:lnTo>
                  <a:lnTo>
                    <a:pt x="1029" y="1122"/>
                  </a:lnTo>
                  <a:lnTo>
                    <a:pt x="1029" y="1125"/>
                  </a:lnTo>
                  <a:lnTo>
                    <a:pt x="1027" y="1130"/>
                  </a:lnTo>
                  <a:lnTo>
                    <a:pt x="1022" y="1132"/>
                  </a:lnTo>
                  <a:lnTo>
                    <a:pt x="1019" y="1135"/>
                  </a:lnTo>
                  <a:lnTo>
                    <a:pt x="1019" y="1135"/>
                  </a:lnTo>
                  <a:lnTo>
                    <a:pt x="1010" y="1135"/>
                  </a:lnTo>
                  <a:lnTo>
                    <a:pt x="1008" y="1137"/>
                  </a:lnTo>
                  <a:lnTo>
                    <a:pt x="1005" y="1144"/>
                  </a:lnTo>
                  <a:lnTo>
                    <a:pt x="1005" y="1144"/>
                  </a:lnTo>
                  <a:lnTo>
                    <a:pt x="1003" y="1144"/>
                  </a:lnTo>
                  <a:lnTo>
                    <a:pt x="1000" y="1144"/>
                  </a:lnTo>
                  <a:lnTo>
                    <a:pt x="998" y="1144"/>
                  </a:lnTo>
                  <a:lnTo>
                    <a:pt x="996" y="1141"/>
                  </a:lnTo>
                  <a:lnTo>
                    <a:pt x="991" y="1141"/>
                  </a:lnTo>
                  <a:lnTo>
                    <a:pt x="987" y="1135"/>
                  </a:lnTo>
                  <a:lnTo>
                    <a:pt x="986" y="1135"/>
                  </a:lnTo>
                  <a:lnTo>
                    <a:pt x="986" y="1132"/>
                  </a:lnTo>
                  <a:lnTo>
                    <a:pt x="986" y="1129"/>
                  </a:lnTo>
                  <a:lnTo>
                    <a:pt x="986" y="1129"/>
                  </a:lnTo>
                  <a:lnTo>
                    <a:pt x="982" y="1130"/>
                  </a:lnTo>
                  <a:lnTo>
                    <a:pt x="980" y="1132"/>
                  </a:lnTo>
                  <a:lnTo>
                    <a:pt x="975" y="1135"/>
                  </a:lnTo>
                  <a:lnTo>
                    <a:pt x="967" y="1135"/>
                  </a:lnTo>
                  <a:lnTo>
                    <a:pt x="965" y="1135"/>
                  </a:lnTo>
                  <a:lnTo>
                    <a:pt x="963" y="1137"/>
                  </a:lnTo>
                  <a:lnTo>
                    <a:pt x="963" y="1135"/>
                  </a:lnTo>
                  <a:lnTo>
                    <a:pt x="960" y="1135"/>
                  </a:lnTo>
                  <a:lnTo>
                    <a:pt x="958" y="1135"/>
                  </a:lnTo>
                  <a:lnTo>
                    <a:pt x="956" y="1135"/>
                  </a:lnTo>
                  <a:lnTo>
                    <a:pt x="954" y="1132"/>
                  </a:lnTo>
                  <a:lnTo>
                    <a:pt x="954" y="1130"/>
                  </a:lnTo>
                  <a:lnTo>
                    <a:pt x="951" y="1129"/>
                  </a:lnTo>
                  <a:lnTo>
                    <a:pt x="954" y="1127"/>
                  </a:lnTo>
                  <a:lnTo>
                    <a:pt x="954" y="1123"/>
                  </a:lnTo>
                  <a:lnTo>
                    <a:pt x="951" y="1123"/>
                  </a:lnTo>
                  <a:lnTo>
                    <a:pt x="949" y="1123"/>
                  </a:lnTo>
                  <a:lnTo>
                    <a:pt x="946" y="1120"/>
                  </a:lnTo>
                  <a:lnTo>
                    <a:pt x="942" y="1118"/>
                  </a:lnTo>
                  <a:lnTo>
                    <a:pt x="940" y="1118"/>
                  </a:lnTo>
                  <a:lnTo>
                    <a:pt x="940" y="1115"/>
                  </a:lnTo>
                  <a:lnTo>
                    <a:pt x="935" y="1109"/>
                  </a:lnTo>
                  <a:lnTo>
                    <a:pt x="932" y="1108"/>
                  </a:lnTo>
                  <a:lnTo>
                    <a:pt x="927" y="1104"/>
                  </a:lnTo>
                  <a:lnTo>
                    <a:pt x="920" y="1104"/>
                  </a:lnTo>
                  <a:lnTo>
                    <a:pt x="914" y="1104"/>
                  </a:lnTo>
                  <a:lnTo>
                    <a:pt x="913" y="1108"/>
                  </a:lnTo>
                  <a:lnTo>
                    <a:pt x="914" y="1109"/>
                  </a:lnTo>
                  <a:lnTo>
                    <a:pt x="913" y="1109"/>
                  </a:lnTo>
                  <a:lnTo>
                    <a:pt x="909" y="1113"/>
                  </a:lnTo>
                  <a:lnTo>
                    <a:pt x="909" y="1113"/>
                  </a:lnTo>
                  <a:lnTo>
                    <a:pt x="904" y="1113"/>
                  </a:lnTo>
                  <a:lnTo>
                    <a:pt x="900" y="1109"/>
                  </a:lnTo>
                  <a:lnTo>
                    <a:pt x="897" y="1113"/>
                  </a:lnTo>
                  <a:lnTo>
                    <a:pt x="894" y="1113"/>
                  </a:lnTo>
                  <a:lnTo>
                    <a:pt x="892" y="1113"/>
                  </a:lnTo>
                  <a:lnTo>
                    <a:pt x="890" y="1109"/>
                  </a:lnTo>
                  <a:lnTo>
                    <a:pt x="887" y="1109"/>
                  </a:lnTo>
                  <a:lnTo>
                    <a:pt x="883" y="1108"/>
                  </a:lnTo>
                  <a:lnTo>
                    <a:pt x="887" y="1104"/>
                  </a:lnTo>
                  <a:lnTo>
                    <a:pt x="881" y="1102"/>
                  </a:lnTo>
                  <a:lnTo>
                    <a:pt x="878" y="1104"/>
                  </a:lnTo>
                  <a:lnTo>
                    <a:pt x="878" y="1108"/>
                  </a:lnTo>
                  <a:lnTo>
                    <a:pt x="878" y="1109"/>
                  </a:lnTo>
                  <a:lnTo>
                    <a:pt x="878" y="1109"/>
                  </a:lnTo>
                  <a:lnTo>
                    <a:pt x="876" y="1113"/>
                  </a:lnTo>
                  <a:lnTo>
                    <a:pt x="871" y="1113"/>
                  </a:lnTo>
                  <a:lnTo>
                    <a:pt x="827" y="1059"/>
                  </a:lnTo>
                  <a:lnTo>
                    <a:pt x="798" y="1036"/>
                  </a:lnTo>
                  <a:lnTo>
                    <a:pt x="798" y="1035"/>
                  </a:lnTo>
                  <a:lnTo>
                    <a:pt x="800" y="1035"/>
                  </a:lnTo>
                  <a:lnTo>
                    <a:pt x="801" y="1031"/>
                  </a:lnTo>
                  <a:lnTo>
                    <a:pt x="801" y="1026"/>
                  </a:lnTo>
                  <a:lnTo>
                    <a:pt x="801" y="1026"/>
                  </a:lnTo>
                  <a:lnTo>
                    <a:pt x="796" y="1028"/>
                  </a:lnTo>
                  <a:lnTo>
                    <a:pt x="793" y="1028"/>
                  </a:lnTo>
                  <a:lnTo>
                    <a:pt x="789" y="1031"/>
                  </a:lnTo>
                  <a:lnTo>
                    <a:pt x="788" y="1031"/>
                  </a:lnTo>
                  <a:lnTo>
                    <a:pt x="782" y="1036"/>
                  </a:lnTo>
                  <a:lnTo>
                    <a:pt x="782" y="1038"/>
                  </a:lnTo>
                  <a:lnTo>
                    <a:pt x="782" y="1042"/>
                  </a:lnTo>
                  <a:lnTo>
                    <a:pt x="779" y="1043"/>
                  </a:lnTo>
                  <a:lnTo>
                    <a:pt x="777" y="1047"/>
                  </a:lnTo>
                  <a:lnTo>
                    <a:pt x="772" y="1047"/>
                  </a:lnTo>
                  <a:lnTo>
                    <a:pt x="768" y="1049"/>
                  </a:lnTo>
                  <a:lnTo>
                    <a:pt x="768" y="1050"/>
                  </a:lnTo>
                  <a:lnTo>
                    <a:pt x="767" y="1054"/>
                  </a:lnTo>
                  <a:lnTo>
                    <a:pt x="765" y="1050"/>
                  </a:lnTo>
                  <a:lnTo>
                    <a:pt x="758" y="1050"/>
                  </a:lnTo>
                  <a:lnTo>
                    <a:pt x="755" y="1050"/>
                  </a:lnTo>
                  <a:lnTo>
                    <a:pt x="751" y="1054"/>
                  </a:lnTo>
                  <a:lnTo>
                    <a:pt x="751" y="1054"/>
                  </a:lnTo>
                  <a:lnTo>
                    <a:pt x="748" y="1050"/>
                  </a:lnTo>
                  <a:lnTo>
                    <a:pt x="748" y="1047"/>
                  </a:lnTo>
                  <a:lnTo>
                    <a:pt x="751" y="1045"/>
                  </a:lnTo>
                  <a:lnTo>
                    <a:pt x="751" y="1042"/>
                  </a:lnTo>
                  <a:lnTo>
                    <a:pt x="749" y="1040"/>
                  </a:lnTo>
                  <a:lnTo>
                    <a:pt x="748" y="1043"/>
                  </a:lnTo>
                  <a:lnTo>
                    <a:pt x="744" y="1043"/>
                  </a:lnTo>
                  <a:lnTo>
                    <a:pt x="737" y="1040"/>
                  </a:lnTo>
                  <a:lnTo>
                    <a:pt x="734" y="1040"/>
                  </a:lnTo>
                  <a:lnTo>
                    <a:pt x="735" y="1042"/>
                  </a:lnTo>
                  <a:lnTo>
                    <a:pt x="737" y="1043"/>
                  </a:lnTo>
                  <a:lnTo>
                    <a:pt x="734" y="1045"/>
                  </a:lnTo>
                  <a:lnTo>
                    <a:pt x="732" y="1047"/>
                  </a:lnTo>
                  <a:lnTo>
                    <a:pt x="732" y="1042"/>
                  </a:lnTo>
                  <a:lnTo>
                    <a:pt x="728" y="1036"/>
                  </a:lnTo>
                  <a:lnTo>
                    <a:pt x="723" y="1031"/>
                  </a:lnTo>
                  <a:lnTo>
                    <a:pt x="723" y="1031"/>
                  </a:lnTo>
                  <a:lnTo>
                    <a:pt x="723" y="1036"/>
                  </a:lnTo>
                  <a:lnTo>
                    <a:pt x="723" y="1038"/>
                  </a:lnTo>
                  <a:lnTo>
                    <a:pt x="722" y="1038"/>
                  </a:lnTo>
                  <a:lnTo>
                    <a:pt x="722" y="1035"/>
                  </a:lnTo>
                  <a:lnTo>
                    <a:pt x="718" y="1036"/>
                  </a:lnTo>
                  <a:lnTo>
                    <a:pt x="718" y="1040"/>
                  </a:lnTo>
                  <a:lnTo>
                    <a:pt x="716" y="1040"/>
                  </a:lnTo>
                  <a:lnTo>
                    <a:pt x="713" y="1038"/>
                  </a:lnTo>
                  <a:lnTo>
                    <a:pt x="709" y="1040"/>
                  </a:lnTo>
                  <a:lnTo>
                    <a:pt x="709" y="1038"/>
                  </a:lnTo>
                  <a:lnTo>
                    <a:pt x="706" y="1035"/>
                  </a:lnTo>
                  <a:lnTo>
                    <a:pt x="709" y="1035"/>
                  </a:lnTo>
                  <a:lnTo>
                    <a:pt x="709" y="1035"/>
                  </a:lnTo>
                  <a:lnTo>
                    <a:pt x="709" y="1031"/>
                  </a:lnTo>
                  <a:lnTo>
                    <a:pt x="709" y="1026"/>
                  </a:lnTo>
                  <a:lnTo>
                    <a:pt x="709" y="1026"/>
                  </a:lnTo>
                  <a:lnTo>
                    <a:pt x="706" y="1022"/>
                  </a:lnTo>
                  <a:lnTo>
                    <a:pt x="704" y="1021"/>
                  </a:lnTo>
                  <a:lnTo>
                    <a:pt x="704" y="1017"/>
                  </a:lnTo>
                  <a:lnTo>
                    <a:pt x="701" y="1017"/>
                  </a:lnTo>
                  <a:lnTo>
                    <a:pt x="701" y="1012"/>
                  </a:lnTo>
                  <a:lnTo>
                    <a:pt x="697" y="1012"/>
                  </a:lnTo>
                  <a:lnTo>
                    <a:pt x="694" y="1014"/>
                  </a:lnTo>
                  <a:lnTo>
                    <a:pt x="688" y="1014"/>
                  </a:lnTo>
                  <a:lnTo>
                    <a:pt x="685" y="1010"/>
                  </a:lnTo>
                  <a:lnTo>
                    <a:pt x="682" y="1012"/>
                  </a:lnTo>
                  <a:lnTo>
                    <a:pt x="676" y="1009"/>
                  </a:lnTo>
                  <a:lnTo>
                    <a:pt x="675" y="1010"/>
                  </a:lnTo>
                  <a:lnTo>
                    <a:pt x="669" y="1010"/>
                  </a:lnTo>
                  <a:lnTo>
                    <a:pt x="668" y="1012"/>
                  </a:lnTo>
                  <a:lnTo>
                    <a:pt x="668" y="1015"/>
                  </a:lnTo>
                  <a:lnTo>
                    <a:pt x="662" y="1015"/>
                  </a:lnTo>
                  <a:lnTo>
                    <a:pt x="661" y="1017"/>
                  </a:lnTo>
                  <a:lnTo>
                    <a:pt x="662" y="1019"/>
                  </a:lnTo>
                  <a:lnTo>
                    <a:pt x="662" y="1022"/>
                  </a:lnTo>
                  <a:lnTo>
                    <a:pt x="659" y="1022"/>
                  </a:lnTo>
                  <a:lnTo>
                    <a:pt x="655" y="1022"/>
                  </a:lnTo>
                  <a:lnTo>
                    <a:pt x="654" y="1026"/>
                  </a:lnTo>
                  <a:lnTo>
                    <a:pt x="650" y="1026"/>
                  </a:lnTo>
                  <a:lnTo>
                    <a:pt x="647" y="1026"/>
                  </a:lnTo>
                  <a:lnTo>
                    <a:pt x="647" y="1026"/>
                  </a:lnTo>
                  <a:lnTo>
                    <a:pt x="638" y="1031"/>
                  </a:lnTo>
                  <a:lnTo>
                    <a:pt x="635" y="1035"/>
                  </a:lnTo>
                  <a:lnTo>
                    <a:pt x="631" y="1035"/>
                  </a:lnTo>
                  <a:lnTo>
                    <a:pt x="629" y="1035"/>
                  </a:lnTo>
                  <a:lnTo>
                    <a:pt x="628" y="1031"/>
                  </a:lnTo>
                  <a:lnTo>
                    <a:pt x="624" y="1035"/>
                  </a:lnTo>
                  <a:lnTo>
                    <a:pt x="624" y="1036"/>
                  </a:lnTo>
                  <a:lnTo>
                    <a:pt x="622" y="1036"/>
                  </a:lnTo>
                  <a:lnTo>
                    <a:pt x="619" y="1038"/>
                  </a:lnTo>
                  <a:lnTo>
                    <a:pt x="619" y="1042"/>
                  </a:lnTo>
                  <a:lnTo>
                    <a:pt x="619" y="1043"/>
                  </a:lnTo>
                  <a:lnTo>
                    <a:pt x="616" y="1042"/>
                  </a:lnTo>
                  <a:lnTo>
                    <a:pt x="614" y="1043"/>
                  </a:lnTo>
                  <a:lnTo>
                    <a:pt x="610" y="1045"/>
                  </a:lnTo>
                  <a:lnTo>
                    <a:pt x="605" y="1045"/>
                  </a:lnTo>
                  <a:lnTo>
                    <a:pt x="602" y="1047"/>
                  </a:lnTo>
                  <a:lnTo>
                    <a:pt x="600" y="1049"/>
                  </a:lnTo>
                  <a:lnTo>
                    <a:pt x="596" y="1050"/>
                  </a:lnTo>
                  <a:lnTo>
                    <a:pt x="593" y="1050"/>
                  </a:lnTo>
                  <a:lnTo>
                    <a:pt x="588" y="1050"/>
                  </a:lnTo>
                  <a:lnTo>
                    <a:pt x="583" y="1054"/>
                  </a:lnTo>
                  <a:lnTo>
                    <a:pt x="581" y="1057"/>
                  </a:lnTo>
                  <a:lnTo>
                    <a:pt x="579" y="1057"/>
                  </a:lnTo>
                  <a:lnTo>
                    <a:pt x="577" y="1054"/>
                  </a:lnTo>
                  <a:lnTo>
                    <a:pt x="574" y="1054"/>
                  </a:lnTo>
                  <a:lnTo>
                    <a:pt x="574" y="1057"/>
                  </a:lnTo>
                  <a:lnTo>
                    <a:pt x="574" y="1059"/>
                  </a:lnTo>
                  <a:lnTo>
                    <a:pt x="572" y="1062"/>
                  </a:lnTo>
                  <a:lnTo>
                    <a:pt x="569" y="1057"/>
                  </a:lnTo>
                  <a:lnTo>
                    <a:pt x="563" y="1059"/>
                  </a:lnTo>
                  <a:lnTo>
                    <a:pt x="563" y="1057"/>
                  </a:lnTo>
                  <a:lnTo>
                    <a:pt x="560" y="1057"/>
                  </a:lnTo>
                  <a:lnTo>
                    <a:pt x="558" y="1059"/>
                  </a:lnTo>
                  <a:lnTo>
                    <a:pt x="555" y="1059"/>
                  </a:lnTo>
                  <a:lnTo>
                    <a:pt x="555" y="1059"/>
                  </a:lnTo>
                  <a:lnTo>
                    <a:pt x="555" y="1064"/>
                  </a:lnTo>
                  <a:lnTo>
                    <a:pt x="555" y="1066"/>
                  </a:lnTo>
                  <a:lnTo>
                    <a:pt x="556" y="1068"/>
                  </a:lnTo>
                  <a:lnTo>
                    <a:pt x="562" y="1066"/>
                  </a:lnTo>
                  <a:lnTo>
                    <a:pt x="563" y="1069"/>
                  </a:lnTo>
                  <a:lnTo>
                    <a:pt x="558" y="1069"/>
                  </a:lnTo>
                  <a:lnTo>
                    <a:pt x="556" y="1071"/>
                  </a:lnTo>
                  <a:lnTo>
                    <a:pt x="556" y="1073"/>
                  </a:lnTo>
                  <a:lnTo>
                    <a:pt x="562" y="1073"/>
                  </a:lnTo>
                  <a:lnTo>
                    <a:pt x="565" y="1076"/>
                  </a:lnTo>
                  <a:lnTo>
                    <a:pt x="567" y="1073"/>
                  </a:lnTo>
                  <a:lnTo>
                    <a:pt x="570" y="1073"/>
                  </a:lnTo>
                  <a:lnTo>
                    <a:pt x="574" y="1076"/>
                  </a:lnTo>
                  <a:lnTo>
                    <a:pt x="577" y="1078"/>
                  </a:lnTo>
                  <a:lnTo>
                    <a:pt x="577" y="1082"/>
                  </a:lnTo>
                  <a:lnTo>
                    <a:pt x="574" y="1082"/>
                  </a:lnTo>
                  <a:lnTo>
                    <a:pt x="572" y="1082"/>
                  </a:lnTo>
                  <a:lnTo>
                    <a:pt x="563" y="1082"/>
                  </a:lnTo>
                  <a:lnTo>
                    <a:pt x="560" y="1085"/>
                  </a:lnTo>
                  <a:lnTo>
                    <a:pt x="555" y="1090"/>
                  </a:lnTo>
                  <a:lnTo>
                    <a:pt x="556" y="1094"/>
                  </a:lnTo>
                  <a:lnTo>
                    <a:pt x="558" y="1095"/>
                  </a:lnTo>
                  <a:lnTo>
                    <a:pt x="560" y="1099"/>
                  </a:lnTo>
                  <a:lnTo>
                    <a:pt x="556" y="1102"/>
                  </a:lnTo>
                  <a:lnTo>
                    <a:pt x="556" y="1104"/>
                  </a:lnTo>
                  <a:lnTo>
                    <a:pt x="555" y="1104"/>
                  </a:lnTo>
                  <a:lnTo>
                    <a:pt x="555" y="1108"/>
                  </a:lnTo>
                  <a:lnTo>
                    <a:pt x="555" y="1109"/>
                  </a:lnTo>
                  <a:lnTo>
                    <a:pt x="555" y="1113"/>
                  </a:lnTo>
                  <a:lnTo>
                    <a:pt x="558" y="1113"/>
                  </a:lnTo>
                  <a:lnTo>
                    <a:pt x="560" y="1113"/>
                  </a:lnTo>
                  <a:lnTo>
                    <a:pt x="565" y="1115"/>
                  </a:lnTo>
                  <a:lnTo>
                    <a:pt x="565" y="1116"/>
                  </a:lnTo>
                  <a:lnTo>
                    <a:pt x="569" y="1120"/>
                  </a:lnTo>
                  <a:lnTo>
                    <a:pt x="574" y="1120"/>
                  </a:lnTo>
                  <a:lnTo>
                    <a:pt x="574" y="1122"/>
                  </a:lnTo>
                  <a:lnTo>
                    <a:pt x="577" y="1135"/>
                  </a:lnTo>
                  <a:lnTo>
                    <a:pt x="574" y="1137"/>
                  </a:lnTo>
                  <a:lnTo>
                    <a:pt x="569" y="1141"/>
                  </a:lnTo>
                  <a:lnTo>
                    <a:pt x="563" y="1137"/>
                  </a:lnTo>
                  <a:lnTo>
                    <a:pt x="558" y="1135"/>
                  </a:lnTo>
                  <a:lnTo>
                    <a:pt x="556" y="1135"/>
                  </a:lnTo>
                  <a:lnTo>
                    <a:pt x="556" y="1141"/>
                  </a:lnTo>
                  <a:lnTo>
                    <a:pt x="555" y="1144"/>
                  </a:lnTo>
                  <a:lnTo>
                    <a:pt x="551" y="1144"/>
                  </a:lnTo>
                  <a:lnTo>
                    <a:pt x="546" y="1141"/>
                  </a:lnTo>
                  <a:lnTo>
                    <a:pt x="539" y="1141"/>
                  </a:lnTo>
                  <a:lnTo>
                    <a:pt x="537" y="1141"/>
                  </a:lnTo>
                  <a:lnTo>
                    <a:pt x="536" y="1141"/>
                  </a:lnTo>
                  <a:lnTo>
                    <a:pt x="532" y="1141"/>
                  </a:lnTo>
                  <a:lnTo>
                    <a:pt x="529" y="1135"/>
                  </a:lnTo>
                  <a:lnTo>
                    <a:pt x="532" y="1135"/>
                  </a:lnTo>
                  <a:lnTo>
                    <a:pt x="532" y="1132"/>
                  </a:lnTo>
                  <a:lnTo>
                    <a:pt x="530" y="1132"/>
                  </a:lnTo>
                  <a:lnTo>
                    <a:pt x="527" y="1130"/>
                  </a:lnTo>
                  <a:lnTo>
                    <a:pt x="523" y="1132"/>
                  </a:lnTo>
                  <a:lnTo>
                    <a:pt x="520" y="1132"/>
                  </a:lnTo>
                  <a:lnTo>
                    <a:pt x="518" y="1132"/>
                  </a:lnTo>
                  <a:lnTo>
                    <a:pt x="520" y="1135"/>
                  </a:lnTo>
                  <a:lnTo>
                    <a:pt x="515" y="1135"/>
                  </a:lnTo>
                  <a:lnTo>
                    <a:pt x="513" y="1135"/>
                  </a:lnTo>
                  <a:lnTo>
                    <a:pt x="508" y="1130"/>
                  </a:lnTo>
                  <a:lnTo>
                    <a:pt x="504" y="1132"/>
                  </a:lnTo>
                  <a:lnTo>
                    <a:pt x="504" y="1132"/>
                  </a:lnTo>
                  <a:lnTo>
                    <a:pt x="501" y="1132"/>
                  </a:lnTo>
                  <a:lnTo>
                    <a:pt x="497" y="1132"/>
                  </a:lnTo>
                  <a:lnTo>
                    <a:pt x="497" y="1135"/>
                  </a:lnTo>
                  <a:lnTo>
                    <a:pt x="496" y="1135"/>
                  </a:lnTo>
                  <a:lnTo>
                    <a:pt x="492" y="1141"/>
                  </a:lnTo>
                  <a:lnTo>
                    <a:pt x="490" y="1144"/>
                  </a:lnTo>
                  <a:lnTo>
                    <a:pt x="487" y="1144"/>
                  </a:lnTo>
                  <a:lnTo>
                    <a:pt x="485" y="1141"/>
                  </a:lnTo>
                  <a:lnTo>
                    <a:pt x="478" y="1141"/>
                  </a:lnTo>
                  <a:lnTo>
                    <a:pt x="475" y="1135"/>
                  </a:lnTo>
                  <a:lnTo>
                    <a:pt x="473" y="1137"/>
                  </a:lnTo>
                  <a:lnTo>
                    <a:pt x="473" y="1144"/>
                  </a:lnTo>
                  <a:lnTo>
                    <a:pt x="470" y="1146"/>
                  </a:lnTo>
                  <a:lnTo>
                    <a:pt x="470" y="1146"/>
                  </a:lnTo>
                  <a:lnTo>
                    <a:pt x="470" y="1141"/>
                  </a:lnTo>
                  <a:lnTo>
                    <a:pt x="468" y="1141"/>
                  </a:lnTo>
                  <a:lnTo>
                    <a:pt x="464" y="1141"/>
                  </a:lnTo>
                  <a:lnTo>
                    <a:pt x="461" y="1135"/>
                  </a:lnTo>
                  <a:lnTo>
                    <a:pt x="457" y="1132"/>
                  </a:lnTo>
                  <a:lnTo>
                    <a:pt x="454" y="1132"/>
                  </a:lnTo>
                  <a:lnTo>
                    <a:pt x="450" y="1129"/>
                  </a:lnTo>
                  <a:lnTo>
                    <a:pt x="447" y="1127"/>
                  </a:lnTo>
                  <a:lnTo>
                    <a:pt x="447" y="1125"/>
                  </a:lnTo>
                  <a:lnTo>
                    <a:pt x="445" y="1125"/>
                  </a:lnTo>
                  <a:lnTo>
                    <a:pt x="438" y="1127"/>
                  </a:lnTo>
                  <a:lnTo>
                    <a:pt x="433" y="1123"/>
                  </a:lnTo>
                  <a:lnTo>
                    <a:pt x="431" y="1120"/>
                  </a:lnTo>
                  <a:lnTo>
                    <a:pt x="428" y="1120"/>
                  </a:lnTo>
                  <a:lnTo>
                    <a:pt x="424" y="1122"/>
                  </a:lnTo>
                  <a:lnTo>
                    <a:pt x="423" y="1122"/>
                  </a:lnTo>
                  <a:lnTo>
                    <a:pt x="423" y="1125"/>
                  </a:lnTo>
                  <a:lnTo>
                    <a:pt x="419" y="1127"/>
                  </a:lnTo>
                  <a:lnTo>
                    <a:pt x="419" y="1123"/>
                  </a:lnTo>
                  <a:lnTo>
                    <a:pt x="417" y="1125"/>
                  </a:lnTo>
                  <a:lnTo>
                    <a:pt x="416" y="1129"/>
                  </a:lnTo>
                  <a:lnTo>
                    <a:pt x="414" y="1130"/>
                  </a:lnTo>
                  <a:lnTo>
                    <a:pt x="410" y="1129"/>
                  </a:lnTo>
                  <a:lnTo>
                    <a:pt x="414" y="1125"/>
                  </a:lnTo>
                  <a:lnTo>
                    <a:pt x="414" y="1123"/>
                  </a:lnTo>
                  <a:lnTo>
                    <a:pt x="410" y="1122"/>
                  </a:lnTo>
                  <a:lnTo>
                    <a:pt x="405" y="1118"/>
                  </a:lnTo>
                  <a:lnTo>
                    <a:pt x="404" y="1120"/>
                  </a:lnTo>
                  <a:lnTo>
                    <a:pt x="405" y="1123"/>
                  </a:lnTo>
                  <a:lnTo>
                    <a:pt x="404" y="1127"/>
                  </a:lnTo>
                  <a:lnTo>
                    <a:pt x="400" y="1125"/>
                  </a:lnTo>
                  <a:lnTo>
                    <a:pt x="400" y="1129"/>
                  </a:lnTo>
                  <a:lnTo>
                    <a:pt x="397" y="1132"/>
                  </a:lnTo>
                  <a:lnTo>
                    <a:pt x="393" y="1132"/>
                  </a:lnTo>
                  <a:lnTo>
                    <a:pt x="388" y="1135"/>
                  </a:lnTo>
                  <a:lnTo>
                    <a:pt x="388" y="1141"/>
                  </a:lnTo>
                  <a:lnTo>
                    <a:pt x="391" y="1144"/>
                  </a:lnTo>
                  <a:lnTo>
                    <a:pt x="391" y="1146"/>
                  </a:lnTo>
                  <a:lnTo>
                    <a:pt x="384" y="1146"/>
                  </a:lnTo>
                  <a:lnTo>
                    <a:pt x="379" y="1148"/>
                  </a:lnTo>
                  <a:lnTo>
                    <a:pt x="384" y="1162"/>
                  </a:lnTo>
                  <a:lnTo>
                    <a:pt x="381" y="1163"/>
                  </a:lnTo>
                  <a:lnTo>
                    <a:pt x="383" y="1169"/>
                  </a:lnTo>
                  <a:lnTo>
                    <a:pt x="377" y="1169"/>
                  </a:lnTo>
                  <a:lnTo>
                    <a:pt x="371" y="1167"/>
                  </a:lnTo>
                  <a:lnTo>
                    <a:pt x="371" y="1163"/>
                  </a:lnTo>
                  <a:lnTo>
                    <a:pt x="362" y="1155"/>
                  </a:lnTo>
                  <a:lnTo>
                    <a:pt x="360" y="1158"/>
                  </a:lnTo>
                  <a:lnTo>
                    <a:pt x="360" y="1162"/>
                  </a:lnTo>
                  <a:lnTo>
                    <a:pt x="355" y="1169"/>
                  </a:lnTo>
                  <a:lnTo>
                    <a:pt x="351" y="1169"/>
                  </a:lnTo>
                  <a:lnTo>
                    <a:pt x="351" y="1177"/>
                  </a:lnTo>
                  <a:lnTo>
                    <a:pt x="355" y="1179"/>
                  </a:lnTo>
                  <a:lnTo>
                    <a:pt x="353" y="1191"/>
                  </a:lnTo>
                  <a:lnTo>
                    <a:pt x="350" y="1196"/>
                  </a:lnTo>
                  <a:lnTo>
                    <a:pt x="358" y="1200"/>
                  </a:lnTo>
                  <a:lnTo>
                    <a:pt x="360" y="1203"/>
                  </a:lnTo>
                  <a:lnTo>
                    <a:pt x="360" y="1207"/>
                  </a:lnTo>
                  <a:lnTo>
                    <a:pt x="365" y="1212"/>
                  </a:lnTo>
                  <a:lnTo>
                    <a:pt x="365" y="1209"/>
                  </a:lnTo>
                  <a:lnTo>
                    <a:pt x="377" y="1212"/>
                  </a:lnTo>
                  <a:lnTo>
                    <a:pt x="386" y="1219"/>
                  </a:lnTo>
                  <a:lnTo>
                    <a:pt x="393" y="1231"/>
                  </a:lnTo>
                  <a:lnTo>
                    <a:pt x="386" y="1231"/>
                  </a:lnTo>
                  <a:lnTo>
                    <a:pt x="386" y="1233"/>
                  </a:lnTo>
                  <a:lnTo>
                    <a:pt x="391" y="1238"/>
                  </a:lnTo>
                  <a:lnTo>
                    <a:pt x="397" y="1236"/>
                  </a:lnTo>
                  <a:lnTo>
                    <a:pt x="400" y="1240"/>
                  </a:lnTo>
                  <a:lnTo>
                    <a:pt x="400" y="1240"/>
                  </a:lnTo>
                  <a:lnTo>
                    <a:pt x="400" y="1240"/>
                  </a:lnTo>
                  <a:lnTo>
                    <a:pt x="400" y="1240"/>
                  </a:lnTo>
                  <a:lnTo>
                    <a:pt x="400" y="1242"/>
                  </a:lnTo>
                  <a:lnTo>
                    <a:pt x="397" y="1242"/>
                  </a:lnTo>
                  <a:lnTo>
                    <a:pt x="400" y="1245"/>
                  </a:lnTo>
                  <a:lnTo>
                    <a:pt x="400" y="1247"/>
                  </a:lnTo>
                  <a:lnTo>
                    <a:pt x="397" y="1247"/>
                  </a:lnTo>
                  <a:lnTo>
                    <a:pt x="400" y="1248"/>
                  </a:lnTo>
                  <a:lnTo>
                    <a:pt x="400" y="1250"/>
                  </a:lnTo>
                  <a:lnTo>
                    <a:pt x="397" y="1248"/>
                  </a:lnTo>
                  <a:lnTo>
                    <a:pt x="393" y="1250"/>
                  </a:lnTo>
                  <a:lnTo>
                    <a:pt x="391" y="1248"/>
                  </a:lnTo>
                  <a:lnTo>
                    <a:pt x="388" y="1248"/>
                  </a:lnTo>
                  <a:lnTo>
                    <a:pt x="393" y="1250"/>
                  </a:lnTo>
                  <a:lnTo>
                    <a:pt x="393" y="1254"/>
                  </a:lnTo>
                  <a:lnTo>
                    <a:pt x="393" y="1254"/>
                  </a:lnTo>
                  <a:lnTo>
                    <a:pt x="393" y="1254"/>
                  </a:lnTo>
                  <a:lnTo>
                    <a:pt x="393" y="1254"/>
                  </a:lnTo>
                  <a:lnTo>
                    <a:pt x="388" y="1254"/>
                  </a:lnTo>
                  <a:lnTo>
                    <a:pt x="388" y="1254"/>
                  </a:lnTo>
                  <a:lnTo>
                    <a:pt x="388" y="1254"/>
                  </a:lnTo>
                  <a:lnTo>
                    <a:pt x="386" y="1254"/>
                  </a:lnTo>
                  <a:lnTo>
                    <a:pt x="388" y="1254"/>
                  </a:lnTo>
                  <a:lnTo>
                    <a:pt x="388" y="1255"/>
                  </a:lnTo>
                  <a:lnTo>
                    <a:pt x="386" y="1257"/>
                  </a:lnTo>
                  <a:lnTo>
                    <a:pt x="384" y="1257"/>
                  </a:lnTo>
                  <a:lnTo>
                    <a:pt x="383" y="1257"/>
                  </a:lnTo>
                  <a:lnTo>
                    <a:pt x="381" y="1255"/>
                  </a:lnTo>
                  <a:lnTo>
                    <a:pt x="381" y="1259"/>
                  </a:lnTo>
                  <a:lnTo>
                    <a:pt x="379" y="1259"/>
                  </a:lnTo>
                  <a:lnTo>
                    <a:pt x="377" y="1257"/>
                  </a:lnTo>
                  <a:lnTo>
                    <a:pt x="377" y="1257"/>
                  </a:lnTo>
                  <a:lnTo>
                    <a:pt x="377" y="1259"/>
                  </a:lnTo>
                  <a:lnTo>
                    <a:pt x="374" y="1262"/>
                  </a:lnTo>
                  <a:lnTo>
                    <a:pt x="372" y="1266"/>
                  </a:lnTo>
                  <a:lnTo>
                    <a:pt x="371" y="1268"/>
                  </a:lnTo>
                  <a:lnTo>
                    <a:pt x="371" y="1271"/>
                  </a:lnTo>
                  <a:lnTo>
                    <a:pt x="369" y="1273"/>
                  </a:lnTo>
                  <a:lnTo>
                    <a:pt x="369" y="1282"/>
                  </a:lnTo>
                  <a:lnTo>
                    <a:pt x="369" y="1282"/>
                  </a:lnTo>
                  <a:lnTo>
                    <a:pt x="365" y="1283"/>
                  </a:lnTo>
                  <a:lnTo>
                    <a:pt x="369" y="1290"/>
                  </a:lnTo>
                  <a:lnTo>
                    <a:pt x="371" y="1290"/>
                  </a:lnTo>
                  <a:lnTo>
                    <a:pt x="372" y="1290"/>
                  </a:lnTo>
                  <a:lnTo>
                    <a:pt x="374" y="1294"/>
                  </a:lnTo>
                  <a:lnTo>
                    <a:pt x="377" y="1294"/>
                  </a:lnTo>
                  <a:lnTo>
                    <a:pt x="377" y="1301"/>
                  </a:lnTo>
                  <a:lnTo>
                    <a:pt x="383" y="1301"/>
                  </a:lnTo>
                  <a:lnTo>
                    <a:pt x="384" y="1301"/>
                  </a:lnTo>
                  <a:lnTo>
                    <a:pt x="386" y="1301"/>
                  </a:lnTo>
                  <a:lnTo>
                    <a:pt x="384" y="1304"/>
                  </a:lnTo>
                  <a:lnTo>
                    <a:pt x="384" y="1306"/>
                  </a:lnTo>
                  <a:lnTo>
                    <a:pt x="381" y="1304"/>
                  </a:lnTo>
                  <a:lnTo>
                    <a:pt x="381" y="1309"/>
                  </a:lnTo>
                  <a:lnTo>
                    <a:pt x="384" y="1309"/>
                  </a:lnTo>
                  <a:lnTo>
                    <a:pt x="384" y="1309"/>
                  </a:lnTo>
                  <a:lnTo>
                    <a:pt x="386" y="1313"/>
                  </a:lnTo>
                  <a:lnTo>
                    <a:pt x="386" y="1318"/>
                  </a:lnTo>
                  <a:lnTo>
                    <a:pt x="388" y="1322"/>
                  </a:lnTo>
                  <a:lnTo>
                    <a:pt x="388" y="1327"/>
                  </a:lnTo>
                  <a:lnTo>
                    <a:pt x="397" y="1332"/>
                  </a:lnTo>
                  <a:lnTo>
                    <a:pt x="405" y="1341"/>
                  </a:lnTo>
                  <a:lnTo>
                    <a:pt x="407" y="1342"/>
                  </a:lnTo>
                  <a:lnTo>
                    <a:pt x="405" y="1342"/>
                  </a:lnTo>
                  <a:lnTo>
                    <a:pt x="400" y="1349"/>
                  </a:lnTo>
                  <a:lnTo>
                    <a:pt x="397" y="1351"/>
                  </a:lnTo>
                  <a:lnTo>
                    <a:pt x="393" y="1355"/>
                  </a:lnTo>
                  <a:lnTo>
                    <a:pt x="386" y="1355"/>
                  </a:lnTo>
                  <a:lnTo>
                    <a:pt x="384" y="1349"/>
                  </a:lnTo>
                  <a:lnTo>
                    <a:pt x="377" y="1344"/>
                  </a:lnTo>
                  <a:lnTo>
                    <a:pt x="371" y="1342"/>
                  </a:lnTo>
                  <a:lnTo>
                    <a:pt x="369" y="1349"/>
                  </a:lnTo>
                  <a:lnTo>
                    <a:pt x="374" y="1351"/>
                  </a:lnTo>
                  <a:lnTo>
                    <a:pt x="377" y="1356"/>
                  </a:lnTo>
                  <a:lnTo>
                    <a:pt x="374" y="1363"/>
                  </a:lnTo>
                  <a:lnTo>
                    <a:pt x="369" y="1360"/>
                  </a:lnTo>
                  <a:lnTo>
                    <a:pt x="364" y="1358"/>
                  </a:lnTo>
                  <a:lnTo>
                    <a:pt x="353" y="1351"/>
                  </a:lnTo>
                  <a:lnTo>
                    <a:pt x="346" y="1356"/>
                  </a:lnTo>
                  <a:lnTo>
                    <a:pt x="346" y="1358"/>
                  </a:lnTo>
                  <a:lnTo>
                    <a:pt x="350" y="1360"/>
                  </a:lnTo>
                  <a:lnTo>
                    <a:pt x="346" y="1358"/>
                  </a:lnTo>
                  <a:lnTo>
                    <a:pt x="336" y="1358"/>
                  </a:lnTo>
                  <a:lnTo>
                    <a:pt x="334" y="1358"/>
                  </a:lnTo>
                  <a:lnTo>
                    <a:pt x="325" y="1360"/>
                  </a:lnTo>
                  <a:lnTo>
                    <a:pt x="320" y="1360"/>
                  </a:lnTo>
                  <a:lnTo>
                    <a:pt x="320" y="1360"/>
                  </a:lnTo>
                  <a:lnTo>
                    <a:pt x="318" y="1360"/>
                  </a:lnTo>
                  <a:lnTo>
                    <a:pt x="311" y="1355"/>
                  </a:lnTo>
                  <a:lnTo>
                    <a:pt x="308" y="1351"/>
                  </a:lnTo>
                  <a:lnTo>
                    <a:pt x="304" y="1355"/>
                  </a:lnTo>
                  <a:lnTo>
                    <a:pt x="303" y="1356"/>
                  </a:lnTo>
                  <a:lnTo>
                    <a:pt x="298" y="1355"/>
                  </a:lnTo>
                  <a:lnTo>
                    <a:pt x="296" y="1356"/>
                  </a:lnTo>
                  <a:lnTo>
                    <a:pt x="296" y="1355"/>
                  </a:lnTo>
                  <a:lnTo>
                    <a:pt x="296" y="1351"/>
                  </a:lnTo>
                  <a:lnTo>
                    <a:pt x="292" y="1351"/>
                  </a:lnTo>
                  <a:lnTo>
                    <a:pt x="292" y="1351"/>
                  </a:lnTo>
                  <a:lnTo>
                    <a:pt x="292" y="1351"/>
                  </a:lnTo>
                  <a:lnTo>
                    <a:pt x="292" y="1348"/>
                  </a:lnTo>
                  <a:lnTo>
                    <a:pt x="292" y="1346"/>
                  </a:lnTo>
                  <a:lnTo>
                    <a:pt x="291" y="1341"/>
                  </a:lnTo>
                  <a:lnTo>
                    <a:pt x="291" y="1332"/>
                  </a:lnTo>
                  <a:lnTo>
                    <a:pt x="287" y="1332"/>
                  </a:lnTo>
                  <a:lnTo>
                    <a:pt x="284" y="1325"/>
                  </a:lnTo>
                  <a:lnTo>
                    <a:pt x="280" y="1325"/>
                  </a:lnTo>
                  <a:lnTo>
                    <a:pt x="278" y="1323"/>
                  </a:lnTo>
                  <a:lnTo>
                    <a:pt x="275" y="1318"/>
                  </a:lnTo>
                  <a:lnTo>
                    <a:pt x="273" y="1320"/>
                  </a:lnTo>
                  <a:lnTo>
                    <a:pt x="273" y="1318"/>
                  </a:lnTo>
                  <a:lnTo>
                    <a:pt x="268" y="1318"/>
                  </a:lnTo>
                  <a:lnTo>
                    <a:pt x="265" y="1315"/>
                  </a:lnTo>
                  <a:lnTo>
                    <a:pt x="265" y="1315"/>
                  </a:lnTo>
                  <a:lnTo>
                    <a:pt x="261" y="1313"/>
                  </a:lnTo>
                  <a:lnTo>
                    <a:pt x="259" y="1309"/>
                  </a:lnTo>
                  <a:lnTo>
                    <a:pt x="256" y="1309"/>
                  </a:lnTo>
                  <a:lnTo>
                    <a:pt x="254" y="1309"/>
                  </a:lnTo>
                  <a:lnTo>
                    <a:pt x="252" y="1306"/>
                  </a:lnTo>
                  <a:lnTo>
                    <a:pt x="249" y="1304"/>
                  </a:lnTo>
                  <a:lnTo>
                    <a:pt x="247" y="1301"/>
                  </a:lnTo>
                  <a:lnTo>
                    <a:pt x="237" y="1294"/>
                  </a:lnTo>
                  <a:lnTo>
                    <a:pt x="232" y="1292"/>
                  </a:lnTo>
                  <a:lnTo>
                    <a:pt x="225" y="1287"/>
                  </a:lnTo>
                  <a:lnTo>
                    <a:pt x="219" y="1288"/>
                  </a:lnTo>
                  <a:lnTo>
                    <a:pt x="214" y="1283"/>
                  </a:lnTo>
                  <a:lnTo>
                    <a:pt x="214" y="1282"/>
                  </a:lnTo>
                  <a:lnTo>
                    <a:pt x="211" y="1278"/>
                  </a:lnTo>
                  <a:lnTo>
                    <a:pt x="209" y="1278"/>
                  </a:lnTo>
                  <a:lnTo>
                    <a:pt x="205" y="1278"/>
                  </a:lnTo>
                  <a:lnTo>
                    <a:pt x="207" y="1276"/>
                  </a:lnTo>
                  <a:lnTo>
                    <a:pt x="211" y="1273"/>
                  </a:lnTo>
                  <a:lnTo>
                    <a:pt x="209" y="1273"/>
                  </a:lnTo>
                  <a:lnTo>
                    <a:pt x="209" y="1271"/>
                  </a:lnTo>
                  <a:lnTo>
                    <a:pt x="211" y="1271"/>
                  </a:lnTo>
                  <a:lnTo>
                    <a:pt x="214" y="1273"/>
                  </a:lnTo>
                  <a:lnTo>
                    <a:pt x="214" y="1273"/>
                  </a:lnTo>
                  <a:lnTo>
                    <a:pt x="219" y="1273"/>
                  </a:lnTo>
                  <a:lnTo>
                    <a:pt x="219" y="1269"/>
                  </a:lnTo>
                  <a:lnTo>
                    <a:pt x="219" y="1268"/>
                  </a:lnTo>
                  <a:lnTo>
                    <a:pt x="219" y="1264"/>
                  </a:lnTo>
                  <a:lnTo>
                    <a:pt x="221" y="1261"/>
                  </a:lnTo>
                  <a:lnTo>
                    <a:pt x="221" y="1259"/>
                  </a:lnTo>
                  <a:lnTo>
                    <a:pt x="223" y="1257"/>
                  </a:lnTo>
                  <a:lnTo>
                    <a:pt x="225" y="1257"/>
                  </a:lnTo>
                  <a:lnTo>
                    <a:pt x="226" y="1255"/>
                  </a:lnTo>
                  <a:lnTo>
                    <a:pt x="230" y="1255"/>
                  </a:lnTo>
                  <a:lnTo>
                    <a:pt x="230" y="1254"/>
                  </a:lnTo>
                  <a:lnTo>
                    <a:pt x="225" y="1254"/>
                  </a:lnTo>
                  <a:lnTo>
                    <a:pt x="225" y="1250"/>
                  </a:lnTo>
                  <a:lnTo>
                    <a:pt x="223" y="1254"/>
                  </a:lnTo>
                  <a:lnTo>
                    <a:pt x="219" y="1250"/>
                  </a:lnTo>
                  <a:lnTo>
                    <a:pt x="219" y="1245"/>
                  </a:lnTo>
                  <a:lnTo>
                    <a:pt x="223" y="1245"/>
                  </a:lnTo>
                  <a:lnTo>
                    <a:pt x="228" y="1245"/>
                  </a:lnTo>
                  <a:lnTo>
                    <a:pt x="230" y="1242"/>
                  </a:lnTo>
                  <a:lnTo>
                    <a:pt x="228" y="1242"/>
                  </a:lnTo>
                  <a:lnTo>
                    <a:pt x="226" y="1242"/>
                  </a:lnTo>
                  <a:lnTo>
                    <a:pt x="230" y="1238"/>
                  </a:lnTo>
                  <a:lnTo>
                    <a:pt x="238" y="1233"/>
                  </a:lnTo>
                  <a:lnTo>
                    <a:pt x="238" y="1231"/>
                  </a:lnTo>
                  <a:lnTo>
                    <a:pt x="238" y="1231"/>
                  </a:lnTo>
                  <a:lnTo>
                    <a:pt x="233" y="1231"/>
                  </a:lnTo>
                  <a:lnTo>
                    <a:pt x="230" y="1233"/>
                  </a:lnTo>
                  <a:lnTo>
                    <a:pt x="226" y="1231"/>
                  </a:lnTo>
                  <a:lnTo>
                    <a:pt x="226" y="1231"/>
                  </a:lnTo>
                  <a:lnTo>
                    <a:pt x="226" y="1231"/>
                  </a:lnTo>
                  <a:lnTo>
                    <a:pt x="226" y="1224"/>
                  </a:lnTo>
                  <a:lnTo>
                    <a:pt x="230" y="1222"/>
                  </a:lnTo>
                  <a:lnTo>
                    <a:pt x="233" y="1217"/>
                  </a:lnTo>
                  <a:lnTo>
                    <a:pt x="242" y="1217"/>
                  </a:lnTo>
                  <a:lnTo>
                    <a:pt x="245" y="1215"/>
                  </a:lnTo>
                  <a:lnTo>
                    <a:pt x="245" y="1210"/>
                  </a:lnTo>
                  <a:lnTo>
                    <a:pt x="245" y="1203"/>
                  </a:lnTo>
                  <a:lnTo>
                    <a:pt x="245" y="1200"/>
                  </a:lnTo>
                  <a:lnTo>
                    <a:pt x="238" y="1195"/>
                  </a:lnTo>
                  <a:lnTo>
                    <a:pt x="242" y="1188"/>
                  </a:lnTo>
                  <a:lnTo>
                    <a:pt x="245" y="1188"/>
                  </a:lnTo>
                  <a:lnTo>
                    <a:pt x="247" y="1184"/>
                  </a:lnTo>
                  <a:lnTo>
                    <a:pt x="247" y="1179"/>
                  </a:lnTo>
                  <a:lnTo>
                    <a:pt x="245" y="1177"/>
                  </a:lnTo>
                  <a:lnTo>
                    <a:pt x="245" y="1174"/>
                  </a:lnTo>
                  <a:lnTo>
                    <a:pt x="242" y="1175"/>
                  </a:lnTo>
                  <a:lnTo>
                    <a:pt x="237" y="1175"/>
                  </a:lnTo>
                  <a:lnTo>
                    <a:pt x="232" y="1172"/>
                  </a:lnTo>
                  <a:lnTo>
                    <a:pt x="228" y="1172"/>
                  </a:lnTo>
                  <a:lnTo>
                    <a:pt x="225" y="1172"/>
                  </a:lnTo>
                  <a:lnTo>
                    <a:pt x="219" y="1172"/>
                  </a:lnTo>
                  <a:lnTo>
                    <a:pt x="214" y="1169"/>
                  </a:lnTo>
                  <a:lnTo>
                    <a:pt x="211" y="1172"/>
                  </a:lnTo>
                  <a:lnTo>
                    <a:pt x="211" y="1169"/>
                  </a:lnTo>
                  <a:lnTo>
                    <a:pt x="205" y="1167"/>
                  </a:lnTo>
                  <a:lnTo>
                    <a:pt x="200" y="1156"/>
                  </a:lnTo>
                  <a:lnTo>
                    <a:pt x="198" y="1158"/>
                  </a:lnTo>
                  <a:lnTo>
                    <a:pt x="192" y="1162"/>
                  </a:lnTo>
                  <a:lnTo>
                    <a:pt x="188" y="1162"/>
                  </a:lnTo>
                  <a:lnTo>
                    <a:pt x="186" y="1163"/>
                  </a:lnTo>
                  <a:lnTo>
                    <a:pt x="181" y="1160"/>
                  </a:lnTo>
                  <a:lnTo>
                    <a:pt x="178" y="1163"/>
                  </a:lnTo>
                  <a:lnTo>
                    <a:pt x="169" y="1156"/>
                  </a:lnTo>
                  <a:lnTo>
                    <a:pt x="169" y="1149"/>
                  </a:lnTo>
                  <a:lnTo>
                    <a:pt x="169" y="1144"/>
                  </a:lnTo>
                  <a:lnTo>
                    <a:pt x="165" y="1144"/>
                  </a:lnTo>
                  <a:lnTo>
                    <a:pt x="165" y="1141"/>
                  </a:lnTo>
                  <a:lnTo>
                    <a:pt x="160" y="1137"/>
                  </a:lnTo>
                  <a:lnTo>
                    <a:pt x="152" y="1141"/>
                  </a:lnTo>
                  <a:lnTo>
                    <a:pt x="146" y="1132"/>
                  </a:lnTo>
                  <a:lnTo>
                    <a:pt x="148" y="1130"/>
                  </a:lnTo>
                  <a:lnTo>
                    <a:pt x="145" y="1127"/>
                  </a:lnTo>
                  <a:lnTo>
                    <a:pt x="141" y="1118"/>
                  </a:lnTo>
                  <a:lnTo>
                    <a:pt x="138" y="1118"/>
                  </a:lnTo>
                  <a:lnTo>
                    <a:pt x="134" y="1120"/>
                  </a:lnTo>
                  <a:lnTo>
                    <a:pt x="126" y="1120"/>
                  </a:lnTo>
                  <a:lnTo>
                    <a:pt x="119" y="1118"/>
                  </a:lnTo>
                  <a:lnTo>
                    <a:pt x="115" y="1120"/>
                  </a:lnTo>
                  <a:lnTo>
                    <a:pt x="115" y="1123"/>
                  </a:lnTo>
                  <a:lnTo>
                    <a:pt x="110" y="1125"/>
                  </a:lnTo>
                  <a:lnTo>
                    <a:pt x="106" y="1123"/>
                  </a:lnTo>
                  <a:lnTo>
                    <a:pt x="106" y="1120"/>
                  </a:lnTo>
                  <a:lnTo>
                    <a:pt x="105" y="1115"/>
                  </a:lnTo>
                  <a:lnTo>
                    <a:pt x="105" y="1109"/>
                  </a:lnTo>
                  <a:lnTo>
                    <a:pt x="101" y="1104"/>
                  </a:lnTo>
                  <a:lnTo>
                    <a:pt x="101" y="1101"/>
                  </a:lnTo>
                  <a:lnTo>
                    <a:pt x="103" y="1099"/>
                  </a:lnTo>
                  <a:lnTo>
                    <a:pt x="106" y="1102"/>
                  </a:lnTo>
                  <a:lnTo>
                    <a:pt x="115" y="1101"/>
                  </a:lnTo>
                  <a:lnTo>
                    <a:pt x="119" y="1094"/>
                  </a:lnTo>
                  <a:lnTo>
                    <a:pt x="120" y="1092"/>
                  </a:lnTo>
                  <a:lnTo>
                    <a:pt x="115" y="1090"/>
                  </a:lnTo>
                  <a:lnTo>
                    <a:pt x="115" y="1087"/>
                  </a:lnTo>
                  <a:lnTo>
                    <a:pt x="110" y="1082"/>
                  </a:lnTo>
                  <a:lnTo>
                    <a:pt x="103" y="1080"/>
                  </a:lnTo>
                  <a:lnTo>
                    <a:pt x="101" y="1073"/>
                  </a:lnTo>
                  <a:lnTo>
                    <a:pt x="98" y="1071"/>
                  </a:lnTo>
                  <a:lnTo>
                    <a:pt x="96" y="1064"/>
                  </a:lnTo>
                  <a:lnTo>
                    <a:pt x="91" y="1062"/>
                  </a:lnTo>
                  <a:lnTo>
                    <a:pt x="87" y="1057"/>
                  </a:lnTo>
                  <a:lnTo>
                    <a:pt x="87" y="1050"/>
                  </a:lnTo>
                  <a:lnTo>
                    <a:pt x="84" y="1049"/>
                  </a:lnTo>
                  <a:lnTo>
                    <a:pt x="87" y="1043"/>
                  </a:lnTo>
                  <a:lnTo>
                    <a:pt x="84" y="1040"/>
                  </a:lnTo>
                  <a:lnTo>
                    <a:pt x="79" y="1036"/>
                  </a:lnTo>
                  <a:lnTo>
                    <a:pt x="75" y="1036"/>
                  </a:lnTo>
                  <a:lnTo>
                    <a:pt x="73" y="1035"/>
                  </a:lnTo>
                  <a:lnTo>
                    <a:pt x="68" y="1035"/>
                  </a:lnTo>
                  <a:lnTo>
                    <a:pt x="65" y="1038"/>
                  </a:lnTo>
                  <a:lnTo>
                    <a:pt x="61" y="1035"/>
                  </a:lnTo>
                  <a:lnTo>
                    <a:pt x="56" y="1035"/>
                  </a:lnTo>
                  <a:lnTo>
                    <a:pt x="53" y="1035"/>
                  </a:lnTo>
                  <a:lnTo>
                    <a:pt x="49" y="1031"/>
                  </a:lnTo>
                  <a:lnTo>
                    <a:pt x="46" y="1031"/>
                  </a:lnTo>
                  <a:lnTo>
                    <a:pt x="42" y="1031"/>
                  </a:lnTo>
                  <a:lnTo>
                    <a:pt x="40" y="1031"/>
                  </a:lnTo>
                  <a:lnTo>
                    <a:pt x="40" y="1026"/>
                  </a:lnTo>
                  <a:lnTo>
                    <a:pt x="39" y="1022"/>
                  </a:lnTo>
                  <a:lnTo>
                    <a:pt x="37" y="1017"/>
                  </a:lnTo>
                  <a:lnTo>
                    <a:pt x="37" y="1015"/>
                  </a:lnTo>
                  <a:lnTo>
                    <a:pt x="33" y="1010"/>
                  </a:lnTo>
                  <a:lnTo>
                    <a:pt x="33" y="1009"/>
                  </a:lnTo>
                  <a:lnTo>
                    <a:pt x="33" y="1005"/>
                  </a:lnTo>
                  <a:lnTo>
                    <a:pt x="32" y="1005"/>
                  </a:lnTo>
                  <a:lnTo>
                    <a:pt x="33" y="1003"/>
                  </a:lnTo>
                  <a:lnTo>
                    <a:pt x="32" y="1000"/>
                  </a:lnTo>
                  <a:lnTo>
                    <a:pt x="28" y="1000"/>
                  </a:lnTo>
                  <a:lnTo>
                    <a:pt x="32" y="995"/>
                  </a:lnTo>
                  <a:lnTo>
                    <a:pt x="32" y="993"/>
                  </a:lnTo>
                  <a:lnTo>
                    <a:pt x="33" y="991"/>
                  </a:lnTo>
                  <a:lnTo>
                    <a:pt x="33" y="988"/>
                  </a:lnTo>
                  <a:lnTo>
                    <a:pt x="25" y="972"/>
                  </a:lnTo>
                  <a:lnTo>
                    <a:pt x="26" y="960"/>
                  </a:lnTo>
                  <a:lnTo>
                    <a:pt x="28" y="958"/>
                  </a:lnTo>
                  <a:lnTo>
                    <a:pt x="30" y="953"/>
                  </a:lnTo>
                  <a:lnTo>
                    <a:pt x="33" y="949"/>
                  </a:lnTo>
                  <a:lnTo>
                    <a:pt x="33" y="948"/>
                  </a:lnTo>
                  <a:lnTo>
                    <a:pt x="33" y="948"/>
                  </a:lnTo>
                  <a:lnTo>
                    <a:pt x="32" y="944"/>
                  </a:lnTo>
                  <a:lnTo>
                    <a:pt x="32" y="944"/>
                  </a:lnTo>
                  <a:lnTo>
                    <a:pt x="33" y="941"/>
                  </a:lnTo>
                  <a:lnTo>
                    <a:pt x="32" y="939"/>
                  </a:lnTo>
                  <a:lnTo>
                    <a:pt x="32" y="937"/>
                  </a:lnTo>
                  <a:lnTo>
                    <a:pt x="33" y="937"/>
                  </a:lnTo>
                  <a:lnTo>
                    <a:pt x="33" y="941"/>
                  </a:lnTo>
                  <a:lnTo>
                    <a:pt x="37" y="939"/>
                  </a:lnTo>
                  <a:lnTo>
                    <a:pt x="37" y="936"/>
                  </a:lnTo>
                  <a:lnTo>
                    <a:pt x="37" y="934"/>
                  </a:lnTo>
                  <a:lnTo>
                    <a:pt x="40" y="936"/>
                  </a:lnTo>
                  <a:lnTo>
                    <a:pt x="46" y="932"/>
                  </a:lnTo>
                  <a:lnTo>
                    <a:pt x="47" y="930"/>
                  </a:lnTo>
                  <a:lnTo>
                    <a:pt x="49" y="929"/>
                  </a:lnTo>
                  <a:lnTo>
                    <a:pt x="54" y="930"/>
                  </a:lnTo>
                  <a:lnTo>
                    <a:pt x="56" y="927"/>
                  </a:lnTo>
                  <a:lnTo>
                    <a:pt x="53" y="925"/>
                  </a:lnTo>
                  <a:lnTo>
                    <a:pt x="51" y="925"/>
                  </a:lnTo>
                  <a:lnTo>
                    <a:pt x="49" y="925"/>
                  </a:lnTo>
                  <a:lnTo>
                    <a:pt x="44" y="925"/>
                  </a:lnTo>
                  <a:lnTo>
                    <a:pt x="42" y="922"/>
                  </a:lnTo>
                  <a:lnTo>
                    <a:pt x="39" y="922"/>
                  </a:lnTo>
                  <a:lnTo>
                    <a:pt x="33" y="916"/>
                  </a:lnTo>
                  <a:lnTo>
                    <a:pt x="33" y="913"/>
                  </a:lnTo>
                  <a:lnTo>
                    <a:pt x="39" y="916"/>
                  </a:lnTo>
                  <a:lnTo>
                    <a:pt x="39" y="913"/>
                  </a:lnTo>
                  <a:lnTo>
                    <a:pt x="37" y="913"/>
                  </a:lnTo>
                  <a:lnTo>
                    <a:pt x="40" y="911"/>
                  </a:lnTo>
                  <a:lnTo>
                    <a:pt x="37" y="911"/>
                  </a:lnTo>
                  <a:lnTo>
                    <a:pt x="37" y="911"/>
                  </a:lnTo>
                  <a:lnTo>
                    <a:pt x="32" y="913"/>
                  </a:lnTo>
                  <a:lnTo>
                    <a:pt x="32" y="913"/>
                  </a:lnTo>
                  <a:lnTo>
                    <a:pt x="32" y="913"/>
                  </a:lnTo>
                  <a:lnTo>
                    <a:pt x="32" y="913"/>
                  </a:lnTo>
                  <a:lnTo>
                    <a:pt x="30" y="909"/>
                  </a:lnTo>
                  <a:lnTo>
                    <a:pt x="37" y="902"/>
                  </a:lnTo>
                  <a:lnTo>
                    <a:pt x="42" y="899"/>
                  </a:lnTo>
                  <a:lnTo>
                    <a:pt x="47" y="890"/>
                  </a:lnTo>
                  <a:lnTo>
                    <a:pt x="51" y="885"/>
                  </a:lnTo>
                  <a:lnTo>
                    <a:pt x="56" y="876"/>
                  </a:lnTo>
                  <a:lnTo>
                    <a:pt x="61" y="866"/>
                  </a:lnTo>
                  <a:lnTo>
                    <a:pt x="66" y="852"/>
                  </a:lnTo>
                  <a:lnTo>
                    <a:pt x="65" y="847"/>
                  </a:lnTo>
                  <a:lnTo>
                    <a:pt x="59" y="838"/>
                  </a:lnTo>
                  <a:lnTo>
                    <a:pt x="54" y="838"/>
                  </a:lnTo>
                  <a:lnTo>
                    <a:pt x="46" y="826"/>
                  </a:lnTo>
                  <a:lnTo>
                    <a:pt x="47" y="821"/>
                  </a:lnTo>
                  <a:lnTo>
                    <a:pt x="51" y="816"/>
                  </a:lnTo>
                  <a:lnTo>
                    <a:pt x="51" y="810"/>
                  </a:lnTo>
                  <a:lnTo>
                    <a:pt x="46" y="807"/>
                  </a:lnTo>
                  <a:lnTo>
                    <a:pt x="42" y="803"/>
                  </a:lnTo>
                  <a:lnTo>
                    <a:pt x="42" y="798"/>
                  </a:lnTo>
                  <a:lnTo>
                    <a:pt x="44" y="796"/>
                  </a:lnTo>
                  <a:lnTo>
                    <a:pt x="42" y="793"/>
                  </a:lnTo>
                  <a:lnTo>
                    <a:pt x="39" y="791"/>
                  </a:lnTo>
                  <a:lnTo>
                    <a:pt x="37" y="789"/>
                  </a:lnTo>
                  <a:lnTo>
                    <a:pt x="37" y="784"/>
                  </a:lnTo>
                  <a:lnTo>
                    <a:pt x="39" y="779"/>
                  </a:lnTo>
                  <a:lnTo>
                    <a:pt x="37" y="779"/>
                  </a:lnTo>
                  <a:lnTo>
                    <a:pt x="37" y="776"/>
                  </a:lnTo>
                  <a:lnTo>
                    <a:pt x="37" y="765"/>
                  </a:lnTo>
                  <a:lnTo>
                    <a:pt x="39" y="765"/>
                  </a:lnTo>
                  <a:lnTo>
                    <a:pt x="32" y="748"/>
                  </a:lnTo>
                  <a:lnTo>
                    <a:pt x="25" y="734"/>
                  </a:lnTo>
                  <a:lnTo>
                    <a:pt x="23" y="729"/>
                  </a:lnTo>
                  <a:lnTo>
                    <a:pt x="20" y="725"/>
                  </a:lnTo>
                  <a:lnTo>
                    <a:pt x="21" y="716"/>
                  </a:lnTo>
                  <a:lnTo>
                    <a:pt x="25" y="711"/>
                  </a:lnTo>
                  <a:lnTo>
                    <a:pt x="26" y="706"/>
                  </a:lnTo>
                  <a:lnTo>
                    <a:pt x="25" y="704"/>
                  </a:lnTo>
                  <a:lnTo>
                    <a:pt x="16" y="699"/>
                  </a:lnTo>
                  <a:lnTo>
                    <a:pt x="16" y="697"/>
                  </a:lnTo>
                  <a:lnTo>
                    <a:pt x="14" y="692"/>
                  </a:lnTo>
                  <a:lnTo>
                    <a:pt x="9" y="690"/>
                  </a:lnTo>
                  <a:lnTo>
                    <a:pt x="7" y="689"/>
                  </a:lnTo>
                  <a:lnTo>
                    <a:pt x="2" y="682"/>
                  </a:lnTo>
                  <a:lnTo>
                    <a:pt x="0" y="678"/>
                  </a:lnTo>
                  <a:lnTo>
                    <a:pt x="2" y="671"/>
                  </a:lnTo>
                  <a:lnTo>
                    <a:pt x="2" y="669"/>
                  </a:lnTo>
                  <a:lnTo>
                    <a:pt x="0" y="666"/>
                  </a:lnTo>
                  <a:lnTo>
                    <a:pt x="2" y="666"/>
                  </a:lnTo>
                  <a:lnTo>
                    <a:pt x="7" y="663"/>
                  </a:lnTo>
                  <a:lnTo>
                    <a:pt x="7" y="663"/>
                  </a:lnTo>
                  <a:lnTo>
                    <a:pt x="11" y="663"/>
                  </a:lnTo>
                  <a:lnTo>
                    <a:pt x="11" y="657"/>
                  </a:lnTo>
                  <a:lnTo>
                    <a:pt x="14" y="652"/>
                  </a:lnTo>
                  <a:lnTo>
                    <a:pt x="18" y="652"/>
                  </a:lnTo>
                  <a:lnTo>
                    <a:pt x="21" y="649"/>
                  </a:lnTo>
                  <a:lnTo>
                    <a:pt x="20" y="643"/>
                  </a:lnTo>
                  <a:lnTo>
                    <a:pt x="23" y="643"/>
                  </a:lnTo>
                  <a:lnTo>
                    <a:pt x="26" y="643"/>
                  </a:lnTo>
                  <a:lnTo>
                    <a:pt x="30" y="643"/>
                  </a:lnTo>
                  <a:lnTo>
                    <a:pt x="28" y="638"/>
                  </a:lnTo>
                  <a:lnTo>
                    <a:pt x="30" y="638"/>
                  </a:lnTo>
                  <a:lnTo>
                    <a:pt x="33" y="638"/>
                  </a:lnTo>
                  <a:lnTo>
                    <a:pt x="33" y="640"/>
                  </a:lnTo>
                  <a:lnTo>
                    <a:pt x="33" y="643"/>
                  </a:lnTo>
                  <a:lnTo>
                    <a:pt x="37" y="647"/>
                  </a:lnTo>
                  <a:lnTo>
                    <a:pt x="37" y="640"/>
                  </a:lnTo>
                  <a:lnTo>
                    <a:pt x="37" y="638"/>
                  </a:lnTo>
                  <a:lnTo>
                    <a:pt x="39" y="638"/>
                  </a:lnTo>
                  <a:lnTo>
                    <a:pt x="40" y="638"/>
                  </a:lnTo>
                  <a:lnTo>
                    <a:pt x="37" y="635"/>
                  </a:lnTo>
                  <a:lnTo>
                    <a:pt x="37" y="635"/>
                  </a:lnTo>
                  <a:lnTo>
                    <a:pt x="39" y="635"/>
                  </a:lnTo>
                  <a:lnTo>
                    <a:pt x="42" y="635"/>
                  </a:lnTo>
                  <a:lnTo>
                    <a:pt x="42" y="635"/>
                  </a:lnTo>
                  <a:lnTo>
                    <a:pt x="40" y="635"/>
                  </a:lnTo>
                  <a:lnTo>
                    <a:pt x="39" y="631"/>
                  </a:lnTo>
                  <a:lnTo>
                    <a:pt x="40" y="631"/>
                  </a:lnTo>
                  <a:lnTo>
                    <a:pt x="44" y="631"/>
                  </a:lnTo>
                  <a:lnTo>
                    <a:pt x="47" y="633"/>
                  </a:lnTo>
                  <a:lnTo>
                    <a:pt x="49" y="635"/>
                  </a:lnTo>
                  <a:lnTo>
                    <a:pt x="51" y="635"/>
                  </a:lnTo>
                  <a:lnTo>
                    <a:pt x="53" y="635"/>
                  </a:lnTo>
                  <a:lnTo>
                    <a:pt x="54" y="635"/>
                  </a:lnTo>
                  <a:lnTo>
                    <a:pt x="56" y="638"/>
                  </a:lnTo>
                  <a:lnTo>
                    <a:pt x="56" y="638"/>
                  </a:lnTo>
                  <a:lnTo>
                    <a:pt x="56" y="640"/>
                  </a:lnTo>
                  <a:lnTo>
                    <a:pt x="56" y="643"/>
                  </a:lnTo>
                  <a:lnTo>
                    <a:pt x="53" y="643"/>
                  </a:lnTo>
                  <a:lnTo>
                    <a:pt x="49" y="643"/>
                  </a:lnTo>
                  <a:lnTo>
                    <a:pt x="46" y="638"/>
                  </a:lnTo>
                  <a:lnTo>
                    <a:pt x="46" y="638"/>
                  </a:lnTo>
                  <a:lnTo>
                    <a:pt x="44" y="638"/>
                  </a:lnTo>
                  <a:lnTo>
                    <a:pt x="44" y="643"/>
                  </a:lnTo>
                  <a:lnTo>
                    <a:pt x="44" y="647"/>
                  </a:lnTo>
                  <a:lnTo>
                    <a:pt x="47" y="643"/>
                  </a:lnTo>
                  <a:lnTo>
                    <a:pt x="49" y="647"/>
                  </a:lnTo>
                  <a:lnTo>
                    <a:pt x="49" y="649"/>
                  </a:lnTo>
                  <a:lnTo>
                    <a:pt x="53" y="647"/>
                  </a:lnTo>
                  <a:lnTo>
                    <a:pt x="54" y="647"/>
                  </a:lnTo>
                  <a:lnTo>
                    <a:pt x="56" y="649"/>
                  </a:lnTo>
                  <a:lnTo>
                    <a:pt x="56" y="649"/>
                  </a:lnTo>
                  <a:lnTo>
                    <a:pt x="56" y="647"/>
                  </a:lnTo>
                  <a:lnTo>
                    <a:pt x="59" y="649"/>
                  </a:lnTo>
                  <a:lnTo>
                    <a:pt x="56" y="649"/>
                  </a:lnTo>
                  <a:lnTo>
                    <a:pt x="56" y="652"/>
                  </a:lnTo>
                  <a:lnTo>
                    <a:pt x="61" y="647"/>
                  </a:lnTo>
                  <a:lnTo>
                    <a:pt x="61" y="647"/>
                  </a:lnTo>
                  <a:lnTo>
                    <a:pt x="65" y="647"/>
                  </a:lnTo>
                  <a:lnTo>
                    <a:pt x="61" y="649"/>
                  </a:lnTo>
                  <a:lnTo>
                    <a:pt x="61" y="650"/>
                  </a:lnTo>
                  <a:lnTo>
                    <a:pt x="65" y="650"/>
                  </a:lnTo>
                  <a:lnTo>
                    <a:pt x="65" y="652"/>
                  </a:lnTo>
                  <a:lnTo>
                    <a:pt x="65" y="654"/>
                  </a:lnTo>
                  <a:lnTo>
                    <a:pt x="61" y="657"/>
                  </a:lnTo>
                  <a:lnTo>
                    <a:pt x="65" y="656"/>
                  </a:lnTo>
                  <a:lnTo>
                    <a:pt x="66" y="652"/>
                  </a:lnTo>
                  <a:lnTo>
                    <a:pt x="66" y="650"/>
                  </a:lnTo>
                  <a:lnTo>
                    <a:pt x="68" y="649"/>
                  </a:lnTo>
                  <a:lnTo>
                    <a:pt x="72" y="647"/>
                  </a:lnTo>
                  <a:lnTo>
                    <a:pt x="73" y="650"/>
                  </a:lnTo>
                  <a:lnTo>
                    <a:pt x="75" y="649"/>
                  </a:lnTo>
                  <a:lnTo>
                    <a:pt x="73" y="647"/>
                  </a:lnTo>
                  <a:lnTo>
                    <a:pt x="73" y="647"/>
                  </a:lnTo>
                  <a:lnTo>
                    <a:pt x="77" y="647"/>
                  </a:lnTo>
                  <a:lnTo>
                    <a:pt x="79" y="649"/>
                  </a:lnTo>
                  <a:lnTo>
                    <a:pt x="84" y="649"/>
                  </a:lnTo>
                  <a:lnTo>
                    <a:pt x="87" y="650"/>
                  </a:lnTo>
                  <a:lnTo>
                    <a:pt x="89" y="649"/>
                  </a:lnTo>
                  <a:lnTo>
                    <a:pt x="87" y="647"/>
                  </a:lnTo>
                  <a:lnTo>
                    <a:pt x="93" y="649"/>
                  </a:lnTo>
                  <a:lnTo>
                    <a:pt x="96" y="650"/>
                  </a:lnTo>
                  <a:lnTo>
                    <a:pt x="96" y="649"/>
                  </a:lnTo>
                  <a:lnTo>
                    <a:pt x="101" y="650"/>
                  </a:lnTo>
                  <a:lnTo>
                    <a:pt x="119" y="661"/>
                  </a:lnTo>
                  <a:lnTo>
                    <a:pt x="131" y="669"/>
                  </a:lnTo>
                  <a:lnTo>
                    <a:pt x="132" y="671"/>
                  </a:lnTo>
                  <a:lnTo>
                    <a:pt x="134" y="671"/>
                  </a:lnTo>
                  <a:lnTo>
                    <a:pt x="141" y="678"/>
                  </a:lnTo>
                  <a:lnTo>
                    <a:pt x="141" y="678"/>
                  </a:lnTo>
                  <a:lnTo>
                    <a:pt x="141" y="676"/>
                  </a:lnTo>
                  <a:lnTo>
                    <a:pt x="141" y="675"/>
                  </a:lnTo>
                  <a:lnTo>
                    <a:pt x="143" y="675"/>
                  </a:lnTo>
                  <a:lnTo>
                    <a:pt x="148" y="680"/>
                  </a:lnTo>
                  <a:lnTo>
                    <a:pt x="152" y="680"/>
                  </a:lnTo>
                  <a:lnTo>
                    <a:pt x="155" y="683"/>
                  </a:lnTo>
                  <a:lnTo>
                    <a:pt x="157" y="683"/>
                  </a:lnTo>
                  <a:lnTo>
                    <a:pt x="155" y="678"/>
                  </a:lnTo>
                  <a:lnTo>
                    <a:pt x="155" y="676"/>
                  </a:lnTo>
                  <a:lnTo>
                    <a:pt x="157" y="676"/>
                  </a:lnTo>
                  <a:lnTo>
                    <a:pt x="160" y="682"/>
                  </a:lnTo>
                  <a:lnTo>
                    <a:pt x="160" y="683"/>
                  </a:lnTo>
                  <a:lnTo>
                    <a:pt x="165" y="689"/>
                  </a:lnTo>
                  <a:lnTo>
                    <a:pt x="165" y="692"/>
                  </a:lnTo>
                  <a:lnTo>
                    <a:pt x="169" y="694"/>
                  </a:lnTo>
                  <a:lnTo>
                    <a:pt x="171" y="692"/>
                  </a:lnTo>
                  <a:lnTo>
                    <a:pt x="172" y="692"/>
                  </a:lnTo>
                  <a:lnTo>
                    <a:pt x="178" y="697"/>
                  </a:lnTo>
                  <a:lnTo>
                    <a:pt x="178" y="699"/>
                  </a:lnTo>
                  <a:lnTo>
                    <a:pt x="181" y="701"/>
                  </a:lnTo>
                  <a:lnTo>
                    <a:pt x="183" y="706"/>
                  </a:lnTo>
                  <a:lnTo>
                    <a:pt x="185" y="704"/>
                  </a:lnTo>
                  <a:lnTo>
                    <a:pt x="186" y="706"/>
                  </a:lnTo>
                  <a:lnTo>
                    <a:pt x="186" y="711"/>
                  </a:lnTo>
                  <a:lnTo>
                    <a:pt x="186" y="715"/>
                  </a:lnTo>
                  <a:lnTo>
                    <a:pt x="185" y="720"/>
                  </a:lnTo>
                  <a:lnTo>
                    <a:pt x="185" y="722"/>
                  </a:lnTo>
                  <a:lnTo>
                    <a:pt x="185" y="725"/>
                  </a:lnTo>
                  <a:lnTo>
                    <a:pt x="179" y="729"/>
                  </a:lnTo>
                  <a:lnTo>
                    <a:pt x="179" y="732"/>
                  </a:lnTo>
                  <a:lnTo>
                    <a:pt x="172" y="741"/>
                  </a:lnTo>
                  <a:lnTo>
                    <a:pt x="169" y="744"/>
                  </a:lnTo>
                  <a:lnTo>
                    <a:pt x="164" y="744"/>
                  </a:lnTo>
                  <a:lnTo>
                    <a:pt x="160" y="744"/>
                  </a:lnTo>
                  <a:lnTo>
                    <a:pt x="155" y="744"/>
                  </a:lnTo>
                  <a:lnTo>
                    <a:pt x="155" y="748"/>
                  </a:lnTo>
                  <a:lnTo>
                    <a:pt x="146" y="748"/>
                  </a:lnTo>
                  <a:lnTo>
                    <a:pt x="138" y="748"/>
                  </a:lnTo>
                  <a:lnTo>
                    <a:pt x="131" y="748"/>
                  </a:lnTo>
                  <a:lnTo>
                    <a:pt x="127" y="744"/>
                  </a:lnTo>
                  <a:lnTo>
                    <a:pt x="124" y="744"/>
                  </a:lnTo>
                  <a:lnTo>
                    <a:pt x="122" y="744"/>
                  </a:lnTo>
                  <a:lnTo>
                    <a:pt x="119" y="744"/>
                  </a:lnTo>
                  <a:lnTo>
                    <a:pt x="115" y="742"/>
                  </a:lnTo>
                  <a:lnTo>
                    <a:pt x="115" y="742"/>
                  </a:lnTo>
                  <a:lnTo>
                    <a:pt x="110" y="744"/>
                  </a:lnTo>
                  <a:lnTo>
                    <a:pt x="106" y="739"/>
                  </a:lnTo>
                  <a:lnTo>
                    <a:pt x="106" y="737"/>
                  </a:lnTo>
                  <a:lnTo>
                    <a:pt x="103" y="737"/>
                  </a:lnTo>
                  <a:lnTo>
                    <a:pt x="101" y="737"/>
                  </a:lnTo>
                  <a:lnTo>
                    <a:pt x="101" y="737"/>
                  </a:lnTo>
                  <a:lnTo>
                    <a:pt x="96" y="737"/>
                  </a:lnTo>
                  <a:lnTo>
                    <a:pt x="96" y="739"/>
                  </a:lnTo>
                  <a:lnTo>
                    <a:pt x="91" y="739"/>
                  </a:lnTo>
                  <a:lnTo>
                    <a:pt x="91" y="736"/>
                  </a:lnTo>
                  <a:lnTo>
                    <a:pt x="89" y="736"/>
                  </a:lnTo>
                  <a:lnTo>
                    <a:pt x="93" y="734"/>
                  </a:lnTo>
                  <a:lnTo>
                    <a:pt x="89" y="730"/>
                  </a:lnTo>
                  <a:lnTo>
                    <a:pt x="89" y="732"/>
                  </a:lnTo>
                  <a:lnTo>
                    <a:pt x="84" y="732"/>
                  </a:lnTo>
                  <a:lnTo>
                    <a:pt x="80" y="730"/>
                  </a:lnTo>
                  <a:lnTo>
                    <a:pt x="80" y="730"/>
                  </a:lnTo>
                  <a:lnTo>
                    <a:pt x="79" y="730"/>
                  </a:lnTo>
                  <a:lnTo>
                    <a:pt x="70" y="725"/>
                  </a:lnTo>
                  <a:lnTo>
                    <a:pt x="70" y="722"/>
                  </a:lnTo>
                  <a:lnTo>
                    <a:pt x="65" y="722"/>
                  </a:lnTo>
                  <a:lnTo>
                    <a:pt x="65" y="722"/>
                  </a:lnTo>
                  <a:lnTo>
                    <a:pt x="61" y="722"/>
                  </a:lnTo>
                  <a:lnTo>
                    <a:pt x="61" y="722"/>
                  </a:lnTo>
                  <a:lnTo>
                    <a:pt x="65" y="725"/>
                  </a:lnTo>
                  <a:lnTo>
                    <a:pt x="65" y="729"/>
                  </a:lnTo>
                  <a:lnTo>
                    <a:pt x="68" y="730"/>
                  </a:lnTo>
                  <a:lnTo>
                    <a:pt x="70" y="734"/>
                  </a:lnTo>
                  <a:lnTo>
                    <a:pt x="75" y="736"/>
                  </a:lnTo>
                  <a:lnTo>
                    <a:pt x="75" y="736"/>
                  </a:lnTo>
                  <a:lnTo>
                    <a:pt x="72" y="739"/>
                  </a:lnTo>
                  <a:lnTo>
                    <a:pt x="70" y="741"/>
                  </a:lnTo>
                  <a:lnTo>
                    <a:pt x="72" y="741"/>
                  </a:lnTo>
                  <a:lnTo>
                    <a:pt x="77" y="739"/>
                  </a:lnTo>
                  <a:lnTo>
                    <a:pt x="80" y="739"/>
                  </a:lnTo>
                  <a:lnTo>
                    <a:pt x="82" y="741"/>
                  </a:lnTo>
                  <a:lnTo>
                    <a:pt x="80" y="741"/>
                  </a:lnTo>
                  <a:lnTo>
                    <a:pt x="80" y="742"/>
                  </a:lnTo>
                  <a:lnTo>
                    <a:pt x="84" y="742"/>
                  </a:lnTo>
                  <a:lnTo>
                    <a:pt x="82" y="744"/>
                  </a:lnTo>
                  <a:lnTo>
                    <a:pt x="79" y="744"/>
                  </a:lnTo>
                  <a:lnTo>
                    <a:pt x="77" y="748"/>
                  </a:lnTo>
                  <a:lnTo>
                    <a:pt x="82" y="748"/>
                  </a:lnTo>
                  <a:lnTo>
                    <a:pt x="84" y="748"/>
                  </a:lnTo>
                  <a:lnTo>
                    <a:pt x="84" y="748"/>
                  </a:lnTo>
                  <a:lnTo>
                    <a:pt x="87" y="748"/>
                  </a:lnTo>
                  <a:lnTo>
                    <a:pt x="89" y="748"/>
                  </a:lnTo>
                  <a:lnTo>
                    <a:pt x="96" y="749"/>
                  </a:lnTo>
                  <a:lnTo>
                    <a:pt x="101" y="756"/>
                  </a:lnTo>
                  <a:lnTo>
                    <a:pt x="103" y="756"/>
                  </a:lnTo>
                  <a:lnTo>
                    <a:pt x="101" y="758"/>
                  </a:lnTo>
                  <a:lnTo>
                    <a:pt x="101" y="760"/>
                  </a:lnTo>
                  <a:lnTo>
                    <a:pt x="103" y="760"/>
                  </a:lnTo>
                  <a:lnTo>
                    <a:pt x="103" y="763"/>
                  </a:lnTo>
                  <a:lnTo>
                    <a:pt x="103" y="770"/>
                  </a:lnTo>
                  <a:lnTo>
                    <a:pt x="99" y="770"/>
                  </a:lnTo>
                  <a:lnTo>
                    <a:pt x="99" y="774"/>
                  </a:lnTo>
                  <a:lnTo>
                    <a:pt x="101" y="776"/>
                  </a:lnTo>
                  <a:lnTo>
                    <a:pt x="101" y="779"/>
                  </a:lnTo>
                  <a:lnTo>
                    <a:pt x="106" y="784"/>
                  </a:lnTo>
                  <a:lnTo>
                    <a:pt x="106" y="784"/>
                  </a:lnTo>
                  <a:lnTo>
                    <a:pt x="110" y="788"/>
                  </a:lnTo>
                  <a:lnTo>
                    <a:pt x="110" y="791"/>
                  </a:lnTo>
                  <a:lnTo>
                    <a:pt x="110" y="795"/>
                  </a:lnTo>
                  <a:lnTo>
                    <a:pt x="110" y="798"/>
                  </a:lnTo>
                  <a:lnTo>
                    <a:pt x="110" y="800"/>
                  </a:lnTo>
                  <a:lnTo>
                    <a:pt x="112" y="803"/>
                  </a:lnTo>
                  <a:lnTo>
                    <a:pt x="119" y="803"/>
                  </a:lnTo>
                  <a:lnTo>
                    <a:pt x="122" y="803"/>
                  </a:lnTo>
                  <a:lnTo>
                    <a:pt x="124" y="803"/>
                  </a:lnTo>
                  <a:lnTo>
                    <a:pt x="126" y="807"/>
                  </a:lnTo>
                  <a:lnTo>
                    <a:pt x="129" y="807"/>
                  </a:lnTo>
                  <a:lnTo>
                    <a:pt x="129" y="812"/>
                  </a:lnTo>
                  <a:lnTo>
                    <a:pt x="131" y="812"/>
                  </a:lnTo>
                  <a:lnTo>
                    <a:pt x="134" y="812"/>
                  </a:lnTo>
                  <a:lnTo>
                    <a:pt x="138" y="814"/>
                  </a:lnTo>
                  <a:lnTo>
                    <a:pt x="143" y="816"/>
                  </a:lnTo>
                  <a:lnTo>
                    <a:pt x="146" y="817"/>
                  </a:lnTo>
                  <a:lnTo>
                    <a:pt x="148" y="817"/>
                  </a:lnTo>
                  <a:lnTo>
                    <a:pt x="152" y="814"/>
                  </a:lnTo>
                  <a:lnTo>
                    <a:pt x="155" y="814"/>
                  </a:lnTo>
                  <a:lnTo>
                    <a:pt x="157" y="812"/>
                  </a:lnTo>
                  <a:lnTo>
                    <a:pt x="157" y="807"/>
                  </a:lnTo>
                  <a:lnTo>
                    <a:pt x="155" y="807"/>
                  </a:lnTo>
                  <a:lnTo>
                    <a:pt x="155" y="803"/>
                  </a:lnTo>
                  <a:lnTo>
                    <a:pt x="155" y="803"/>
                  </a:lnTo>
                  <a:lnTo>
                    <a:pt x="152" y="802"/>
                  </a:lnTo>
                  <a:lnTo>
                    <a:pt x="152" y="798"/>
                  </a:lnTo>
                  <a:lnTo>
                    <a:pt x="148" y="800"/>
                  </a:lnTo>
                  <a:lnTo>
                    <a:pt x="146" y="800"/>
                  </a:lnTo>
                  <a:lnTo>
                    <a:pt x="143" y="802"/>
                  </a:lnTo>
                  <a:lnTo>
                    <a:pt x="138" y="800"/>
                  </a:lnTo>
                  <a:lnTo>
                    <a:pt x="134" y="795"/>
                  </a:lnTo>
                  <a:lnTo>
                    <a:pt x="132" y="793"/>
                  </a:lnTo>
                  <a:lnTo>
                    <a:pt x="131" y="789"/>
                  </a:lnTo>
                  <a:lnTo>
                    <a:pt x="127" y="784"/>
                  </a:lnTo>
                  <a:lnTo>
                    <a:pt x="132" y="784"/>
                  </a:lnTo>
                  <a:lnTo>
                    <a:pt x="134" y="784"/>
                  </a:lnTo>
                  <a:lnTo>
                    <a:pt x="132" y="781"/>
                  </a:lnTo>
                  <a:lnTo>
                    <a:pt x="134" y="779"/>
                  </a:lnTo>
                  <a:lnTo>
                    <a:pt x="132" y="776"/>
                  </a:lnTo>
                  <a:lnTo>
                    <a:pt x="132" y="776"/>
                  </a:lnTo>
                  <a:lnTo>
                    <a:pt x="138" y="776"/>
                  </a:lnTo>
                  <a:lnTo>
                    <a:pt x="141" y="776"/>
                  </a:lnTo>
                  <a:lnTo>
                    <a:pt x="145" y="779"/>
                  </a:lnTo>
                  <a:lnTo>
                    <a:pt x="148" y="781"/>
                  </a:lnTo>
                  <a:lnTo>
                    <a:pt x="150" y="784"/>
                  </a:lnTo>
                  <a:lnTo>
                    <a:pt x="157" y="784"/>
                  </a:lnTo>
                  <a:lnTo>
                    <a:pt x="157" y="786"/>
                  </a:lnTo>
                  <a:lnTo>
                    <a:pt x="160" y="786"/>
                  </a:lnTo>
                  <a:lnTo>
                    <a:pt x="172" y="793"/>
                  </a:lnTo>
                  <a:lnTo>
                    <a:pt x="178" y="796"/>
                  </a:lnTo>
                  <a:lnTo>
                    <a:pt x="179" y="793"/>
                  </a:lnTo>
                  <a:lnTo>
                    <a:pt x="181" y="791"/>
                  </a:lnTo>
                  <a:lnTo>
                    <a:pt x="181" y="788"/>
                  </a:lnTo>
                  <a:lnTo>
                    <a:pt x="185" y="788"/>
                  </a:lnTo>
                  <a:lnTo>
                    <a:pt x="188" y="784"/>
                  </a:lnTo>
                  <a:lnTo>
                    <a:pt x="183" y="779"/>
                  </a:lnTo>
                  <a:lnTo>
                    <a:pt x="174" y="770"/>
                  </a:lnTo>
                  <a:lnTo>
                    <a:pt x="172" y="765"/>
                  </a:lnTo>
                  <a:lnTo>
                    <a:pt x="172" y="762"/>
                  </a:lnTo>
                  <a:lnTo>
                    <a:pt x="178" y="758"/>
                  </a:lnTo>
                  <a:lnTo>
                    <a:pt x="181" y="753"/>
                  </a:lnTo>
                  <a:lnTo>
                    <a:pt x="183" y="748"/>
                  </a:lnTo>
                  <a:lnTo>
                    <a:pt x="186" y="744"/>
                  </a:lnTo>
                  <a:lnTo>
                    <a:pt x="188" y="744"/>
                  </a:lnTo>
                  <a:lnTo>
                    <a:pt x="195" y="741"/>
                  </a:lnTo>
                  <a:lnTo>
                    <a:pt x="198" y="732"/>
                  </a:lnTo>
                  <a:lnTo>
                    <a:pt x="202" y="730"/>
                  </a:lnTo>
                  <a:lnTo>
                    <a:pt x="205" y="730"/>
                  </a:lnTo>
                  <a:lnTo>
                    <a:pt x="209" y="734"/>
                  </a:lnTo>
                  <a:lnTo>
                    <a:pt x="214" y="734"/>
                  </a:lnTo>
                  <a:lnTo>
                    <a:pt x="219" y="734"/>
                  </a:lnTo>
                  <a:lnTo>
                    <a:pt x="221" y="736"/>
                  </a:lnTo>
                  <a:lnTo>
                    <a:pt x="219" y="741"/>
                  </a:lnTo>
                  <a:lnTo>
                    <a:pt x="225" y="736"/>
                  </a:lnTo>
                  <a:lnTo>
                    <a:pt x="228" y="739"/>
                  </a:lnTo>
                  <a:lnTo>
                    <a:pt x="230" y="744"/>
                  </a:lnTo>
                  <a:lnTo>
                    <a:pt x="233" y="744"/>
                  </a:lnTo>
                  <a:lnTo>
                    <a:pt x="232" y="739"/>
                  </a:lnTo>
                  <a:lnTo>
                    <a:pt x="230" y="734"/>
                  </a:lnTo>
                  <a:lnTo>
                    <a:pt x="232" y="732"/>
                  </a:lnTo>
                  <a:lnTo>
                    <a:pt x="232" y="725"/>
                  </a:lnTo>
                  <a:lnTo>
                    <a:pt x="232" y="722"/>
                  </a:lnTo>
                  <a:lnTo>
                    <a:pt x="230" y="722"/>
                  </a:lnTo>
                  <a:lnTo>
                    <a:pt x="230" y="720"/>
                  </a:lnTo>
                  <a:lnTo>
                    <a:pt x="232" y="716"/>
                  </a:lnTo>
                  <a:lnTo>
                    <a:pt x="230" y="716"/>
                  </a:lnTo>
                  <a:lnTo>
                    <a:pt x="232" y="715"/>
                  </a:lnTo>
                  <a:lnTo>
                    <a:pt x="228" y="711"/>
                  </a:lnTo>
                  <a:lnTo>
                    <a:pt x="225" y="709"/>
                  </a:lnTo>
                  <a:lnTo>
                    <a:pt x="219" y="709"/>
                  </a:lnTo>
                  <a:lnTo>
                    <a:pt x="219" y="704"/>
                  </a:lnTo>
                  <a:lnTo>
                    <a:pt x="219" y="699"/>
                  </a:lnTo>
                  <a:lnTo>
                    <a:pt x="219" y="694"/>
                  </a:lnTo>
                  <a:lnTo>
                    <a:pt x="219" y="692"/>
                  </a:lnTo>
                  <a:lnTo>
                    <a:pt x="219" y="690"/>
                  </a:lnTo>
                  <a:lnTo>
                    <a:pt x="219" y="687"/>
                  </a:lnTo>
                  <a:lnTo>
                    <a:pt x="221" y="685"/>
                  </a:lnTo>
                  <a:lnTo>
                    <a:pt x="219" y="682"/>
                  </a:lnTo>
                  <a:lnTo>
                    <a:pt x="219" y="678"/>
                  </a:lnTo>
                  <a:lnTo>
                    <a:pt x="216" y="671"/>
                  </a:lnTo>
                  <a:lnTo>
                    <a:pt x="211" y="666"/>
                  </a:lnTo>
                  <a:lnTo>
                    <a:pt x="204" y="661"/>
                  </a:lnTo>
                  <a:lnTo>
                    <a:pt x="204" y="659"/>
                  </a:lnTo>
                  <a:lnTo>
                    <a:pt x="207" y="659"/>
                  </a:lnTo>
                  <a:lnTo>
                    <a:pt x="214" y="663"/>
                  </a:lnTo>
                  <a:lnTo>
                    <a:pt x="219" y="663"/>
                  </a:lnTo>
                  <a:lnTo>
                    <a:pt x="221" y="663"/>
                  </a:lnTo>
                  <a:lnTo>
                    <a:pt x="228" y="663"/>
                  </a:lnTo>
                  <a:lnTo>
                    <a:pt x="237" y="663"/>
                  </a:lnTo>
                  <a:lnTo>
                    <a:pt x="242" y="666"/>
                  </a:lnTo>
                  <a:lnTo>
                    <a:pt x="242" y="669"/>
                  </a:lnTo>
                  <a:lnTo>
                    <a:pt x="245" y="671"/>
                  </a:lnTo>
                  <a:lnTo>
                    <a:pt x="247" y="675"/>
                  </a:lnTo>
                  <a:lnTo>
                    <a:pt x="249" y="675"/>
                  </a:lnTo>
                  <a:lnTo>
                    <a:pt x="254" y="682"/>
                  </a:lnTo>
                  <a:lnTo>
                    <a:pt x="252" y="685"/>
                  </a:lnTo>
                  <a:lnTo>
                    <a:pt x="247" y="685"/>
                  </a:lnTo>
                  <a:lnTo>
                    <a:pt x="245" y="687"/>
                  </a:lnTo>
                  <a:lnTo>
                    <a:pt x="238" y="687"/>
                  </a:lnTo>
                  <a:lnTo>
                    <a:pt x="238" y="689"/>
                  </a:lnTo>
                  <a:lnTo>
                    <a:pt x="238" y="690"/>
                  </a:lnTo>
                  <a:lnTo>
                    <a:pt x="238" y="694"/>
                  </a:lnTo>
                  <a:lnTo>
                    <a:pt x="237" y="692"/>
                  </a:lnTo>
                  <a:lnTo>
                    <a:pt x="233" y="694"/>
                  </a:lnTo>
                  <a:lnTo>
                    <a:pt x="233" y="699"/>
                  </a:lnTo>
                  <a:lnTo>
                    <a:pt x="238" y="699"/>
                  </a:lnTo>
                  <a:lnTo>
                    <a:pt x="245" y="706"/>
                  </a:lnTo>
                  <a:lnTo>
                    <a:pt x="251" y="716"/>
                  </a:lnTo>
                  <a:lnTo>
                    <a:pt x="254" y="716"/>
                  </a:lnTo>
                  <a:lnTo>
                    <a:pt x="259" y="713"/>
                  </a:lnTo>
                  <a:lnTo>
                    <a:pt x="261" y="716"/>
                  </a:lnTo>
                  <a:lnTo>
                    <a:pt x="261" y="715"/>
                  </a:lnTo>
                  <a:lnTo>
                    <a:pt x="265" y="715"/>
                  </a:lnTo>
                  <a:lnTo>
                    <a:pt x="268" y="711"/>
                  </a:lnTo>
                  <a:lnTo>
                    <a:pt x="273" y="709"/>
                  </a:lnTo>
                  <a:lnTo>
                    <a:pt x="273" y="706"/>
                  </a:lnTo>
                  <a:lnTo>
                    <a:pt x="273" y="699"/>
                  </a:lnTo>
                  <a:lnTo>
                    <a:pt x="275" y="697"/>
                  </a:lnTo>
                  <a:lnTo>
                    <a:pt x="275" y="694"/>
                  </a:lnTo>
                  <a:lnTo>
                    <a:pt x="273" y="690"/>
                  </a:lnTo>
                  <a:lnTo>
                    <a:pt x="273" y="689"/>
                  </a:lnTo>
                  <a:lnTo>
                    <a:pt x="284" y="689"/>
                  </a:lnTo>
                  <a:lnTo>
                    <a:pt x="284" y="685"/>
                  </a:lnTo>
                  <a:lnTo>
                    <a:pt x="291" y="689"/>
                  </a:lnTo>
                  <a:lnTo>
                    <a:pt x="291" y="685"/>
                  </a:lnTo>
                  <a:lnTo>
                    <a:pt x="284" y="682"/>
                  </a:lnTo>
                  <a:lnTo>
                    <a:pt x="284" y="678"/>
                  </a:lnTo>
                  <a:lnTo>
                    <a:pt x="284" y="678"/>
                  </a:lnTo>
                  <a:lnTo>
                    <a:pt x="287" y="682"/>
                  </a:lnTo>
                  <a:lnTo>
                    <a:pt x="291" y="680"/>
                  </a:lnTo>
                  <a:lnTo>
                    <a:pt x="296" y="671"/>
                  </a:lnTo>
                  <a:lnTo>
                    <a:pt x="298" y="671"/>
                  </a:lnTo>
                  <a:lnTo>
                    <a:pt x="306" y="663"/>
                  </a:lnTo>
                  <a:lnTo>
                    <a:pt x="306" y="661"/>
                  </a:lnTo>
                  <a:lnTo>
                    <a:pt x="308" y="659"/>
                  </a:lnTo>
                  <a:lnTo>
                    <a:pt x="311" y="661"/>
                  </a:lnTo>
                  <a:lnTo>
                    <a:pt x="315" y="659"/>
                  </a:lnTo>
                  <a:lnTo>
                    <a:pt x="315" y="656"/>
                  </a:lnTo>
                  <a:lnTo>
                    <a:pt x="324" y="654"/>
                  </a:lnTo>
                  <a:lnTo>
                    <a:pt x="324" y="657"/>
                  </a:lnTo>
                  <a:lnTo>
                    <a:pt x="325" y="657"/>
                  </a:lnTo>
                  <a:lnTo>
                    <a:pt x="325" y="659"/>
                  </a:lnTo>
                  <a:lnTo>
                    <a:pt x="324" y="661"/>
                  </a:lnTo>
                  <a:lnTo>
                    <a:pt x="325" y="663"/>
                  </a:lnTo>
                  <a:lnTo>
                    <a:pt x="331" y="659"/>
                  </a:lnTo>
                  <a:lnTo>
                    <a:pt x="331" y="656"/>
                  </a:lnTo>
                  <a:lnTo>
                    <a:pt x="329" y="656"/>
                  </a:lnTo>
                  <a:lnTo>
                    <a:pt x="325" y="652"/>
                  </a:lnTo>
                  <a:lnTo>
                    <a:pt x="325" y="650"/>
                  </a:lnTo>
                  <a:lnTo>
                    <a:pt x="332" y="643"/>
                  </a:lnTo>
                  <a:lnTo>
                    <a:pt x="334" y="643"/>
                  </a:lnTo>
                  <a:lnTo>
                    <a:pt x="334" y="647"/>
                  </a:lnTo>
                  <a:lnTo>
                    <a:pt x="332" y="647"/>
                  </a:lnTo>
                  <a:lnTo>
                    <a:pt x="331" y="649"/>
                  </a:lnTo>
                  <a:lnTo>
                    <a:pt x="334" y="652"/>
                  </a:lnTo>
                  <a:lnTo>
                    <a:pt x="338" y="652"/>
                  </a:lnTo>
                  <a:lnTo>
                    <a:pt x="338" y="649"/>
                  </a:lnTo>
                  <a:lnTo>
                    <a:pt x="338" y="647"/>
                  </a:lnTo>
                  <a:lnTo>
                    <a:pt x="336" y="643"/>
                  </a:lnTo>
                  <a:lnTo>
                    <a:pt x="336" y="643"/>
                  </a:lnTo>
                  <a:lnTo>
                    <a:pt x="338" y="640"/>
                  </a:lnTo>
                  <a:lnTo>
                    <a:pt x="346" y="638"/>
                  </a:lnTo>
                  <a:lnTo>
                    <a:pt x="353" y="635"/>
                  </a:lnTo>
                  <a:lnTo>
                    <a:pt x="353" y="638"/>
                  </a:lnTo>
                  <a:lnTo>
                    <a:pt x="350" y="638"/>
                  </a:lnTo>
                  <a:lnTo>
                    <a:pt x="346" y="638"/>
                  </a:lnTo>
                  <a:lnTo>
                    <a:pt x="341" y="643"/>
                  </a:lnTo>
                  <a:lnTo>
                    <a:pt x="343" y="643"/>
                  </a:lnTo>
                  <a:lnTo>
                    <a:pt x="346" y="643"/>
                  </a:lnTo>
                  <a:lnTo>
                    <a:pt x="346" y="643"/>
                  </a:lnTo>
                  <a:lnTo>
                    <a:pt x="350" y="647"/>
                  </a:lnTo>
                  <a:lnTo>
                    <a:pt x="348" y="647"/>
                  </a:lnTo>
                  <a:lnTo>
                    <a:pt x="346" y="649"/>
                  </a:lnTo>
                  <a:lnTo>
                    <a:pt x="350" y="652"/>
                  </a:lnTo>
                  <a:lnTo>
                    <a:pt x="348" y="656"/>
                  </a:lnTo>
                  <a:lnTo>
                    <a:pt x="346" y="656"/>
                  </a:lnTo>
                  <a:lnTo>
                    <a:pt x="343" y="659"/>
                  </a:lnTo>
                  <a:lnTo>
                    <a:pt x="343" y="663"/>
                  </a:lnTo>
                  <a:lnTo>
                    <a:pt x="346" y="663"/>
                  </a:lnTo>
                  <a:lnTo>
                    <a:pt x="346" y="663"/>
                  </a:lnTo>
                  <a:lnTo>
                    <a:pt x="350" y="663"/>
                  </a:lnTo>
                  <a:lnTo>
                    <a:pt x="351" y="661"/>
                  </a:lnTo>
                  <a:lnTo>
                    <a:pt x="355" y="663"/>
                  </a:lnTo>
                  <a:lnTo>
                    <a:pt x="355" y="666"/>
                  </a:lnTo>
                  <a:lnTo>
                    <a:pt x="357" y="663"/>
                  </a:lnTo>
                  <a:lnTo>
                    <a:pt x="360" y="657"/>
                  </a:lnTo>
                  <a:lnTo>
                    <a:pt x="362" y="657"/>
                  </a:lnTo>
                  <a:lnTo>
                    <a:pt x="364" y="659"/>
                  </a:lnTo>
                  <a:lnTo>
                    <a:pt x="365" y="663"/>
                  </a:lnTo>
                  <a:lnTo>
                    <a:pt x="369" y="661"/>
                  </a:lnTo>
                  <a:lnTo>
                    <a:pt x="365" y="659"/>
                  </a:lnTo>
                  <a:lnTo>
                    <a:pt x="369" y="656"/>
                  </a:lnTo>
                  <a:lnTo>
                    <a:pt x="365" y="654"/>
                  </a:lnTo>
                  <a:lnTo>
                    <a:pt x="365" y="652"/>
                  </a:lnTo>
                  <a:lnTo>
                    <a:pt x="369" y="649"/>
                  </a:lnTo>
                  <a:lnTo>
                    <a:pt x="371" y="649"/>
                  </a:lnTo>
                  <a:lnTo>
                    <a:pt x="372" y="647"/>
                  </a:lnTo>
                  <a:lnTo>
                    <a:pt x="377" y="643"/>
                  </a:lnTo>
                  <a:lnTo>
                    <a:pt x="379" y="647"/>
                  </a:lnTo>
                  <a:lnTo>
                    <a:pt x="381" y="647"/>
                  </a:lnTo>
                  <a:lnTo>
                    <a:pt x="383" y="647"/>
                  </a:lnTo>
                  <a:lnTo>
                    <a:pt x="386" y="647"/>
                  </a:lnTo>
                  <a:lnTo>
                    <a:pt x="393" y="647"/>
                  </a:lnTo>
                  <a:lnTo>
                    <a:pt x="397" y="643"/>
                  </a:lnTo>
                  <a:lnTo>
                    <a:pt x="397" y="643"/>
                  </a:lnTo>
                  <a:lnTo>
                    <a:pt x="397" y="638"/>
                  </a:lnTo>
                  <a:lnTo>
                    <a:pt x="400" y="638"/>
                  </a:lnTo>
                  <a:lnTo>
                    <a:pt x="402" y="638"/>
                  </a:lnTo>
                  <a:lnTo>
                    <a:pt x="405" y="635"/>
                  </a:lnTo>
                  <a:lnTo>
                    <a:pt x="407" y="635"/>
                  </a:lnTo>
                  <a:lnTo>
                    <a:pt x="412" y="629"/>
                  </a:lnTo>
                  <a:lnTo>
                    <a:pt x="414" y="629"/>
                  </a:lnTo>
                  <a:lnTo>
                    <a:pt x="417" y="628"/>
                  </a:lnTo>
                  <a:lnTo>
                    <a:pt x="417" y="629"/>
                  </a:lnTo>
                  <a:lnTo>
                    <a:pt x="414" y="633"/>
                  </a:lnTo>
                  <a:lnTo>
                    <a:pt x="417" y="633"/>
                  </a:lnTo>
                  <a:lnTo>
                    <a:pt x="419" y="638"/>
                  </a:lnTo>
                  <a:lnTo>
                    <a:pt x="419" y="638"/>
                  </a:lnTo>
                  <a:lnTo>
                    <a:pt x="419" y="640"/>
                  </a:lnTo>
                  <a:lnTo>
                    <a:pt x="419" y="643"/>
                  </a:lnTo>
                  <a:lnTo>
                    <a:pt x="419" y="647"/>
                  </a:lnTo>
                  <a:lnTo>
                    <a:pt x="419" y="650"/>
                  </a:lnTo>
                  <a:lnTo>
                    <a:pt x="430" y="650"/>
                  </a:lnTo>
                  <a:lnTo>
                    <a:pt x="431" y="649"/>
                  </a:lnTo>
                  <a:lnTo>
                    <a:pt x="431" y="647"/>
                  </a:lnTo>
                  <a:lnTo>
                    <a:pt x="430" y="647"/>
                  </a:lnTo>
                  <a:lnTo>
                    <a:pt x="426" y="640"/>
                  </a:lnTo>
                  <a:lnTo>
                    <a:pt x="426" y="638"/>
                  </a:lnTo>
                  <a:lnTo>
                    <a:pt x="428" y="638"/>
                  </a:lnTo>
                  <a:lnTo>
                    <a:pt x="433" y="638"/>
                  </a:lnTo>
                  <a:lnTo>
                    <a:pt x="437" y="635"/>
                  </a:lnTo>
                  <a:lnTo>
                    <a:pt x="438" y="631"/>
                  </a:lnTo>
                  <a:lnTo>
                    <a:pt x="442" y="631"/>
                  </a:lnTo>
                  <a:lnTo>
                    <a:pt x="442" y="633"/>
                  </a:lnTo>
                  <a:lnTo>
                    <a:pt x="447" y="633"/>
                  </a:lnTo>
                  <a:lnTo>
                    <a:pt x="442" y="628"/>
                  </a:lnTo>
                  <a:lnTo>
                    <a:pt x="438" y="626"/>
                  </a:lnTo>
                  <a:lnTo>
                    <a:pt x="438" y="624"/>
                  </a:lnTo>
                  <a:lnTo>
                    <a:pt x="435" y="617"/>
                  </a:lnTo>
                  <a:lnTo>
                    <a:pt x="433" y="617"/>
                  </a:lnTo>
                  <a:lnTo>
                    <a:pt x="433" y="621"/>
                  </a:lnTo>
                  <a:lnTo>
                    <a:pt x="430" y="617"/>
                  </a:lnTo>
                  <a:lnTo>
                    <a:pt x="428" y="612"/>
                  </a:lnTo>
                  <a:lnTo>
                    <a:pt x="426" y="610"/>
                  </a:lnTo>
                  <a:lnTo>
                    <a:pt x="423" y="607"/>
                  </a:lnTo>
                  <a:lnTo>
                    <a:pt x="423" y="605"/>
                  </a:lnTo>
                  <a:lnTo>
                    <a:pt x="428" y="603"/>
                  </a:lnTo>
                  <a:lnTo>
                    <a:pt x="428" y="602"/>
                  </a:lnTo>
                  <a:lnTo>
                    <a:pt x="426" y="596"/>
                  </a:lnTo>
                  <a:lnTo>
                    <a:pt x="428" y="595"/>
                  </a:lnTo>
                  <a:lnTo>
                    <a:pt x="431" y="596"/>
                  </a:lnTo>
                  <a:lnTo>
                    <a:pt x="433" y="595"/>
                  </a:lnTo>
                  <a:lnTo>
                    <a:pt x="435" y="596"/>
                  </a:lnTo>
                  <a:lnTo>
                    <a:pt x="438" y="596"/>
                  </a:lnTo>
                  <a:lnTo>
                    <a:pt x="442" y="598"/>
                  </a:lnTo>
                  <a:lnTo>
                    <a:pt x="454" y="596"/>
                  </a:lnTo>
                  <a:lnTo>
                    <a:pt x="470" y="596"/>
                  </a:lnTo>
                  <a:lnTo>
                    <a:pt x="475" y="600"/>
                  </a:lnTo>
                  <a:lnTo>
                    <a:pt x="487" y="605"/>
                  </a:lnTo>
                  <a:lnTo>
                    <a:pt x="487" y="607"/>
                  </a:lnTo>
                  <a:lnTo>
                    <a:pt x="487" y="607"/>
                  </a:lnTo>
                  <a:lnTo>
                    <a:pt x="489" y="612"/>
                  </a:lnTo>
                  <a:lnTo>
                    <a:pt x="492" y="610"/>
                  </a:lnTo>
                  <a:lnTo>
                    <a:pt x="496" y="607"/>
                  </a:lnTo>
                  <a:lnTo>
                    <a:pt x="501" y="610"/>
                  </a:lnTo>
                  <a:lnTo>
                    <a:pt x="501" y="610"/>
                  </a:lnTo>
                  <a:lnTo>
                    <a:pt x="504" y="612"/>
                  </a:lnTo>
                  <a:lnTo>
                    <a:pt x="508" y="616"/>
                  </a:lnTo>
                  <a:lnTo>
                    <a:pt x="518" y="619"/>
                  </a:lnTo>
                  <a:lnTo>
                    <a:pt x="527" y="621"/>
                  </a:lnTo>
                  <a:lnTo>
                    <a:pt x="530" y="623"/>
                  </a:lnTo>
                  <a:lnTo>
                    <a:pt x="532" y="628"/>
                  </a:lnTo>
                  <a:lnTo>
                    <a:pt x="537" y="629"/>
                  </a:lnTo>
                  <a:lnTo>
                    <a:pt x="543" y="633"/>
                  </a:lnTo>
                  <a:lnTo>
                    <a:pt x="546" y="640"/>
                  </a:lnTo>
                  <a:lnTo>
                    <a:pt x="551" y="640"/>
                  </a:lnTo>
                  <a:lnTo>
                    <a:pt x="551" y="638"/>
                  </a:lnTo>
                  <a:lnTo>
                    <a:pt x="549" y="635"/>
                  </a:lnTo>
                  <a:lnTo>
                    <a:pt x="551" y="635"/>
                  </a:lnTo>
                  <a:lnTo>
                    <a:pt x="551" y="633"/>
                  </a:lnTo>
                  <a:lnTo>
                    <a:pt x="551" y="629"/>
                  </a:lnTo>
                  <a:lnTo>
                    <a:pt x="551" y="626"/>
                  </a:lnTo>
                  <a:lnTo>
                    <a:pt x="551" y="617"/>
                  </a:lnTo>
                  <a:lnTo>
                    <a:pt x="555" y="616"/>
                  </a:lnTo>
                  <a:lnTo>
                    <a:pt x="551" y="616"/>
                  </a:lnTo>
                  <a:lnTo>
                    <a:pt x="551" y="612"/>
                  </a:lnTo>
                  <a:lnTo>
                    <a:pt x="546" y="612"/>
                  </a:lnTo>
                  <a:lnTo>
                    <a:pt x="543" y="616"/>
                  </a:lnTo>
                  <a:lnTo>
                    <a:pt x="541" y="616"/>
                  </a:lnTo>
                  <a:lnTo>
                    <a:pt x="534" y="607"/>
                  </a:lnTo>
                  <a:lnTo>
                    <a:pt x="532" y="605"/>
                  </a:lnTo>
                  <a:lnTo>
                    <a:pt x="529" y="602"/>
                  </a:lnTo>
                  <a:lnTo>
                    <a:pt x="529" y="596"/>
                  </a:lnTo>
                  <a:lnTo>
                    <a:pt x="527" y="595"/>
                  </a:lnTo>
                  <a:lnTo>
                    <a:pt x="523" y="598"/>
                  </a:lnTo>
                  <a:lnTo>
                    <a:pt x="520" y="596"/>
                  </a:lnTo>
                  <a:lnTo>
                    <a:pt x="516" y="596"/>
                  </a:lnTo>
                  <a:lnTo>
                    <a:pt x="513" y="595"/>
                  </a:lnTo>
                  <a:lnTo>
                    <a:pt x="511" y="596"/>
                  </a:lnTo>
                  <a:lnTo>
                    <a:pt x="511" y="591"/>
                  </a:lnTo>
                  <a:lnTo>
                    <a:pt x="508" y="588"/>
                  </a:lnTo>
                  <a:lnTo>
                    <a:pt x="504" y="583"/>
                  </a:lnTo>
                  <a:lnTo>
                    <a:pt x="504" y="579"/>
                  </a:lnTo>
                  <a:lnTo>
                    <a:pt x="508" y="581"/>
                  </a:lnTo>
                  <a:lnTo>
                    <a:pt x="510" y="579"/>
                  </a:lnTo>
                  <a:lnTo>
                    <a:pt x="510" y="574"/>
                  </a:lnTo>
                  <a:lnTo>
                    <a:pt x="504" y="570"/>
                  </a:lnTo>
                  <a:lnTo>
                    <a:pt x="504" y="567"/>
                  </a:lnTo>
                  <a:lnTo>
                    <a:pt x="508" y="565"/>
                  </a:lnTo>
                  <a:lnTo>
                    <a:pt x="510" y="565"/>
                  </a:lnTo>
                  <a:lnTo>
                    <a:pt x="506" y="560"/>
                  </a:lnTo>
                  <a:lnTo>
                    <a:pt x="504" y="560"/>
                  </a:lnTo>
                  <a:lnTo>
                    <a:pt x="501" y="553"/>
                  </a:lnTo>
                  <a:lnTo>
                    <a:pt x="497" y="553"/>
                  </a:lnTo>
                  <a:lnTo>
                    <a:pt x="496" y="553"/>
                  </a:lnTo>
                  <a:lnTo>
                    <a:pt x="492" y="549"/>
                  </a:lnTo>
                  <a:lnTo>
                    <a:pt x="492" y="544"/>
                  </a:lnTo>
                  <a:lnTo>
                    <a:pt x="492" y="541"/>
                  </a:lnTo>
                  <a:lnTo>
                    <a:pt x="492" y="537"/>
                  </a:lnTo>
                  <a:lnTo>
                    <a:pt x="492" y="534"/>
                  </a:lnTo>
                  <a:lnTo>
                    <a:pt x="492" y="532"/>
                  </a:lnTo>
                  <a:lnTo>
                    <a:pt x="501" y="525"/>
                  </a:lnTo>
                  <a:lnTo>
                    <a:pt x="504" y="522"/>
                  </a:lnTo>
                  <a:lnTo>
                    <a:pt x="504" y="520"/>
                  </a:lnTo>
                  <a:lnTo>
                    <a:pt x="504" y="515"/>
                  </a:lnTo>
                  <a:lnTo>
                    <a:pt x="504" y="511"/>
                  </a:lnTo>
                  <a:lnTo>
                    <a:pt x="504" y="508"/>
                  </a:lnTo>
                  <a:lnTo>
                    <a:pt x="501" y="503"/>
                  </a:lnTo>
                  <a:lnTo>
                    <a:pt x="501" y="497"/>
                  </a:lnTo>
                  <a:lnTo>
                    <a:pt x="504" y="496"/>
                  </a:lnTo>
                  <a:lnTo>
                    <a:pt x="501" y="494"/>
                  </a:lnTo>
                  <a:lnTo>
                    <a:pt x="501" y="489"/>
                  </a:lnTo>
                  <a:lnTo>
                    <a:pt x="501" y="487"/>
                  </a:lnTo>
                  <a:lnTo>
                    <a:pt x="501" y="480"/>
                  </a:lnTo>
                  <a:lnTo>
                    <a:pt x="504" y="478"/>
                  </a:lnTo>
                  <a:lnTo>
                    <a:pt x="501" y="475"/>
                  </a:lnTo>
                  <a:lnTo>
                    <a:pt x="501" y="469"/>
                  </a:lnTo>
                  <a:lnTo>
                    <a:pt x="501" y="463"/>
                  </a:lnTo>
                  <a:lnTo>
                    <a:pt x="504" y="463"/>
                  </a:lnTo>
                  <a:lnTo>
                    <a:pt x="506" y="463"/>
                  </a:lnTo>
                  <a:lnTo>
                    <a:pt x="504" y="464"/>
                  </a:lnTo>
                  <a:lnTo>
                    <a:pt x="506" y="466"/>
                  </a:lnTo>
                  <a:lnTo>
                    <a:pt x="510" y="464"/>
                  </a:lnTo>
                  <a:lnTo>
                    <a:pt x="515" y="464"/>
                  </a:lnTo>
                  <a:lnTo>
                    <a:pt x="520" y="463"/>
                  </a:lnTo>
                  <a:lnTo>
                    <a:pt x="520" y="463"/>
                  </a:lnTo>
                  <a:lnTo>
                    <a:pt x="523" y="464"/>
                  </a:lnTo>
                  <a:lnTo>
                    <a:pt x="527" y="463"/>
                  </a:lnTo>
                  <a:lnTo>
                    <a:pt x="530" y="463"/>
                  </a:lnTo>
                  <a:lnTo>
                    <a:pt x="541" y="466"/>
                  </a:lnTo>
                  <a:lnTo>
                    <a:pt x="546" y="466"/>
                  </a:lnTo>
                  <a:lnTo>
                    <a:pt x="549" y="466"/>
                  </a:lnTo>
                  <a:lnTo>
                    <a:pt x="551" y="469"/>
                  </a:lnTo>
                  <a:lnTo>
                    <a:pt x="546" y="473"/>
                  </a:lnTo>
                  <a:lnTo>
                    <a:pt x="551" y="475"/>
                  </a:lnTo>
                  <a:lnTo>
                    <a:pt x="551" y="478"/>
                  </a:lnTo>
                  <a:lnTo>
                    <a:pt x="551" y="482"/>
                  </a:lnTo>
                  <a:lnTo>
                    <a:pt x="551" y="487"/>
                  </a:lnTo>
                  <a:lnTo>
                    <a:pt x="555" y="494"/>
                  </a:lnTo>
                  <a:lnTo>
                    <a:pt x="551" y="501"/>
                  </a:lnTo>
                  <a:lnTo>
                    <a:pt x="555" y="506"/>
                  </a:lnTo>
                  <a:lnTo>
                    <a:pt x="555" y="506"/>
                  </a:lnTo>
                  <a:lnTo>
                    <a:pt x="555" y="509"/>
                  </a:lnTo>
                  <a:lnTo>
                    <a:pt x="555" y="513"/>
                  </a:lnTo>
                  <a:lnTo>
                    <a:pt x="551" y="515"/>
                  </a:lnTo>
                  <a:lnTo>
                    <a:pt x="555" y="518"/>
                  </a:lnTo>
                  <a:lnTo>
                    <a:pt x="556" y="522"/>
                  </a:lnTo>
                  <a:lnTo>
                    <a:pt x="558" y="525"/>
                  </a:lnTo>
                  <a:lnTo>
                    <a:pt x="563" y="529"/>
                  </a:lnTo>
                  <a:lnTo>
                    <a:pt x="563" y="529"/>
                  </a:lnTo>
                  <a:lnTo>
                    <a:pt x="565" y="529"/>
                  </a:lnTo>
                  <a:lnTo>
                    <a:pt x="569" y="529"/>
                  </a:lnTo>
                  <a:lnTo>
                    <a:pt x="569" y="534"/>
                  </a:lnTo>
                  <a:lnTo>
                    <a:pt x="574" y="537"/>
                  </a:lnTo>
                  <a:lnTo>
                    <a:pt x="574" y="541"/>
                  </a:lnTo>
                  <a:lnTo>
                    <a:pt x="577" y="553"/>
                  </a:lnTo>
                  <a:lnTo>
                    <a:pt x="579" y="556"/>
                  </a:lnTo>
                  <a:lnTo>
                    <a:pt x="579" y="556"/>
                  </a:lnTo>
                  <a:lnTo>
                    <a:pt x="577" y="560"/>
                  </a:lnTo>
                  <a:lnTo>
                    <a:pt x="581" y="565"/>
                  </a:lnTo>
                  <a:lnTo>
                    <a:pt x="581" y="569"/>
                  </a:lnTo>
                  <a:lnTo>
                    <a:pt x="588" y="576"/>
                  </a:lnTo>
                  <a:lnTo>
                    <a:pt x="586" y="583"/>
                  </a:lnTo>
                  <a:lnTo>
                    <a:pt x="588" y="584"/>
                  </a:lnTo>
                  <a:lnTo>
                    <a:pt x="591" y="588"/>
                  </a:lnTo>
                  <a:lnTo>
                    <a:pt x="589" y="589"/>
                  </a:lnTo>
                  <a:lnTo>
                    <a:pt x="591" y="591"/>
                  </a:lnTo>
                  <a:lnTo>
                    <a:pt x="593" y="600"/>
                  </a:lnTo>
                  <a:lnTo>
                    <a:pt x="600" y="607"/>
                  </a:lnTo>
                  <a:lnTo>
                    <a:pt x="605" y="610"/>
                  </a:lnTo>
                  <a:lnTo>
                    <a:pt x="607" y="612"/>
                  </a:lnTo>
                  <a:lnTo>
                    <a:pt x="610" y="612"/>
                  </a:lnTo>
                  <a:lnTo>
                    <a:pt x="616" y="617"/>
                  </a:lnTo>
                  <a:lnTo>
                    <a:pt x="616" y="621"/>
                  </a:lnTo>
                  <a:lnTo>
                    <a:pt x="614" y="621"/>
                  </a:lnTo>
                  <a:lnTo>
                    <a:pt x="614" y="624"/>
                  </a:lnTo>
                  <a:lnTo>
                    <a:pt x="612" y="629"/>
                  </a:lnTo>
                  <a:lnTo>
                    <a:pt x="616" y="635"/>
                  </a:lnTo>
                  <a:lnTo>
                    <a:pt x="619" y="638"/>
                  </a:lnTo>
                  <a:lnTo>
                    <a:pt x="619" y="643"/>
                  </a:lnTo>
                  <a:lnTo>
                    <a:pt x="616" y="647"/>
                  </a:lnTo>
                  <a:lnTo>
                    <a:pt x="616" y="649"/>
                  </a:lnTo>
                  <a:lnTo>
                    <a:pt x="614" y="652"/>
                  </a:lnTo>
                  <a:lnTo>
                    <a:pt x="616" y="654"/>
                  </a:lnTo>
                  <a:lnTo>
                    <a:pt x="616" y="661"/>
                  </a:lnTo>
                  <a:lnTo>
                    <a:pt x="612" y="663"/>
                  </a:lnTo>
                  <a:lnTo>
                    <a:pt x="612" y="663"/>
                  </a:lnTo>
                  <a:lnTo>
                    <a:pt x="616" y="663"/>
                  </a:lnTo>
                  <a:lnTo>
                    <a:pt x="616" y="666"/>
                  </a:lnTo>
                  <a:lnTo>
                    <a:pt x="610" y="669"/>
                  </a:lnTo>
                  <a:lnTo>
                    <a:pt x="610" y="675"/>
                  </a:lnTo>
                  <a:lnTo>
                    <a:pt x="609" y="676"/>
                  </a:lnTo>
                  <a:lnTo>
                    <a:pt x="605" y="675"/>
                  </a:lnTo>
                  <a:lnTo>
                    <a:pt x="605" y="678"/>
                  </a:lnTo>
                  <a:lnTo>
                    <a:pt x="609" y="682"/>
                  </a:lnTo>
                  <a:lnTo>
                    <a:pt x="609" y="683"/>
                  </a:lnTo>
                  <a:lnTo>
                    <a:pt x="605" y="687"/>
                  </a:lnTo>
                  <a:lnTo>
                    <a:pt x="602" y="690"/>
                  </a:lnTo>
                  <a:lnTo>
                    <a:pt x="596" y="690"/>
                  </a:lnTo>
                  <a:lnTo>
                    <a:pt x="593" y="687"/>
                  </a:lnTo>
                  <a:lnTo>
                    <a:pt x="600" y="683"/>
                  </a:lnTo>
                  <a:lnTo>
                    <a:pt x="600" y="682"/>
                  </a:lnTo>
                  <a:lnTo>
                    <a:pt x="596" y="682"/>
                  </a:lnTo>
                  <a:lnTo>
                    <a:pt x="595" y="683"/>
                  </a:lnTo>
                  <a:lnTo>
                    <a:pt x="591" y="683"/>
                  </a:lnTo>
                  <a:lnTo>
                    <a:pt x="584" y="680"/>
                  </a:lnTo>
                  <a:lnTo>
                    <a:pt x="583" y="682"/>
                  </a:lnTo>
                  <a:lnTo>
                    <a:pt x="574" y="683"/>
                  </a:lnTo>
                  <a:lnTo>
                    <a:pt x="569" y="683"/>
                  </a:lnTo>
                  <a:lnTo>
                    <a:pt x="565" y="689"/>
                  </a:lnTo>
                  <a:lnTo>
                    <a:pt x="569" y="689"/>
                  </a:lnTo>
                  <a:lnTo>
                    <a:pt x="569" y="690"/>
                  </a:lnTo>
                  <a:lnTo>
                    <a:pt x="570" y="687"/>
                  </a:lnTo>
                  <a:lnTo>
                    <a:pt x="577" y="685"/>
                  </a:lnTo>
                  <a:lnTo>
                    <a:pt x="577" y="689"/>
                  </a:lnTo>
                  <a:lnTo>
                    <a:pt x="581" y="694"/>
                  </a:lnTo>
                  <a:lnTo>
                    <a:pt x="595" y="694"/>
                  </a:lnTo>
                  <a:lnTo>
                    <a:pt x="600" y="697"/>
                  </a:lnTo>
                  <a:lnTo>
                    <a:pt x="605" y="694"/>
                  </a:lnTo>
                  <a:lnTo>
                    <a:pt x="612" y="694"/>
                  </a:lnTo>
                  <a:lnTo>
                    <a:pt x="614" y="697"/>
                  </a:lnTo>
                  <a:lnTo>
                    <a:pt x="619" y="697"/>
                  </a:lnTo>
                  <a:lnTo>
                    <a:pt x="624" y="697"/>
                  </a:lnTo>
                  <a:lnTo>
                    <a:pt x="624" y="692"/>
                  </a:lnTo>
                  <a:lnTo>
                    <a:pt x="624" y="690"/>
                  </a:lnTo>
                  <a:lnTo>
                    <a:pt x="624" y="685"/>
                  </a:lnTo>
                  <a:lnTo>
                    <a:pt x="624" y="683"/>
                  </a:lnTo>
                  <a:lnTo>
                    <a:pt x="628" y="682"/>
                  </a:lnTo>
                  <a:lnTo>
                    <a:pt x="628" y="678"/>
                  </a:lnTo>
                  <a:lnTo>
                    <a:pt x="633" y="675"/>
                  </a:lnTo>
                  <a:lnTo>
                    <a:pt x="633" y="669"/>
                  </a:lnTo>
                  <a:lnTo>
                    <a:pt x="636" y="663"/>
                  </a:lnTo>
                  <a:lnTo>
                    <a:pt x="633" y="657"/>
                  </a:lnTo>
                  <a:lnTo>
                    <a:pt x="635" y="652"/>
                  </a:lnTo>
                  <a:lnTo>
                    <a:pt x="640" y="643"/>
                  </a:lnTo>
                  <a:lnTo>
                    <a:pt x="640" y="638"/>
                  </a:lnTo>
                  <a:lnTo>
                    <a:pt x="635" y="628"/>
                  </a:lnTo>
                  <a:lnTo>
                    <a:pt x="628" y="623"/>
                  </a:lnTo>
                  <a:lnTo>
                    <a:pt x="628" y="619"/>
                  </a:lnTo>
                  <a:lnTo>
                    <a:pt x="624" y="610"/>
                  </a:lnTo>
                  <a:lnTo>
                    <a:pt x="631" y="607"/>
                  </a:lnTo>
                  <a:lnTo>
                    <a:pt x="633" y="602"/>
                  </a:lnTo>
                  <a:lnTo>
                    <a:pt x="638" y="602"/>
                  </a:lnTo>
                  <a:lnTo>
                    <a:pt x="645" y="595"/>
                  </a:lnTo>
                  <a:lnTo>
                    <a:pt x="650" y="593"/>
                  </a:lnTo>
                  <a:lnTo>
                    <a:pt x="654" y="600"/>
                  </a:lnTo>
                  <a:lnTo>
                    <a:pt x="654" y="605"/>
                  </a:lnTo>
                  <a:lnTo>
                    <a:pt x="661" y="607"/>
                  </a:lnTo>
                  <a:lnTo>
                    <a:pt x="662" y="610"/>
                  </a:lnTo>
                  <a:lnTo>
                    <a:pt x="664" y="610"/>
                  </a:lnTo>
                  <a:lnTo>
                    <a:pt x="668" y="616"/>
                  </a:lnTo>
                  <a:lnTo>
                    <a:pt x="668" y="619"/>
                  </a:lnTo>
                  <a:lnTo>
                    <a:pt x="669" y="621"/>
                  </a:lnTo>
                  <a:lnTo>
                    <a:pt x="669" y="624"/>
                  </a:lnTo>
                  <a:lnTo>
                    <a:pt x="675" y="629"/>
                  </a:lnTo>
                  <a:lnTo>
                    <a:pt x="676" y="633"/>
                  </a:lnTo>
                  <a:lnTo>
                    <a:pt x="675" y="635"/>
                  </a:lnTo>
                  <a:lnTo>
                    <a:pt x="676" y="638"/>
                  </a:lnTo>
                  <a:lnTo>
                    <a:pt x="682" y="638"/>
                  </a:lnTo>
                  <a:lnTo>
                    <a:pt x="683" y="643"/>
                  </a:lnTo>
                  <a:lnTo>
                    <a:pt x="688" y="640"/>
                  </a:lnTo>
                  <a:lnTo>
                    <a:pt x="692" y="640"/>
                  </a:lnTo>
                  <a:lnTo>
                    <a:pt x="697" y="638"/>
                  </a:lnTo>
                  <a:lnTo>
                    <a:pt x="699" y="638"/>
                  </a:lnTo>
                  <a:lnTo>
                    <a:pt x="701" y="635"/>
                  </a:lnTo>
                  <a:lnTo>
                    <a:pt x="699" y="635"/>
                  </a:lnTo>
                  <a:lnTo>
                    <a:pt x="695" y="635"/>
                  </a:lnTo>
                  <a:lnTo>
                    <a:pt x="694" y="635"/>
                  </a:lnTo>
                  <a:lnTo>
                    <a:pt x="690" y="638"/>
                  </a:lnTo>
                  <a:lnTo>
                    <a:pt x="685" y="638"/>
                  </a:lnTo>
                  <a:lnTo>
                    <a:pt x="683" y="635"/>
                  </a:lnTo>
                  <a:lnTo>
                    <a:pt x="682" y="635"/>
                  </a:lnTo>
                  <a:lnTo>
                    <a:pt x="678" y="633"/>
                  </a:lnTo>
                  <a:lnTo>
                    <a:pt x="678" y="629"/>
                  </a:lnTo>
                  <a:lnTo>
                    <a:pt x="678" y="628"/>
                  </a:lnTo>
                  <a:lnTo>
                    <a:pt x="675" y="623"/>
                  </a:lnTo>
                  <a:lnTo>
                    <a:pt x="676" y="617"/>
                  </a:lnTo>
                  <a:lnTo>
                    <a:pt x="678" y="616"/>
                  </a:lnTo>
                  <a:lnTo>
                    <a:pt x="682" y="616"/>
                  </a:lnTo>
                  <a:lnTo>
                    <a:pt x="678" y="612"/>
                  </a:lnTo>
                  <a:lnTo>
                    <a:pt x="678" y="610"/>
                  </a:lnTo>
                  <a:lnTo>
                    <a:pt x="678" y="607"/>
                  </a:lnTo>
                  <a:lnTo>
                    <a:pt x="676" y="607"/>
                  </a:lnTo>
                  <a:lnTo>
                    <a:pt x="669" y="603"/>
                  </a:lnTo>
                  <a:lnTo>
                    <a:pt x="669" y="600"/>
                  </a:lnTo>
                  <a:lnTo>
                    <a:pt x="666" y="595"/>
                  </a:lnTo>
                  <a:lnTo>
                    <a:pt x="661" y="595"/>
                  </a:lnTo>
                  <a:lnTo>
                    <a:pt x="654" y="591"/>
                  </a:lnTo>
                  <a:lnTo>
                    <a:pt x="650" y="588"/>
                  </a:lnTo>
                  <a:lnTo>
                    <a:pt x="647" y="589"/>
                  </a:lnTo>
                  <a:lnTo>
                    <a:pt x="640" y="584"/>
                  </a:lnTo>
                  <a:lnTo>
                    <a:pt x="638" y="588"/>
                  </a:lnTo>
                  <a:lnTo>
                    <a:pt x="633" y="584"/>
                  </a:lnTo>
                  <a:lnTo>
                    <a:pt x="628" y="589"/>
                  </a:lnTo>
                  <a:lnTo>
                    <a:pt x="628" y="595"/>
                  </a:lnTo>
                  <a:lnTo>
                    <a:pt x="624" y="596"/>
                  </a:lnTo>
                  <a:lnTo>
                    <a:pt x="619" y="595"/>
                  </a:lnTo>
                  <a:lnTo>
                    <a:pt x="614" y="598"/>
                  </a:lnTo>
                  <a:lnTo>
                    <a:pt x="610" y="596"/>
                  </a:lnTo>
                  <a:lnTo>
                    <a:pt x="607" y="593"/>
                  </a:lnTo>
                  <a:lnTo>
                    <a:pt x="609" y="589"/>
                  </a:lnTo>
                  <a:lnTo>
                    <a:pt x="607" y="584"/>
                  </a:lnTo>
                  <a:lnTo>
                    <a:pt x="600" y="579"/>
                  </a:lnTo>
                  <a:lnTo>
                    <a:pt x="600" y="576"/>
                  </a:lnTo>
                  <a:lnTo>
                    <a:pt x="600" y="567"/>
                  </a:lnTo>
                  <a:lnTo>
                    <a:pt x="596" y="560"/>
                  </a:lnTo>
                  <a:lnTo>
                    <a:pt x="596" y="556"/>
                  </a:lnTo>
                  <a:lnTo>
                    <a:pt x="596" y="546"/>
                  </a:lnTo>
                  <a:lnTo>
                    <a:pt x="596" y="539"/>
                  </a:lnTo>
                  <a:lnTo>
                    <a:pt x="591" y="534"/>
                  </a:lnTo>
                  <a:lnTo>
                    <a:pt x="588" y="534"/>
                  </a:lnTo>
                  <a:lnTo>
                    <a:pt x="584" y="529"/>
                  </a:lnTo>
                  <a:lnTo>
                    <a:pt x="577" y="523"/>
                  </a:lnTo>
                  <a:lnTo>
                    <a:pt x="572" y="520"/>
                  </a:lnTo>
                  <a:lnTo>
                    <a:pt x="572" y="515"/>
                  </a:lnTo>
                  <a:lnTo>
                    <a:pt x="574" y="508"/>
                  </a:lnTo>
                  <a:lnTo>
                    <a:pt x="572" y="503"/>
                  </a:lnTo>
                  <a:lnTo>
                    <a:pt x="570" y="501"/>
                  </a:lnTo>
                  <a:lnTo>
                    <a:pt x="570" y="497"/>
                  </a:lnTo>
                  <a:lnTo>
                    <a:pt x="574" y="496"/>
                  </a:lnTo>
                  <a:lnTo>
                    <a:pt x="577" y="489"/>
                  </a:lnTo>
                  <a:lnTo>
                    <a:pt x="581" y="482"/>
                  </a:lnTo>
                  <a:lnTo>
                    <a:pt x="577" y="473"/>
                  </a:lnTo>
                  <a:lnTo>
                    <a:pt x="572" y="457"/>
                  </a:lnTo>
                  <a:lnTo>
                    <a:pt x="574" y="457"/>
                  </a:lnTo>
                  <a:lnTo>
                    <a:pt x="577" y="461"/>
                  </a:lnTo>
                  <a:lnTo>
                    <a:pt x="579" y="466"/>
                  </a:lnTo>
                  <a:lnTo>
                    <a:pt x="581" y="466"/>
                  </a:lnTo>
                  <a:lnTo>
                    <a:pt x="583" y="466"/>
                  </a:lnTo>
                  <a:lnTo>
                    <a:pt x="583" y="473"/>
                  </a:lnTo>
                  <a:lnTo>
                    <a:pt x="588" y="478"/>
                  </a:lnTo>
                  <a:lnTo>
                    <a:pt x="586" y="483"/>
                  </a:lnTo>
                  <a:lnTo>
                    <a:pt x="589" y="489"/>
                  </a:lnTo>
                  <a:lnTo>
                    <a:pt x="588" y="494"/>
                  </a:lnTo>
                  <a:lnTo>
                    <a:pt x="589" y="497"/>
                  </a:lnTo>
                  <a:lnTo>
                    <a:pt x="595" y="501"/>
                  </a:lnTo>
                  <a:lnTo>
                    <a:pt x="595" y="503"/>
                  </a:lnTo>
                  <a:lnTo>
                    <a:pt x="596" y="506"/>
                  </a:lnTo>
                  <a:lnTo>
                    <a:pt x="596" y="508"/>
                  </a:lnTo>
                  <a:lnTo>
                    <a:pt x="595" y="511"/>
                  </a:lnTo>
                  <a:lnTo>
                    <a:pt x="596" y="513"/>
                  </a:lnTo>
                  <a:lnTo>
                    <a:pt x="600" y="513"/>
                  </a:lnTo>
                  <a:lnTo>
                    <a:pt x="605" y="516"/>
                  </a:lnTo>
                  <a:lnTo>
                    <a:pt x="612" y="516"/>
                  </a:lnTo>
                  <a:lnTo>
                    <a:pt x="616" y="515"/>
                  </a:lnTo>
                  <a:lnTo>
                    <a:pt x="617" y="516"/>
                  </a:lnTo>
                  <a:lnTo>
                    <a:pt x="619" y="520"/>
                  </a:lnTo>
                  <a:lnTo>
                    <a:pt x="622" y="516"/>
                  </a:lnTo>
                  <a:lnTo>
                    <a:pt x="624" y="515"/>
                  </a:lnTo>
                  <a:lnTo>
                    <a:pt x="628" y="513"/>
                  </a:lnTo>
                  <a:lnTo>
                    <a:pt x="631" y="515"/>
                  </a:lnTo>
                  <a:lnTo>
                    <a:pt x="636" y="520"/>
                  </a:lnTo>
                  <a:lnTo>
                    <a:pt x="640" y="520"/>
                  </a:lnTo>
                  <a:lnTo>
                    <a:pt x="645" y="523"/>
                  </a:lnTo>
                  <a:lnTo>
                    <a:pt x="650" y="522"/>
                  </a:lnTo>
                  <a:lnTo>
                    <a:pt x="654" y="518"/>
                  </a:lnTo>
                  <a:lnTo>
                    <a:pt x="650" y="520"/>
                  </a:lnTo>
                  <a:lnTo>
                    <a:pt x="645" y="520"/>
                  </a:lnTo>
                  <a:lnTo>
                    <a:pt x="643" y="516"/>
                  </a:lnTo>
                  <a:lnTo>
                    <a:pt x="642" y="515"/>
                  </a:lnTo>
                  <a:lnTo>
                    <a:pt x="640" y="509"/>
                  </a:lnTo>
                  <a:lnTo>
                    <a:pt x="633" y="509"/>
                  </a:lnTo>
                  <a:lnTo>
                    <a:pt x="633" y="508"/>
                  </a:lnTo>
                  <a:lnTo>
                    <a:pt x="631" y="508"/>
                  </a:lnTo>
                  <a:lnTo>
                    <a:pt x="628" y="509"/>
                  </a:lnTo>
                  <a:lnTo>
                    <a:pt x="619" y="509"/>
                  </a:lnTo>
                  <a:lnTo>
                    <a:pt x="617" y="506"/>
                  </a:lnTo>
                  <a:lnTo>
                    <a:pt x="612" y="506"/>
                  </a:lnTo>
                  <a:lnTo>
                    <a:pt x="605" y="501"/>
                  </a:lnTo>
                  <a:lnTo>
                    <a:pt x="605" y="497"/>
                  </a:lnTo>
                  <a:lnTo>
                    <a:pt x="602" y="497"/>
                  </a:lnTo>
                  <a:lnTo>
                    <a:pt x="596" y="489"/>
                  </a:lnTo>
                  <a:lnTo>
                    <a:pt x="600" y="487"/>
                  </a:lnTo>
                  <a:lnTo>
                    <a:pt x="600" y="485"/>
                  </a:lnTo>
                  <a:lnTo>
                    <a:pt x="605" y="482"/>
                  </a:lnTo>
                  <a:lnTo>
                    <a:pt x="609" y="482"/>
                  </a:lnTo>
                  <a:lnTo>
                    <a:pt x="614" y="487"/>
                  </a:lnTo>
                  <a:lnTo>
                    <a:pt x="619" y="490"/>
                  </a:lnTo>
                  <a:lnTo>
                    <a:pt x="624" y="490"/>
                  </a:lnTo>
                  <a:lnTo>
                    <a:pt x="629" y="483"/>
                  </a:lnTo>
                  <a:lnTo>
                    <a:pt x="628" y="478"/>
                  </a:lnTo>
                  <a:lnTo>
                    <a:pt x="619" y="475"/>
                  </a:lnTo>
                  <a:lnTo>
                    <a:pt x="614" y="478"/>
                  </a:lnTo>
                  <a:lnTo>
                    <a:pt x="612" y="478"/>
                  </a:lnTo>
                  <a:lnTo>
                    <a:pt x="614" y="475"/>
                  </a:lnTo>
                  <a:lnTo>
                    <a:pt x="616" y="475"/>
                  </a:lnTo>
                  <a:lnTo>
                    <a:pt x="617" y="475"/>
                  </a:lnTo>
                  <a:lnTo>
                    <a:pt x="617" y="469"/>
                  </a:lnTo>
                  <a:lnTo>
                    <a:pt x="622" y="464"/>
                  </a:lnTo>
                  <a:lnTo>
                    <a:pt x="624" y="461"/>
                  </a:lnTo>
                  <a:lnTo>
                    <a:pt x="628" y="463"/>
                  </a:lnTo>
                  <a:lnTo>
                    <a:pt x="640" y="463"/>
                  </a:lnTo>
                  <a:lnTo>
                    <a:pt x="645" y="466"/>
                  </a:lnTo>
                  <a:lnTo>
                    <a:pt x="647" y="469"/>
                  </a:lnTo>
                  <a:lnTo>
                    <a:pt x="659" y="469"/>
                  </a:lnTo>
                  <a:lnTo>
                    <a:pt x="659" y="475"/>
                  </a:lnTo>
                  <a:lnTo>
                    <a:pt x="662" y="478"/>
                  </a:lnTo>
                  <a:lnTo>
                    <a:pt x="669" y="483"/>
                  </a:lnTo>
                  <a:lnTo>
                    <a:pt x="676" y="483"/>
                  </a:lnTo>
                  <a:lnTo>
                    <a:pt x="683" y="483"/>
                  </a:lnTo>
                  <a:lnTo>
                    <a:pt x="692" y="478"/>
                  </a:lnTo>
                  <a:lnTo>
                    <a:pt x="694" y="480"/>
                  </a:lnTo>
                  <a:lnTo>
                    <a:pt x="695" y="480"/>
                  </a:lnTo>
                  <a:lnTo>
                    <a:pt x="701" y="480"/>
                  </a:lnTo>
                  <a:lnTo>
                    <a:pt x="699" y="487"/>
                  </a:lnTo>
                  <a:lnTo>
                    <a:pt x="699" y="490"/>
                  </a:lnTo>
                  <a:lnTo>
                    <a:pt x="699" y="494"/>
                  </a:lnTo>
                  <a:lnTo>
                    <a:pt x="694" y="497"/>
                  </a:lnTo>
                  <a:lnTo>
                    <a:pt x="694" y="501"/>
                  </a:lnTo>
                  <a:lnTo>
                    <a:pt x="697" y="506"/>
                  </a:lnTo>
                  <a:lnTo>
                    <a:pt x="697" y="509"/>
                  </a:lnTo>
                  <a:lnTo>
                    <a:pt x="701" y="515"/>
                  </a:lnTo>
                  <a:lnTo>
                    <a:pt x="701" y="518"/>
                  </a:lnTo>
                  <a:lnTo>
                    <a:pt x="701" y="522"/>
                  </a:lnTo>
                  <a:lnTo>
                    <a:pt x="701" y="532"/>
                  </a:lnTo>
                  <a:lnTo>
                    <a:pt x="704" y="532"/>
                  </a:lnTo>
                  <a:lnTo>
                    <a:pt x="704" y="529"/>
                  </a:lnTo>
                  <a:lnTo>
                    <a:pt x="704" y="525"/>
                  </a:lnTo>
                  <a:lnTo>
                    <a:pt x="704" y="523"/>
                  </a:lnTo>
                  <a:lnTo>
                    <a:pt x="704" y="520"/>
                  </a:lnTo>
                  <a:lnTo>
                    <a:pt x="709" y="518"/>
                  </a:lnTo>
                  <a:lnTo>
                    <a:pt x="709" y="513"/>
                  </a:lnTo>
                  <a:lnTo>
                    <a:pt x="713" y="515"/>
                  </a:lnTo>
                  <a:lnTo>
                    <a:pt x="715" y="522"/>
                  </a:lnTo>
                  <a:lnTo>
                    <a:pt x="715" y="529"/>
                  </a:lnTo>
                  <a:lnTo>
                    <a:pt x="716" y="530"/>
                  </a:lnTo>
                  <a:lnTo>
                    <a:pt x="713" y="532"/>
                  </a:lnTo>
                  <a:lnTo>
                    <a:pt x="713" y="537"/>
                  </a:lnTo>
                  <a:lnTo>
                    <a:pt x="711" y="537"/>
                  </a:lnTo>
                  <a:lnTo>
                    <a:pt x="718" y="543"/>
                  </a:lnTo>
                  <a:lnTo>
                    <a:pt x="723" y="543"/>
                  </a:lnTo>
                  <a:lnTo>
                    <a:pt x="728" y="544"/>
                  </a:lnTo>
                  <a:lnTo>
                    <a:pt x="732" y="548"/>
                  </a:lnTo>
                  <a:lnTo>
                    <a:pt x="732" y="551"/>
                  </a:lnTo>
                  <a:lnTo>
                    <a:pt x="735" y="553"/>
                  </a:lnTo>
                  <a:lnTo>
                    <a:pt x="742" y="553"/>
                  </a:lnTo>
                  <a:lnTo>
                    <a:pt x="749" y="562"/>
                  </a:lnTo>
                  <a:lnTo>
                    <a:pt x="749" y="560"/>
                  </a:lnTo>
                  <a:lnTo>
                    <a:pt x="749" y="553"/>
                  </a:lnTo>
                  <a:lnTo>
                    <a:pt x="755" y="549"/>
                  </a:lnTo>
                  <a:lnTo>
                    <a:pt x="756" y="549"/>
                  </a:lnTo>
                  <a:lnTo>
                    <a:pt x="765" y="553"/>
                  </a:lnTo>
                  <a:lnTo>
                    <a:pt x="770" y="553"/>
                  </a:lnTo>
                  <a:lnTo>
                    <a:pt x="774" y="556"/>
                  </a:lnTo>
                  <a:lnTo>
                    <a:pt x="774" y="565"/>
                  </a:lnTo>
                  <a:lnTo>
                    <a:pt x="774" y="556"/>
                  </a:lnTo>
                  <a:lnTo>
                    <a:pt x="772" y="553"/>
                  </a:lnTo>
                  <a:lnTo>
                    <a:pt x="768" y="553"/>
                  </a:lnTo>
                  <a:lnTo>
                    <a:pt x="763" y="551"/>
                  </a:lnTo>
                  <a:lnTo>
                    <a:pt x="756" y="548"/>
                  </a:lnTo>
                  <a:lnTo>
                    <a:pt x="751" y="548"/>
                  </a:lnTo>
                  <a:lnTo>
                    <a:pt x="748" y="553"/>
                  </a:lnTo>
                  <a:lnTo>
                    <a:pt x="744" y="551"/>
                  </a:lnTo>
                  <a:lnTo>
                    <a:pt x="744" y="553"/>
                  </a:lnTo>
                  <a:lnTo>
                    <a:pt x="737" y="549"/>
                  </a:lnTo>
                  <a:lnTo>
                    <a:pt x="732" y="543"/>
                  </a:lnTo>
                  <a:lnTo>
                    <a:pt x="728" y="541"/>
                  </a:lnTo>
                  <a:lnTo>
                    <a:pt x="722" y="539"/>
                  </a:lnTo>
                  <a:lnTo>
                    <a:pt x="718" y="534"/>
                  </a:lnTo>
                  <a:lnTo>
                    <a:pt x="722" y="537"/>
                  </a:lnTo>
                  <a:lnTo>
                    <a:pt x="723" y="537"/>
                  </a:lnTo>
                  <a:lnTo>
                    <a:pt x="728" y="529"/>
                  </a:lnTo>
                  <a:lnTo>
                    <a:pt x="727" y="525"/>
                  </a:lnTo>
                  <a:lnTo>
                    <a:pt x="722" y="520"/>
                  </a:lnTo>
                  <a:lnTo>
                    <a:pt x="720" y="513"/>
                  </a:lnTo>
                  <a:lnTo>
                    <a:pt x="715" y="506"/>
                  </a:lnTo>
                  <a:lnTo>
                    <a:pt x="709" y="501"/>
                  </a:lnTo>
                  <a:lnTo>
                    <a:pt x="706" y="497"/>
                  </a:lnTo>
                  <a:lnTo>
                    <a:pt x="709" y="494"/>
                  </a:lnTo>
                  <a:lnTo>
                    <a:pt x="706" y="490"/>
                  </a:lnTo>
                  <a:lnTo>
                    <a:pt x="704" y="482"/>
                  </a:lnTo>
                  <a:lnTo>
                    <a:pt x="701" y="478"/>
                  </a:lnTo>
                  <a:lnTo>
                    <a:pt x="701" y="478"/>
                  </a:lnTo>
                  <a:lnTo>
                    <a:pt x="694" y="475"/>
                  </a:lnTo>
                  <a:lnTo>
                    <a:pt x="685" y="473"/>
                  </a:lnTo>
                  <a:lnTo>
                    <a:pt x="682" y="469"/>
                  </a:lnTo>
                  <a:lnTo>
                    <a:pt x="678" y="466"/>
                  </a:lnTo>
                  <a:lnTo>
                    <a:pt x="678" y="461"/>
                  </a:lnTo>
                  <a:lnTo>
                    <a:pt x="676" y="457"/>
                  </a:lnTo>
                  <a:lnTo>
                    <a:pt x="676" y="456"/>
                  </a:lnTo>
                  <a:lnTo>
                    <a:pt x="673" y="457"/>
                  </a:lnTo>
                  <a:lnTo>
                    <a:pt x="659" y="457"/>
                  </a:lnTo>
                  <a:lnTo>
                    <a:pt x="655" y="457"/>
                  </a:lnTo>
                  <a:lnTo>
                    <a:pt x="650" y="454"/>
                  </a:lnTo>
                  <a:lnTo>
                    <a:pt x="650" y="450"/>
                  </a:lnTo>
                  <a:lnTo>
                    <a:pt x="650" y="450"/>
                  </a:lnTo>
                  <a:lnTo>
                    <a:pt x="647" y="447"/>
                  </a:lnTo>
                  <a:lnTo>
                    <a:pt x="647" y="442"/>
                  </a:lnTo>
                  <a:lnTo>
                    <a:pt x="643" y="433"/>
                  </a:lnTo>
                  <a:lnTo>
                    <a:pt x="636" y="430"/>
                  </a:lnTo>
                  <a:lnTo>
                    <a:pt x="638" y="428"/>
                  </a:lnTo>
                  <a:lnTo>
                    <a:pt x="638" y="424"/>
                  </a:lnTo>
                  <a:lnTo>
                    <a:pt x="635" y="424"/>
                  </a:lnTo>
                  <a:lnTo>
                    <a:pt x="633" y="423"/>
                  </a:lnTo>
                  <a:lnTo>
                    <a:pt x="633" y="419"/>
                  </a:lnTo>
                  <a:lnTo>
                    <a:pt x="635" y="416"/>
                  </a:lnTo>
                  <a:lnTo>
                    <a:pt x="629" y="412"/>
                  </a:lnTo>
                  <a:lnTo>
                    <a:pt x="633" y="410"/>
                  </a:lnTo>
                  <a:lnTo>
                    <a:pt x="638" y="410"/>
                  </a:lnTo>
                  <a:lnTo>
                    <a:pt x="642" y="407"/>
                  </a:lnTo>
                  <a:lnTo>
                    <a:pt x="647" y="407"/>
                  </a:lnTo>
                  <a:lnTo>
                    <a:pt x="654" y="403"/>
                  </a:lnTo>
                  <a:lnTo>
                    <a:pt x="668" y="398"/>
                  </a:lnTo>
                  <a:lnTo>
                    <a:pt x="673" y="396"/>
                  </a:lnTo>
                  <a:lnTo>
                    <a:pt x="678" y="393"/>
                  </a:lnTo>
                  <a:lnTo>
                    <a:pt x="682" y="396"/>
                  </a:lnTo>
                  <a:lnTo>
                    <a:pt x="685" y="393"/>
                  </a:lnTo>
                  <a:lnTo>
                    <a:pt x="687" y="388"/>
                  </a:lnTo>
                  <a:lnTo>
                    <a:pt x="694" y="388"/>
                  </a:lnTo>
                  <a:lnTo>
                    <a:pt x="704" y="383"/>
                  </a:lnTo>
                  <a:lnTo>
                    <a:pt x="706" y="384"/>
                  </a:lnTo>
                  <a:lnTo>
                    <a:pt x="704" y="388"/>
                  </a:lnTo>
                  <a:lnTo>
                    <a:pt x="704" y="391"/>
                  </a:lnTo>
                  <a:lnTo>
                    <a:pt x="701" y="391"/>
                  </a:lnTo>
                  <a:lnTo>
                    <a:pt x="699" y="398"/>
                  </a:lnTo>
                  <a:lnTo>
                    <a:pt x="699" y="402"/>
                  </a:lnTo>
                  <a:lnTo>
                    <a:pt x="704" y="409"/>
                  </a:lnTo>
                  <a:lnTo>
                    <a:pt x="711" y="409"/>
                  </a:lnTo>
                  <a:lnTo>
                    <a:pt x="709" y="407"/>
                  </a:lnTo>
                  <a:lnTo>
                    <a:pt x="701" y="400"/>
                  </a:lnTo>
                  <a:lnTo>
                    <a:pt x="701" y="398"/>
                  </a:lnTo>
                  <a:lnTo>
                    <a:pt x="704" y="393"/>
                  </a:lnTo>
                  <a:lnTo>
                    <a:pt x="711" y="391"/>
                  </a:lnTo>
                  <a:lnTo>
                    <a:pt x="715" y="384"/>
                  </a:lnTo>
                  <a:lnTo>
                    <a:pt x="711" y="379"/>
                  </a:lnTo>
                  <a:lnTo>
                    <a:pt x="709" y="379"/>
                  </a:lnTo>
                  <a:lnTo>
                    <a:pt x="704" y="376"/>
                  </a:lnTo>
                  <a:lnTo>
                    <a:pt x="704" y="372"/>
                  </a:lnTo>
                  <a:lnTo>
                    <a:pt x="699" y="372"/>
                  </a:lnTo>
                  <a:lnTo>
                    <a:pt x="697" y="374"/>
                  </a:lnTo>
                  <a:lnTo>
                    <a:pt x="695" y="372"/>
                  </a:lnTo>
                  <a:lnTo>
                    <a:pt x="694" y="369"/>
                  </a:lnTo>
                  <a:lnTo>
                    <a:pt x="687" y="369"/>
                  </a:lnTo>
                  <a:lnTo>
                    <a:pt x="685" y="369"/>
                  </a:lnTo>
                  <a:lnTo>
                    <a:pt x="682" y="365"/>
                  </a:lnTo>
                  <a:lnTo>
                    <a:pt x="682" y="363"/>
                  </a:lnTo>
                  <a:lnTo>
                    <a:pt x="682" y="360"/>
                  </a:lnTo>
                  <a:lnTo>
                    <a:pt x="685" y="360"/>
                  </a:lnTo>
                  <a:lnTo>
                    <a:pt x="688" y="363"/>
                  </a:lnTo>
                  <a:lnTo>
                    <a:pt x="692" y="363"/>
                  </a:lnTo>
                  <a:lnTo>
                    <a:pt x="695" y="360"/>
                  </a:lnTo>
                  <a:lnTo>
                    <a:pt x="694" y="360"/>
                  </a:lnTo>
                  <a:lnTo>
                    <a:pt x="692" y="360"/>
                  </a:lnTo>
                  <a:lnTo>
                    <a:pt x="688" y="360"/>
                  </a:lnTo>
                  <a:lnTo>
                    <a:pt x="685" y="356"/>
                  </a:lnTo>
                  <a:lnTo>
                    <a:pt x="685" y="355"/>
                  </a:lnTo>
                  <a:lnTo>
                    <a:pt x="682" y="355"/>
                  </a:lnTo>
                  <a:lnTo>
                    <a:pt x="676" y="353"/>
                  </a:lnTo>
                  <a:lnTo>
                    <a:pt x="673" y="355"/>
                  </a:lnTo>
                  <a:lnTo>
                    <a:pt x="669" y="351"/>
                  </a:lnTo>
                  <a:lnTo>
                    <a:pt x="673" y="348"/>
                  </a:lnTo>
                  <a:lnTo>
                    <a:pt x="673" y="344"/>
                  </a:lnTo>
                  <a:lnTo>
                    <a:pt x="669" y="343"/>
                  </a:lnTo>
                  <a:lnTo>
                    <a:pt x="669" y="341"/>
                  </a:lnTo>
                  <a:lnTo>
                    <a:pt x="673" y="343"/>
                  </a:lnTo>
                  <a:lnTo>
                    <a:pt x="678" y="348"/>
                  </a:lnTo>
                  <a:lnTo>
                    <a:pt x="682" y="346"/>
                  </a:lnTo>
                  <a:lnTo>
                    <a:pt x="683" y="351"/>
                  </a:lnTo>
                  <a:lnTo>
                    <a:pt x="683" y="348"/>
                  </a:lnTo>
                  <a:lnTo>
                    <a:pt x="683" y="346"/>
                  </a:lnTo>
                  <a:lnTo>
                    <a:pt x="687" y="344"/>
                  </a:lnTo>
                  <a:lnTo>
                    <a:pt x="687" y="337"/>
                  </a:lnTo>
                  <a:lnTo>
                    <a:pt x="685" y="334"/>
                  </a:lnTo>
                  <a:lnTo>
                    <a:pt x="685" y="334"/>
                  </a:lnTo>
                  <a:lnTo>
                    <a:pt x="688" y="334"/>
                  </a:lnTo>
                  <a:lnTo>
                    <a:pt x="690" y="332"/>
                  </a:lnTo>
                  <a:lnTo>
                    <a:pt x="682" y="329"/>
                  </a:lnTo>
                  <a:lnTo>
                    <a:pt x="682" y="332"/>
                  </a:lnTo>
                  <a:lnTo>
                    <a:pt x="678" y="332"/>
                  </a:lnTo>
                  <a:lnTo>
                    <a:pt x="678" y="329"/>
                  </a:lnTo>
                  <a:lnTo>
                    <a:pt x="682" y="327"/>
                  </a:lnTo>
                  <a:lnTo>
                    <a:pt x="687" y="325"/>
                  </a:lnTo>
                  <a:lnTo>
                    <a:pt x="692" y="325"/>
                  </a:lnTo>
                  <a:lnTo>
                    <a:pt x="692" y="322"/>
                  </a:lnTo>
                  <a:lnTo>
                    <a:pt x="695" y="316"/>
                  </a:lnTo>
                  <a:lnTo>
                    <a:pt x="695" y="313"/>
                  </a:lnTo>
                  <a:lnTo>
                    <a:pt x="695" y="313"/>
                  </a:lnTo>
                  <a:lnTo>
                    <a:pt x="695" y="311"/>
                  </a:lnTo>
                  <a:lnTo>
                    <a:pt x="699" y="306"/>
                  </a:lnTo>
                  <a:lnTo>
                    <a:pt x="701" y="306"/>
                  </a:lnTo>
                  <a:lnTo>
                    <a:pt x="701" y="310"/>
                  </a:lnTo>
                  <a:lnTo>
                    <a:pt x="704" y="310"/>
                  </a:lnTo>
                  <a:lnTo>
                    <a:pt x="704" y="306"/>
                  </a:lnTo>
                  <a:lnTo>
                    <a:pt x="704" y="306"/>
                  </a:lnTo>
                  <a:lnTo>
                    <a:pt x="704" y="303"/>
                  </a:lnTo>
                  <a:lnTo>
                    <a:pt x="704" y="301"/>
                  </a:lnTo>
                  <a:lnTo>
                    <a:pt x="709" y="299"/>
                  </a:lnTo>
                  <a:lnTo>
                    <a:pt x="711" y="297"/>
                  </a:lnTo>
                  <a:lnTo>
                    <a:pt x="711" y="294"/>
                  </a:lnTo>
                  <a:lnTo>
                    <a:pt x="715" y="294"/>
                  </a:lnTo>
                  <a:lnTo>
                    <a:pt x="716" y="296"/>
                  </a:lnTo>
                  <a:lnTo>
                    <a:pt x="723" y="294"/>
                  </a:lnTo>
                  <a:lnTo>
                    <a:pt x="722" y="292"/>
                  </a:lnTo>
                  <a:lnTo>
                    <a:pt x="722" y="289"/>
                  </a:lnTo>
                  <a:lnTo>
                    <a:pt x="728" y="287"/>
                  </a:lnTo>
                  <a:lnTo>
                    <a:pt x="734" y="287"/>
                  </a:lnTo>
                  <a:lnTo>
                    <a:pt x="735" y="282"/>
                  </a:lnTo>
                  <a:lnTo>
                    <a:pt x="746" y="278"/>
                  </a:lnTo>
                  <a:lnTo>
                    <a:pt x="746" y="275"/>
                  </a:lnTo>
                  <a:lnTo>
                    <a:pt x="744" y="275"/>
                  </a:lnTo>
                  <a:lnTo>
                    <a:pt x="737" y="278"/>
                  </a:lnTo>
                  <a:lnTo>
                    <a:pt x="735" y="276"/>
                  </a:lnTo>
                  <a:lnTo>
                    <a:pt x="732" y="278"/>
                  </a:lnTo>
                  <a:lnTo>
                    <a:pt x="728" y="278"/>
                  </a:lnTo>
                  <a:lnTo>
                    <a:pt x="728" y="270"/>
                  </a:lnTo>
                  <a:lnTo>
                    <a:pt x="732" y="270"/>
                  </a:lnTo>
                  <a:lnTo>
                    <a:pt x="732" y="266"/>
                  </a:lnTo>
                  <a:lnTo>
                    <a:pt x="734" y="266"/>
                  </a:lnTo>
                  <a:lnTo>
                    <a:pt x="735" y="268"/>
                  </a:lnTo>
                  <a:lnTo>
                    <a:pt x="735" y="268"/>
                  </a:lnTo>
                  <a:lnTo>
                    <a:pt x="739" y="266"/>
                  </a:lnTo>
                  <a:lnTo>
                    <a:pt x="734" y="263"/>
                  </a:lnTo>
                  <a:lnTo>
                    <a:pt x="739" y="261"/>
                  </a:lnTo>
                  <a:lnTo>
                    <a:pt x="742" y="263"/>
                  </a:lnTo>
                  <a:lnTo>
                    <a:pt x="746" y="264"/>
                  </a:lnTo>
                  <a:lnTo>
                    <a:pt x="751" y="261"/>
                  </a:lnTo>
                  <a:lnTo>
                    <a:pt x="755" y="261"/>
                  </a:lnTo>
                  <a:lnTo>
                    <a:pt x="763" y="259"/>
                  </a:lnTo>
                  <a:lnTo>
                    <a:pt x="767" y="259"/>
                  </a:lnTo>
                  <a:lnTo>
                    <a:pt x="768" y="261"/>
                  </a:lnTo>
                  <a:lnTo>
                    <a:pt x="763" y="270"/>
                  </a:lnTo>
                  <a:lnTo>
                    <a:pt x="763" y="273"/>
                  </a:lnTo>
                  <a:lnTo>
                    <a:pt x="768" y="275"/>
                  </a:lnTo>
                  <a:lnTo>
                    <a:pt x="768" y="270"/>
                  </a:lnTo>
                  <a:lnTo>
                    <a:pt x="772" y="264"/>
                  </a:lnTo>
                  <a:lnTo>
                    <a:pt x="772" y="261"/>
                  </a:lnTo>
                  <a:lnTo>
                    <a:pt x="772" y="259"/>
                  </a:lnTo>
                  <a:lnTo>
                    <a:pt x="774" y="263"/>
                  </a:lnTo>
                  <a:lnTo>
                    <a:pt x="774" y="268"/>
                  </a:lnTo>
                  <a:lnTo>
                    <a:pt x="777" y="268"/>
                  </a:lnTo>
                  <a:lnTo>
                    <a:pt x="779" y="264"/>
                  </a:lnTo>
                  <a:lnTo>
                    <a:pt x="777" y="261"/>
                  </a:lnTo>
                  <a:lnTo>
                    <a:pt x="782" y="259"/>
                  </a:lnTo>
                  <a:lnTo>
                    <a:pt x="782" y="259"/>
                  </a:lnTo>
                  <a:lnTo>
                    <a:pt x="782" y="263"/>
                  </a:lnTo>
                  <a:lnTo>
                    <a:pt x="788" y="259"/>
                  </a:lnTo>
                  <a:lnTo>
                    <a:pt x="788" y="256"/>
                  </a:lnTo>
                  <a:lnTo>
                    <a:pt x="786" y="256"/>
                  </a:lnTo>
                  <a:lnTo>
                    <a:pt x="789" y="256"/>
                  </a:lnTo>
                  <a:lnTo>
                    <a:pt x="791" y="252"/>
                  </a:lnTo>
                  <a:lnTo>
                    <a:pt x="788" y="250"/>
                  </a:lnTo>
                  <a:lnTo>
                    <a:pt x="793" y="247"/>
                  </a:lnTo>
                  <a:lnTo>
                    <a:pt x="796" y="247"/>
                  </a:lnTo>
                  <a:lnTo>
                    <a:pt x="800" y="245"/>
                  </a:lnTo>
                  <a:lnTo>
                    <a:pt x="801" y="247"/>
                  </a:lnTo>
                  <a:lnTo>
                    <a:pt x="801" y="247"/>
                  </a:lnTo>
                  <a:lnTo>
                    <a:pt x="801" y="250"/>
                  </a:lnTo>
                  <a:lnTo>
                    <a:pt x="808" y="250"/>
                  </a:lnTo>
                  <a:lnTo>
                    <a:pt x="808" y="256"/>
                  </a:lnTo>
                  <a:lnTo>
                    <a:pt x="810" y="256"/>
                  </a:lnTo>
                  <a:lnTo>
                    <a:pt x="808" y="264"/>
                  </a:lnTo>
                  <a:lnTo>
                    <a:pt x="812" y="261"/>
                  </a:lnTo>
                  <a:lnTo>
                    <a:pt x="815" y="256"/>
                  </a:lnTo>
                  <a:lnTo>
                    <a:pt x="812" y="247"/>
                  </a:lnTo>
                  <a:lnTo>
                    <a:pt x="808" y="245"/>
                  </a:lnTo>
                  <a:lnTo>
                    <a:pt x="805" y="240"/>
                  </a:lnTo>
                  <a:lnTo>
                    <a:pt x="801" y="243"/>
                  </a:lnTo>
                  <a:lnTo>
                    <a:pt x="800" y="242"/>
                  </a:lnTo>
                  <a:lnTo>
                    <a:pt x="794" y="242"/>
                  </a:lnTo>
                  <a:lnTo>
                    <a:pt x="794" y="240"/>
                  </a:lnTo>
                  <a:lnTo>
                    <a:pt x="789" y="238"/>
                  </a:lnTo>
                  <a:lnTo>
                    <a:pt x="789" y="236"/>
                  </a:lnTo>
                  <a:lnTo>
                    <a:pt x="793" y="233"/>
                  </a:lnTo>
                  <a:lnTo>
                    <a:pt x="800" y="233"/>
                  </a:lnTo>
                  <a:lnTo>
                    <a:pt x="801" y="231"/>
                  </a:lnTo>
                  <a:lnTo>
                    <a:pt x="805" y="231"/>
                  </a:lnTo>
                  <a:lnTo>
                    <a:pt x="808" y="231"/>
                  </a:lnTo>
                  <a:lnTo>
                    <a:pt x="810" y="231"/>
                  </a:lnTo>
                  <a:lnTo>
                    <a:pt x="814" y="231"/>
                  </a:lnTo>
                  <a:lnTo>
                    <a:pt x="821" y="228"/>
                  </a:lnTo>
                  <a:lnTo>
                    <a:pt x="826" y="231"/>
                  </a:lnTo>
                  <a:lnTo>
                    <a:pt x="827" y="231"/>
                  </a:lnTo>
                  <a:lnTo>
                    <a:pt x="831" y="231"/>
                  </a:lnTo>
                  <a:lnTo>
                    <a:pt x="833" y="230"/>
                  </a:lnTo>
                  <a:lnTo>
                    <a:pt x="833" y="228"/>
                  </a:lnTo>
                  <a:lnTo>
                    <a:pt x="827" y="228"/>
                  </a:lnTo>
                  <a:lnTo>
                    <a:pt x="822" y="224"/>
                  </a:lnTo>
                  <a:lnTo>
                    <a:pt x="817" y="228"/>
                  </a:lnTo>
                  <a:lnTo>
                    <a:pt x="810" y="224"/>
                  </a:lnTo>
                  <a:lnTo>
                    <a:pt x="810" y="223"/>
                  </a:lnTo>
                  <a:lnTo>
                    <a:pt x="808" y="219"/>
                  </a:lnTo>
                  <a:lnTo>
                    <a:pt x="814" y="216"/>
                  </a:lnTo>
                  <a:lnTo>
                    <a:pt x="810" y="216"/>
                  </a:lnTo>
                  <a:lnTo>
                    <a:pt x="805" y="210"/>
                  </a:lnTo>
                  <a:lnTo>
                    <a:pt x="801" y="210"/>
                  </a:lnTo>
                  <a:lnTo>
                    <a:pt x="800" y="205"/>
                  </a:lnTo>
                  <a:lnTo>
                    <a:pt x="800" y="202"/>
                  </a:lnTo>
                  <a:lnTo>
                    <a:pt x="801" y="202"/>
                  </a:lnTo>
                  <a:lnTo>
                    <a:pt x="801" y="197"/>
                  </a:lnTo>
                  <a:lnTo>
                    <a:pt x="798" y="195"/>
                  </a:lnTo>
                  <a:lnTo>
                    <a:pt x="800" y="177"/>
                  </a:lnTo>
                  <a:lnTo>
                    <a:pt x="801" y="174"/>
                  </a:lnTo>
                  <a:lnTo>
                    <a:pt x="801" y="169"/>
                  </a:lnTo>
                  <a:lnTo>
                    <a:pt x="801" y="165"/>
                  </a:lnTo>
                  <a:lnTo>
                    <a:pt x="805" y="160"/>
                  </a:lnTo>
                  <a:lnTo>
                    <a:pt x="801" y="158"/>
                  </a:lnTo>
                  <a:lnTo>
                    <a:pt x="805" y="157"/>
                  </a:lnTo>
                  <a:lnTo>
                    <a:pt x="805" y="153"/>
                  </a:lnTo>
                  <a:lnTo>
                    <a:pt x="810" y="150"/>
                  </a:lnTo>
                  <a:lnTo>
                    <a:pt x="814" y="150"/>
                  </a:lnTo>
                  <a:lnTo>
                    <a:pt x="817" y="155"/>
                  </a:lnTo>
                  <a:lnTo>
                    <a:pt x="821" y="151"/>
                  </a:lnTo>
                  <a:lnTo>
                    <a:pt x="824" y="151"/>
                  </a:lnTo>
                  <a:lnTo>
                    <a:pt x="826" y="157"/>
                  </a:lnTo>
                  <a:lnTo>
                    <a:pt x="831" y="157"/>
                  </a:lnTo>
                  <a:lnTo>
                    <a:pt x="836" y="153"/>
                  </a:lnTo>
                  <a:lnTo>
                    <a:pt x="836" y="153"/>
                  </a:lnTo>
                  <a:lnTo>
                    <a:pt x="836" y="158"/>
                  </a:lnTo>
                  <a:lnTo>
                    <a:pt x="838" y="160"/>
                  </a:lnTo>
                  <a:lnTo>
                    <a:pt x="843" y="160"/>
                  </a:lnTo>
                  <a:lnTo>
                    <a:pt x="843" y="163"/>
                  </a:lnTo>
                  <a:lnTo>
                    <a:pt x="840" y="165"/>
                  </a:lnTo>
                  <a:lnTo>
                    <a:pt x="840" y="165"/>
                  </a:lnTo>
                  <a:lnTo>
                    <a:pt x="838" y="169"/>
                  </a:lnTo>
                  <a:lnTo>
                    <a:pt x="840" y="172"/>
                  </a:lnTo>
                  <a:lnTo>
                    <a:pt x="836" y="177"/>
                  </a:lnTo>
                  <a:lnTo>
                    <a:pt x="833" y="179"/>
                  </a:lnTo>
                  <a:lnTo>
                    <a:pt x="831" y="184"/>
                  </a:lnTo>
                  <a:lnTo>
                    <a:pt x="833" y="184"/>
                  </a:lnTo>
                  <a:lnTo>
                    <a:pt x="840" y="181"/>
                  </a:lnTo>
                  <a:lnTo>
                    <a:pt x="845" y="172"/>
                  </a:lnTo>
                  <a:lnTo>
                    <a:pt x="848" y="174"/>
                  </a:lnTo>
                  <a:lnTo>
                    <a:pt x="848" y="176"/>
                  </a:lnTo>
                  <a:lnTo>
                    <a:pt x="845" y="179"/>
                  </a:lnTo>
                  <a:lnTo>
                    <a:pt x="847" y="183"/>
                  </a:lnTo>
                  <a:lnTo>
                    <a:pt x="850" y="183"/>
                  </a:lnTo>
                  <a:lnTo>
                    <a:pt x="852" y="177"/>
                  </a:lnTo>
                  <a:lnTo>
                    <a:pt x="855" y="176"/>
                  </a:lnTo>
                  <a:lnTo>
                    <a:pt x="859" y="177"/>
                  </a:lnTo>
                  <a:lnTo>
                    <a:pt x="861" y="176"/>
                  </a:lnTo>
                  <a:lnTo>
                    <a:pt x="862" y="172"/>
                  </a:lnTo>
                  <a:lnTo>
                    <a:pt x="864" y="172"/>
                  </a:lnTo>
                  <a:lnTo>
                    <a:pt x="866" y="174"/>
                  </a:lnTo>
                  <a:lnTo>
                    <a:pt x="869" y="172"/>
                  </a:lnTo>
                  <a:lnTo>
                    <a:pt x="874" y="177"/>
                  </a:lnTo>
                  <a:lnTo>
                    <a:pt x="874" y="181"/>
                  </a:lnTo>
                  <a:lnTo>
                    <a:pt x="876" y="186"/>
                  </a:lnTo>
                  <a:lnTo>
                    <a:pt x="874" y="188"/>
                  </a:lnTo>
                  <a:lnTo>
                    <a:pt x="874" y="191"/>
                  </a:lnTo>
                  <a:lnTo>
                    <a:pt x="873" y="197"/>
                  </a:lnTo>
                  <a:lnTo>
                    <a:pt x="876" y="202"/>
                  </a:lnTo>
                  <a:lnTo>
                    <a:pt x="876" y="207"/>
                  </a:lnTo>
                  <a:lnTo>
                    <a:pt x="873" y="207"/>
                  </a:lnTo>
                  <a:lnTo>
                    <a:pt x="871" y="210"/>
                  </a:lnTo>
                  <a:lnTo>
                    <a:pt x="873" y="210"/>
                  </a:lnTo>
                  <a:lnTo>
                    <a:pt x="878" y="209"/>
                  </a:lnTo>
                  <a:lnTo>
                    <a:pt x="881" y="205"/>
                  </a:lnTo>
                  <a:lnTo>
                    <a:pt x="890" y="205"/>
                  </a:lnTo>
                  <a:lnTo>
                    <a:pt x="890" y="200"/>
                  </a:lnTo>
                  <a:lnTo>
                    <a:pt x="890" y="195"/>
                  </a:lnTo>
                  <a:lnTo>
                    <a:pt x="890" y="190"/>
                  </a:lnTo>
                  <a:lnTo>
                    <a:pt x="887" y="190"/>
                  </a:lnTo>
                  <a:lnTo>
                    <a:pt x="883" y="190"/>
                  </a:lnTo>
                  <a:lnTo>
                    <a:pt x="883" y="186"/>
                  </a:lnTo>
                  <a:lnTo>
                    <a:pt x="887" y="184"/>
                  </a:lnTo>
                  <a:lnTo>
                    <a:pt x="887" y="184"/>
                  </a:lnTo>
                  <a:lnTo>
                    <a:pt x="890" y="186"/>
                  </a:lnTo>
                  <a:lnTo>
                    <a:pt x="892" y="184"/>
                  </a:lnTo>
                  <a:lnTo>
                    <a:pt x="897" y="183"/>
                  </a:lnTo>
                  <a:lnTo>
                    <a:pt x="902" y="177"/>
                  </a:lnTo>
                  <a:lnTo>
                    <a:pt x="904" y="179"/>
                  </a:lnTo>
                  <a:lnTo>
                    <a:pt x="909" y="179"/>
                  </a:lnTo>
                  <a:lnTo>
                    <a:pt x="909" y="176"/>
                  </a:lnTo>
                  <a:lnTo>
                    <a:pt x="913" y="172"/>
                  </a:lnTo>
                  <a:lnTo>
                    <a:pt x="914" y="172"/>
                  </a:lnTo>
                  <a:lnTo>
                    <a:pt x="916" y="172"/>
                  </a:lnTo>
                  <a:lnTo>
                    <a:pt x="920" y="169"/>
                  </a:lnTo>
                  <a:lnTo>
                    <a:pt x="921" y="172"/>
                  </a:lnTo>
                  <a:lnTo>
                    <a:pt x="925" y="172"/>
                  </a:lnTo>
                  <a:lnTo>
                    <a:pt x="927" y="172"/>
                  </a:lnTo>
                  <a:lnTo>
                    <a:pt x="925" y="174"/>
                  </a:lnTo>
                  <a:lnTo>
                    <a:pt x="925" y="177"/>
                  </a:lnTo>
                  <a:lnTo>
                    <a:pt x="932" y="176"/>
                  </a:lnTo>
                  <a:lnTo>
                    <a:pt x="935" y="177"/>
                  </a:lnTo>
                  <a:lnTo>
                    <a:pt x="937" y="179"/>
                  </a:lnTo>
                  <a:lnTo>
                    <a:pt x="949" y="186"/>
                  </a:lnTo>
                  <a:lnTo>
                    <a:pt x="951" y="188"/>
                  </a:lnTo>
                  <a:lnTo>
                    <a:pt x="954" y="191"/>
                  </a:lnTo>
                  <a:lnTo>
                    <a:pt x="954" y="191"/>
                  </a:lnTo>
                  <a:lnTo>
                    <a:pt x="960" y="200"/>
                  </a:lnTo>
                  <a:lnTo>
                    <a:pt x="963" y="200"/>
                  </a:lnTo>
                  <a:lnTo>
                    <a:pt x="963" y="197"/>
                  </a:lnTo>
                  <a:lnTo>
                    <a:pt x="963" y="197"/>
                  </a:lnTo>
                  <a:lnTo>
                    <a:pt x="963" y="195"/>
                  </a:lnTo>
                  <a:lnTo>
                    <a:pt x="963" y="191"/>
                  </a:lnTo>
                  <a:lnTo>
                    <a:pt x="960" y="191"/>
                  </a:lnTo>
                  <a:lnTo>
                    <a:pt x="960" y="190"/>
                  </a:lnTo>
                  <a:lnTo>
                    <a:pt x="963" y="188"/>
                  </a:lnTo>
                  <a:lnTo>
                    <a:pt x="963" y="188"/>
                  </a:lnTo>
                  <a:lnTo>
                    <a:pt x="965" y="190"/>
                  </a:lnTo>
                  <a:lnTo>
                    <a:pt x="968" y="191"/>
                  </a:lnTo>
                  <a:lnTo>
                    <a:pt x="968" y="195"/>
                  </a:lnTo>
                  <a:lnTo>
                    <a:pt x="973" y="200"/>
                  </a:lnTo>
                  <a:lnTo>
                    <a:pt x="973" y="202"/>
                  </a:lnTo>
                  <a:lnTo>
                    <a:pt x="977" y="203"/>
                  </a:lnTo>
                  <a:lnTo>
                    <a:pt x="979" y="202"/>
                  </a:lnTo>
                  <a:lnTo>
                    <a:pt x="980" y="202"/>
                  </a:lnTo>
                  <a:lnTo>
                    <a:pt x="982" y="203"/>
                  </a:lnTo>
                  <a:lnTo>
                    <a:pt x="982" y="207"/>
                  </a:lnTo>
                  <a:lnTo>
                    <a:pt x="986" y="210"/>
                  </a:lnTo>
                  <a:lnTo>
                    <a:pt x="986" y="214"/>
                  </a:lnTo>
                  <a:lnTo>
                    <a:pt x="986" y="217"/>
                  </a:lnTo>
                  <a:lnTo>
                    <a:pt x="986" y="217"/>
                  </a:lnTo>
                  <a:lnTo>
                    <a:pt x="986" y="216"/>
                  </a:lnTo>
                  <a:lnTo>
                    <a:pt x="982" y="212"/>
                  </a:lnTo>
                  <a:lnTo>
                    <a:pt x="982" y="212"/>
                  </a:lnTo>
                  <a:lnTo>
                    <a:pt x="982" y="214"/>
                  </a:lnTo>
                  <a:lnTo>
                    <a:pt x="979" y="212"/>
                  </a:lnTo>
                  <a:lnTo>
                    <a:pt x="972" y="209"/>
                  </a:lnTo>
                  <a:lnTo>
                    <a:pt x="967" y="210"/>
                  </a:lnTo>
                  <a:lnTo>
                    <a:pt x="967" y="210"/>
                  </a:lnTo>
                  <a:lnTo>
                    <a:pt x="968" y="214"/>
                  </a:lnTo>
                  <a:lnTo>
                    <a:pt x="973" y="214"/>
                  </a:lnTo>
                  <a:lnTo>
                    <a:pt x="975" y="216"/>
                  </a:lnTo>
                  <a:lnTo>
                    <a:pt x="975" y="217"/>
                  </a:lnTo>
                  <a:lnTo>
                    <a:pt x="977" y="219"/>
                  </a:lnTo>
                  <a:lnTo>
                    <a:pt x="979" y="223"/>
                  </a:lnTo>
                  <a:lnTo>
                    <a:pt x="980" y="219"/>
                  </a:lnTo>
                  <a:lnTo>
                    <a:pt x="982" y="217"/>
                  </a:lnTo>
                  <a:lnTo>
                    <a:pt x="982" y="217"/>
                  </a:lnTo>
                  <a:lnTo>
                    <a:pt x="986" y="219"/>
                  </a:lnTo>
                  <a:lnTo>
                    <a:pt x="986" y="219"/>
                  </a:lnTo>
                  <a:lnTo>
                    <a:pt x="987" y="219"/>
                  </a:lnTo>
                  <a:lnTo>
                    <a:pt x="991" y="219"/>
                  </a:lnTo>
                  <a:lnTo>
                    <a:pt x="991" y="223"/>
                  </a:lnTo>
                  <a:lnTo>
                    <a:pt x="991" y="224"/>
                  </a:lnTo>
                  <a:lnTo>
                    <a:pt x="993" y="230"/>
                  </a:lnTo>
                  <a:lnTo>
                    <a:pt x="994" y="236"/>
                  </a:lnTo>
                  <a:lnTo>
                    <a:pt x="994" y="243"/>
                  </a:lnTo>
                  <a:lnTo>
                    <a:pt x="991" y="247"/>
                  </a:lnTo>
                  <a:lnTo>
                    <a:pt x="991" y="247"/>
                  </a:lnTo>
                  <a:lnTo>
                    <a:pt x="991" y="250"/>
                  </a:lnTo>
                  <a:lnTo>
                    <a:pt x="991" y="256"/>
                  </a:lnTo>
                  <a:lnTo>
                    <a:pt x="987" y="259"/>
                  </a:lnTo>
                  <a:lnTo>
                    <a:pt x="987" y="261"/>
                  </a:lnTo>
                  <a:lnTo>
                    <a:pt x="991" y="263"/>
                  </a:lnTo>
                  <a:lnTo>
                    <a:pt x="991" y="266"/>
                  </a:lnTo>
                  <a:lnTo>
                    <a:pt x="986" y="268"/>
                  </a:lnTo>
                  <a:lnTo>
                    <a:pt x="986" y="271"/>
                  </a:lnTo>
                  <a:lnTo>
                    <a:pt x="986" y="273"/>
                  </a:lnTo>
                  <a:lnTo>
                    <a:pt x="982" y="278"/>
                  </a:lnTo>
                  <a:lnTo>
                    <a:pt x="982" y="282"/>
                  </a:lnTo>
                  <a:lnTo>
                    <a:pt x="982" y="282"/>
                  </a:lnTo>
                  <a:lnTo>
                    <a:pt x="980" y="287"/>
                  </a:lnTo>
                  <a:lnTo>
                    <a:pt x="977" y="287"/>
                  </a:lnTo>
                  <a:lnTo>
                    <a:pt x="973" y="290"/>
                  </a:lnTo>
                  <a:lnTo>
                    <a:pt x="968" y="290"/>
                  </a:lnTo>
                  <a:lnTo>
                    <a:pt x="973" y="292"/>
                  </a:lnTo>
                  <a:lnTo>
                    <a:pt x="975" y="292"/>
                  </a:lnTo>
                  <a:lnTo>
                    <a:pt x="979" y="289"/>
                  </a:lnTo>
                  <a:lnTo>
                    <a:pt x="979" y="289"/>
                  </a:lnTo>
                  <a:lnTo>
                    <a:pt x="980" y="294"/>
                  </a:lnTo>
                  <a:lnTo>
                    <a:pt x="979" y="301"/>
                  </a:lnTo>
                  <a:lnTo>
                    <a:pt x="975" y="304"/>
                  </a:lnTo>
                  <a:lnTo>
                    <a:pt x="973" y="311"/>
                  </a:lnTo>
                  <a:lnTo>
                    <a:pt x="975" y="315"/>
                  </a:lnTo>
                  <a:lnTo>
                    <a:pt x="975" y="318"/>
                  </a:lnTo>
                  <a:lnTo>
                    <a:pt x="973" y="327"/>
                  </a:lnTo>
                  <a:lnTo>
                    <a:pt x="968" y="329"/>
                  </a:lnTo>
                  <a:lnTo>
                    <a:pt x="967" y="327"/>
                  </a:lnTo>
                  <a:lnTo>
                    <a:pt x="965" y="329"/>
                  </a:lnTo>
                  <a:lnTo>
                    <a:pt x="963" y="329"/>
                  </a:lnTo>
                  <a:lnTo>
                    <a:pt x="963" y="332"/>
                  </a:lnTo>
                  <a:lnTo>
                    <a:pt x="967" y="337"/>
                  </a:lnTo>
                  <a:lnTo>
                    <a:pt x="965" y="341"/>
                  </a:lnTo>
                  <a:lnTo>
                    <a:pt x="963" y="343"/>
                  </a:lnTo>
                  <a:lnTo>
                    <a:pt x="960" y="348"/>
                  </a:lnTo>
                  <a:lnTo>
                    <a:pt x="963" y="353"/>
                  </a:lnTo>
                  <a:lnTo>
                    <a:pt x="963" y="356"/>
                  </a:lnTo>
                  <a:lnTo>
                    <a:pt x="960" y="360"/>
                  </a:lnTo>
                  <a:lnTo>
                    <a:pt x="960" y="360"/>
                  </a:lnTo>
                  <a:lnTo>
                    <a:pt x="963" y="363"/>
                  </a:lnTo>
                  <a:lnTo>
                    <a:pt x="960" y="372"/>
                  </a:lnTo>
                  <a:lnTo>
                    <a:pt x="960" y="374"/>
                  </a:lnTo>
                  <a:lnTo>
                    <a:pt x="958" y="377"/>
                  </a:lnTo>
                  <a:lnTo>
                    <a:pt x="960" y="376"/>
                  </a:lnTo>
                  <a:lnTo>
                    <a:pt x="963" y="376"/>
                  </a:lnTo>
                  <a:lnTo>
                    <a:pt x="965" y="372"/>
                  </a:lnTo>
                  <a:lnTo>
                    <a:pt x="967" y="369"/>
                  </a:lnTo>
                  <a:lnTo>
                    <a:pt x="965" y="369"/>
                  </a:lnTo>
                  <a:lnTo>
                    <a:pt x="967" y="365"/>
                  </a:lnTo>
                  <a:lnTo>
                    <a:pt x="972" y="365"/>
                  </a:lnTo>
                  <a:lnTo>
                    <a:pt x="973" y="365"/>
                  </a:lnTo>
                  <a:lnTo>
                    <a:pt x="972" y="365"/>
                  </a:lnTo>
                  <a:lnTo>
                    <a:pt x="965" y="356"/>
                  </a:lnTo>
                  <a:lnTo>
                    <a:pt x="963" y="353"/>
                  </a:lnTo>
                  <a:lnTo>
                    <a:pt x="965" y="350"/>
                  </a:lnTo>
                  <a:lnTo>
                    <a:pt x="972" y="348"/>
                  </a:lnTo>
                  <a:lnTo>
                    <a:pt x="979" y="348"/>
                  </a:lnTo>
                  <a:lnTo>
                    <a:pt x="982" y="343"/>
                  </a:lnTo>
                  <a:lnTo>
                    <a:pt x="986" y="343"/>
                  </a:lnTo>
                  <a:lnTo>
                    <a:pt x="986" y="341"/>
                  </a:lnTo>
                  <a:lnTo>
                    <a:pt x="986" y="337"/>
                  </a:lnTo>
                  <a:lnTo>
                    <a:pt x="991" y="334"/>
                  </a:lnTo>
                  <a:lnTo>
                    <a:pt x="993" y="332"/>
                  </a:lnTo>
                  <a:lnTo>
                    <a:pt x="991" y="327"/>
                  </a:lnTo>
                  <a:lnTo>
                    <a:pt x="991" y="327"/>
                  </a:lnTo>
                  <a:lnTo>
                    <a:pt x="994" y="329"/>
                  </a:lnTo>
                  <a:lnTo>
                    <a:pt x="998" y="327"/>
                  </a:lnTo>
                  <a:lnTo>
                    <a:pt x="1001" y="323"/>
                  </a:lnTo>
                  <a:lnTo>
                    <a:pt x="1000" y="320"/>
                  </a:lnTo>
                  <a:lnTo>
                    <a:pt x="1005" y="315"/>
                  </a:lnTo>
                  <a:lnTo>
                    <a:pt x="1005" y="311"/>
                  </a:lnTo>
                  <a:lnTo>
                    <a:pt x="1005" y="310"/>
                  </a:lnTo>
                  <a:lnTo>
                    <a:pt x="998" y="313"/>
                  </a:lnTo>
                  <a:lnTo>
                    <a:pt x="998" y="315"/>
                  </a:lnTo>
                  <a:lnTo>
                    <a:pt x="993" y="318"/>
                  </a:lnTo>
                  <a:lnTo>
                    <a:pt x="987" y="316"/>
                  </a:lnTo>
                  <a:lnTo>
                    <a:pt x="986" y="311"/>
                  </a:lnTo>
                  <a:lnTo>
                    <a:pt x="991" y="310"/>
                  </a:lnTo>
                  <a:lnTo>
                    <a:pt x="987" y="304"/>
                  </a:lnTo>
                  <a:lnTo>
                    <a:pt x="991" y="301"/>
                  </a:lnTo>
                  <a:lnTo>
                    <a:pt x="996" y="301"/>
                  </a:lnTo>
                  <a:lnTo>
                    <a:pt x="1003" y="304"/>
                  </a:lnTo>
                  <a:lnTo>
                    <a:pt x="1005" y="301"/>
                  </a:lnTo>
                  <a:lnTo>
                    <a:pt x="1005" y="297"/>
                  </a:lnTo>
                  <a:lnTo>
                    <a:pt x="1010" y="296"/>
                  </a:lnTo>
                  <a:lnTo>
                    <a:pt x="1010" y="299"/>
                  </a:lnTo>
                  <a:lnTo>
                    <a:pt x="1008" y="301"/>
                  </a:lnTo>
                  <a:lnTo>
                    <a:pt x="1008" y="304"/>
                  </a:lnTo>
                  <a:lnTo>
                    <a:pt x="1017" y="311"/>
                  </a:lnTo>
                  <a:lnTo>
                    <a:pt x="1022" y="311"/>
                  </a:lnTo>
                  <a:lnTo>
                    <a:pt x="1024" y="310"/>
                  </a:lnTo>
                  <a:lnTo>
                    <a:pt x="1031" y="310"/>
                  </a:lnTo>
                  <a:lnTo>
                    <a:pt x="1033" y="306"/>
                  </a:lnTo>
                  <a:lnTo>
                    <a:pt x="1033" y="303"/>
                  </a:lnTo>
                  <a:lnTo>
                    <a:pt x="1027" y="296"/>
                  </a:lnTo>
                  <a:lnTo>
                    <a:pt x="1027" y="294"/>
                  </a:lnTo>
                  <a:lnTo>
                    <a:pt x="1029" y="294"/>
                  </a:lnTo>
                  <a:lnTo>
                    <a:pt x="1036" y="301"/>
                  </a:lnTo>
                  <a:lnTo>
                    <a:pt x="1038" y="301"/>
                  </a:lnTo>
                  <a:lnTo>
                    <a:pt x="1041" y="304"/>
                  </a:lnTo>
                  <a:lnTo>
                    <a:pt x="1039" y="306"/>
                  </a:lnTo>
                  <a:lnTo>
                    <a:pt x="1041" y="310"/>
                  </a:lnTo>
                  <a:lnTo>
                    <a:pt x="1046" y="313"/>
                  </a:lnTo>
                  <a:lnTo>
                    <a:pt x="1046" y="320"/>
                  </a:lnTo>
                  <a:lnTo>
                    <a:pt x="1048" y="320"/>
                  </a:lnTo>
                  <a:lnTo>
                    <a:pt x="1048" y="318"/>
                  </a:lnTo>
                  <a:lnTo>
                    <a:pt x="1052" y="315"/>
                  </a:lnTo>
                  <a:lnTo>
                    <a:pt x="1053" y="315"/>
                  </a:lnTo>
                  <a:lnTo>
                    <a:pt x="1055" y="311"/>
                  </a:lnTo>
                  <a:lnTo>
                    <a:pt x="1053" y="311"/>
                  </a:lnTo>
                  <a:lnTo>
                    <a:pt x="1050" y="313"/>
                  </a:lnTo>
                  <a:lnTo>
                    <a:pt x="1048" y="311"/>
                  </a:lnTo>
                  <a:lnTo>
                    <a:pt x="1045" y="310"/>
                  </a:lnTo>
                  <a:lnTo>
                    <a:pt x="1050" y="304"/>
                  </a:lnTo>
                  <a:lnTo>
                    <a:pt x="1053" y="303"/>
                  </a:lnTo>
                  <a:lnTo>
                    <a:pt x="1055" y="299"/>
                  </a:lnTo>
                  <a:lnTo>
                    <a:pt x="1059" y="299"/>
                  </a:lnTo>
                  <a:lnTo>
                    <a:pt x="1059" y="297"/>
                  </a:lnTo>
                  <a:lnTo>
                    <a:pt x="1067" y="296"/>
                  </a:lnTo>
                  <a:lnTo>
                    <a:pt x="1078" y="292"/>
                  </a:lnTo>
                  <a:lnTo>
                    <a:pt x="1090" y="292"/>
                  </a:lnTo>
                  <a:lnTo>
                    <a:pt x="1100" y="287"/>
                  </a:lnTo>
                  <a:lnTo>
                    <a:pt x="1107" y="287"/>
                  </a:lnTo>
                  <a:lnTo>
                    <a:pt x="1109" y="289"/>
                  </a:lnTo>
                  <a:lnTo>
                    <a:pt x="1109" y="292"/>
                  </a:lnTo>
                  <a:lnTo>
                    <a:pt x="1109" y="292"/>
                  </a:lnTo>
                  <a:lnTo>
                    <a:pt x="1107" y="297"/>
                  </a:lnTo>
                  <a:lnTo>
                    <a:pt x="1109" y="304"/>
                  </a:lnTo>
                  <a:lnTo>
                    <a:pt x="1114" y="306"/>
                  </a:lnTo>
                  <a:lnTo>
                    <a:pt x="1128" y="306"/>
                  </a:lnTo>
                  <a:lnTo>
                    <a:pt x="1132" y="310"/>
                  </a:lnTo>
                  <a:lnTo>
                    <a:pt x="1133" y="306"/>
                  </a:lnTo>
                  <a:lnTo>
                    <a:pt x="1137" y="306"/>
                  </a:lnTo>
                  <a:lnTo>
                    <a:pt x="1142" y="310"/>
                  </a:lnTo>
                  <a:lnTo>
                    <a:pt x="1152" y="306"/>
                  </a:lnTo>
                  <a:lnTo>
                    <a:pt x="1159" y="304"/>
                  </a:lnTo>
                  <a:lnTo>
                    <a:pt x="1163" y="304"/>
                  </a:lnTo>
                  <a:lnTo>
                    <a:pt x="1168" y="304"/>
                  </a:lnTo>
                  <a:lnTo>
                    <a:pt x="1168" y="301"/>
                  </a:lnTo>
                  <a:lnTo>
                    <a:pt x="1168" y="299"/>
                  </a:lnTo>
                  <a:lnTo>
                    <a:pt x="1172" y="297"/>
                  </a:lnTo>
                  <a:lnTo>
                    <a:pt x="1173" y="299"/>
                  </a:lnTo>
                  <a:lnTo>
                    <a:pt x="1178" y="297"/>
                  </a:lnTo>
                  <a:lnTo>
                    <a:pt x="1178" y="299"/>
                  </a:lnTo>
                  <a:lnTo>
                    <a:pt x="1180" y="301"/>
                  </a:lnTo>
                  <a:lnTo>
                    <a:pt x="1184" y="297"/>
                  </a:lnTo>
                  <a:lnTo>
                    <a:pt x="1182" y="294"/>
                  </a:lnTo>
                  <a:lnTo>
                    <a:pt x="1178" y="290"/>
                  </a:lnTo>
                  <a:lnTo>
                    <a:pt x="1180" y="287"/>
                  </a:lnTo>
                  <a:lnTo>
                    <a:pt x="1178" y="287"/>
                  </a:lnTo>
                  <a:lnTo>
                    <a:pt x="1173" y="283"/>
                  </a:lnTo>
                  <a:lnTo>
                    <a:pt x="1173" y="282"/>
                  </a:lnTo>
                  <a:lnTo>
                    <a:pt x="1172" y="278"/>
                  </a:lnTo>
                  <a:lnTo>
                    <a:pt x="1172" y="276"/>
                  </a:lnTo>
                  <a:lnTo>
                    <a:pt x="1168" y="273"/>
                  </a:lnTo>
                  <a:lnTo>
                    <a:pt x="1168" y="270"/>
                  </a:lnTo>
                  <a:lnTo>
                    <a:pt x="1172" y="266"/>
                  </a:lnTo>
                  <a:lnTo>
                    <a:pt x="1172" y="268"/>
                  </a:lnTo>
                  <a:lnTo>
                    <a:pt x="1172" y="270"/>
                  </a:lnTo>
                  <a:lnTo>
                    <a:pt x="1175" y="266"/>
                  </a:lnTo>
                  <a:lnTo>
                    <a:pt x="1175" y="264"/>
                  </a:lnTo>
                  <a:lnTo>
                    <a:pt x="1173" y="261"/>
                  </a:lnTo>
                  <a:lnTo>
                    <a:pt x="1177" y="261"/>
                  </a:lnTo>
                  <a:lnTo>
                    <a:pt x="1180" y="264"/>
                  </a:lnTo>
                  <a:lnTo>
                    <a:pt x="1184" y="263"/>
                  </a:lnTo>
                  <a:lnTo>
                    <a:pt x="1184" y="259"/>
                  </a:lnTo>
                  <a:lnTo>
                    <a:pt x="1185" y="261"/>
                  </a:lnTo>
                  <a:lnTo>
                    <a:pt x="1191" y="261"/>
                  </a:lnTo>
                  <a:lnTo>
                    <a:pt x="1191" y="261"/>
                  </a:lnTo>
                  <a:lnTo>
                    <a:pt x="1194" y="259"/>
                  </a:lnTo>
                  <a:lnTo>
                    <a:pt x="1196" y="263"/>
                  </a:lnTo>
                  <a:lnTo>
                    <a:pt x="1199" y="263"/>
                  </a:lnTo>
                  <a:lnTo>
                    <a:pt x="1201" y="266"/>
                  </a:lnTo>
                  <a:lnTo>
                    <a:pt x="1203" y="264"/>
                  </a:lnTo>
                  <a:lnTo>
                    <a:pt x="1203" y="261"/>
                  </a:lnTo>
                  <a:lnTo>
                    <a:pt x="1206" y="261"/>
                  </a:lnTo>
                  <a:lnTo>
                    <a:pt x="1208" y="264"/>
                  </a:lnTo>
                  <a:lnTo>
                    <a:pt x="1206" y="268"/>
                  </a:lnTo>
                  <a:lnTo>
                    <a:pt x="1205" y="270"/>
                  </a:lnTo>
                  <a:lnTo>
                    <a:pt x="1206" y="271"/>
                  </a:lnTo>
                  <a:lnTo>
                    <a:pt x="1210" y="270"/>
                  </a:lnTo>
                  <a:lnTo>
                    <a:pt x="1212" y="271"/>
                  </a:lnTo>
                  <a:lnTo>
                    <a:pt x="1212" y="268"/>
                  </a:lnTo>
                  <a:lnTo>
                    <a:pt x="1213" y="268"/>
                  </a:lnTo>
                  <a:lnTo>
                    <a:pt x="1213" y="268"/>
                  </a:lnTo>
                  <a:lnTo>
                    <a:pt x="1213" y="264"/>
                  </a:lnTo>
                  <a:lnTo>
                    <a:pt x="1212" y="263"/>
                  </a:lnTo>
                  <a:lnTo>
                    <a:pt x="1213" y="261"/>
                  </a:lnTo>
                  <a:lnTo>
                    <a:pt x="1213" y="261"/>
                  </a:lnTo>
                  <a:lnTo>
                    <a:pt x="1222" y="259"/>
                  </a:lnTo>
                  <a:lnTo>
                    <a:pt x="1222" y="261"/>
                  </a:lnTo>
                  <a:lnTo>
                    <a:pt x="1224" y="259"/>
                  </a:lnTo>
                  <a:lnTo>
                    <a:pt x="1229" y="259"/>
                  </a:lnTo>
                  <a:lnTo>
                    <a:pt x="1229" y="263"/>
                  </a:lnTo>
                  <a:lnTo>
                    <a:pt x="1229" y="268"/>
                  </a:lnTo>
                  <a:lnTo>
                    <a:pt x="1231" y="264"/>
                  </a:lnTo>
                  <a:lnTo>
                    <a:pt x="1232" y="264"/>
                  </a:lnTo>
                  <a:lnTo>
                    <a:pt x="1236" y="261"/>
                  </a:lnTo>
                  <a:lnTo>
                    <a:pt x="1236" y="266"/>
                  </a:lnTo>
                  <a:lnTo>
                    <a:pt x="1239" y="266"/>
                  </a:lnTo>
                  <a:lnTo>
                    <a:pt x="1241" y="264"/>
                  </a:lnTo>
                  <a:lnTo>
                    <a:pt x="1245" y="268"/>
                  </a:lnTo>
                  <a:lnTo>
                    <a:pt x="1245" y="275"/>
                  </a:lnTo>
                  <a:lnTo>
                    <a:pt x="1248" y="270"/>
                  </a:lnTo>
                  <a:lnTo>
                    <a:pt x="1250" y="268"/>
                  </a:lnTo>
                  <a:lnTo>
                    <a:pt x="1251" y="270"/>
                  </a:lnTo>
                  <a:lnTo>
                    <a:pt x="1250" y="275"/>
                  </a:lnTo>
                  <a:lnTo>
                    <a:pt x="1251" y="276"/>
                  </a:lnTo>
                  <a:lnTo>
                    <a:pt x="1253" y="278"/>
                  </a:lnTo>
                  <a:lnTo>
                    <a:pt x="1257" y="278"/>
                  </a:lnTo>
                  <a:lnTo>
                    <a:pt x="1257" y="282"/>
                  </a:lnTo>
                  <a:lnTo>
                    <a:pt x="1258" y="278"/>
                  </a:lnTo>
                  <a:lnTo>
                    <a:pt x="1260" y="278"/>
                  </a:lnTo>
                  <a:lnTo>
                    <a:pt x="1262" y="282"/>
                  </a:lnTo>
                  <a:lnTo>
                    <a:pt x="1258" y="287"/>
                  </a:lnTo>
                  <a:lnTo>
                    <a:pt x="1258" y="289"/>
                  </a:lnTo>
                  <a:lnTo>
                    <a:pt x="1264" y="287"/>
                  </a:lnTo>
                  <a:lnTo>
                    <a:pt x="1267" y="287"/>
                  </a:lnTo>
                  <a:lnTo>
                    <a:pt x="1267" y="287"/>
                  </a:lnTo>
                  <a:lnTo>
                    <a:pt x="1260" y="294"/>
                  </a:lnTo>
                  <a:lnTo>
                    <a:pt x="1262" y="299"/>
                  </a:lnTo>
                  <a:lnTo>
                    <a:pt x="1267" y="299"/>
                  </a:lnTo>
                  <a:lnTo>
                    <a:pt x="1267" y="297"/>
                  </a:lnTo>
                  <a:lnTo>
                    <a:pt x="1269" y="296"/>
                  </a:lnTo>
                  <a:lnTo>
                    <a:pt x="1272" y="297"/>
                  </a:lnTo>
                  <a:lnTo>
                    <a:pt x="1272" y="299"/>
                  </a:lnTo>
                  <a:lnTo>
                    <a:pt x="1276" y="299"/>
                  </a:lnTo>
                  <a:lnTo>
                    <a:pt x="1279" y="303"/>
                  </a:lnTo>
                  <a:lnTo>
                    <a:pt x="1278" y="306"/>
                  </a:lnTo>
                  <a:lnTo>
                    <a:pt x="1281" y="306"/>
                  </a:lnTo>
                  <a:lnTo>
                    <a:pt x="1283" y="310"/>
                  </a:lnTo>
                  <a:lnTo>
                    <a:pt x="1284" y="310"/>
                  </a:lnTo>
                  <a:lnTo>
                    <a:pt x="1286" y="310"/>
                  </a:lnTo>
                  <a:lnTo>
                    <a:pt x="1283" y="316"/>
                  </a:lnTo>
                  <a:lnTo>
                    <a:pt x="1278" y="318"/>
                  </a:lnTo>
                  <a:lnTo>
                    <a:pt x="1274" y="315"/>
                  </a:lnTo>
                  <a:lnTo>
                    <a:pt x="1267" y="313"/>
                  </a:lnTo>
                  <a:lnTo>
                    <a:pt x="1262" y="313"/>
                  </a:lnTo>
                  <a:lnTo>
                    <a:pt x="1264" y="315"/>
                  </a:lnTo>
                  <a:lnTo>
                    <a:pt x="1264" y="318"/>
                  </a:lnTo>
                  <a:lnTo>
                    <a:pt x="1272" y="320"/>
                  </a:lnTo>
                  <a:lnTo>
                    <a:pt x="1272" y="323"/>
                  </a:lnTo>
                  <a:lnTo>
                    <a:pt x="1279" y="327"/>
                  </a:lnTo>
                  <a:lnTo>
                    <a:pt x="1286" y="329"/>
                  </a:lnTo>
                  <a:lnTo>
                    <a:pt x="1291" y="327"/>
                  </a:lnTo>
                  <a:lnTo>
                    <a:pt x="1291" y="323"/>
                  </a:lnTo>
                  <a:lnTo>
                    <a:pt x="1288" y="320"/>
                  </a:lnTo>
                  <a:lnTo>
                    <a:pt x="1286" y="316"/>
                  </a:lnTo>
                  <a:lnTo>
                    <a:pt x="1288" y="316"/>
                  </a:lnTo>
                  <a:lnTo>
                    <a:pt x="1291" y="322"/>
                  </a:lnTo>
                  <a:lnTo>
                    <a:pt x="1295" y="323"/>
                  </a:lnTo>
                  <a:lnTo>
                    <a:pt x="1298" y="325"/>
                  </a:lnTo>
                  <a:lnTo>
                    <a:pt x="1295" y="325"/>
                  </a:lnTo>
                  <a:lnTo>
                    <a:pt x="1288" y="332"/>
                  </a:lnTo>
                  <a:lnTo>
                    <a:pt x="1290" y="334"/>
                  </a:lnTo>
                  <a:lnTo>
                    <a:pt x="1291" y="334"/>
                  </a:lnTo>
                  <a:lnTo>
                    <a:pt x="1295" y="332"/>
                  </a:lnTo>
                  <a:lnTo>
                    <a:pt x="1295" y="332"/>
                  </a:lnTo>
                  <a:lnTo>
                    <a:pt x="1307" y="341"/>
                  </a:lnTo>
                  <a:lnTo>
                    <a:pt x="1311" y="343"/>
                  </a:lnTo>
                  <a:lnTo>
                    <a:pt x="1314" y="348"/>
                  </a:lnTo>
                  <a:lnTo>
                    <a:pt x="1321" y="348"/>
                  </a:lnTo>
                  <a:lnTo>
                    <a:pt x="1326" y="355"/>
                  </a:lnTo>
                  <a:lnTo>
                    <a:pt x="1331" y="356"/>
                  </a:lnTo>
                  <a:lnTo>
                    <a:pt x="1333" y="353"/>
                  </a:lnTo>
                  <a:lnTo>
                    <a:pt x="1331" y="351"/>
                  </a:lnTo>
                  <a:lnTo>
                    <a:pt x="1333" y="350"/>
                  </a:lnTo>
                  <a:lnTo>
                    <a:pt x="1337" y="353"/>
                  </a:lnTo>
                  <a:lnTo>
                    <a:pt x="1337" y="356"/>
                  </a:lnTo>
                  <a:lnTo>
                    <a:pt x="1340" y="356"/>
                  </a:lnTo>
                  <a:lnTo>
                    <a:pt x="1342" y="356"/>
                  </a:lnTo>
                  <a:lnTo>
                    <a:pt x="1344" y="355"/>
                  </a:lnTo>
                  <a:lnTo>
                    <a:pt x="1340" y="337"/>
                  </a:lnTo>
                  <a:lnTo>
                    <a:pt x="1335" y="329"/>
                  </a:lnTo>
                  <a:lnTo>
                    <a:pt x="1330" y="318"/>
                  </a:lnTo>
                  <a:lnTo>
                    <a:pt x="1330" y="310"/>
                  </a:lnTo>
                  <a:lnTo>
                    <a:pt x="1326" y="304"/>
                  </a:lnTo>
                  <a:lnTo>
                    <a:pt x="1326" y="301"/>
                  </a:lnTo>
                  <a:lnTo>
                    <a:pt x="1330" y="303"/>
                  </a:lnTo>
                  <a:lnTo>
                    <a:pt x="1331" y="306"/>
                  </a:lnTo>
                  <a:lnTo>
                    <a:pt x="1335" y="310"/>
                  </a:lnTo>
                  <a:lnTo>
                    <a:pt x="1340" y="311"/>
                  </a:lnTo>
                  <a:lnTo>
                    <a:pt x="1344" y="315"/>
                  </a:lnTo>
                  <a:lnTo>
                    <a:pt x="1349" y="316"/>
                  </a:lnTo>
                  <a:lnTo>
                    <a:pt x="1363" y="315"/>
                  </a:lnTo>
                  <a:lnTo>
                    <a:pt x="1366" y="315"/>
                  </a:lnTo>
                  <a:lnTo>
                    <a:pt x="1368" y="315"/>
                  </a:lnTo>
                  <a:lnTo>
                    <a:pt x="1371" y="316"/>
                  </a:lnTo>
                  <a:lnTo>
                    <a:pt x="1371" y="316"/>
                  </a:lnTo>
                  <a:lnTo>
                    <a:pt x="1371" y="311"/>
                  </a:lnTo>
                  <a:lnTo>
                    <a:pt x="1371" y="310"/>
                  </a:lnTo>
                  <a:lnTo>
                    <a:pt x="1368" y="310"/>
                  </a:lnTo>
                  <a:lnTo>
                    <a:pt x="1368" y="306"/>
                  </a:lnTo>
                  <a:lnTo>
                    <a:pt x="1371" y="304"/>
                  </a:lnTo>
                  <a:lnTo>
                    <a:pt x="1382" y="299"/>
                  </a:lnTo>
                  <a:lnTo>
                    <a:pt x="1384" y="299"/>
                  </a:lnTo>
                  <a:lnTo>
                    <a:pt x="1385" y="299"/>
                  </a:lnTo>
                  <a:lnTo>
                    <a:pt x="1390" y="301"/>
                  </a:lnTo>
                  <a:lnTo>
                    <a:pt x="1396" y="301"/>
                  </a:lnTo>
                  <a:lnTo>
                    <a:pt x="1399" y="306"/>
                  </a:lnTo>
                  <a:lnTo>
                    <a:pt x="1403" y="306"/>
                  </a:lnTo>
                  <a:lnTo>
                    <a:pt x="1404" y="310"/>
                  </a:lnTo>
                  <a:lnTo>
                    <a:pt x="1411" y="310"/>
                  </a:lnTo>
                  <a:lnTo>
                    <a:pt x="1413" y="313"/>
                  </a:lnTo>
                  <a:lnTo>
                    <a:pt x="1418" y="313"/>
                  </a:lnTo>
                  <a:lnTo>
                    <a:pt x="1417" y="310"/>
                  </a:lnTo>
                  <a:lnTo>
                    <a:pt x="1415" y="310"/>
                  </a:lnTo>
                  <a:lnTo>
                    <a:pt x="1418" y="310"/>
                  </a:lnTo>
                  <a:lnTo>
                    <a:pt x="1422" y="306"/>
                  </a:lnTo>
                  <a:lnTo>
                    <a:pt x="1418" y="306"/>
                  </a:lnTo>
                  <a:lnTo>
                    <a:pt x="1422" y="304"/>
                  </a:lnTo>
                  <a:lnTo>
                    <a:pt x="1418" y="301"/>
                  </a:lnTo>
                  <a:lnTo>
                    <a:pt x="1415" y="303"/>
                  </a:lnTo>
                  <a:lnTo>
                    <a:pt x="1411" y="303"/>
                  </a:lnTo>
                  <a:lnTo>
                    <a:pt x="1410" y="296"/>
                  </a:lnTo>
                  <a:lnTo>
                    <a:pt x="1408" y="292"/>
                  </a:lnTo>
                  <a:lnTo>
                    <a:pt x="1411" y="290"/>
                  </a:lnTo>
                  <a:lnTo>
                    <a:pt x="1413" y="292"/>
                  </a:lnTo>
                  <a:lnTo>
                    <a:pt x="1417" y="290"/>
                  </a:lnTo>
                  <a:lnTo>
                    <a:pt x="1415" y="287"/>
                  </a:lnTo>
                  <a:lnTo>
                    <a:pt x="1417" y="287"/>
                  </a:lnTo>
                  <a:lnTo>
                    <a:pt x="1422" y="290"/>
                  </a:lnTo>
                  <a:lnTo>
                    <a:pt x="1422" y="294"/>
                  </a:lnTo>
                  <a:lnTo>
                    <a:pt x="1425" y="294"/>
                  </a:lnTo>
                  <a:lnTo>
                    <a:pt x="1427" y="296"/>
                  </a:lnTo>
                  <a:lnTo>
                    <a:pt x="1430" y="294"/>
                  </a:lnTo>
                  <a:lnTo>
                    <a:pt x="1427" y="290"/>
                  </a:lnTo>
                  <a:lnTo>
                    <a:pt x="1432" y="289"/>
                  </a:lnTo>
                  <a:lnTo>
                    <a:pt x="1434" y="290"/>
                  </a:lnTo>
                  <a:lnTo>
                    <a:pt x="1436" y="287"/>
                  </a:lnTo>
                  <a:lnTo>
                    <a:pt x="1430" y="282"/>
                  </a:lnTo>
                  <a:lnTo>
                    <a:pt x="1425" y="282"/>
                  </a:lnTo>
                  <a:lnTo>
                    <a:pt x="1422" y="276"/>
                  </a:lnTo>
                  <a:lnTo>
                    <a:pt x="1422" y="273"/>
                  </a:lnTo>
                  <a:lnTo>
                    <a:pt x="1422" y="270"/>
                  </a:lnTo>
                  <a:lnTo>
                    <a:pt x="1418" y="271"/>
                  </a:lnTo>
                  <a:lnTo>
                    <a:pt x="1413" y="271"/>
                  </a:lnTo>
                  <a:lnTo>
                    <a:pt x="1418" y="268"/>
                  </a:lnTo>
                  <a:lnTo>
                    <a:pt x="1417" y="264"/>
                  </a:lnTo>
                  <a:lnTo>
                    <a:pt x="1418" y="264"/>
                  </a:lnTo>
                  <a:lnTo>
                    <a:pt x="1415" y="259"/>
                  </a:lnTo>
                  <a:lnTo>
                    <a:pt x="1418" y="259"/>
                  </a:lnTo>
                  <a:lnTo>
                    <a:pt x="1422" y="252"/>
                  </a:lnTo>
                  <a:lnTo>
                    <a:pt x="1415" y="256"/>
                  </a:lnTo>
                  <a:lnTo>
                    <a:pt x="1411" y="259"/>
                  </a:lnTo>
                  <a:lnTo>
                    <a:pt x="1411" y="263"/>
                  </a:lnTo>
                  <a:lnTo>
                    <a:pt x="1404" y="261"/>
                  </a:lnTo>
                  <a:lnTo>
                    <a:pt x="1401" y="256"/>
                  </a:lnTo>
                  <a:lnTo>
                    <a:pt x="1403" y="250"/>
                  </a:lnTo>
                  <a:lnTo>
                    <a:pt x="1403" y="247"/>
                  </a:lnTo>
                  <a:lnTo>
                    <a:pt x="1410" y="245"/>
                  </a:lnTo>
                  <a:lnTo>
                    <a:pt x="1413" y="245"/>
                  </a:lnTo>
                  <a:lnTo>
                    <a:pt x="1418" y="240"/>
                  </a:lnTo>
                  <a:lnTo>
                    <a:pt x="1418" y="236"/>
                  </a:lnTo>
                  <a:lnTo>
                    <a:pt x="1417" y="233"/>
                  </a:lnTo>
                  <a:lnTo>
                    <a:pt x="1413" y="233"/>
                  </a:lnTo>
                  <a:lnTo>
                    <a:pt x="1410" y="231"/>
                  </a:lnTo>
                  <a:lnTo>
                    <a:pt x="1403" y="231"/>
                  </a:lnTo>
                  <a:lnTo>
                    <a:pt x="1399" y="228"/>
                  </a:lnTo>
                  <a:lnTo>
                    <a:pt x="1404" y="224"/>
                  </a:lnTo>
                  <a:lnTo>
                    <a:pt x="1411" y="224"/>
                  </a:lnTo>
                  <a:lnTo>
                    <a:pt x="1418" y="228"/>
                  </a:lnTo>
                  <a:lnTo>
                    <a:pt x="1425" y="228"/>
                  </a:lnTo>
                  <a:lnTo>
                    <a:pt x="1437" y="228"/>
                  </a:lnTo>
                  <a:lnTo>
                    <a:pt x="1456" y="224"/>
                  </a:lnTo>
                  <a:lnTo>
                    <a:pt x="1460" y="223"/>
                  </a:lnTo>
                  <a:lnTo>
                    <a:pt x="1476" y="223"/>
                  </a:lnTo>
                  <a:lnTo>
                    <a:pt x="1481" y="223"/>
                  </a:lnTo>
                  <a:lnTo>
                    <a:pt x="1486" y="223"/>
                  </a:lnTo>
                  <a:lnTo>
                    <a:pt x="1495" y="223"/>
                  </a:lnTo>
                  <a:lnTo>
                    <a:pt x="1491" y="223"/>
                  </a:lnTo>
                  <a:lnTo>
                    <a:pt x="1479" y="228"/>
                  </a:lnTo>
                  <a:lnTo>
                    <a:pt x="1476" y="228"/>
                  </a:lnTo>
                  <a:lnTo>
                    <a:pt x="1472" y="228"/>
                  </a:lnTo>
                  <a:lnTo>
                    <a:pt x="1470" y="228"/>
                  </a:lnTo>
                  <a:lnTo>
                    <a:pt x="1469" y="233"/>
                  </a:lnTo>
                  <a:lnTo>
                    <a:pt x="1472" y="238"/>
                  </a:lnTo>
                  <a:lnTo>
                    <a:pt x="1469" y="238"/>
                  </a:lnTo>
                  <a:lnTo>
                    <a:pt x="1469" y="242"/>
                  </a:lnTo>
                  <a:lnTo>
                    <a:pt x="1472" y="243"/>
                  </a:lnTo>
                  <a:lnTo>
                    <a:pt x="1476" y="240"/>
                  </a:lnTo>
                  <a:lnTo>
                    <a:pt x="1476" y="236"/>
                  </a:lnTo>
                  <a:lnTo>
                    <a:pt x="1484" y="230"/>
                  </a:lnTo>
                  <a:lnTo>
                    <a:pt x="1498" y="224"/>
                  </a:lnTo>
                  <a:lnTo>
                    <a:pt x="1500" y="231"/>
                  </a:lnTo>
                  <a:lnTo>
                    <a:pt x="1500" y="240"/>
                  </a:lnTo>
                  <a:lnTo>
                    <a:pt x="1498" y="243"/>
                  </a:lnTo>
                  <a:lnTo>
                    <a:pt x="1495" y="236"/>
                  </a:lnTo>
                  <a:lnTo>
                    <a:pt x="1493" y="233"/>
                  </a:lnTo>
                  <a:lnTo>
                    <a:pt x="1493" y="230"/>
                  </a:lnTo>
                  <a:lnTo>
                    <a:pt x="1490" y="233"/>
                  </a:lnTo>
                  <a:lnTo>
                    <a:pt x="1486" y="231"/>
                  </a:lnTo>
                  <a:lnTo>
                    <a:pt x="1490" y="238"/>
                  </a:lnTo>
                  <a:lnTo>
                    <a:pt x="1493" y="240"/>
                  </a:lnTo>
                  <a:lnTo>
                    <a:pt x="1495" y="247"/>
                  </a:lnTo>
                  <a:lnTo>
                    <a:pt x="1491" y="250"/>
                  </a:lnTo>
                  <a:lnTo>
                    <a:pt x="1490" y="250"/>
                  </a:lnTo>
                  <a:lnTo>
                    <a:pt x="1486" y="252"/>
                  </a:lnTo>
                  <a:lnTo>
                    <a:pt x="1491" y="256"/>
                  </a:lnTo>
                  <a:lnTo>
                    <a:pt x="1490" y="259"/>
                  </a:lnTo>
                  <a:lnTo>
                    <a:pt x="1491" y="259"/>
                  </a:lnTo>
                  <a:lnTo>
                    <a:pt x="1495" y="259"/>
                  </a:lnTo>
                  <a:lnTo>
                    <a:pt x="1500" y="256"/>
                  </a:lnTo>
                  <a:lnTo>
                    <a:pt x="1500" y="250"/>
                  </a:lnTo>
                  <a:lnTo>
                    <a:pt x="1503" y="247"/>
                  </a:lnTo>
                  <a:lnTo>
                    <a:pt x="1500" y="243"/>
                  </a:lnTo>
                  <a:lnTo>
                    <a:pt x="1500" y="238"/>
                  </a:lnTo>
                  <a:lnTo>
                    <a:pt x="1500" y="223"/>
                  </a:lnTo>
                  <a:lnTo>
                    <a:pt x="1505" y="217"/>
                  </a:lnTo>
                  <a:lnTo>
                    <a:pt x="1516" y="216"/>
                  </a:lnTo>
                  <a:lnTo>
                    <a:pt x="1526" y="212"/>
                  </a:lnTo>
                  <a:lnTo>
                    <a:pt x="1535" y="214"/>
                  </a:lnTo>
                  <a:lnTo>
                    <a:pt x="1545" y="217"/>
                  </a:lnTo>
                  <a:lnTo>
                    <a:pt x="1550" y="224"/>
                  </a:lnTo>
                  <a:lnTo>
                    <a:pt x="1550" y="228"/>
                  </a:lnTo>
                  <a:lnTo>
                    <a:pt x="1549" y="231"/>
                  </a:lnTo>
                  <a:lnTo>
                    <a:pt x="1542" y="228"/>
                  </a:lnTo>
                  <a:lnTo>
                    <a:pt x="1542" y="228"/>
                  </a:lnTo>
                  <a:lnTo>
                    <a:pt x="1542" y="230"/>
                  </a:lnTo>
                  <a:lnTo>
                    <a:pt x="1542" y="233"/>
                  </a:lnTo>
                  <a:lnTo>
                    <a:pt x="1543" y="236"/>
                  </a:lnTo>
                  <a:lnTo>
                    <a:pt x="1540" y="240"/>
                  </a:lnTo>
                  <a:lnTo>
                    <a:pt x="1542" y="242"/>
                  </a:lnTo>
                  <a:lnTo>
                    <a:pt x="1545" y="238"/>
                  </a:lnTo>
                  <a:lnTo>
                    <a:pt x="1550" y="238"/>
                  </a:lnTo>
                  <a:lnTo>
                    <a:pt x="1554" y="235"/>
                  </a:lnTo>
                  <a:lnTo>
                    <a:pt x="1557" y="240"/>
                  </a:lnTo>
                  <a:lnTo>
                    <a:pt x="1557" y="243"/>
                  </a:lnTo>
                  <a:lnTo>
                    <a:pt x="1559" y="247"/>
                  </a:lnTo>
                  <a:lnTo>
                    <a:pt x="1561" y="250"/>
                  </a:lnTo>
                  <a:lnTo>
                    <a:pt x="1562" y="247"/>
                  </a:lnTo>
                  <a:lnTo>
                    <a:pt x="1562" y="243"/>
                  </a:lnTo>
                  <a:lnTo>
                    <a:pt x="1566" y="240"/>
                  </a:lnTo>
                  <a:lnTo>
                    <a:pt x="1571" y="242"/>
                  </a:lnTo>
                  <a:lnTo>
                    <a:pt x="1573" y="247"/>
                  </a:lnTo>
                  <a:lnTo>
                    <a:pt x="1571" y="247"/>
                  </a:lnTo>
                  <a:lnTo>
                    <a:pt x="1569" y="252"/>
                  </a:lnTo>
                  <a:lnTo>
                    <a:pt x="1571" y="256"/>
                  </a:lnTo>
                  <a:lnTo>
                    <a:pt x="1573" y="252"/>
                  </a:lnTo>
                  <a:lnTo>
                    <a:pt x="1573" y="250"/>
                  </a:lnTo>
                  <a:lnTo>
                    <a:pt x="1576" y="247"/>
                  </a:lnTo>
                  <a:lnTo>
                    <a:pt x="1576" y="250"/>
                  </a:lnTo>
                  <a:lnTo>
                    <a:pt x="1576" y="247"/>
                  </a:lnTo>
                  <a:lnTo>
                    <a:pt x="1580" y="240"/>
                  </a:lnTo>
                  <a:lnTo>
                    <a:pt x="1582" y="238"/>
                  </a:lnTo>
                  <a:lnTo>
                    <a:pt x="1585" y="240"/>
                  </a:lnTo>
                  <a:lnTo>
                    <a:pt x="1594" y="247"/>
                  </a:lnTo>
                  <a:lnTo>
                    <a:pt x="1602" y="247"/>
                  </a:lnTo>
                  <a:lnTo>
                    <a:pt x="1608" y="252"/>
                  </a:lnTo>
                  <a:lnTo>
                    <a:pt x="1608" y="256"/>
                  </a:lnTo>
                  <a:lnTo>
                    <a:pt x="1599" y="259"/>
                  </a:lnTo>
                  <a:lnTo>
                    <a:pt x="1596" y="264"/>
                  </a:lnTo>
                  <a:lnTo>
                    <a:pt x="1602" y="261"/>
                  </a:lnTo>
                  <a:lnTo>
                    <a:pt x="1608" y="259"/>
                  </a:lnTo>
                  <a:lnTo>
                    <a:pt x="1613" y="261"/>
                  </a:lnTo>
                  <a:lnTo>
                    <a:pt x="1620" y="259"/>
                  </a:lnTo>
                  <a:lnTo>
                    <a:pt x="1623" y="256"/>
                  </a:lnTo>
                  <a:lnTo>
                    <a:pt x="1627" y="256"/>
                  </a:lnTo>
                  <a:lnTo>
                    <a:pt x="1634" y="247"/>
                  </a:lnTo>
                  <a:lnTo>
                    <a:pt x="1637" y="247"/>
                  </a:lnTo>
                  <a:lnTo>
                    <a:pt x="1642" y="242"/>
                  </a:lnTo>
                  <a:lnTo>
                    <a:pt x="1648" y="242"/>
                  </a:lnTo>
                  <a:lnTo>
                    <a:pt x="1660" y="235"/>
                  </a:lnTo>
                  <a:lnTo>
                    <a:pt x="1667" y="231"/>
                  </a:lnTo>
                  <a:lnTo>
                    <a:pt x="1670" y="233"/>
                  </a:lnTo>
                  <a:lnTo>
                    <a:pt x="1670" y="231"/>
                  </a:lnTo>
                  <a:lnTo>
                    <a:pt x="1677" y="228"/>
                  </a:lnTo>
                  <a:lnTo>
                    <a:pt x="1681" y="224"/>
                  </a:lnTo>
                  <a:lnTo>
                    <a:pt x="1691" y="228"/>
                  </a:lnTo>
                  <a:lnTo>
                    <a:pt x="1707" y="231"/>
                  </a:lnTo>
                  <a:lnTo>
                    <a:pt x="1714" y="240"/>
                  </a:lnTo>
                  <a:lnTo>
                    <a:pt x="1722" y="243"/>
                  </a:lnTo>
                  <a:lnTo>
                    <a:pt x="1728" y="250"/>
                  </a:lnTo>
                  <a:lnTo>
                    <a:pt x="1731" y="256"/>
                  </a:lnTo>
                  <a:lnTo>
                    <a:pt x="1731" y="259"/>
                  </a:lnTo>
                  <a:lnTo>
                    <a:pt x="1735" y="261"/>
                  </a:lnTo>
                  <a:lnTo>
                    <a:pt x="1731" y="266"/>
                  </a:lnTo>
                  <a:lnTo>
                    <a:pt x="1736" y="273"/>
                  </a:lnTo>
                  <a:lnTo>
                    <a:pt x="1736" y="276"/>
                  </a:lnTo>
                  <a:lnTo>
                    <a:pt x="1735" y="278"/>
                  </a:lnTo>
                  <a:lnTo>
                    <a:pt x="1738" y="278"/>
                  </a:lnTo>
                  <a:lnTo>
                    <a:pt x="1741" y="275"/>
                  </a:lnTo>
                  <a:lnTo>
                    <a:pt x="1747" y="275"/>
                  </a:lnTo>
                  <a:lnTo>
                    <a:pt x="1748" y="276"/>
                  </a:lnTo>
                  <a:lnTo>
                    <a:pt x="1750" y="275"/>
                  </a:lnTo>
                  <a:lnTo>
                    <a:pt x="1754" y="273"/>
                  </a:lnTo>
                  <a:lnTo>
                    <a:pt x="1757" y="276"/>
                  </a:lnTo>
                  <a:lnTo>
                    <a:pt x="1759" y="278"/>
                  </a:lnTo>
                  <a:lnTo>
                    <a:pt x="1759" y="276"/>
                  </a:lnTo>
                  <a:lnTo>
                    <a:pt x="1757" y="271"/>
                  </a:lnTo>
                  <a:lnTo>
                    <a:pt x="1762" y="271"/>
                  </a:lnTo>
                  <a:lnTo>
                    <a:pt x="1764" y="275"/>
                  </a:lnTo>
                  <a:lnTo>
                    <a:pt x="1769" y="282"/>
                  </a:lnTo>
                  <a:lnTo>
                    <a:pt x="1771" y="287"/>
                  </a:lnTo>
                  <a:lnTo>
                    <a:pt x="1774" y="287"/>
                  </a:lnTo>
                  <a:lnTo>
                    <a:pt x="1780" y="292"/>
                  </a:lnTo>
                  <a:lnTo>
                    <a:pt x="1780" y="290"/>
                  </a:lnTo>
                  <a:lnTo>
                    <a:pt x="1776" y="287"/>
                  </a:lnTo>
                  <a:lnTo>
                    <a:pt x="1774" y="283"/>
                  </a:lnTo>
                  <a:lnTo>
                    <a:pt x="1773" y="282"/>
                  </a:lnTo>
                  <a:lnTo>
                    <a:pt x="1776" y="282"/>
                  </a:lnTo>
                  <a:lnTo>
                    <a:pt x="1780" y="282"/>
                  </a:lnTo>
                  <a:lnTo>
                    <a:pt x="1781" y="287"/>
                  </a:lnTo>
                  <a:lnTo>
                    <a:pt x="1787" y="292"/>
                  </a:lnTo>
                  <a:lnTo>
                    <a:pt x="1787" y="287"/>
                  </a:lnTo>
                  <a:lnTo>
                    <a:pt x="1781" y="278"/>
                  </a:lnTo>
                  <a:lnTo>
                    <a:pt x="1781" y="271"/>
                  </a:lnTo>
                  <a:lnTo>
                    <a:pt x="1781" y="264"/>
                  </a:lnTo>
                  <a:lnTo>
                    <a:pt x="1785" y="259"/>
                  </a:lnTo>
                  <a:lnTo>
                    <a:pt x="1790" y="259"/>
                  </a:lnTo>
                  <a:lnTo>
                    <a:pt x="1794" y="256"/>
                  </a:lnTo>
                  <a:lnTo>
                    <a:pt x="1801" y="252"/>
                  </a:lnTo>
                  <a:lnTo>
                    <a:pt x="1801" y="250"/>
                  </a:lnTo>
                  <a:lnTo>
                    <a:pt x="1801" y="250"/>
                  </a:lnTo>
                  <a:lnTo>
                    <a:pt x="1804" y="250"/>
                  </a:lnTo>
                  <a:lnTo>
                    <a:pt x="1807" y="252"/>
                  </a:lnTo>
                  <a:lnTo>
                    <a:pt x="1809" y="256"/>
                  </a:lnTo>
                  <a:lnTo>
                    <a:pt x="1816" y="252"/>
                  </a:lnTo>
                  <a:lnTo>
                    <a:pt x="1820" y="250"/>
                  </a:lnTo>
                  <a:lnTo>
                    <a:pt x="1821" y="250"/>
                  </a:lnTo>
                  <a:lnTo>
                    <a:pt x="1827" y="247"/>
                  </a:lnTo>
                  <a:lnTo>
                    <a:pt x="1835" y="247"/>
                  </a:lnTo>
                  <a:lnTo>
                    <a:pt x="1839" y="247"/>
                  </a:lnTo>
                  <a:lnTo>
                    <a:pt x="1839" y="247"/>
                  </a:lnTo>
                  <a:lnTo>
                    <a:pt x="1839" y="247"/>
                  </a:lnTo>
                  <a:lnTo>
                    <a:pt x="1842" y="250"/>
                  </a:lnTo>
                  <a:lnTo>
                    <a:pt x="1844" y="247"/>
                  </a:lnTo>
                  <a:lnTo>
                    <a:pt x="1847" y="242"/>
                  </a:lnTo>
                  <a:lnTo>
                    <a:pt x="1847" y="238"/>
                  </a:lnTo>
                  <a:lnTo>
                    <a:pt x="1847" y="235"/>
                  </a:lnTo>
                  <a:lnTo>
                    <a:pt x="1847" y="230"/>
                  </a:lnTo>
                  <a:lnTo>
                    <a:pt x="1849" y="228"/>
                  </a:lnTo>
                  <a:lnTo>
                    <a:pt x="1854" y="230"/>
                  </a:lnTo>
                  <a:lnTo>
                    <a:pt x="1858" y="233"/>
                  </a:lnTo>
                  <a:lnTo>
                    <a:pt x="1858" y="236"/>
                  </a:lnTo>
                  <a:lnTo>
                    <a:pt x="1861" y="236"/>
                  </a:lnTo>
                  <a:lnTo>
                    <a:pt x="1865" y="238"/>
                  </a:lnTo>
                  <a:lnTo>
                    <a:pt x="1865" y="243"/>
                  </a:lnTo>
                  <a:lnTo>
                    <a:pt x="1870" y="247"/>
                  </a:lnTo>
                  <a:lnTo>
                    <a:pt x="1872" y="250"/>
                  </a:lnTo>
                  <a:lnTo>
                    <a:pt x="1877" y="250"/>
                  </a:lnTo>
                  <a:lnTo>
                    <a:pt x="1886" y="250"/>
                  </a:lnTo>
                  <a:lnTo>
                    <a:pt x="1886" y="250"/>
                  </a:lnTo>
                  <a:lnTo>
                    <a:pt x="1889" y="250"/>
                  </a:lnTo>
                  <a:lnTo>
                    <a:pt x="1894" y="259"/>
                  </a:lnTo>
                  <a:lnTo>
                    <a:pt x="1894" y="263"/>
                  </a:lnTo>
                  <a:lnTo>
                    <a:pt x="1896" y="264"/>
                  </a:lnTo>
                  <a:lnTo>
                    <a:pt x="1903" y="264"/>
                  </a:lnTo>
                  <a:lnTo>
                    <a:pt x="1905" y="263"/>
                  </a:lnTo>
                  <a:lnTo>
                    <a:pt x="1908" y="263"/>
                  </a:lnTo>
                  <a:lnTo>
                    <a:pt x="1908" y="259"/>
                  </a:lnTo>
                  <a:lnTo>
                    <a:pt x="1912" y="259"/>
                  </a:lnTo>
                  <a:lnTo>
                    <a:pt x="1915" y="259"/>
                  </a:lnTo>
                  <a:lnTo>
                    <a:pt x="1915" y="256"/>
                  </a:lnTo>
                  <a:lnTo>
                    <a:pt x="1913" y="252"/>
                  </a:lnTo>
                  <a:lnTo>
                    <a:pt x="1915" y="250"/>
                  </a:lnTo>
                  <a:lnTo>
                    <a:pt x="1913" y="250"/>
                  </a:lnTo>
                  <a:lnTo>
                    <a:pt x="1915" y="247"/>
                  </a:lnTo>
                  <a:lnTo>
                    <a:pt x="1912" y="243"/>
                  </a:lnTo>
                  <a:lnTo>
                    <a:pt x="1907" y="242"/>
                  </a:lnTo>
                  <a:lnTo>
                    <a:pt x="1907" y="236"/>
                  </a:lnTo>
                  <a:lnTo>
                    <a:pt x="1900" y="230"/>
                  </a:lnTo>
                  <a:lnTo>
                    <a:pt x="1896" y="230"/>
                  </a:lnTo>
                  <a:lnTo>
                    <a:pt x="1896" y="228"/>
                  </a:lnTo>
                  <a:lnTo>
                    <a:pt x="1889" y="223"/>
                  </a:lnTo>
                  <a:lnTo>
                    <a:pt x="1886" y="228"/>
                  </a:lnTo>
                  <a:lnTo>
                    <a:pt x="1886" y="228"/>
                  </a:lnTo>
                  <a:lnTo>
                    <a:pt x="1886" y="223"/>
                  </a:lnTo>
                  <a:lnTo>
                    <a:pt x="1886" y="219"/>
                  </a:lnTo>
                  <a:lnTo>
                    <a:pt x="1884" y="216"/>
                  </a:lnTo>
                  <a:lnTo>
                    <a:pt x="1880" y="212"/>
                  </a:lnTo>
                  <a:lnTo>
                    <a:pt x="1880" y="210"/>
                  </a:lnTo>
                  <a:lnTo>
                    <a:pt x="1879" y="203"/>
                  </a:lnTo>
                  <a:lnTo>
                    <a:pt x="1874" y="200"/>
                  </a:lnTo>
                  <a:lnTo>
                    <a:pt x="1874" y="200"/>
                  </a:lnTo>
                  <a:lnTo>
                    <a:pt x="1880" y="200"/>
                  </a:lnTo>
                  <a:lnTo>
                    <a:pt x="1884" y="200"/>
                  </a:lnTo>
                  <a:lnTo>
                    <a:pt x="1893" y="200"/>
                  </a:lnTo>
                  <a:lnTo>
                    <a:pt x="1901" y="200"/>
                  </a:lnTo>
                  <a:lnTo>
                    <a:pt x="1901" y="197"/>
                  </a:lnTo>
                  <a:lnTo>
                    <a:pt x="1905" y="197"/>
                  </a:lnTo>
                  <a:lnTo>
                    <a:pt x="1908" y="200"/>
                  </a:lnTo>
                  <a:lnTo>
                    <a:pt x="1912" y="197"/>
                  </a:lnTo>
                  <a:lnTo>
                    <a:pt x="1913" y="197"/>
                  </a:lnTo>
                  <a:lnTo>
                    <a:pt x="1913" y="195"/>
                  </a:lnTo>
                  <a:lnTo>
                    <a:pt x="1919" y="195"/>
                  </a:lnTo>
                  <a:lnTo>
                    <a:pt x="1920" y="197"/>
                  </a:lnTo>
                  <a:lnTo>
                    <a:pt x="1922" y="197"/>
                  </a:lnTo>
                  <a:lnTo>
                    <a:pt x="1924" y="191"/>
                  </a:lnTo>
                  <a:lnTo>
                    <a:pt x="1927" y="191"/>
                  </a:lnTo>
                  <a:lnTo>
                    <a:pt x="1927" y="190"/>
                  </a:lnTo>
                  <a:lnTo>
                    <a:pt x="1940" y="186"/>
                  </a:lnTo>
                  <a:lnTo>
                    <a:pt x="1943" y="190"/>
                  </a:lnTo>
                  <a:lnTo>
                    <a:pt x="1943" y="186"/>
                  </a:lnTo>
                  <a:lnTo>
                    <a:pt x="1945" y="184"/>
                  </a:lnTo>
                  <a:lnTo>
                    <a:pt x="1946" y="184"/>
                  </a:lnTo>
                  <a:lnTo>
                    <a:pt x="1952" y="184"/>
                  </a:lnTo>
                  <a:lnTo>
                    <a:pt x="1953" y="184"/>
                  </a:lnTo>
                  <a:lnTo>
                    <a:pt x="1957" y="186"/>
                  </a:lnTo>
                  <a:lnTo>
                    <a:pt x="1962" y="186"/>
                  </a:lnTo>
                  <a:lnTo>
                    <a:pt x="1966" y="184"/>
                  </a:lnTo>
                  <a:lnTo>
                    <a:pt x="1967" y="188"/>
                  </a:lnTo>
                  <a:lnTo>
                    <a:pt x="1971" y="188"/>
                  </a:lnTo>
                  <a:lnTo>
                    <a:pt x="1973" y="186"/>
                  </a:lnTo>
                  <a:lnTo>
                    <a:pt x="1978" y="184"/>
                  </a:lnTo>
                  <a:lnTo>
                    <a:pt x="1990" y="190"/>
                  </a:lnTo>
                  <a:lnTo>
                    <a:pt x="1993" y="191"/>
                  </a:lnTo>
                  <a:lnTo>
                    <a:pt x="1995" y="190"/>
                  </a:lnTo>
                  <a:lnTo>
                    <a:pt x="1993" y="190"/>
                  </a:lnTo>
                  <a:lnTo>
                    <a:pt x="1997" y="188"/>
                  </a:lnTo>
                  <a:lnTo>
                    <a:pt x="2000" y="190"/>
                  </a:lnTo>
                  <a:lnTo>
                    <a:pt x="1999" y="191"/>
                  </a:lnTo>
                  <a:lnTo>
                    <a:pt x="2000" y="191"/>
                  </a:lnTo>
                  <a:lnTo>
                    <a:pt x="2004" y="191"/>
                  </a:lnTo>
                  <a:lnTo>
                    <a:pt x="2016" y="191"/>
                  </a:lnTo>
                  <a:lnTo>
                    <a:pt x="2026" y="200"/>
                  </a:lnTo>
                  <a:lnTo>
                    <a:pt x="2026" y="200"/>
                  </a:lnTo>
                  <a:lnTo>
                    <a:pt x="2023" y="200"/>
                  </a:lnTo>
                  <a:lnTo>
                    <a:pt x="2016" y="197"/>
                  </a:lnTo>
                  <a:lnTo>
                    <a:pt x="2016" y="200"/>
                  </a:lnTo>
                  <a:lnTo>
                    <a:pt x="2026" y="202"/>
                  </a:lnTo>
                  <a:lnTo>
                    <a:pt x="2032" y="202"/>
                  </a:lnTo>
                  <a:lnTo>
                    <a:pt x="2033" y="200"/>
                  </a:lnTo>
                  <a:lnTo>
                    <a:pt x="2039" y="200"/>
                  </a:lnTo>
                  <a:lnTo>
                    <a:pt x="2044" y="200"/>
                  </a:lnTo>
                  <a:lnTo>
                    <a:pt x="2040" y="197"/>
                  </a:lnTo>
                  <a:lnTo>
                    <a:pt x="2044" y="197"/>
                  </a:lnTo>
                  <a:lnTo>
                    <a:pt x="2046" y="197"/>
                  </a:lnTo>
                  <a:lnTo>
                    <a:pt x="2049" y="200"/>
                  </a:lnTo>
                  <a:lnTo>
                    <a:pt x="2051" y="200"/>
                  </a:lnTo>
                  <a:lnTo>
                    <a:pt x="2052" y="200"/>
                  </a:lnTo>
                  <a:lnTo>
                    <a:pt x="2052" y="197"/>
                  </a:lnTo>
                  <a:lnTo>
                    <a:pt x="2058" y="200"/>
                  </a:lnTo>
                  <a:lnTo>
                    <a:pt x="2058" y="200"/>
                  </a:lnTo>
                  <a:lnTo>
                    <a:pt x="2063" y="202"/>
                  </a:lnTo>
                  <a:lnTo>
                    <a:pt x="2066" y="200"/>
                  </a:lnTo>
                  <a:lnTo>
                    <a:pt x="2082" y="203"/>
                  </a:lnTo>
                  <a:lnTo>
                    <a:pt x="2080" y="200"/>
                  </a:lnTo>
                  <a:lnTo>
                    <a:pt x="2085" y="200"/>
                  </a:lnTo>
                  <a:lnTo>
                    <a:pt x="2085" y="203"/>
                  </a:lnTo>
                  <a:lnTo>
                    <a:pt x="2089" y="205"/>
                  </a:lnTo>
                  <a:lnTo>
                    <a:pt x="2089" y="202"/>
                  </a:lnTo>
                  <a:lnTo>
                    <a:pt x="2089" y="200"/>
                  </a:lnTo>
                  <a:lnTo>
                    <a:pt x="2094" y="202"/>
                  </a:lnTo>
                  <a:lnTo>
                    <a:pt x="2094" y="203"/>
                  </a:lnTo>
                  <a:lnTo>
                    <a:pt x="2098" y="207"/>
                  </a:lnTo>
                  <a:lnTo>
                    <a:pt x="2101" y="205"/>
                  </a:lnTo>
                  <a:lnTo>
                    <a:pt x="2101" y="203"/>
                  </a:lnTo>
                  <a:lnTo>
                    <a:pt x="2099" y="203"/>
                  </a:lnTo>
                  <a:lnTo>
                    <a:pt x="2105" y="203"/>
                  </a:lnTo>
                  <a:lnTo>
                    <a:pt x="2108" y="203"/>
                  </a:lnTo>
                  <a:lnTo>
                    <a:pt x="2106" y="207"/>
                  </a:lnTo>
                  <a:lnTo>
                    <a:pt x="2108" y="210"/>
                  </a:lnTo>
                  <a:lnTo>
                    <a:pt x="2117" y="212"/>
                  </a:lnTo>
                  <a:lnTo>
                    <a:pt x="2120" y="210"/>
                  </a:lnTo>
                  <a:lnTo>
                    <a:pt x="2113" y="209"/>
                  </a:lnTo>
                  <a:lnTo>
                    <a:pt x="2112" y="207"/>
                  </a:lnTo>
                  <a:lnTo>
                    <a:pt x="2108" y="203"/>
                  </a:lnTo>
                  <a:lnTo>
                    <a:pt x="2113" y="203"/>
                  </a:lnTo>
                  <a:lnTo>
                    <a:pt x="2117" y="203"/>
                  </a:lnTo>
                  <a:lnTo>
                    <a:pt x="2124" y="207"/>
                  </a:lnTo>
                  <a:lnTo>
                    <a:pt x="2125" y="212"/>
                  </a:lnTo>
                  <a:lnTo>
                    <a:pt x="2127" y="212"/>
                  </a:lnTo>
                  <a:lnTo>
                    <a:pt x="2127" y="210"/>
                  </a:lnTo>
                  <a:lnTo>
                    <a:pt x="2127" y="209"/>
                  </a:lnTo>
                  <a:lnTo>
                    <a:pt x="2131" y="209"/>
                  </a:lnTo>
                  <a:lnTo>
                    <a:pt x="2132" y="210"/>
                  </a:lnTo>
                  <a:lnTo>
                    <a:pt x="2132" y="212"/>
                  </a:lnTo>
                  <a:lnTo>
                    <a:pt x="2136" y="217"/>
                  </a:lnTo>
                  <a:lnTo>
                    <a:pt x="2139" y="228"/>
                  </a:lnTo>
                  <a:lnTo>
                    <a:pt x="2148" y="228"/>
                  </a:lnTo>
                  <a:lnTo>
                    <a:pt x="2148" y="231"/>
                  </a:lnTo>
                  <a:lnTo>
                    <a:pt x="2150" y="235"/>
                  </a:lnTo>
                  <a:lnTo>
                    <a:pt x="2152" y="238"/>
                  </a:lnTo>
                  <a:lnTo>
                    <a:pt x="2150" y="240"/>
                  </a:lnTo>
                  <a:lnTo>
                    <a:pt x="2152" y="243"/>
                  </a:lnTo>
                  <a:lnTo>
                    <a:pt x="2155" y="245"/>
                  </a:lnTo>
                  <a:lnTo>
                    <a:pt x="2158" y="242"/>
                  </a:lnTo>
                  <a:lnTo>
                    <a:pt x="2162" y="243"/>
                  </a:lnTo>
                  <a:lnTo>
                    <a:pt x="2165" y="247"/>
                  </a:lnTo>
                  <a:lnTo>
                    <a:pt x="2167" y="247"/>
                  </a:lnTo>
                  <a:lnTo>
                    <a:pt x="2167" y="247"/>
                  </a:lnTo>
                  <a:lnTo>
                    <a:pt x="2167" y="247"/>
                  </a:lnTo>
                  <a:lnTo>
                    <a:pt x="2167" y="243"/>
                  </a:lnTo>
                  <a:lnTo>
                    <a:pt x="2167" y="240"/>
                  </a:lnTo>
                  <a:lnTo>
                    <a:pt x="2171" y="242"/>
                  </a:lnTo>
                  <a:lnTo>
                    <a:pt x="2172" y="245"/>
                  </a:lnTo>
                  <a:lnTo>
                    <a:pt x="2174" y="247"/>
                  </a:lnTo>
                  <a:lnTo>
                    <a:pt x="2174" y="247"/>
                  </a:lnTo>
                  <a:lnTo>
                    <a:pt x="2172" y="242"/>
                  </a:lnTo>
                  <a:lnTo>
                    <a:pt x="2172" y="238"/>
                  </a:lnTo>
                  <a:lnTo>
                    <a:pt x="2171" y="235"/>
                  </a:lnTo>
                  <a:lnTo>
                    <a:pt x="2167" y="238"/>
                  </a:lnTo>
                  <a:lnTo>
                    <a:pt x="2162" y="238"/>
                  </a:lnTo>
                  <a:lnTo>
                    <a:pt x="2160" y="235"/>
                  </a:lnTo>
                  <a:lnTo>
                    <a:pt x="2162" y="233"/>
                  </a:lnTo>
                  <a:lnTo>
                    <a:pt x="2162" y="228"/>
                  </a:lnTo>
                  <a:lnTo>
                    <a:pt x="2155" y="224"/>
                  </a:lnTo>
                  <a:lnTo>
                    <a:pt x="2153" y="223"/>
                  </a:lnTo>
                  <a:lnTo>
                    <a:pt x="2152" y="219"/>
                  </a:lnTo>
                  <a:lnTo>
                    <a:pt x="2148" y="219"/>
                  </a:lnTo>
                  <a:lnTo>
                    <a:pt x="2143" y="223"/>
                  </a:lnTo>
                  <a:lnTo>
                    <a:pt x="2143" y="219"/>
                  </a:lnTo>
                  <a:lnTo>
                    <a:pt x="2148" y="217"/>
                  </a:lnTo>
                  <a:lnTo>
                    <a:pt x="2150" y="212"/>
                  </a:lnTo>
                  <a:lnTo>
                    <a:pt x="2155" y="205"/>
                  </a:lnTo>
                  <a:lnTo>
                    <a:pt x="2157" y="205"/>
                  </a:lnTo>
                  <a:lnTo>
                    <a:pt x="2157" y="207"/>
                  </a:lnTo>
                  <a:lnTo>
                    <a:pt x="2158" y="214"/>
                  </a:lnTo>
                  <a:lnTo>
                    <a:pt x="2162" y="216"/>
                  </a:lnTo>
                  <a:lnTo>
                    <a:pt x="2162" y="214"/>
                  </a:lnTo>
                  <a:lnTo>
                    <a:pt x="2160" y="210"/>
                  </a:lnTo>
                  <a:lnTo>
                    <a:pt x="2158" y="207"/>
                  </a:lnTo>
                  <a:lnTo>
                    <a:pt x="2160" y="207"/>
                  </a:lnTo>
                  <a:lnTo>
                    <a:pt x="2165" y="205"/>
                  </a:lnTo>
                  <a:lnTo>
                    <a:pt x="2167" y="202"/>
                  </a:lnTo>
                  <a:lnTo>
                    <a:pt x="2162" y="202"/>
                  </a:lnTo>
                  <a:lnTo>
                    <a:pt x="2162" y="200"/>
                  </a:lnTo>
                  <a:lnTo>
                    <a:pt x="2165" y="200"/>
                  </a:lnTo>
                  <a:lnTo>
                    <a:pt x="2167" y="200"/>
                  </a:lnTo>
                  <a:lnTo>
                    <a:pt x="2171" y="195"/>
                  </a:lnTo>
                  <a:lnTo>
                    <a:pt x="2174" y="195"/>
                  </a:lnTo>
                  <a:lnTo>
                    <a:pt x="2176" y="197"/>
                  </a:lnTo>
                  <a:lnTo>
                    <a:pt x="2178" y="197"/>
                  </a:lnTo>
                  <a:lnTo>
                    <a:pt x="2179" y="197"/>
                  </a:lnTo>
                  <a:lnTo>
                    <a:pt x="2181" y="200"/>
                  </a:lnTo>
                  <a:lnTo>
                    <a:pt x="2185" y="200"/>
                  </a:lnTo>
                  <a:lnTo>
                    <a:pt x="2190" y="202"/>
                  </a:lnTo>
                  <a:lnTo>
                    <a:pt x="2190" y="200"/>
                  </a:lnTo>
                  <a:lnTo>
                    <a:pt x="2202" y="202"/>
                  </a:lnTo>
                  <a:lnTo>
                    <a:pt x="2202" y="207"/>
                  </a:lnTo>
                  <a:lnTo>
                    <a:pt x="2202" y="209"/>
                  </a:lnTo>
                  <a:lnTo>
                    <a:pt x="2204" y="207"/>
                  </a:lnTo>
                  <a:lnTo>
                    <a:pt x="2204" y="205"/>
                  </a:lnTo>
                  <a:lnTo>
                    <a:pt x="2207" y="205"/>
                  </a:lnTo>
                  <a:lnTo>
                    <a:pt x="2207" y="209"/>
                  </a:lnTo>
                  <a:lnTo>
                    <a:pt x="2211" y="207"/>
                  </a:lnTo>
                  <a:lnTo>
                    <a:pt x="2212" y="203"/>
                  </a:lnTo>
                  <a:lnTo>
                    <a:pt x="2216" y="203"/>
                  </a:lnTo>
                  <a:lnTo>
                    <a:pt x="2216" y="207"/>
                  </a:lnTo>
                  <a:lnTo>
                    <a:pt x="2212" y="210"/>
                  </a:lnTo>
                  <a:lnTo>
                    <a:pt x="2212" y="212"/>
                  </a:lnTo>
                  <a:lnTo>
                    <a:pt x="2216" y="219"/>
                  </a:lnTo>
                  <a:lnTo>
                    <a:pt x="2216" y="224"/>
                  </a:lnTo>
                  <a:lnTo>
                    <a:pt x="2216" y="228"/>
                  </a:lnTo>
                  <a:lnTo>
                    <a:pt x="2218" y="228"/>
                  </a:lnTo>
                  <a:lnTo>
                    <a:pt x="2221" y="230"/>
                  </a:lnTo>
                  <a:lnTo>
                    <a:pt x="2225" y="231"/>
                  </a:lnTo>
                  <a:lnTo>
                    <a:pt x="2226" y="235"/>
                  </a:lnTo>
                  <a:lnTo>
                    <a:pt x="2225" y="238"/>
                  </a:lnTo>
                  <a:lnTo>
                    <a:pt x="2218" y="238"/>
                  </a:lnTo>
                  <a:lnTo>
                    <a:pt x="2212" y="238"/>
                  </a:lnTo>
                  <a:lnTo>
                    <a:pt x="2221" y="240"/>
                  </a:lnTo>
                  <a:lnTo>
                    <a:pt x="2225" y="243"/>
                  </a:lnTo>
                  <a:lnTo>
                    <a:pt x="2221" y="247"/>
                  </a:lnTo>
                  <a:lnTo>
                    <a:pt x="2218" y="247"/>
                  </a:lnTo>
                  <a:lnTo>
                    <a:pt x="2216" y="252"/>
                  </a:lnTo>
                  <a:lnTo>
                    <a:pt x="2212" y="250"/>
                  </a:lnTo>
                  <a:lnTo>
                    <a:pt x="2209" y="256"/>
                  </a:lnTo>
                  <a:lnTo>
                    <a:pt x="2205" y="256"/>
                  </a:lnTo>
                  <a:lnTo>
                    <a:pt x="2202" y="259"/>
                  </a:lnTo>
                  <a:lnTo>
                    <a:pt x="2205" y="256"/>
                  </a:lnTo>
                  <a:lnTo>
                    <a:pt x="2209" y="259"/>
                  </a:lnTo>
                  <a:lnTo>
                    <a:pt x="2211" y="261"/>
                  </a:lnTo>
                  <a:lnTo>
                    <a:pt x="2212" y="259"/>
                  </a:lnTo>
                  <a:lnTo>
                    <a:pt x="2216" y="259"/>
                  </a:lnTo>
                  <a:lnTo>
                    <a:pt x="2216" y="261"/>
                  </a:lnTo>
                  <a:lnTo>
                    <a:pt x="2218" y="266"/>
                  </a:lnTo>
                  <a:lnTo>
                    <a:pt x="2216" y="268"/>
                  </a:lnTo>
                  <a:lnTo>
                    <a:pt x="2216" y="273"/>
                  </a:lnTo>
                  <a:lnTo>
                    <a:pt x="2218" y="268"/>
                  </a:lnTo>
                  <a:lnTo>
                    <a:pt x="2225" y="268"/>
                  </a:lnTo>
                  <a:lnTo>
                    <a:pt x="2228" y="271"/>
                  </a:lnTo>
                  <a:lnTo>
                    <a:pt x="2226" y="275"/>
                  </a:lnTo>
                  <a:lnTo>
                    <a:pt x="2230" y="278"/>
                  </a:lnTo>
                  <a:lnTo>
                    <a:pt x="2225" y="282"/>
                  </a:lnTo>
                  <a:lnTo>
                    <a:pt x="2228" y="282"/>
                  </a:lnTo>
                  <a:lnTo>
                    <a:pt x="2228" y="287"/>
                  </a:lnTo>
                  <a:lnTo>
                    <a:pt x="2225" y="289"/>
                  </a:lnTo>
                  <a:lnTo>
                    <a:pt x="2225" y="292"/>
                  </a:lnTo>
                  <a:lnTo>
                    <a:pt x="2226" y="294"/>
                  </a:lnTo>
                  <a:lnTo>
                    <a:pt x="2226" y="290"/>
                  </a:lnTo>
                  <a:lnTo>
                    <a:pt x="2230" y="290"/>
                  </a:lnTo>
                  <a:lnTo>
                    <a:pt x="2231" y="292"/>
                  </a:lnTo>
                  <a:lnTo>
                    <a:pt x="2230" y="297"/>
                  </a:lnTo>
                  <a:lnTo>
                    <a:pt x="2235" y="296"/>
                  </a:lnTo>
                  <a:lnTo>
                    <a:pt x="2237" y="299"/>
                  </a:lnTo>
                  <a:lnTo>
                    <a:pt x="2237" y="296"/>
                  </a:lnTo>
                  <a:lnTo>
                    <a:pt x="2238" y="294"/>
                  </a:lnTo>
                  <a:lnTo>
                    <a:pt x="2240" y="296"/>
                  </a:lnTo>
                  <a:lnTo>
                    <a:pt x="2244" y="296"/>
                  </a:lnTo>
                  <a:lnTo>
                    <a:pt x="2244" y="301"/>
                  </a:lnTo>
                  <a:lnTo>
                    <a:pt x="2240" y="303"/>
                  </a:lnTo>
                  <a:lnTo>
                    <a:pt x="2238" y="299"/>
                  </a:lnTo>
                  <a:lnTo>
                    <a:pt x="2237" y="303"/>
                  </a:lnTo>
                  <a:lnTo>
                    <a:pt x="2240" y="306"/>
                  </a:lnTo>
                  <a:lnTo>
                    <a:pt x="2244" y="304"/>
                  </a:lnTo>
                  <a:lnTo>
                    <a:pt x="2244" y="310"/>
                  </a:lnTo>
                  <a:lnTo>
                    <a:pt x="2244" y="311"/>
                  </a:lnTo>
                  <a:lnTo>
                    <a:pt x="2240" y="313"/>
                  </a:lnTo>
                  <a:lnTo>
                    <a:pt x="2237" y="310"/>
                  </a:lnTo>
                  <a:lnTo>
                    <a:pt x="2235" y="306"/>
                  </a:lnTo>
                  <a:lnTo>
                    <a:pt x="2237" y="313"/>
                  </a:lnTo>
                  <a:lnTo>
                    <a:pt x="2235" y="315"/>
                  </a:lnTo>
                  <a:lnTo>
                    <a:pt x="2233" y="315"/>
                  </a:lnTo>
                  <a:lnTo>
                    <a:pt x="2231" y="313"/>
                  </a:lnTo>
                  <a:lnTo>
                    <a:pt x="2230" y="315"/>
                  </a:lnTo>
                  <a:lnTo>
                    <a:pt x="2226" y="313"/>
                  </a:lnTo>
                  <a:lnTo>
                    <a:pt x="2218" y="311"/>
                  </a:lnTo>
                  <a:lnTo>
                    <a:pt x="2216" y="313"/>
                  </a:lnTo>
                  <a:lnTo>
                    <a:pt x="2212" y="313"/>
                  </a:lnTo>
                  <a:lnTo>
                    <a:pt x="2212" y="311"/>
                  </a:lnTo>
                  <a:lnTo>
                    <a:pt x="2212" y="310"/>
                  </a:lnTo>
                  <a:lnTo>
                    <a:pt x="2211" y="310"/>
                  </a:lnTo>
                  <a:lnTo>
                    <a:pt x="2211" y="313"/>
                  </a:lnTo>
                  <a:lnTo>
                    <a:pt x="2209" y="313"/>
                  </a:lnTo>
                  <a:lnTo>
                    <a:pt x="2209" y="313"/>
                  </a:lnTo>
                  <a:lnTo>
                    <a:pt x="2211" y="316"/>
                  </a:lnTo>
                  <a:lnTo>
                    <a:pt x="2207" y="320"/>
                  </a:lnTo>
                  <a:lnTo>
                    <a:pt x="2205" y="320"/>
                  </a:lnTo>
                  <a:lnTo>
                    <a:pt x="2205" y="318"/>
                  </a:lnTo>
                  <a:lnTo>
                    <a:pt x="2204" y="318"/>
                  </a:lnTo>
                  <a:lnTo>
                    <a:pt x="2197" y="320"/>
                  </a:lnTo>
                  <a:lnTo>
                    <a:pt x="2195" y="318"/>
                  </a:lnTo>
                  <a:lnTo>
                    <a:pt x="2195" y="316"/>
                  </a:lnTo>
                  <a:lnTo>
                    <a:pt x="2193" y="311"/>
                  </a:lnTo>
                  <a:lnTo>
                    <a:pt x="2193" y="311"/>
                  </a:lnTo>
                  <a:lnTo>
                    <a:pt x="2185" y="306"/>
                  </a:lnTo>
                  <a:lnTo>
                    <a:pt x="2185" y="304"/>
                  </a:lnTo>
                  <a:lnTo>
                    <a:pt x="2185" y="303"/>
                  </a:lnTo>
                  <a:lnTo>
                    <a:pt x="2179" y="301"/>
                  </a:lnTo>
                  <a:lnTo>
                    <a:pt x="2178" y="304"/>
                  </a:lnTo>
                  <a:lnTo>
                    <a:pt x="2172" y="306"/>
                  </a:lnTo>
                  <a:lnTo>
                    <a:pt x="2171" y="310"/>
                  </a:lnTo>
                  <a:lnTo>
                    <a:pt x="2167" y="310"/>
                  </a:lnTo>
                  <a:lnTo>
                    <a:pt x="2167" y="306"/>
                  </a:lnTo>
                  <a:lnTo>
                    <a:pt x="2165" y="303"/>
                  </a:lnTo>
                  <a:lnTo>
                    <a:pt x="2167" y="306"/>
                  </a:lnTo>
                  <a:lnTo>
                    <a:pt x="2167" y="311"/>
                  </a:lnTo>
                  <a:lnTo>
                    <a:pt x="2167" y="315"/>
                  </a:lnTo>
                  <a:lnTo>
                    <a:pt x="2167" y="320"/>
                  </a:lnTo>
                  <a:lnTo>
                    <a:pt x="2160" y="329"/>
                  </a:lnTo>
                  <a:lnTo>
                    <a:pt x="2157" y="329"/>
                  </a:lnTo>
                  <a:lnTo>
                    <a:pt x="2157" y="322"/>
                  </a:lnTo>
                  <a:lnTo>
                    <a:pt x="2153" y="320"/>
                  </a:lnTo>
                  <a:lnTo>
                    <a:pt x="2150" y="323"/>
                  </a:lnTo>
                  <a:lnTo>
                    <a:pt x="2143" y="316"/>
                  </a:lnTo>
                  <a:lnTo>
                    <a:pt x="2143" y="313"/>
                  </a:lnTo>
                  <a:lnTo>
                    <a:pt x="2139" y="306"/>
                  </a:lnTo>
                  <a:lnTo>
                    <a:pt x="2138" y="304"/>
                  </a:lnTo>
                  <a:lnTo>
                    <a:pt x="2136" y="303"/>
                  </a:lnTo>
                  <a:lnTo>
                    <a:pt x="2134" y="301"/>
                  </a:lnTo>
                  <a:lnTo>
                    <a:pt x="2132" y="303"/>
                  </a:lnTo>
                  <a:lnTo>
                    <a:pt x="2134" y="304"/>
                  </a:lnTo>
                  <a:lnTo>
                    <a:pt x="2134" y="306"/>
                  </a:lnTo>
                  <a:lnTo>
                    <a:pt x="2136" y="310"/>
                  </a:lnTo>
                  <a:lnTo>
                    <a:pt x="2136" y="311"/>
                  </a:lnTo>
                  <a:lnTo>
                    <a:pt x="2129" y="310"/>
                  </a:lnTo>
                  <a:lnTo>
                    <a:pt x="2125" y="304"/>
                  </a:lnTo>
                  <a:lnTo>
                    <a:pt x="2124" y="304"/>
                  </a:lnTo>
                  <a:lnTo>
                    <a:pt x="2127" y="310"/>
                  </a:lnTo>
                  <a:lnTo>
                    <a:pt x="2124" y="310"/>
                  </a:lnTo>
                  <a:lnTo>
                    <a:pt x="2125" y="311"/>
                  </a:lnTo>
                  <a:lnTo>
                    <a:pt x="2131" y="311"/>
                  </a:lnTo>
                  <a:lnTo>
                    <a:pt x="2132" y="315"/>
                  </a:lnTo>
                  <a:lnTo>
                    <a:pt x="2131" y="318"/>
                  </a:lnTo>
                  <a:lnTo>
                    <a:pt x="2125" y="318"/>
                  </a:lnTo>
                  <a:lnTo>
                    <a:pt x="2125" y="320"/>
                  </a:lnTo>
                  <a:lnTo>
                    <a:pt x="2127" y="322"/>
                  </a:lnTo>
                  <a:lnTo>
                    <a:pt x="2138" y="334"/>
                  </a:lnTo>
                  <a:lnTo>
                    <a:pt x="2143" y="334"/>
                  </a:lnTo>
                  <a:lnTo>
                    <a:pt x="2148" y="334"/>
                  </a:lnTo>
                  <a:lnTo>
                    <a:pt x="2152" y="337"/>
                  </a:lnTo>
                  <a:lnTo>
                    <a:pt x="2153" y="339"/>
                  </a:lnTo>
                  <a:lnTo>
                    <a:pt x="2153" y="339"/>
                  </a:lnTo>
                  <a:lnTo>
                    <a:pt x="2150" y="337"/>
                  </a:lnTo>
                  <a:lnTo>
                    <a:pt x="2148" y="337"/>
                  </a:lnTo>
                  <a:lnTo>
                    <a:pt x="2150" y="341"/>
                  </a:lnTo>
                  <a:lnTo>
                    <a:pt x="2155" y="344"/>
                  </a:lnTo>
                  <a:lnTo>
                    <a:pt x="2157" y="350"/>
                  </a:lnTo>
                  <a:lnTo>
                    <a:pt x="2160" y="353"/>
                  </a:lnTo>
                  <a:lnTo>
                    <a:pt x="2160" y="360"/>
                  </a:lnTo>
                  <a:lnTo>
                    <a:pt x="2157" y="372"/>
                  </a:lnTo>
                  <a:lnTo>
                    <a:pt x="2158" y="379"/>
                  </a:lnTo>
                  <a:lnTo>
                    <a:pt x="2158" y="383"/>
                  </a:lnTo>
                  <a:lnTo>
                    <a:pt x="2160" y="386"/>
                  </a:lnTo>
                  <a:lnTo>
                    <a:pt x="2155" y="391"/>
                  </a:lnTo>
                  <a:lnTo>
                    <a:pt x="2155" y="396"/>
                  </a:lnTo>
                  <a:lnTo>
                    <a:pt x="2152" y="398"/>
                  </a:lnTo>
                  <a:lnTo>
                    <a:pt x="2153" y="396"/>
                  </a:lnTo>
                  <a:lnTo>
                    <a:pt x="2152" y="393"/>
                  </a:lnTo>
                  <a:lnTo>
                    <a:pt x="2145" y="400"/>
                  </a:lnTo>
                  <a:lnTo>
                    <a:pt x="2143" y="396"/>
                  </a:lnTo>
                  <a:lnTo>
                    <a:pt x="2139" y="400"/>
                  </a:lnTo>
                  <a:lnTo>
                    <a:pt x="2138" y="398"/>
                  </a:lnTo>
                  <a:lnTo>
                    <a:pt x="2136" y="396"/>
                  </a:lnTo>
                  <a:lnTo>
                    <a:pt x="2131" y="396"/>
                  </a:lnTo>
                  <a:lnTo>
                    <a:pt x="2125" y="391"/>
                  </a:lnTo>
                  <a:lnTo>
                    <a:pt x="2122" y="388"/>
                  </a:lnTo>
                  <a:lnTo>
                    <a:pt x="2117" y="388"/>
                  </a:lnTo>
                  <a:lnTo>
                    <a:pt x="2115" y="386"/>
                  </a:lnTo>
                  <a:lnTo>
                    <a:pt x="2113" y="386"/>
                  </a:lnTo>
                  <a:lnTo>
                    <a:pt x="2108" y="391"/>
                  </a:lnTo>
                  <a:lnTo>
                    <a:pt x="2105" y="391"/>
                  </a:lnTo>
                  <a:lnTo>
                    <a:pt x="2108" y="391"/>
                  </a:lnTo>
                  <a:lnTo>
                    <a:pt x="2115" y="391"/>
                  </a:lnTo>
                  <a:lnTo>
                    <a:pt x="2117" y="388"/>
                  </a:lnTo>
                  <a:lnTo>
                    <a:pt x="2125" y="391"/>
                  </a:lnTo>
                  <a:lnTo>
                    <a:pt x="2127" y="396"/>
                  </a:lnTo>
                  <a:lnTo>
                    <a:pt x="2122" y="398"/>
                  </a:lnTo>
                  <a:lnTo>
                    <a:pt x="2120" y="396"/>
                  </a:lnTo>
                  <a:lnTo>
                    <a:pt x="2117" y="396"/>
                  </a:lnTo>
                  <a:lnTo>
                    <a:pt x="2117" y="400"/>
                  </a:lnTo>
                  <a:lnTo>
                    <a:pt x="2113" y="396"/>
                  </a:lnTo>
                  <a:lnTo>
                    <a:pt x="2108" y="396"/>
                  </a:lnTo>
                  <a:lnTo>
                    <a:pt x="2112" y="396"/>
                  </a:lnTo>
                  <a:lnTo>
                    <a:pt x="2113" y="402"/>
                  </a:lnTo>
                  <a:lnTo>
                    <a:pt x="2117" y="403"/>
                  </a:lnTo>
                  <a:lnTo>
                    <a:pt x="2117" y="409"/>
                  </a:lnTo>
                  <a:lnTo>
                    <a:pt x="2117" y="416"/>
                  </a:lnTo>
                  <a:lnTo>
                    <a:pt x="2120" y="416"/>
                  </a:lnTo>
                  <a:lnTo>
                    <a:pt x="2120" y="416"/>
                  </a:lnTo>
                  <a:lnTo>
                    <a:pt x="2120" y="409"/>
                  </a:lnTo>
                  <a:lnTo>
                    <a:pt x="2122" y="407"/>
                  </a:lnTo>
                  <a:lnTo>
                    <a:pt x="2125" y="407"/>
                  </a:lnTo>
                  <a:lnTo>
                    <a:pt x="2125" y="405"/>
                  </a:lnTo>
                  <a:lnTo>
                    <a:pt x="2131" y="400"/>
                  </a:lnTo>
                  <a:lnTo>
                    <a:pt x="2134" y="400"/>
                  </a:lnTo>
                  <a:lnTo>
                    <a:pt x="2136" y="402"/>
                  </a:lnTo>
                  <a:lnTo>
                    <a:pt x="2136" y="403"/>
                  </a:lnTo>
                  <a:lnTo>
                    <a:pt x="2139" y="410"/>
                  </a:lnTo>
                  <a:lnTo>
                    <a:pt x="2143" y="412"/>
                  </a:lnTo>
                  <a:lnTo>
                    <a:pt x="2148" y="416"/>
                  </a:lnTo>
                  <a:lnTo>
                    <a:pt x="2153" y="416"/>
                  </a:lnTo>
                  <a:lnTo>
                    <a:pt x="2153" y="412"/>
                  </a:lnTo>
                  <a:lnTo>
                    <a:pt x="2153" y="410"/>
                  </a:lnTo>
                  <a:lnTo>
                    <a:pt x="2155" y="410"/>
                  </a:lnTo>
                  <a:lnTo>
                    <a:pt x="2162" y="416"/>
                  </a:lnTo>
                  <a:lnTo>
                    <a:pt x="2165" y="419"/>
                  </a:lnTo>
                  <a:lnTo>
                    <a:pt x="2162" y="419"/>
                  </a:lnTo>
                  <a:lnTo>
                    <a:pt x="2162" y="423"/>
                  </a:lnTo>
                  <a:lnTo>
                    <a:pt x="2167" y="428"/>
                  </a:lnTo>
                  <a:lnTo>
                    <a:pt x="2171" y="428"/>
                  </a:lnTo>
                  <a:lnTo>
                    <a:pt x="2171" y="426"/>
                  </a:lnTo>
                  <a:lnTo>
                    <a:pt x="2171" y="421"/>
                  </a:lnTo>
                  <a:lnTo>
                    <a:pt x="2174" y="426"/>
                  </a:lnTo>
                  <a:lnTo>
                    <a:pt x="2181" y="436"/>
                  </a:lnTo>
                  <a:lnTo>
                    <a:pt x="2179" y="435"/>
                  </a:lnTo>
                  <a:lnTo>
                    <a:pt x="2178" y="435"/>
                  </a:lnTo>
                  <a:lnTo>
                    <a:pt x="2176" y="435"/>
                  </a:lnTo>
                  <a:lnTo>
                    <a:pt x="2179" y="438"/>
                  </a:lnTo>
                  <a:lnTo>
                    <a:pt x="2176" y="442"/>
                  </a:lnTo>
                  <a:lnTo>
                    <a:pt x="2174" y="443"/>
                  </a:lnTo>
                  <a:lnTo>
                    <a:pt x="2176" y="447"/>
                  </a:lnTo>
                  <a:lnTo>
                    <a:pt x="2179" y="447"/>
                  </a:lnTo>
                  <a:lnTo>
                    <a:pt x="2181" y="443"/>
                  </a:lnTo>
                  <a:lnTo>
                    <a:pt x="2181" y="442"/>
                  </a:lnTo>
                  <a:lnTo>
                    <a:pt x="2185" y="443"/>
                  </a:lnTo>
                  <a:lnTo>
                    <a:pt x="2185" y="438"/>
                  </a:lnTo>
                  <a:lnTo>
                    <a:pt x="2188" y="443"/>
                  </a:lnTo>
                  <a:lnTo>
                    <a:pt x="2195" y="450"/>
                  </a:lnTo>
                  <a:lnTo>
                    <a:pt x="2204" y="450"/>
                  </a:lnTo>
                  <a:lnTo>
                    <a:pt x="2207" y="454"/>
                  </a:lnTo>
                  <a:lnTo>
                    <a:pt x="2205" y="457"/>
                  </a:lnTo>
                  <a:lnTo>
                    <a:pt x="2211" y="464"/>
                  </a:lnTo>
                  <a:lnTo>
                    <a:pt x="2212" y="464"/>
                  </a:lnTo>
                  <a:lnTo>
                    <a:pt x="2218" y="473"/>
                  </a:lnTo>
                  <a:lnTo>
                    <a:pt x="2218" y="482"/>
                  </a:lnTo>
                  <a:lnTo>
                    <a:pt x="2216" y="482"/>
                  </a:lnTo>
                  <a:lnTo>
                    <a:pt x="2216" y="483"/>
                  </a:lnTo>
                  <a:lnTo>
                    <a:pt x="2221" y="487"/>
                  </a:lnTo>
                  <a:lnTo>
                    <a:pt x="2221" y="490"/>
                  </a:lnTo>
                  <a:lnTo>
                    <a:pt x="2221" y="492"/>
                  </a:lnTo>
                  <a:lnTo>
                    <a:pt x="2216" y="489"/>
                  </a:lnTo>
                  <a:lnTo>
                    <a:pt x="2205" y="489"/>
                  </a:lnTo>
                  <a:lnTo>
                    <a:pt x="2202" y="487"/>
                  </a:lnTo>
                  <a:lnTo>
                    <a:pt x="2198" y="489"/>
                  </a:lnTo>
                  <a:lnTo>
                    <a:pt x="2195" y="487"/>
                  </a:lnTo>
                  <a:lnTo>
                    <a:pt x="2193" y="485"/>
                  </a:lnTo>
                  <a:lnTo>
                    <a:pt x="2193" y="483"/>
                  </a:lnTo>
                  <a:lnTo>
                    <a:pt x="2193" y="485"/>
                  </a:lnTo>
                  <a:lnTo>
                    <a:pt x="2193" y="487"/>
                  </a:lnTo>
                  <a:lnTo>
                    <a:pt x="2188" y="490"/>
                  </a:lnTo>
                  <a:lnTo>
                    <a:pt x="2185" y="490"/>
                  </a:lnTo>
                  <a:lnTo>
                    <a:pt x="2183" y="492"/>
                  </a:lnTo>
                  <a:lnTo>
                    <a:pt x="2185" y="494"/>
                  </a:lnTo>
                  <a:lnTo>
                    <a:pt x="2179" y="497"/>
                  </a:lnTo>
                  <a:lnTo>
                    <a:pt x="2176" y="497"/>
                  </a:lnTo>
                  <a:lnTo>
                    <a:pt x="2176" y="501"/>
                  </a:lnTo>
                  <a:lnTo>
                    <a:pt x="2178" y="503"/>
                  </a:lnTo>
                  <a:lnTo>
                    <a:pt x="2172" y="509"/>
                  </a:lnTo>
                  <a:lnTo>
                    <a:pt x="2171" y="511"/>
                  </a:lnTo>
                  <a:lnTo>
                    <a:pt x="2171" y="509"/>
                  </a:lnTo>
                  <a:lnTo>
                    <a:pt x="2167" y="509"/>
                  </a:lnTo>
                  <a:lnTo>
                    <a:pt x="2167" y="515"/>
                  </a:lnTo>
                  <a:lnTo>
                    <a:pt x="2171" y="520"/>
                  </a:lnTo>
                  <a:lnTo>
                    <a:pt x="2167" y="523"/>
                  </a:lnTo>
                  <a:lnTo>
                    <a:pt x="2165" y="522"/>
                  </a:lnTo>
                  <a:lnTo>
                    <a:pt x="2162" y="525"/>
                  </a:lnTo>
                  <a:lnTo>
                    <a:pt x="2165" y="529"/>
                  </a:lnTo>
                  <a:lnTo>
                    <a:pt x="2162" y="530"/>
                  </a:lnTo>
                  <a:lnTo>
                    <a:pt x="2158" y="532"/>
                  </a:lnTo>
                  <a:lnTo>
                    <a:pt x="2160" y="534"/>
                  </a:lnTo>
                  <a:lnTo>
                    <a:pt x="2160" y="537"/>
                  </a:lnTo>
                  <a:lnTo>
                    <a:pt x="2158" y="539"/>
                  </a:lnTo>
                  <a:lnTo>
                    <a:pt x="2157" y="537"/>
                  </a:lnTo>
                  <a:lnTo>
                    <a:pt x="2153" y="539"/>
                  </a:lnTo>
                  <a:lnTo>
                    <a:pt x="2155" y="541"/>
                  </a:lnTo>
                  <a:lnTo>
                    <a:pt x="2157" y="544"/>
                  </a:lnTo>
                  <a:lnTo>
                    <a:pt x="2153" y="548"/>
                  </a:lnTo>
                  <a:lnTo>
                    <a:pt x="2155" y="549"/>
                  </a:lnTo>
                  <a:lnTo>
                    <a:pt x="2153" y="553"/>
                  </a:lnTo>
                  <a:lnTo>
                    <a:pt x="2152" y="553"/>
                  </a:lnTo>
                  <a:lnTo>
                    <a:pt x="2150" y="551"/>
                  </a:lnTo>
                  <a:lnTo>
                    <a:pt x="2148" y="553"/>
                  </a:lnTo>
                  <a:lnTo>
                    <a:pt x="2148" y="553"/>
                  </a:lnTo>
                  <a:lnTo>
                    <a:pt x="2153" y="556"/>
                  </a:lnTo>
                  <a:lnTo>
                    <a:pt x="2152" y="560"/>
                  </a:lnTo>
                  <a:lnTo>
                    <a:pt x="2148" y="560"/>
                  </a:lnTo>
                  <a:lnTo>
                    <a:pt x="2148" y="562"/>
                  </a:lnTo>
                  <a:lnTo>
                    <a:pt x="2150" y="565"/>
                  </a:lnTo>
                  <a:lnTo>
                    <a:pt x="2152" y="569"/>
                  </a:lnTo>
                  <a:lnTo>
                    <a:pt x="2150" y="572"/>
                  </a:lnTo>
                  <a:lnTo>
                    <a:pt x="2152" y="574"/>
                  </a:lnTo>
                  <a:lnTo>
                    <a:pt x="2148" y="579"/>
                  </a:lnTo>
                  <a:lnTo>
                    <a:pt x="2148" y="583"/>
                  </a:lnTo>
                  <a:lnTo>
                    <a:pt x="2148" y="588"/>
                  </a:lnTo>
                  <a:lnTo>
                    <a:pt x="2145" y="595"/>
                  </a:lnTo>
                  <a:lnTo>
                    <a:pt x="2143" y="598"/>
                  </a:lnTo>
                  <a:lnTo>
                    <a:pt x="2143" y="602"/>
                  </a:lnTo>
                  <a:lnTo>
                    <a:pt x="2145" y="603"/>
                  </a:lnTo>
                  <a:lnTo>
                    <a:pt x="2148" y="605"/>
                  </a:lnTo>
                  <a:lnTo>
                    <a:pt x="2145" y="607"/>
                  </a:lnTo>
                  <a:lnTo>
                    <a:pt x="2150" y="612"/>
                  </a:lnTo>
                  <a:lnTo>
                    <a:pt x="2150" y="616"/>
                  </a:lnTo>
                  <a:lnTo>
                    <a:pt x="2148" y="616"/>
                  </a:lnTo>
                  <a:lnTo>
                    <a:pt x="2143" y="616"/>
                  </a:lnTo>
                  <a:lnTo>
                    <a:pt x="2139" y="612"/>
                  </a:lnTo>
                  <a:lnTo>
                    <a:pt x="2139" y="616"/>
                  </a:lnTo>
                  <a:lnTo>
                    <a:pt x="2134" y="607"/>
                  </a:lnTo>
                  <a:lnTo>
                    <a:pt x="2136" y="607"/>
                  </a:lnTo>
                  <a:lnTo>
                    <a:pt x="2134" y="607"/>
                  </a:lnTo>
                  <a:lnTo>
                    <a:pt x="2131" y="607"/>
                  </a:lnTo>
                  <a:lnTo>
                    <a:pt x="2127" y="607"/>
                  </a:lnTo>
                  <a:lnTo>
                    <a:pt x="2127" y="605"/>
                  </a:lnTo>
                  <a:lnTo>
                    <a:pt x="2117" y="598"/>
                  </a:lnTo>
                  <a:lnTo>
                    <a:pt x="2115" y="598"/>
                  </a:lnTo>
                  <a:lnTo>
                    <a:pt x="2108" y="602"/>
                  </a:lnTo>
                  <a:lnTo>
                    <a:pt x="2106" y="600"/>
                  </a:lnTo>
                  <a:lnTo>
                    <a:pt x="2103" y="602"/>
                  </a:lnTo>
                  <a:lnTo>
                    <a:pt x="2099" y="607"/>
                  </a:lnTo>
                  <a:lnTo>
                    <a:pt x="2094" y="607"/>
                  </a:lnTo>
                  <a:lnTo>
                    <a:pt x="2092" y="612"/>
                  </a:lnTo>
                  <a:lnTo>
                    <a:pt x="2091" y="616"/>
                  </a:lnTo>
                  <a:lnTo>
                    <a:pt x="2089" y="612"/>
                  </a:lnTo>
                  <a:lnTo>
                    <a:pt x="2091" y="617"/>
                  </a:lnTo>
                  <a:lnTo>
                    <a:pt x="2089" y="619"/>
                  </a:lnTo>
                  <a:lnTo>
                    <a:pt x="2089" y="624"/>
                  </a:lnTo>
                  <a:lnTo>
                    <a:pt x="2089" y="628"/>
                  </a:lnTo>
                  <a:lnTo>
                    <a:pt x="2085" y="635"/>
                  </a:lnTo>
                  <a:lnTo>
                    <a:pt x="2085" y="638"/>
                  </a:lnTo>
                  <a:lnTo>
                    <a:pt x="2084" y="635"/>
                  </a:lnTo>
                  <a:lnTo>
                    <a:pt x="2079" y="624"/>
                  </a:lnTo>
                  <a:lnTo>
                    <a:pt x="2079" y="619"/>
                  </a:lnTo>
                  <a:lnTo>
                    <a:pt x="2075" y="617"/>
                  </a:lnTo>
                  <a:lnTo>
                    <a:pt x="2073" y="616"/>
                  </a:lnTo>
                  <a:lnTo>
                    <a:pt x="2073" y="619"/>
                  </a:lnTo>
                  <a:lnTo>
                    <a:pt x="2068" y="626"/>
                  </a:lnTo>
                  <a:lnTo>
                    <a:pt x="2066" y="628"/>
                  </a:lnTo>
                  <a:lnTo>
                    <a:pt x="2066" y="631"/>
                  </a:lnTo>
                  <a:lnTo>
                    <a:pt x="2068" y="633"/>
                  </a:lnTo>
                  <a:lnTo>
                    <a:pt x="2066" y="640"/>
                  </a:lnTo>
                  <a:lnTo>
                    <a:pt x="2063" y="635"/>
                  </a:lnTo>
                  <a:lnTo>
                    <a:pt x="2061" y="635"/>
                  </a:lnTo>
                  <a:lnTo>
                    <a:pt x="2058" y="635"/>
                  </a:lnTo>
                  <a:lnTo>
                    <a:pt x="2058" y="635"/>
                  </a:lnTo>
                  <a:lnTo>
                    <a:pt x="2056" y="638"/>
                  </a:lnTo>
                  <a:lnTo>
                    <a:pt x="2054" y="638"/>
                  </a:lnTo>
                  <a:lnTo>
                    <a:pt x="2051" y="638"/>
                  </a:lnTo>
                  <a:lnTo>
                    <a:pt x="2047" y="638"/>
                  </a:lnTo>
                  <a:lnTo>
                    <a:pt x="2047" y="640"/>
                  </a:lnTo>
                  <a:lnTo>
                    <a:pt x="2049" y="643"/>
                  </a:lnTo>
                  <a:lnTo>
                    <a:pt x="2047" y="643"/>
                  </a:lnTo>
                  <a:lnTo>
                    <a:pt x="2046" y="647"/>
                  </a:lnTo>
                  <a:lnTo>
                    <a:pt x="2046" y="650"/>
                  </a:lnTo>
                  <a:lnTo>
                    <a:pt x="2049" y="654"/>
                  </a:lnTo>
                  <a:lnTo>
                    <a:pt x="2051" y="659"/>
                  </a:lnTo>
                  <a:lnTo>
                    <a:pt x="2049" y="659"/>
                  </a:lnTo>
                  <a:lnTo>
                    <a:pt x="2049" y="661"/>
                  </a:lnTo>
                  <a:lnTo>
                    <a:pt x="2052" y="663"/>
                  </a:lnTo>
                  <a:lnTo>
                    <a:pt x="2056" y="666"/>
                  </a:lnTo>
                  <a:lnTo>
                    <a:pt x="2056" y="666"/>
                  </a:lnTo>
                  <a:lnTo>
                    <a:pt x="2054" y="666"/>
                  </a:lnTo>
                  <a:lnTo>
                    <a:pt x="2054" y="669"/>
                  </a:lnTo>
                  <a:lnTo>
                    <a:pt x="2056" y="671"/>
                  </a:lnTo>
                  <a:lnTo>
                    <a:pt x="2058" y="675"/>
                  </a:lnTo>
                  <a:lnTo>
                    <a:pt x="2058" y="675"/>
                  </a:lnTo>
                  <a:lnTo>
                    <a:pt x="2056" y="675"/>
                  </a:lnTo>
                  <a:lnTo>
                    <a:pt x="2052" y="675"/>
                  </a:lnTo>
                  <a:lnTo>
                    <a:pt x="2052" y="675"/>
                  </a:lnTo>
                  <a:lnTo>
                    <a:pt x="2056" y="680"/>
                  </a:lnTo>
                  <a:lnTo>
                    <a:pt x="2058" y="678"/>
                  </a:lnTo>
                  <a:lnTo>
                    <a:pt x="2058" y="682"/>
                  </a:lnTo>
                  <a:lnTo>
                    <a:pt x="2058" y="685"/>
                  </a:lnTo>
                  <a:lnTo>
                    <a:pt x="2058" y="689"/>
                  </a:lnTo>
                  <a:lnTo>
                    <a:pt x="2056" y="692"/>
                  </a:lnTo>
                  <a:lnTo>
                    <a:pt x="2058" y="697"/>
                  </a:lnTo>
                  <a:lnTo>
                    <a:pt x="2056" y="699"/>
                  </a:lnTo>
                  <a:lnTo>
                    <a:pt x="2058" y="703"/>
                  </a:lnTo>
                  <a:lnTo>
                    <a:pt x="2058" y="704"/>
                  </a:lnTo>
                  <a:lnTo>
                    <a:pt x="2058" y="708"/>
                  </a:lnTo>
                  <a:lnTo>
                    <a:pt x="2061" y="715"/>
                  </a:lnTo>
                  <a:lnTo>
                    <a:pt x="2058" y="716"/>
                  </a:lnTo>
                  <a:lnTo>
                    <a:pt x="2063" y="716"/>
                  </a:lnTo>
                  <a:lnTo>
                    <a:pt x="2063" y="722"/>
                  </a:lnTo>
                  <a:lnTo>
                    <a:pt x="2068" y="727"/>
                  </a:lnTo>
                  <a:lnTo>
                    <a:pt x="2073" y="729"/>
                  </a:lnTo>
                  <a:lnTo>
                    <a:pt x="2075" y="727"/>
                  </a:lnTo>
                  <a:lnTo>
                    <a:pt x="2075" y="725"/>
                  </a:lnTo>
                  <a:lnTo>
                    <a:pt x="2070" y="720"/>
                  </a:lnTo>
                  <a:lnTo>
                    <a:pt x="2070" y="716"/>
                  </a:lnTo>
                  <a:lnTo>
                    <a:pt x="2073" y="716"/>
                  </a:lnTo>
                  <a:lnTo>
                    <a:pt x="2077" y="716"/>
                  </a:lnTo>
                  <a:lnTo>
                    <a:pt x="2082" y="720"/>
                  </a:lnTo>
                  <a:lnTo>
                    <a:pt x="2085" y="720"/>
                  </a:lnTo>
                  <a:lnTo>
                    <a:pt x="2089" y="722"/>
                  </a:lnTo>
                  <a:lnTo>
                    <a:pt x="2089" y="725"/>
                  </a:lnTo>
                  <a:lnTo>
                    <a:pt x="2085" y="725"/>
                  </a:lnTo>
                  <a:lnTo>
                    <a:pt x="2089" y="729"/>
                  </a:lnTo>
                  <a:lnTo>
                    <a:pt x="2085" y="730"/>
                  </a:lnTo>
                  <a:lnTo>
                    <a:pt x="2089" y="734"/>
                  </a:lnTo>
                  <a:lnTo>
                    <a:pt x="2085" y="736"/>
                  </a:lnTo>
                  <a:lnTo>
                    <a:pt x="2085" y="739"/>
                  </a:lnTo>
                  <a:lnTo>
                    <a:pt x="2089" y="744"/>
                  </a:lnTo>
                  <a:lnTo>
                    <a:pt x="2089" y="748"/>
                  </a:lnTo>
                  <a:lnTo>
                    <a:pt x="2089" y="756"/>
                  </a:lnTo>
                  <a:lnTo>
                    <a:pt x="2092" y="756"/>
                  </a:lnTo>
                  <a:lnTo>
                    <a:pt x="2094" y="756"/>
                  </a:lnTo>
                  <a:lnTo>
                    <a:pt x="2094" y="753"/>
                  </a:lnTo>
                  <a:lnTo>
                    <a:pt x="2098" y="753"/>
                  </a:lnTo>
                  <a:lnTo>
                    <a:pt x="2098" y="749"/>
                  </a:lnTo>
                  <a:lnTo>
                    <a:pt x="2099" y="753"/>
                  </a:lnTo>
                  <a:lnTo>
                    <a:pt x="2103" y="753"/>
                  </a:lnTo>
                  <a:lnTo>
                    <a:pt x="2103" y="762"/>
                  </a:lnTo>
                  <a:lnTo>
                    <a:pt x="2112" y="769"/>
                  </a:lnTo>
                  <a:lnTo>
                    <a:pt x="2113" y="774"/>
                  </a:lnTo>
                  <a:lnTo>
                    <a:pt x="2112" y="776"/>
                  </a:lnTo>
                  <a:lnTo>
                    <a:pt x="2112" y="779"/>
                  </a:lnTo>
                  <a:lnTo>
                    <a:pt x="2108" y="781"/>
                  </a:lnTo>
                  <a:lnTo>
                    <a:pt x="2105" y="779"/>
                  </a:lnTo>
                  <a:lnTo>
                    <a:pt x="2099" y="776"/>
                  </a:lnTo>
                  <a:lnTo>
                    <a:pt x="2099" y="772"/>
                  </a:lnTo>
                  <a:lnTo>
                    <a:pt x="2101" y="767"/>
                  </a:lnTo>
                  <a:lnTo>
                    <a:pt x="2101" y="763"/>
                  </a:lnTo>
                  <a:lnTo>
                    <a:pt x="2099" y="760"/>
                  </a:lnTo>
                  <a:lnTo>
                    <a:pt x="2098" y="762"/>
                  </a:lnTo>
                  <a:lnTo>
                    <a:pt x="2099" y="763"/>
                  </a:lnTo>
                  <a:lnTo>
                    <a:pt x="2099" y="767"/>
                  </a:lnTo>
                  <a:lnTo>
                    <a:pt x="2098" y="767"/>
                  </a:lnTo>
                  <a:lnTo>
                    <a:pt x="2092" y="772"/>
                  </a:lnTo>
                  <a:lnTo>
                    <a:pt x="2092" y="774"/>
                  </a:lnTo>
                  <a:lnTo>
                    <a:pt x="2098" y="774"/>
                  </a:lnTo>
                  <a:lnTo>
                    <a:pt x="2098" y="776"/>
                  </a:lnTo>
                  <a:lnTo>
                    <a:pt x="2094" y="779"/>
                  </a:lnTo>
                  <a:lnTo>
                    <a:pt x="2098" y="784"/>
                  </a:lnTo>
                  <a:lnTo>
                    <a:pt x="2098" y="786"/>
                  </a:lnTo>
                  <a:lnTo>
                    <a:pt x="2098" y="800"/>
                  </a:lnTo>
                  <a:lnTo>
                    <a:pt x="2098" y="802"/>
                  </a:lnTo>
                  <a:lnTo>
                    <a:pt x="2098" y="803"/>
                  </a:lnTo>
                  <a:lnTo>
                    <a:pt x="2108" y="817"/>
                  </a:lnTo>
                  <a:lnTo>
                    <a:pt x="2108" y="817"/>
                  </a:lnTo>
                  <a:lnTo>
                    <a:pt x="2117" y="826"/>
                  </a:lnTo>
                  <a:lnTo>
                    <a:pt x="2120" y="826"/>
                  </a:lnTo>
                  <a:lnTo>
                    <a:pt x="2117" y="831"/>
                  </a:lnTo>
                  <a:lnTo>
                    <a:pt x="2117" y="835"/>
                  </a:lnTo>
                  <a:lnTo>
                    <a:pt x="2108" y="838"/>
                  </a:lnTo>
                  <a:lnTo>
                    <a:pt x="2106" y="838"/>
                  </a:lnTo>
                  <a:lnTo>
                    <a:pt x="2101" y="840"/>
                  </a:lnTo>
                  <a:lnTo>
                    <a:pt x="2098" y="840"/>
                  </a:lnTo>
                  <a:lnTo>
                    <a:pt x="2099" y="842"/>
                  </a:lnTo>
                  <a:lnTo>
                    <a:pt x="2098" y="849"/>
                  </a:lnTo>
                  <a:lnTo>
                    <a:pt x="2098" y="852"/>
                  </a:lnTo>
                  <a:lnTo>
                    <a:pt x="2094" y="854"/>
                  </a:lnTo>
                  <a:lnTo>
                    <a:pt x="2098" y="859"/>
                  </a:lnTo>
                  <a:lnTo>
                    <a:pt x="2094" y="866"/>
                  </a:lnTo>
                  <a:lnTo>
                    <a:pt x="2098" y="876"/>
                  </a:lnTo>
                  <a:lnTo>
                    <a:pt x="2103" y="878"/>
                  </a:lnTo>
                  <a:lnTo>
                    <a:pt x="2103" y="883"/>
                  </a:lnTo>
                  <a:lnTo>
                    <a:pt x="2108" y="885"/>
                  </a:lnTo>
                  <a:lnTo>
                    <a:pt x="2108" y="890"/>
                  </a:lnTo>
                  <a:lnTo>
                    <a:pt x="2106" y="889"/>
                  </a:lnTo>
                  <a:lnTo>
                    <a:pt x="2105" y="889"/>
                  </a:lnTo>
                  <a:lnTo>
                    <a:pt x="2101" y="890"/>
                  </a:lnTo>
                  <a:lnTo>
                    <a:pt x="2098" y="894"/>
                  </a:lnTo>
                  <a:lnTo>
                    <a:pt x="2098" y="890"/>
                  </a:lnTo>
                  <a:lnTo>
                    <a:pt x="2091" y="896"/>
                  </a:lnTo>
                  <a:lnTo>
                    <a:pt x="2089" y="894"/>
                  </a:lnTo>
                  <a:lnTo>
                    <a:pt x="2085" y="897"/>
                  </a:lnTo>
                  <a:lnTo>
                    <a:pt x="2089" y="899"/>
                  </a:lnTo>
                  <a:lnTo>
                    <a:pt x="2091" y="897"/>
                  </a:lnTo>
                  <a:lnTo>
                    <a:pt x="2091" y="902"/>
                  </a:lnTo>
                  <a:lnTo>
                    <a:pt x="2089" y="904"/>
                  </a:lnTo>
                  <a:lnTo>
                    <a:pt x="2092" y="908"/>
                  </a:lnTo>
                  <a:lnTo>
                    <a:pt x="2091" y="909"/>
                  </a:lnTo>
                  <a:lnTo>
                    <a:pt x="2089" y="909"/>
                  </a:lnTo>
                  <a:lnTo>
                    <a:pt x="2092" y="913"/>
                  </a:lnTo>
                  <a:lnTo>
                    <a:pt x="2091" y="916"/>
                  </a:lnTo>
                  <a:lnTo>
                    <a:pt x="2092" y="916"/>
                  </a:lnTo>
                  <a:lnTo>
                    <a:pt x="2094" y="916"/>
                  </a:lnTo>
                  <a:lnTo>
                    <a:pt x="2098" y="918"/>
                  </a:lnTo>
                  <a:lnTo>
                    <a:pt x="2098" y="922"/>
                  </a:lnTo>
                  <a:lnTo>
                    <a:pt x="2094" y="927"/>
                  </a:lnTo>
                  <a:lnTo>
                    <a:pt x="2098" y="930"/>
                  </a:lnTo>
                  <a:lnTo>
                    <a:pt x="2098" y="937"/>
                  </a:lnTo>
                  <a:lnTo>
                    <a:pt x="2094" y="941"/>
                  </a:lnTo>
                  <a:lnTo>
                    <a:pt x="2094" y="941"/>
                  </a:lnTo>
                  <a:lnTo>
                    <a:pt x="2094" y="944"/>
                  </a:lnTo>
                  <a:lnTo>
                    <a:pt x="2089" y="948"/>
                  </a:lnTo>
                  <a:lnTo>
                    <a:pt x="2089" y="953"/>
                  </a:lnTo>
                  <a:lnTo>
                    <a:pt x="2089" y="953"/>
                  </a:lnTo>
                  <a:lnTo>
                    <a:pt x="2085" y="960"/>
                  </a:lnTo>
                  <a:lnTo>
                    <a:pt x="2084" y="969"/>
                  </a:lnTo>
                  <a:lnTo>
                    <a:pt x="2085" y="963"/>
                  </a:lnTo>
                  <a:lnTo>
                    <a:pt x="2084" y="962"/>
                  </a:lnTo>
                  <a:lnTo>
                    <a:pt x="2084" y="958"/>
                  </a:lnTo>
                  <a:lnTo>
                    <a:pt x="2082" y="956"/>
                  </a:lnTo>
                  <a:lnTo>
                    <a:pt x="2075" y="955"/>
                  </a:lnTo>
                  <a:lnTo>
                    <a:pt x="2072" y="949"/>
                  </a:lnTo>
                  <a:lnTo>
                    <a:pt x="2072" y="944"/>
                  </a:lnTo>
                  <a:lnTo>
                    <a:pt x="2066" y="929"/>
                  </a:lnTo>
                  <a:lnTo>
                    <a:pt x="2061" y="922"/>
                  </a:lnTo>
                  <a:lnTo>
                    <a:pt x="2063" y="922"/>
                  </a:lnTo>
                  <a:lnTo>
                    <a:pt x="2066" y="922"/>
                  </a:lnTo>
                  <a:lnTo>
                    <a:pt x="2066" y="916"/>
                  </a:lnTo>
                  <a:lnTo>
                    <a:pt x="2063" y="918"/>
                  </a:lnTo>
                  <a:lnTo>
                    <a:pt x="2061" y="918"/>
                  </a:lnTo>
                  <a:lnTo>
                    <a:pt x="2054" y="916"/>
                  </a:lnTo>
                  <a:lnTo>
                    <a:pt x="2040" y="894"/>
                  </a:lnTo>
                  <a:lnTo>
                    <a:pt x="2028" y="878"/>
                  </a:lnTo>
                  <a:lnTo>
                    <a:pt x="2028" y="873"/>
                  </a:lnTo>
                  <a:lnTo>
                    <a:pt x="2025" y="868"/>
                  </a:lnTo>
                  <a:lnTo>
                    <a:pt x="2016" y="854"/>
                  </a:lnTo>
                  <a:lnTo>
                    <a:pt x="2004" y="835"/>
                  </a:lnTo>
                  <a:lnTo>
                    <a:pt x="1999" y="817"/>
                  </a:lnTo>
                  <a:lnTo>
                    <a:pt x="1999" y="810"/>
                  </a:lnTo>
                  <a:lnTo>
                    <a:pt x="1993" y="803"/>
                  </a:lnTo>
                  <a:lnTo>
                    <a:pt x="1993" y="793"/>
                  </a:lnTo>
                  <a:lnTo>
                    <a:pt x="1990" y="786"/>
                  </a:lnTo>
                  <a:lnTo>
                    <a:pt x="1990" y="779"/>
                  </a:lnTo>
                  <a:lnTo>
                    <a:pt x="1993" y="776"/>
                  </a:lnTo>
                  <a:lnTo>
                    <a:pt x="1993" y="769"/>
                  </a:lnTo>
                  <a:lnTo>
                    <a:pt x="1997" y="769"/>
                  </a:lnTo>
                  <a:lnTo>
                    <a:pt x="1995" y="765"/>
                  </a:lnTo>
                  <a:lnTo>
                    <a:pt x="1997" y="763"/>
                  </a:lnTo>
                  <a:lnTo>
                    <a:pt x="1997" y="756"/>
                  </a:lnTo>
                  <a:lnTo>
                    <a:pt x="1990" y="744"/>
                  </a:lnTo>
                  <a:lnTo>
                    <a:pt x="1985" y="744"/>
                  </a:lnTo>
                  <a:lnTo>
                    <a:pt x="1985" y="744"/>
                  </a:lnTo>
                  <a:lnTo>
                    <a:pt x="1990" y="741"/>
                  </a:lnTo>
                  <a:lnTo>
                    <a:pt x="1995" y="744"/>
                  </a:lnTo>
                  <a:lnTo>
                    <a:pt x="2000" y="739"/>
                  </a:lnTo>
                  <a:lnTo>
                    <a:pt x="1999" y="737"/>
                  </a:lnTo>
                  <a:lnTo>
                    <a:pt x="1999" y="730"/>
                  </a:lnTo>
                  <a:lnTo>
                    <a:pt x="2004" y="729"/>
                  </a:lnTo>
                  <a:lnTo>
                    <a:pt x="2009" y="730"/>
                  </a:lnTo>
                  <a:lnTo>
                    <a:pt x="2004" y="725"/>
                  </a:lnTo>
                  <a:lnTo>
                    <a:pt x="2011" y="716"/>
                  </a:lnTo>
                  <a:lnTo>
                    <a:pt x="2009" y="709"/>
                  </a:lnTo>
                  <a:lnTo>
                    <a:pt x="2009" y="703"/>
                  </a:lnTo>
                  <a:lnTo>
                    <a:pt x="2007" y="699"/>
                  </a:lnTo>
                  <a:lnTo>
                    <a:pt x="2009" y="697"/>
                  </a:lnTo>
                  <a:lnTo>
                    <a:pt x="2009" y="692"/>
                  </a:lnTo>
                  <a:lnTo>
                    <a:pt x="2009" y="690"/>
                  </a:lnTo>
                  <a:lnTo>
                    <a:pt x="2009" y="685"/>
                  </a:lnTo>
                  <a:lnTo>
                    <a:pt x="2013" y="685"/>
                  </a:lnTo>
                  <a:lnTo>
                    <a:pt x="2009" y="682"/>
                  </a:lnTo>
                  <a:lnTo>
                    <a:pt x="2009" y="678"/>
                  </a:lnTo>
                  <a:lnTo>
                    <a:pt x="2009" y="676"/>
                  </a:lnTo>
                  <a:lnTo>
                    <a:pt x="2011" y="669"/>
                  </a:lnTo>
                  <a:lnTo>
                    <a:pt x="2009" y="669"/>
                  </a:lnTo>
                  <a:lnTo>
                    <a:pt x="2009" y="666"/>
                  </a:lnTo>
                  <a:lnTo>
                    <a:pt x="2013" y="663"/>
                  </a:lnTo>
                  <a:lnTo>
                    <a:pt x="2016" y="663"/>
                  </a:lnTo>
                  <a:lnTo>
                    <a:pt x="2013" y="656"/>
                  </a:lnTo>
                  <a:lnTo>
                    <a:pt x="2016" y="649"/>
                  </a:lnTo>
                  <a:lnTo>
                    <a:pt x="2013" y="647"/>
                  </a:lnTo>
                  <a:lnTo>
                    <a:pt x="2013" y="647"/>
                  </a:lnTo>
                  <a:lnTo>
                    <a:pt x="2016" y="640"/>
                  </a:lnTo>
                  <a:lnTo>
                    <a:pt x="2016" y="635"/>
                  </a:lnTo>
                  <a:lnTo>
                    <a:pt x="2013" y="635"/>
                  </a:lnTo>
                  <a:lnTo>
                    <a:pt x="2013" y="633"/>
                  </a:lnTo>
                  <a:lnTo>
                    <a:pt x="2013" y="629"/>
                  </a:lnTo>
                  <a:lnTo>
                    <a:pt x="2013" y="626"/>
                  </a:lnTo>
                  <a:lnTo>
                    <a:pt x="2016" y="624"/>
                  </a:lnTo>
                  <a:lnTo>
                    <a:pt x="2016" y="623"/>
                  </a:lnTo>
                  <a:lnTo>
                    <a:pt x="2019" y="621"/>
                  </a:lnTo>
                  <a:lnTo>
                    <a:pt x="2021" y="617"/>
                  </a:lnTo>
                  <a:lnTo>
                    <a:pt x="2025" y="612"/>
                  </a:lnTo>
                  <a:lnTo>
                    <a:pt x="2026" y="612"/>
                  </a:lnTo>
                  <a:lnTo>
                    <a:pt x="2030" y="612"/>
                  </a:lnTo>
                  <a:lnTo>
                    <a:pt x="2032" y="612"/>
                  </a:lnTo>
                  <a:lnTo>
                    <a:pt x="2033" y="610"/>
                  </a:lnTo>
                  <a:lnTo>
                    <a:pt x="2032" y="607"/>
                  </a:lnTo>
                  <a:lnTo>
                    <a:pt x="2028" y="607"/>
                  </a:lnTo>
                  <a:lnTo>
                    <a:pt x="2026" y="607"/>
                  </a:lnTo>
                  <a:lnTo>
                    <a:pt x="2023" y="607"/>
                  </a:lnTo>
                  <a:lnTo>
                    <a:pt x="2023" y="600"/>
                  </a:lnTo>
                  <a:lnTo>
                    <a:pt x="2025" y="595"/>
                  </a:lnTo>
                  <a:lnTo>
                    <a:pt x="2025" y="593"/>
                  </a:lnTo>
                  <a:lnTo>
                    <a:pt x="2023" y="589"/>
                  </a:lnTo>
                  <a:lnTo>
                    <a:pt x="2021" y="588"/>
                  </a:lnTo>
                  <a:lnTo>
                    <a:pt x="2019" y="591"/>
                  </a:lnTo>
                  <a:lnTo>
                    <a:pt x="2018" y="591"/>
                  </a:lnTo>
                  <a:lnTo>
                    <a:pt x="2018" y="584"/>
                  </a:lnTo>
                  <a:lnTo>
                    <a:pt x="2019" y="583"/>
                  </a:lnTo>
                  <a:lnTo>
                    <a:pt x="2019" y="579"/>
                  </a:lnTo>
                  <a:lnTo>
                    <a:pt x="2018" y="576"/>
                  </a:lnTo>
                  <a:lnTo>
                    <a:pt x="2016" y="574"/>
                  </a:lnTo>
                  <a:lnTo>
                    <a:pt x="2016" y="572"/>
                  </a:lnTo>
                  <a:lnTo>
                    <a:pt x="2016" y="572"/>
                  </a:lnTo>
                  <a:lnTo>
                    <a:pt x="2016" y="570"/>
                  </a:lnTo>
                  <a:lnTo>
                    <a:pt x="2013" y="565"/>
                  </a:lnTo>
                  <a:lnTo>
                    <a:pt x="2011" y="562"/>
                  </a:lnTo>
                  <a:lnTo>
                    <a:pt x="2009" y="560"/>
                  </a:lnTo>
                  <a:lnTo>
                    <a:pt x="2009" y="556"/>
                  </a:lnTo>
                  <a:lnTo>
                    <a:pt x="2007" y="553"/>
                  </a:lnTo>
                  <a:lnTo>
                    <a:pt x="2007" y="551"/>
                  </a:lnTo>
                  <a:lnTo>
                    <a:pt x="2013" y="546"/>
                  </a:lnTo>
                  <a:lnTo>
                    <a:pt x="2016" y="548"/>
                  </a:lnTo>
                  <a:lnTo>
                    <a:pt x="2018" y="546"/>
                  </a:lnTo>
                  <a:lnTo>
                    <a:pt x="2016" y="544"/>
                  </a:lnTo>
                  <a:lnTo>
                    <a:pt x="2021" y="541"/>
                  </a:lnTo>
                  <a:lnTo>
                    <a:pt x="2019" y="543"/>
                  </a:lnTo>
                  <a:lnTo>
                    <a:pt x="2016" y="541"/>
                  </a:lnTo>
                  <a:lnTo>
                    <a:pt x="2013" y="541"/>
                  </a:lnTo>
                  <a:lnTo>
                    <a:pt x="2009" y="541"/>
                  </a:lnTo>
                  <a:lnTo>
                    <a:pt x="2004" y="537"/>
                  </a:lnTo>
                  <a:lnTo>
                    <a:pt x="2002" y="537"/>
                  </a:lnTo>
                  <a:lnTo>
                    <a:pt x="1999" y="537"/>
                  </a:lnTo>
                  <a:lnTo>
                    <a:pt x="1995" y="541"/>
                  </a:lnTo>
                  <a:lnTo>
                    <a:pt x="1993" y="541"/>
                  </a:lnTo>
                  <a:lnTo>
                    <a:pt x="1988" y="546"/>
                  </a:lnTo>
                  <a:lnTo>
                    <a:pt x="1990" y="548"/>
                  </a:lnTo>
                  <a:lnTo>
                    <a:pt x="1990" y="551"/>
                  </a:lnTo>
                  <a:lnTo>
                    <a:pt x="1993" y="553"/>
                  </a:lnTo>
                  <a:lnTo>
                    <a:pt x="1993" y="556"/>
                  </a:lnTo>
                  <a:lnTo>
                    <a:pt x="1993" y="560"/>
                  </a:lnTo>
                  <a:lnTo>
                    <a:pt x="1993" y="565"/>
                  </a:lnTo>
                  <a:lnTo>
                    <a:pt x="1995" y="565"/>
                  </a:lnTo>
                  <a:lnTo>
                    <a:pt x="1995" y="567"/>
                  </a:lnTo>
                  <a:lnTo>
                    <a:pt x="1999" y="569"/>
                  </a:lnTo>
                  <a:lnTo>
                    <a:pt x="2000" y="576"/>
                  </a:lnTo>
                  <a:lnTo>
                    <a:pt x="2004" y="579"/>
                  </a:lnTo>
                  <a:lnTo>
                    <a:pt x="2004" y="583"/>
                  </a:lnTo>
                  <a:lnTo>
                    <a:pt x="2007" y="584"/>
                  </a:lnTo>
                  <a:lnTo>
                    <a:pt x="2004" y="588"/>
                  </a:lnTo>
                  <a:lnTo>
                    <a:pt x="2004" y="584"/>
                  </a:lnTo>
                  <a:lnTo>
                    <a:pt x="2002" y="583"/>
                  </a:lnTo>
                  <a:lnTo>
                    <a:pt x="1997" y="584"/>
                  </a:lnTo>
                  <a:lnTo>
                    <a:pt x="1993" y="584"/>
                  </a:lnTo>
                  <a:lnTo>
                    <a:pt x="1993" y="589"/>
                  </a:lnTo>
                  <a:lnTo>
                    <a:pt x="1993" y="591"/>
                  </a:lnTo>
                  <a:lnTo>
                    <a:pt x="1993" y="596"/>
                  </a:lnTo>
                  <a:lnTo>
                    <a:pt x="1993" y="598"/>
                  </a:lnTo>
                  <a:lnTo>
                    <a:pt x="1993" y="600"/>
                  </a:lnTo>
                  <a:lnTo>
                    <a:pt x="1993" y="600"/>
                  </a:lnTo>
                  <a:lnTo>
                    <a:pt x="1993" y="603"/>
                  </a:lnTo>
                  <a:lnTo>
                    <a:pt x="1990" y="607"/>
                  </a:lnTo>
                  <a:lnTo>
                    <a:pt x="1993" y="607"/>
                  </a:lnTo>
                  <a:lnTo>
                    <a:pt x="1990" y="610"/>
                  </a:lnTo>
                  <a:lnTo>
                    <a:pt x="1990" y="619"/>
                  </a:lnTo>
                  <a:lnTo>
                    <a:pt x="1990" y="621"/>
                  </a:lnTo>
                  <a:lnTo>
                    <a:pt x="1990" y="623"/>
                  </a:lnTo>
                  <a:lnTo>
                    <a:pt x="1988" y="624"/>
                  </a:lnTo>
                  <a:lnTo>
                    <a:pt x="1985" y="629"/>
                  </a:lnTo>
                  <a:lnTo>
                    <a:pt x="1985" y="626"/>
                  </a:lnTo>
                  <a:lnTo>
                    <a:pt x="1981" y="623"/>
                  </a:lnTo>
                  <a:lnTo>
                    <a:pt x="1985" y="617"/>
                  </a:lnTo>
                  <a:lnTo>
                    <a:pt x="1981" y="616"/>
                  </a:lnTo>
                  <a:lnTo>
                    <a:pt x="1980" y="616"/>
                  </a:lnTo>
                  <a:lnTo>
                    <a:pt x="1976" y="619"/>
                  </a:lnTo>
                  <a:lnTo>
                    <a:pt x="1976" y="621"/>
                  </a:lnTo>
                  <a:lnTo>
                    <a:pt x="1974" y="623"/>
                  </a:lnTo>
                  <a:lnTo>
                    <a:pt x="1974" y="616"/>
                  </a:lnTo>
                  <a:lnTo>
                    <a:pt x="1971" y="616"/>
                  </a:lnTo>
                  <a:lnTo>
                    <a:pt x="1969" y="612"/>
                  </a:lnTo>
                  <a:lnTo>
                    <a:pt x="1966" y="616"/>
                  </a:lnTo>
                  <a:lnTo>
                    <a:pt x="1966" y="616"/>
                  </a:lnTo>
                  <a:lnTo>
                    <a:pt x="1966" y="612"/>
                  </a:lnTo>
                  <a:lnTo>
                    <a:pt x="1967" y="612"/>
                  </a:lnTo>
                  <a:lnTo>
                    <a:pt x="1966" y="610"/>
                  </a:lnTo>
                  <a:lnTo>
                    <a:pt x="1966" y="607"/>
                  </a:lnTo>
                  <a:lnTo>
                    <a:pt x="1967" y="607"/>
                  </a:lnTo>
                  <a:lnTo>
                    <a:pt x="1966" y="603"/>
                  </a:lnTo>
                  <a:lnTo>
                    <a:pt x="1966" y="602"/>
                  </a:lnTo>
                  <a:lnTo>
                    <a:pt x="1967" y="600"/>
                  </a:lnTo>
                  <a:lnTo>
                    <a:pt x="1966" y="596"/>
                  </a:lnTo>
                  <a:lnTo>
                    <a:pt x="1966" y="595"/>
                  </a:lnTo>
                  <a:lnTo>
                    <a:pt x="1966" y="593"/>
                  </a:lnTo>
                  <a:lnTo>
                    <a:pt x="1966" y="588"/>
                  </a:lnTo>
                  <a:lnTo>
                    <a:pt x="1962" y="588"/>
                  </a:lnTo>
                  <a:lnTo>
                    <a:pt x="1962" y="584"/>
                  </a:lnTo>
                  <a:lnTo>
                    <a:pt x="1959" y="584"/>
                  </a:lnTo>
                  <a:lnTo>
                    <a:pt x="1959" y="588"/>
                  </a:lnTo>
                  <a:lnTo>
                    <a:pt x="1957" y="588"/>
                  </a:lnTo>
                  <a:lnTo>
                    <a:pt x="1957" y="593"/>
                  </a:lnTo>
                  <a:lnTo>
                    <a:pt x="1955" y="596"/>
                  </a:lnTo>
                  <a:lnTo>
                    <a:pt x="1953" y="596"/>
                  </a:lnTo>
                  <a:lnTo>
                    <a:pt x="1952" y="591"/>
                  </a:lnTo>
                  <a:lnTo>
                    <a:pt x="1950" y="591"/>
                  </a:lnTo>
                  <a:lnTo>
                    <a:pt x="1948" y="593"/>
                  </a:lnTo>
                  <a:lnTo>
                    <a:pt x="1948" y="589"/>
                  </a:lnTo>
                  <a:lnTo>
                    <a:pt x="1943" y="589"/>
                  </a:lnTo>
                  <a:lnTo>
                    <a:pt x="1943" y="591"/>
                  </a:lnTo>
                  <a:lnTo>
                    <a:pt x="1940" y="591"/>
                  </a:lnTo>
                  <a:lnTo>
                    <a:pt x="1940" y="595"/>
                  </a:lnTo>
                  <a:lnTo>
                    <a:pt x="1936" y="595"/>
                  </a:lnTo>
                  <a:lnTo>
                    <a:pt x="1936" y="596"/>
                  </a:lnTo>
                  <a:lnTo>
                    <a:pt x="1931" y="596"/>
                  </a:lnTo>
                  <a:lnTo>
                    <a:pt x="1929" y="600"/>
                  </a:lnTo>
                  <a:lnTo>
                    <a:pt x="1927" y="598"/>
                  </a:lnTo>
                  <a:lnTo>
                    <a:pt x="1926" y="600"/>
                  </a:lnTo>
                  <a:lnTo>
                    <a:pt x="1920" y="600"/>
                  </a:lnTo>
                  <a:lnTo>
                    <a:pt x="1917" y="607"/>
                  </a:lnTo>
                  <a:lnTo>
                    <a:pt x="1913" y="607"/>
                  </a:lnTo>
                  <a:lnTo>
                    <a:pt x="1915" y="612"/>
                  </a:lnTo>
                  <a:lnTo>
                    <a:pt x="1912" y="616"/>
                  </a:lnTo>
                  <a:lnTo>
                    <a:pt x="1912" y="616"/>
                  </a:lnTo>
                  <a:lnTo>
                    <a:pt x="1913" y="617"/>
                  </a:lnTo>
                  <a:lnTo>
                    <a:pt x="1915" y="621"/>
                  </a:lnTo>
                  <a:lnTo>
                    <a:pt x="1919" y="626"/>
                  </a:lnTo>
                  <a:lnTo>
                    <a:pt x="1915" y="629"/>
                  </a:lnTo>
                  <a:lnTo>
                    <a:pt x="1913" y="640"/>
                  </a:lnTo>
                  <a:lnTo>
                    <a:pt x="1919" y="647"/>
                  </a:lnTo>
                  <a:lnTo>
                    <a:pt x="1913" y="647"/>
                  </a:lnTo>
                  <a:lnTo>
                    <a:pt x="1915" y="647"/>
                  </a:lnTo>
                  <a:lnTo>
                    <a:pt x="1915" y="652"/>
                  </a:lnTo>
                  <a:lnTo>
                    <a:pt x="1912" y="656"/>
                  </a:lnTo>
                  <a:lnTo>
                    <a:pt x="1912" y="661"/>
                  </a:lnTo>
                  <a:lnTo>
                    <a:pt x="1908" y="663"/>
                  </a:lnTo>
                  <a:lnTo>
                    <a:pt x="1908" y="666"/>
                  </a:lnTo>
                  <a:lnTo>
                    <a:pt x="1908" y="675"/>
                  </a:lnTo>
                  <a:lnTo>
                    <a:pt x="1912" y="678"/>
                  </a:lnTo>
                  <a:lnTo>
                    <a:pt x="1908" y="680"/>
                  </a:lnTo>
                  <a:lnTo>
                    <a:pt x="1912" y="687"/>
                  </a:lnTo>
                  <a:lnTo>
                    <a:pt x="1912" y="687"/>
                  </a:lnTo>
                  <a:lnTo>
                    <a:pt x="1912" y="690"/>
                  </a:lnTo>
                  <a:lnTo>
                    <a:pt x="1912" y="692"/>
                  </a:lnTo>
                  <a:lnTo>
                    <a:pt x="1913" y="690"/>
                  </a:lnTo>
                  <a:lnTo>
                    <a:pt x="1917" y="690"/>
                  </a:lnTo>
                  <a:lnTo>
                    <a:pt x="1917" y="689"/>
                  </a:lnTo>
                  <a:lnTo>
                    <a:pt x="1919" y="689"/>
                  </a:lnTo>
                  <a:lnTo>
                    <a:pt x="1920" y="690"/>
                  </a:lnTo>
                  <a:lnTo>
                    <a:pt x="1924" y="690"/>
                  </a:lnTo>
                  <a:lnTo>
                    <a:pt x="1922" y="689"/>
                  </a:lnTo>
                  <a:lnTo>
                    <a:pt x="1924" y="687"/>
                  </a:lnTo>
                  <a:lnTo>
                    <a:pt x="1926" y="689"/>
                  </a:lnTo>
                  <a:lnTo>
                    <a:pt x="1929" y="690"/>
                  </a:lnTo>
                  <a:lnTo>
                    <a:pt x="1929" y="692"/>
                  </a:lnTo>
                  <a:lnTo>
                    <a:pt x="1929" y="694"/>
                  </a:lnTo>
                  <a:lnTo>
                    <a:pt x="1931" y="697"/>
                  </a:lnTo>
                  <a:lnTo>
                    <a:pt x="1931" y="697"/>
                  </a:lnTo>
                  <a:lnTo>
                    <a:pt x="1929" y="697"/>
                  </a:lnTo>
                  <a:lnTo>
                    <a:pt x="1927" y="699"/>
                  </a:lnTo>
                  <a:lnTo>
                    <a:pt x="1924" y="697"/>
                  </a:lnTo>
                  <a:lnTo>
                    <a:pt x="1920" y="699"/>
                  </a:lnTo>
                  <a:lnTo>
                    <a:pt x="1920" y="701"/>
                  </a:lnTo>
                  <a:lnTo>
                    <a:pt x="1922" y="703"/>
                  </a:lnTo>
                  <a:lnTo>
                    <a:pt x="1919" y="708"/>
                  </a:lnTo>
                  <a:lnTo>
                    <a:pt x="1915" y="706"/>
                  </a:lnTo>
                  <a:lnTo>
                    <a:pt x="1915" y="703"/>
                  </a:lnTo>
                  <a:lnTo>
                    <a:pt x="1913" y="701"/>
                  </a:lnTo>
                  <a:lnTo>
                    <a:pt x="1912" y="703"/>
                  </a:lnTo>
                  <a:lnTo>
                    <a:pt x="1908" y="701"/>
                  </a:lnTo>
                  <a:lnTo>
                    <a:pt x="1908" y="703"/>
                  </a:lnTo>
                  <a:lnTo>
                    <a:pt x="1908" y="704"/>
                  </a:lnTo>
                  <a:lnTo>
                    <a:pt x="1908" y="708"/>
                  </a:lnTo>
                  <a:lnTo>
                    <a:pt x="1907" y="708"/>
                  </a:lnTo>
                  <a:lnTo>
                    <a:pt x="1905" y="709"/>
                  </a:lnTo>
                  <a:lnTo>
                    <a:pt x="1903" y="711"/>
                  </a:lnTo>
                  <a:lnTo>
                    <a:pt x="1905" y="713"/>
                  </a:lnTo>
                  <a:lnTo>
                    <a:pt x="1903" y="716"/>
                  </a:lnTo>
                  <a:lnTo>
                    <a:pt x="1901" y="715"/>
                  </a:lnTo>
                  <a:lnTo>
                    <a:pt x="1896" y="711"/>
                  </a:lnTo>
                  <a:lnTo>
                    <a:pt x="1894" y="711"/>
                  </a:lnTo>
                  <a:lnTo>
                    <a:pt x="1896" y="715"/>
                  </a:lnTo>
                  <a:lnTo>
                    <a:pt x="1893" y="716"/>
                  </a:lnTo>
                  <a:lnTo>
                    <a:pt x="1894" y="716"/>
                  </a:lnTo>
                  <a:lnTo>
                    <a:pt x="1891" y="720"/>
                  </a:lnTo>
                  <a:lnTo>
                    <a:pt x="1886" y="722"/>
                  </a:lnTo>
                  <a:lnTo>
                    <a:pt x="1886" y="722"/>
                  </a:lnTo>
                  <a:lnTo>
                    <a:pt x="1880" y="716"/>
                  </a:lnTo>
                  <a:lnTo>
                    <a:pt x="1879" y="716"/>
                  </a:lnTo>
                  <a:lnTo>
                    <a:pt x="1877" y="716"/>
                  </a:lnTo>
                  <a:lnTo>
                    <a:pt x="1877" y="715"/>
                  </a:lnTo>
                  <a:lnTo>
                    <a:pt x="1880" y="715"/>
                  </a:lnTo>
                  <a:lnTo>
                    <a:pt x="1880" y="711"/>
                  </a:lnTo>
                  <a:lnTo>
                    <a:pt x="1880" y="709"/>
                  </a:lnTo>
                  <a:lnTo>
                    <a:pt x="1886" y="709"/>
                  </a:lnTo>
                  <a:lnTo>
                    <a:pt x="1893" y="704"/>
                  </a:lnTo>
                  <a:lnTo>
                    <a:pt x="1891" y="703"/>
                  </a:lnTo>
                  <a:lnTo>
                    <a:pt x="1889" y="703"/>
                  </a:lnTo>
                  <a:lnTo>
                    <a:pt x="1886" y="704"/>
                  </a:lnTo>
                  <a:lnTo>
                    <a:pt x="1880" y="704"/>
                  </a:lnTo>
                  <a:lnTo>
                    <a:pt x="1880" y="703"/>
                  </a:lnTo>
                  <a:lnTo>
                    <a:pt x="1879" y="699"/>
                  </a:lnTo>
                  <a:lnTo>
                    <a:pt x="1875" y="699"/>
                  </a:lnTo>
                  <a:lnTo>
                    <a:pt x="1870" y="699"/>
                  </a:lnTo>
                  <a:lnTo>
                    <a:pt x="1865" y="699"/>
                  </a:lnTo>
                  <a:lnTo>
                    <a:pt x="1867" y="701"/>
                  </a:lnTo>
                  <a:lnTo>
                    <a:pt x="1863" y="703"/>
                  </a:lnTo>
                  <a:lnTo>
                    <a:pt x="1861" y="701"/>
                  </a:lnTo>
                  <a:lnTo>
                    <a:pt x="1861" y="699"/>
                  </a:lnTo>
                  <a:lnTo>
                    <a:pt x="1858" y="699"/>
                  </a:lnTo>
                  <a:lnTo>
                    <a:pt x="1853" y="697"/>
                  </a:lnTo>
                  <a:lnTo>
                    <a:pt x="1849" y="699"/>
                  </a:lnTo>
                  <a:lnTo>
                    <a:pt x="1846" y="697"/>
                  </a:lnTo>
                  <a:lnTo>
                    <a:pt x="1841" y="697"/>
                  </a:lnTo>
                  <a:lnTo>
                    <a:pt x="1839" y="703"/>
                  </a:lnTo>
                  <a:lnTo>
                    <a:pt x="1835" y="703"/>
                  </a:lnTo>
                  <a:lnTo>
                    <a:pt x="1835" y="704"/>
                  </a:lnTo>
                  <a:lnTo>
                    <a:pt x="1839" y="708"/>
                  </a:lnTo>
                  <a:lnTo>
                    <a:pt x="1835" y="709"/>
                  </a:lnTo>
                  <a:lnTo>
                    <a:pt x="1835" y="708"/>
                  </a:lnTo>
                  <a:lnTo>
                    <a:pt x="1832" y="711"/>
                  </a:lnTo>
                  <a:lnTo>
                    <a:pt x="1835" y="713"/>
                  </a:lnTo>
                  <a:lnTo>
                    <a:pt x="1835" y="713"/>
                  </a:lnTo>
                  <a:lnTo>
                    <a:pt x="1839" y="713"/>
                  </a:lnTo>
                  <a:lnTo>
                    <a:pt x="1839" y="716"/>
                  </a:lnTo>
                  <a:lnTo>
                    <a:pt x="1832" y="720"/>
                  </a:lnTo>
                  <a:lnTo>
                    <a:pt x="1830" y="716"/>
                  </a:lnTo>
                  <a:lnTo>
                    <a:pt x="1825" y="716"/>
                  </a:lnTo>
                  <a:lnTo>
                    <a:pt x="1823" y="716"/>
                  </a:lnTo>
                  <a:lnTo>
                    <a:pt x="1823" y="720"/>
                  </a:lnTo>
                  <a:lnTo>
                    <a:pt x="1821" y="720"/>
                  </a:lnTo>
                  <a:lnTo>
                    <a:pt x="1818" y="722"/>
                  </a:lnTo>
                  <a:lnTo>
                    <a:pt x="1816" y="722"/>
                  </a:lnTo>
                  <a:lnTo>
                    <a:pt x="1816" y="720"/>
                  </a:lnTo>
                  <a:lnTo>
                    <a:pt x="1807" y="720"/>
                  </a:lnTo>
                  <a:lnTo>
                    <a:pt x="1807" y="722"/>
                  </a:lnTo>
                  <a:lnTo>
                    <a:pt x="1801" y="720"/>
                  </a:lnTo>
                  <a:lnTo>
                    <a:pt x="1795" y="722"/>
                  </a:lnTo>
                  <a:lnTo>
                    <a:pt x="1795" y="722"/>
                  </a:lnTo>
                  <a:lnTo>
                    <a:pt x="1801" y="727"/>
                  </a:lnTo>
                  <a:lnTo>
                    <a:pt x="1799" y="729"/>
                  </a:lnTo>
                  <a:lnTo>
                    <a:pt x="1795" y="732"/>
                  </a:lnTo>
                  <a:lnTo>
                    <a:pt x="1794" y="729"/>
                  </a:lnTo>
                  <a:lnTo>
                    <a:pt x="1790" y="729"/>
                  </a:lnTo>
                  <a:lnTo>
                    <a:pt x="1792" y="725"/>
                  </a:lnTo>
                  <a:lnTo>
                    <a:pt x="1788" y="722"/>
                  </a:lnTo>
                  <a:lnTo>
                    <a:pt x="1787" y="725"/>
                  </a:lnTo>
                  <a:lnTo>
                    <a:pt x="1785" y="725"/>
                  </a:lnTo>
                  <a:lnTo>
                    <a:pt x="1781" y="725"/>
                  </a:lnTo>
                  <a:lnTo>
                    <a:pt x="1776" y="729"/>
                  </a:lnTo>
                  <a:lnTo>
                    <a:pt x="1774" y="727"/>
                  </a:lnTo>
                  <a:lnTo>
                    <a:pt x="1769" y="730"/>
                  </a:lnTo>
                  <a:lnTo>
                    <a:pt x="1764" y="732"/>
                  </a:lnTo>
                  <a:lnTo>
                    <a:pt x="1757" y="736"/>
                  </a:lnTo>
                  <a:lnTo>
                    <a:pt x="1754" y="737"/>
                  </a:lnTo>
                  <a:lnTo>
                    <a:pt x="1754" y="734"/>
                  </a:lnTo>
                  <a:lnTo>
                    <a:pt x="1750" y="736"/>
                  </a:lnTo>
                  <a:lnTo>
                    <a:pt x="1750" y="739"/>
                  </a:lnTo>
                  <a:lnTo>
                    <a:pt x="1743" y="742"/>
                  </a:lnTo>
                  <a:lnTo>
                    <a:pt x="1743" y="748"/>
                  </a:lnTo>
                  <a:lnTo>
                    <a:pt x="1740" y="748"/>
                  </a:lnTo>
                  <a:lnTo>
                    <a:pt x="1738" y="753"/>
                  </a:lnTo>
                  <a:lnTo>
                    <a:pt x="1743" y="760"/>
                  </a:lnTo>
                  <a:lnTo>
                    <a:pt x="1741" y="767"/>
                  </a:lnTo>
                  <a:lnTo>
                    <a:pt x="1736" y="774"/>
                  </a:lnTo>
                  <a:lnTo>
                    <a:pt x="1735" y="779"/>
                  </a:lnTo>
                  <a:lnTo>
                    <a:pt x="1735" y="781"/>
                  </a:lnTo>
                  <a:lnTo>
                    <a:pt x="1735" y="789"/>
                  </a:lnTo>
                  <a:lnTo>
                    <a:pt x="1736" y="791"/>
                  </a:lnTo>
                  <a:lnTo>
                    <a:pt x="1736" y="795"/>
                  </a:lnTo>
                  <a:lnTo>
                    <a:pt x="1735" y="795"/>
                  </a:lnTo>
                  <a:lnTo>
                    <a:pt x="1735" y="796"/>
                  </a:lnTo>
                  <a:lnTo>
                    <a:pt x="1735" y="802"/>
                  </a:lnTo>
                  <a:lnTo>
                    <a:pt x="1731" y="802"/>
                  </a:lnTo>
                  <a:lnTo>
                    <a:pt x="1735" y="807"/>
                  </a:lnTo>
                  <a:lnTo>
                    <a:pt x="1731" y="810"/>
                  </a:lnTo>
                  <a:lnTo>
                    <a:pt x="1729" y="814"/>
                  </a:lnTo>
                  <a:lnTo>
                    <a:pt x="1726" y="821"/>
                  </a:lnTo>
                  <a:lnTo>
                    <a:pt x="1726" y="824"/>
                  </a:lnTo>
                  <a:lnTo>
                    <a:pt x="1722" y="826"/>
                  </a:lnTo>
                  <a:lnTo>
                    <a:pt x="1722" y="831"/>
                  </a:lnTo>
                  <a:lnTo>
                    <a:pt x="1721" y="831"/>
                  </a:lnTo>
                  <a:lnTo>
                    <a:pt x="1719" y="840"/>
                  </a:lnTo>
                  <a:lnTo>
                    <a:pt x="1719" y="847"/>
                  </a:lnTo>
                  <a:lnTo>
                    <a:pt x="1717" y="849"/>
                  </a:lnTo>
                  <a:lnTo>
                    <a:pt x="1719" y="852"/>
                  </a:lnTo>
                  <a:lnTo>
                    <a:pt x="1717" y="857"/>
                  </a:lnTo>
                  <a:lnTo>
                    <a:pt x="1715" y="861"/>
                  </a:lnTo>
                  <a:lnTo>
                    <a:pt x="1712" y="866"/>
                  </a:lnTo>
                  <a:lnTo>
                    <a:pt x="1712" y="866"/>
                  </a:lnTo>
                  <a:lnTo>
                    <a:pt x="1712" y="866"/>
                  </a:lnTo>
                  <a:lnTo>
                    <a:pt x="1712" y="871"/>
                  </a:lnTo>
                  <a:lnTo>
                    <a:pt x="1707" y="876"/>
                  </a:lnTo>
                  <a:lnTo>
                    <a:pt x="1707" y="882"/>
                  </a:lnTo>
                  <a:lnTo>
                    <a:pt x="1700" y="885"/>
                  </a:lnTo>
                  <a:lnTo>
                    <a:pt x="1700" y="890"/>
                  </a:lnTo>
                  <a:lnTo>
                    <a:pt x="1698" y="894"/>
                  </a:lnTo>
                  <a:lnTo>
                    <a:pt x="1698" y="897"/>
                  </a:lnTo>
                  <a:lnTo>
                    <a:pt x="1695" y="901"/>
                  </a:lnTo>
                  <a:lnTo>
                    <a:pt x="1698" y="904"/>
                  </a:lnTo>
                  <a:lnTo>
                    <a:pt x="1700" y="906"/>
                  </a:lnTo>
                  <a:lnTo>
                    <a:pt x="1703" y="904"/>
                  </a:lnTo>
                  <a:lnTo>
                    <a:pt x="1707" y="908"/>
                  </a:lnTo>
                  <a:lnTo>
                    <a:pt x="1708" y="908"/>
                  </a:lnTo>
                  <a:lnTo>
                    <a:pt x="1714" y="904"/>
                  </a:lnTo>
                  <a:lnTo>
                    <a:pt x="1717" y="904"/>
                  </a:lnTo>
                  <a:lnTo>
                    <a:pt x="1719" y="901"/>
                  </a:lnTo>
                  <a:lnTo>
                    <a:pt x="1721" y="902"/>
                  </a:lnTo>
                  <a:lnTo>
                    <a:pt x="1726" y="901"/>
                  </a:lnTo>
                  <a:lnTo>
                    <a:pt x="1726" y="909"/>
                  </a:lnTo>
                  <a:lnTo>
                    <a:pt x="1729" y="916"/>
                  </a:lnTo>
                  <a:lnTo>
                    <a:pt x="1731" y="922"/>
                  </a:lnTo>
                  <a:lnTo>
                    <a:pt x="1729" y="925"/>
                  </a:lnTo>
                  <a:lnTo>
                    <a:pt x="1735" y="929"/>
                  </a:lnTo>
                  <a:lnTo>
                    <a:pt x="1736" y="925"/>
                  </a:lnTo>
                  <a:lnTo>
                    <a:pt x="1736" y="925"/>
                  </a:lnTo>
                  <a:lnTo>
                    <a:pt x="1738" y="925"/>
                  </a:lnTo>
                  <a:lnTo>
                    <a:pt x="1740" y="922"/>
                  </a:lnTo>
                  <a:lnTo>
                    <a:pt x="1743" y="922"/>
                  </a:lnTo>
                  <a:lnTo>
                    <a:pt x="1743" y="922"/>
                  </a:lnTo>
                  <a:lnTo>
                    <a:pt x="1747" y="922"/>
                  </a:lnTo>
                  <a:lnTo>
                    <a:pt x="1750" y="922"/>
                  </a:lnTo>
                  <a:lnTo>
                    <a:pt x="1748" y="922"/>
                  </a:lnTo>
                  <a:lnTo>
                    <a:pt x="1747" y="925"/>
                  </a:lnTo>
                  <a:lnTo>
                    <a:pt x="1747" y="929"/>
                  </a:lnTo>
                  <a:lnTo>
                    <a:pt x="1745" y="929"/>
                  </a:lnTo>
                  <a:lnTo>
                    <a:pt x="1743" y="932"/>
                  </a:lnTo>
                  <a:lnTo>
                    <a:pt x="1743" y="934"/>
                  </a:lnTo>
                  <a:lnTo>
                    <a:pt x="1752" y="932"/>
                  </a:lnTo>
                  <a:lnTo>
                    <a:pt x="1754" y="930"/>
                  </a:lnTo>
                  <a:lnTo>
                    <a:pt x="1757" y="925"/>
                  </a:lnTo>
                  <a:lnTo>
                    <a:pt x="1757" y="922"/>
                  </a:lnTo>
                  <a:lnTo>
                    <a:pt x="1757" y="918"/>
                  </a:lnTo>
                  <a:lnTo>
                    <a:pt x="1759" y="925"/>
                  </a:lnTo>
                  <a:lnTo>
                    <a:pt x="1757" y="929"/>
                  </a:lnTo>
                  <a:lnTo>
                    <a:pt x="1759" y="932"/>
                  </a:lnTo>
                  <a:lnTo>
                    <a:pt x="1762" y="930"/>
                  </a:lnTo>
                  <a:lnTo>
                    <a:pt x="1762" y="925"/>
                  </a:lnTo>
                  <a:lnTo>
                    <a:pt x="1762" y="922"/>
                  </a:lnTo>
                  <a:lnTo>
                    <a:pt x="1762" y="916"/>
                  </a:lnTo>
                  <a:lnTo>
                    <a:pt x="1759" y="913"/>
                  </a:lnTo>
                  <a:lnTo>
                    <a:pt x="1757" y="909"/>
                  </a:lnTo>
                  <a:lnTo>
                    <a:pt x="1762" y="909"/>
                  </a:lnTo>
                  <a:lnTo>
                    <a:pt x="1764" y="911"/>
                  </a:lnTo>
                  <a:lnTo>
                    <a:pt x="1764" y="913"/>
                  </a:lnTo>
                  <a:lnTo>
                    <a:pt x="1764" y="913"/>
                  </a:lnTo>
                  <a:lnTo>
                    <a:pt x="1766" y="913"/>
                  </a:lnTo>
                  <a:lnTo>
                    <a:pt x="1768" y="911"/>
                  </a:lnTo>
                  <a:lnTo>
                    <a:pt x="1771" y="911"/>
                  </a:lnTo>
                  <a:lnTo>
                    <a:pt x="1776" y="908"/>
                  </a:lnTo>
                  <a:lnTo>
                    <a:pt x="1780" y="911"/>
                  </a:lnTo>
                  <a:lnTo>
                    <a:pt x="1785" y="911"/>
                  </a:lnTo>
                  <a:lnTo>
                    <a:pt x="1785" y="913"/>
                  </a:lnTo>
                  <a:lnTo>
                    <a:pt x="1787" y="916"/>
                  </a:lnTo>
                  <a:lnTo>
                    <a:pt x="1790" y="918"/>
                  </a:lnTo>
                  <a:lnTo>
                    <a:pt x="1794" y="918"/>
                  </a:lnTo>
                  <a:lnTo>
                    <a:pt x="1795" y="922"/>
                  </a:lnTo>
                  <a:lnTo>
                    <a:pt x="1804" y="925"/>
                  </a:lnTo>
                  <a:lnTo>
                    <a:pt x="1804" y="927"/>
                  </a:lnTo>
                  <a:lnTo>
                    <a:pt x="1807" y="927"/>
                  </a:lnTo>
                  <a:lnTo>
                    <a:pt x="1809" y="930"/>
                  </a:lnTo>
                  <a:lnTo>
                    <a:pt x="1811" y="930"/>
                  </a:lnTo>
                  <a:lnTo>
                    <a:pt x="1816" y="936"/>
                  </a:lnTo>
                  <a:lnTo>
                    <a:pt x="1813" y="939"/>
                  </a:lnTo>
                  <a:lnTo>
                    <a:pt x="1811" y="941"/>
                  </a:lnTo>
                  <a:lnTo>
                    <a:pt x="1809" y="941"/>
                  </a:lnTo>
                  <a:lnTo>
                    <a:pt x="1813" y="948"/>
                  </a:lnTo>
                  <a:lnTo>
                    <a:pt x="1816" y="948"/>
                  </a:lnTo>
                  <a:lnTo>
                    <a:pt x="1820" y="953"/>
                  </a:lnTo>
                  <a:lnTo>
                    <a:pt x="1820" y="955"/>
                  </a:lnTo>
                  <a:lnTo>
                    <a:pt x="1818" y="958"/>
                  </a:lnTo>
                  <a:lnTo>
                    <a:pt x="1818" y="962"/>
                  </a:lnTo>
                  <a:lnTo>
                    <a:pt x="1821" y="963"/>
                  </a:lnTo>
                  <a:lnTo>
                    <a:pt x="1825" y="963"/>
                  </a:lnTo>
                  <a:lnTo>
                    <a:pt x="1827" y="963"/>
                  </a:lnTo>
                  <a:lnTo>
                    <a:pt x="1827" y="967"/>
                  </a:lnTo>
                  <a:lnTo>
                    <a:pt x="1827" y="969"/>
                  </a:lnTo>
                  <a:lnTo>
                    <a:pt x="1827" y="972"/>
                  </a:lnTo>
                  <a:lnTo>
                    <a:pt x="1830" y="975"/>
                  </a:lnTo>
                  <a:lnTo>
                    <a:pt x="1827" y="975"/>
                  </a:lnTo>
                  <a:lnTo>
                    <a:pt x="1827" y="979"/>
                  </a:lnTo>
                  <a:lnTo>
                    <a:pt x="1827" y="981"/>
                  </a:lnTo>
                  <a:lnTo>
                    <a:pt x="1827" y="986"/>
                  </a:lnTo>
                  <a:lnTo>
                    <a:pt x="1827" y="986"/>
                  </a:lnTo>
                  <a:lnTo>
                    <a:pt x="1827" y="989"/>
                  </a:lnTo>
                  <a:lnTo>
                    <a:pt x="1827" y="991"/>
                  </a:lnTo>
                  <a:lnTo>
                    <a:pt x="1830" y="991"/>
                  </a:lnTo>
                  <a:lnTo>
                    <a:pt x="1827" y="995"/>
                  </a:lnTo>
                  <a:lnTo>
                    <a:pt x="1830" y="1003"/>
                  </a:lnTo>
                  <a:lnTo>
                    <a:pt x="1827" y="1003"/>
                  </a:lnTo>
                  <a:lnTo>
                    <a:pt x="1830" y="1010"/>
                  </a:lnTo>
                  <a:lnTo>
                    <a:pt x="1830" y="1014"/>
                  </a:lnTo>
                  <a:lnTo>
                    <a:pt x="1830" y="1017"/>
                  </a:lnTo>
                  <a:lnTo>
                    <a:pt x="1832" y="1026"/>
                  </a:lnTo>
                  <a:lnTo>
                    <a:pt x="1835" y="1028"/>
                  </a:lnTo>
                  <a:lnTo>
                    <a:pt x="1839" y="1026"/>
                  </a:lnTo>
                  <a:lnTo>
                    <a:pt x="1839" y="1026"/>
                  </a:lnTo>
                  <a:lnTo>
                    <a:pt x="1835" y="1031"/>
                  </a:lnTo>
                  <a:lnTo>
                    <a:pt x="1835" y="1035"/>
                  </a:lnTo>
                  <a:lnTo>
                    <a:pt x="1835" y="1036"/>
                  </a:lnTo>
                  <a:lnTo>
                    <a:pt x="1839" y="1036"/>
                  </a:lnTo>
                  <a:lnTo>
                    <a:pt x="1842" y="1042"/>
                  </a:lnTo>
                  <a:lnTo>
                    <a:pt x="1842" y="1049"/>
                  </a:lnTo>
                  <a:lnTo>
                    <a:pt x="1844" y="1050"/>
                  </a:lnTo>
                  <a:lnTo>
                    <a:pt x="1842" y="1054"/>
                  </a:lnTo>
                  <a:lnTo>
                    <a:pt x="1844" y="1062"/>
                  </a:lnTo>
                  <a:lnTo>
                    <a:pt x="1847" y="1062"/>
                  </a:lnTo>
                  <a:lnTo>
                    <a:pt x="1847" y="1064"/>
                  </a:lnTo>
                  <a:lnTo>
                    <a:pt x="1846" y="1066"/>
                  </a:lnTo>
                  <a:lnTo>
                    <a:pt x="1846" y="1071"/>
                  </a:lnTo>
                  <a:lnTo>
                    <a:pt x="1847" y="1073"/>
                  </a:lnTo>
                  <a:lnTo>
                    <a:pt x="1847" y="1080"/>
                  </a:lnTo>
                  <a:lnTo>
                    <a:pt x="1842" y="1085"/>
                  </a:lnTo>
                  <a:lnTo>
                    <a:pt x="1842" y="1089"/>
                  </a:lnTo>
                  <a:lnTo>
                    <a:pt x="1841" y="1094"/>
                  </a:lnTo>
                  <a:lnTo>
                    <a:pt x="1841" y="1101"/>
                  </a:lnTo>
                  <a:lnTo>
                    <a:pt x="1842" y="1101"/>
                  </a:lnTo>
                  <a:lnTo>
                    <a:pt x="1841" y="1104"/>
                  </a:lnTo>
                  <a:lnTo>
                    <a:pt x="1839" y="1109"/>
                  </a:lnTo>
                  <a:lnTo>
                    <a:pt x="1839" y="1113"/>
                  </a:lnTo>
                  <a:lnTo>
                    <a:pt x="1835" y="1118"/>
                  </a:lnTo>
                  <a:lnTo>
                    <a:pt x="1839" y="1118"/>
                  </a:lnTo>
                  <a:lnTo>
                    <a:pt x="1839" y="1122"/>
                  </a:lnTo>
                  <a:lnTo>
                    <a:pt x="1835" y="1125"/>
                  </a:lnTo>
                  <a:lnTo>
                    <a:pt x="1835" y="1132"/>
                  </a:lnTo>
                  <a:lnTo>
                    <a:pt x="1832" y="1135"/>
                  </a:lnTo>
                  <a:lnTo>
                    <a:pt x="1835" y="1141"/>
                  </a:lnTo>
                  <a:lnTo>
                    <a:pt x="1835" y="1141"/>
                  </a:lnTo>
                  <a:lnTo>
                    <a:pt x="1835" y="1144"/>
                  </a:lnTo>
                  <a:lnTo>
                    <a:pt x="1832" y="1149"/>
                  </a:lnTo>
                  <a:lnTo>
                    <a:pt x="1832" y="1155"/>
                  </a:lnTo>
                  <a:lnTo>
                    <a:pt x="1827" y="1158"/>
                  </a:lnTo>
                  <a:lnTo>
                    <a:pt x="1827" y="1162"/>
                  </a:lnTo>
                  <a:lnTo>
                    <a:pt x="1823" y="1163"/>
                  </a:lnTo>
                  <a:lnTo>
                    <a:pt x="1820" y="1179"/>
                  </a:lnTo>
                  <a:lnTo>
                    <a:pt x="1818" y="1181"/>
                  </a:lnTo>
                  <a:lnTo>
                    <a:pt x="1818" y="1186"/>
                  </a:lnTo>
                  <a:lnTo>
                    <a:pt x="1820" y="1186"/>
                  </a:lnTo>
                  <a:lnTo>
                    <a:pt x="1818" y="1188"/>
                  </a:lnTo>
                  <a:lnTo>
                    <a:pt x="1813" y="1191"/>
                  </a:lnTo>
                  <a:lnTo>
                    <a:pt x="1813" y="1195"/>
                  </a:lnTo>
                  <a:lnTo>
                    <a:pt x="1809" y="1195"/>
                  </a:lnTo>
                  <a:lnTo>
                    <a:pt x="1811" y="1202"/>
                  </a:lnTo>
                  <a:lnTo>
                    <a:pt x="1807" y="1202"/>
                  </a:lnTo>
                  <a:lnTo>
                    <a:pt x="1809" y="1205"/>
                  </a:lnTo>
                  <a:lnTo>
                    <a:pt x="1807" y="1210"/>
                  </a:lnTo>
                  <a:lnTo>
                    <a:pt x="1807" y="1210"/>
                  </a:lnTo>
                  <a:lnTo>
                    <a:pt x="1804" y="1209"/>
                  </a:lnTo>
                  <a:lnTo>
                    <a:pt x="1804" y="1214"/>
                  </a:lnTo>
                  <a:lnTo>
                    <a:pt x="1804" y="1217"/>
                  </a:lnTo>
                  <a:lnTo>
                    <a:pt x="1802" y="1219"/>
                  </a:lnTo>
                  <a:lnTo>
                    <a:pt x="1802" y="1219"/>
                  </a:lnTo>
                  <a:lnTo>
                    <a:pt x="1797" y="1228"/>
                  </a:lnTo>
                  <a:lnTo>
                    <a:pt x="1794" y="1231"/>
                  </a:lnTo>
                  <a:lnTo>
                    <a:pt x="1792" y="1231"/>
                  </a:lnTo>
                  <a:lnTo>
                    <a:pt x="1790" y="1235"/>
                  </a:lnTo>
                  <a:lnTo>
                    <a:pt x="1785" y="1235"/>
                  </a:lnTo>
                  <a:lnTo>
                    <a:pt x="1781" y="1240"/>
                  </a:lnTo>
                  <a:lnTo>
                    <a:pt x="1781" y="1236"/>
                  </a:lnTo>
                  <a:lnTo>
                    <a:pt x="1780" y="1240"/>
                  </a:lnTo>
                  <a:lnTo>
                    <a:pt x="1773" y="1235"/>
                  </a:lnTo>
                  <a:lnTo>
                    <a:pt x="1768" y="1235"/>
                  </a:lnTo>
                  <a:lnTo>
                    <a:pt x="1768" y="1228"/>
                  </a:lnTo>
                  <a:lnTo>
                    <a:pt x="1766" y="1226"/>
                  </a:lnTo>
                  <a:lnTo>
                    <a:pt x="1762" y="1228"/>
                  </a:lnTo>
                  <a:lnTo>
                    <a:pt x="1757" y="1226"/>
                  </a:lnTo>
                  <a:lnTo>
                    <a:pt x="1757" y="1228"/>
                  </a:lnTo>
                  <a:lnTo>
                    <a:pt x="1757" y="1231"/>
                  </a:lnTo>
                  <a:lnTo>
                    <a:pt x="1754" y="1233"/>
                  </a:lnTo>
                  <a:lnTo>
                    <a:pt x="1754" y="1240"/>
                  </a:lnTo>
                  <a:lnTo>
                    <a:pt x="1752" y="1242"/>
                  </a:lnTo>
                  <a:lnTo>
                    <a:pt x="1750" y="1247"/>
                  </a:lnTo>
                  <a:lnTo>
                    <a:pt x="1748" y="1245"/>
                  </a:lnTo>
                  <a:lnTo>
                    <a:pt x="1743" y="1247"/>
                  </a:lnTo>
                  <a:lnTo>
                    <a:pt x="1743" y="1250"/>
                  </a:lnTo>
                  <a:lnTo>
                    <a:pt x="1741" y="1250"/>
                  </a:lnTo>
                  <a:lnTo>
                    <a:pt x="1741" y="1250"/>
                  </a:lnTo>
                  <a:lnTo>
                    <a:pt x="1741" y="1250"/>
                  </a:lnTo>
                  <a:lnTo>
                    <a:pt x="1741" y="1250"/>
                  </a:lnTo>
                  <a:close/>
                  <a:moveTo>
                    <a:pt x="1993" y="1191"/>
                  </a:moveTo>
                  <a:lnTo>
                    <a:pt x="1993" y="1191"/>
                  </a:lnTo>
                  <a:lnTo>
                    <a:pt x="1997" y="1189"/>
                  </a:lnTo>
                  <a:lnTo>
                    <a:pt x="1997" y="1186"/>
                  </a:lnTo>
                  <a:lnTo>
                    <a:pt x="1995" y="1188"/>
                  </a:lnTo>
                  <a:lnTo>
                    <a:pt x="1993" y="1191"/>
                  </a:lnTo>
                  <a:lnTo>
                    <a:pt x="1993" y="1191"/>
                  </a:lnTo>
                  <a:lnTo>
                    <a:pt x="1993" y="1191"/>
                  </a:lnTo>
                  <a:lnTo>
                    <a:pt x="1993" y="1191"/>
                  </a:lnTo>
                  <a:close/>
                  <a:moveTo>
                    <a:pt x="112" y="176"/>
                  </a:moveTo>
                  <a:lnTo>
                    <a:pt x="110" y="172"/>
                  </a:lnTo>
                  <a:lnTo>
                    <a:pt x="110" y="169"/>
                  </a:lnTo>
                  <a:lnTo>
                    <a:pt x="106" y="165"/>
                  </a:lnTo>
                  <a:lnTo>
                    <a:pt x="106" y="165"/>
                  </a:lnTo>
                  <a:lnTo>
                    <a:pt x="105" y="160"/>
                  </a:lnTo>
                  <a:lnTo>
                    <a:pt x="106" y="158"/>
                  </a:lnTo>
                  <a:lnTo>
                    <a:pt x="110" y="155"/>
                  </a:lnTo>
                  <a:lnTo>
                    <a:pt x="115" y="153"/>
                  </a:lnTo>
                  <a:lnTo>
                    <a:pt x="119" y="151"/>
                  </a:lnTo>
                  <a:lnTo>
                    <a:pt x="119" y="153"/>
                  </a:lnTo>
                  <a:lnTo>
                    <a:pt x="122" y="157"/>
                  </a:lnTo>
                  <a:lnTo>
                    <a:pt x="126" y="158"/>
                  </a:lnTo>
                  <a:lnTo>
                    <a:pt x="129" y="158"/>
                  </a:lnTo>
                  <a:lnTo>
                    <a:pt x="131" y="157"/>
                  </a:lnTo>
                  <a:lnTo>
                    <a:pt x="132" y="155"/>
                  </a:lnTo>
                  <a:lnTo>
                    <a:pt x="129" y="153"/>
                  </a:lnTo>
                  <a:lnTo>
                    <a:pt x="126" y="151"/>
                  </a:lnTo>
                  <a:lnTo>
                    <a:pt x="119" y="146"/>
                  </a:lnTo>
                  <a:lnTo>
                    <a:pt x="110" y="144"/>
                  </a:lnTo>
                  <a:lnTo>
                    <a:pt x="105" y="146"/>
                  </a:lnTo>
                  <a:lnTo>
                    <a:pt x="98" y="151"/>
                  </a:lnTo>
                  <a:lnTo>
                    <a:pt x="96" y="157"/>
                  </a:lnTo>
                  <a:lnTo>
                    <a:pt x="91" y="158"/>
                  </a:lnTo>
                  <a:lnTo>
                    <a:pt x="87" y="160"/>
                  </a:lnTo>
                  <a:lnTo>
                    <a:pt x="87" y="169"/>
                  </a:lnTo>
                  <a:lnTo>
                    <a:pt x="91" y="172"/>
                  </a:lnTo>
                  <a:lnTo>
                    <a:pt x="96" y="169"/>
                  </a:lnTo>
                  <a:lnTo>
                    <a:pt x="98" y="172"/>
                  </a:lnTo>
                  <a:lnTo>
                    <a:pt x="99" y="174"/>
                  </a:lnTo>
                  <a:lnTo>
                    <a:pt x="101" y="174"/>
                  </a:lnTo>
                  <a:lnTo>
                    <a:pt x="103" y="172"/>
                  </a:lnTo>
                  <a:lnTo>
                    <a:pt x="103" y="172"/>
                  </a:lnTo>
                  <a:lnTo>
                    <a:pt x="105" y="169"/>
                  </a:lnTo>
                  <a:lnTo>
                    <a:pt x="106" y="172"/>
                  </a:lnTo>
                  <a:lnTo>
                    <a:pt x="110" y="176"/>
                  </a:lnTo>
                  <a:lnTo>
                    <a:pt x="110" y="177"/>
                  </a:lnTo>
                  <a:lnTo>
                    <a:pt x="112" y="176"/>
                  </a:lnTo>
                  <a:lnTo>
                    <a:pt x="112" y="176"/>
                  </a:lnTo>
                  <a:lnTo>
                    <a:pt x="112" y="176"/>
                  </a:lnTo>
                  <a:lnTo>
                    <a:pt x="112" y="176"/>
                  </a:lnTo>
                  <a:close/>
                  <a:moveTo>
                    <a:pt x="138" y="125"/>
                  </a:moveTo>
                  <a:lnTo>
                    <a:pt x="141" y="122"/>
                  </a:lnTo>
                  <a:lnTo>
                    <a:pt x="141" y="118"/>
                  </a:lnTo>
                  <a:lnTo>
                    <a:pt x="143" y="118"/>
                  </a:lnTo>
                  <a:lnTo>
                    <a:pt x="143" y="122"/>
                  </a:lnTo>
                  <a:lnTo>
                    <a:pt x="145" y="123"/>
                  </a:lnTo>
                  <a:lnTo>
                    <a:pt x="145" y="127"/>
                  </a:lnTo>
                  <a:lnTo>
                    <a:pt x="141" y="127"/>
                  </a:lnTo>
                  <a:lnTo>
                    <a:pt x="141" y="127"/>
                  </a:lnTo>
                  <a:lnTo>
                    <a:pt x="138" y="125"/>
                  </a:lnTo>
                  <a:lnTo>
                    <a:pt x="138" y="125"/>
                  </a:lnTo>
                  <a:lnTo>
                    <a:pt x="138" y="125"/>
                  </a:lnTo>
                  <a:lnTo>
                    <a:pt x="138" y="125"/>
                  </a:lnTo>
                  <a:close/>
                  <a:moveTo>
                    <a:pt x="132" y="195"/>
                  </a:moveTo>
                  <a:lnTo>
                    <a:pt x="134" y="195"/>
                  </a:lnTo>
                  <a:lnTo>
                    <a:pt x="134" y="191"/>
                  </a:lnTo>
                  <a:lnTo>
                    <a:pt x="138" y="190"/>
                  </a:lnTo>
                  <a:lnTo>
                    <a:pt x="138" y="188"/>
                  </a:lnTo>
                  <a:lnTo>
                    <a:pt x="138" y="186"/>
                  </a:lnTo>
                  <a:lnTo>
                    <a:pt x="138" y="188"/>
                  </a:lnTo>
                  <a:lnTo>
                    <a:pt x="141" y="186"/>
                  </a:lnTo>
                  <a:lnTo>
                    <a:pt x="141" y="181"/>
                  </a:lnTo>
                  <a:lnTo>
                    <a:pt x="141" y="176"/>
                  </a:lnTo>
                  <a:lnTo>
                    <a:pt x="138" y="174"/>
                  </a:lnTo>
                  <a:lnTo>
                    <a:pt x="138" y="172"/>
                  </a:lnTo>
                  <a:lnTo>
                    <a:pt x="141" y="172"/>
                  </a:lnTo>
                  <a:lnTo>
                    <a:pt x="145" y="172"/>
                  </a:lnTo>
                  <a:lnTo>
                    <a:pt x="150" y="169"/>
                  </a:lnTo>
                  <a:lnTo>
                    <a:pt x="152" y="169"/>
                  </a:lnTo>
                  <a:lnTo>
                    <a:pt x="152" y="169"/>
                  </a:lnTo>
                  <a:lnTo>
                    <a:pt x="150" y="165"/>
                  </a:lnTo>
                  <a:lnTo>
                    <a:pt x="148" y="165"/>
                  </a:lnTo>
                  <a:lnTo>
                    <a:pt x="146" y="165"/>
                  </a:lnTo>
                  <a:lnTo>
                    <a:pt x="146" y="163"/>
                  </a:lnTo>
                  <a:lnTo>
                    <a:pt x="146" y="160"/>
                  </a:lnTo>
                  <a:lnTo>
                    <a:pt x="148" y="158"/>
                  </a:lnTo>
                  <a:lnTo>
                    <a:pt x="150" y="158"/>
                  </a:lnTo>
                  <a:lnTo>
                    <a:pt x="150" y="160"/>
                  </a:lnTo>
                  <a:lnTo>
                    <a:pt x="152" y="160"/>
                  </a:lnTo>
                  <a:lnTo>
                    <a:pt x="153" y="160"/>
                  </a:lnTo>
                  <a:lnTo>
                    <a:pt x="157" y="157"/>
                  </a:lnTo>
                  <a:lnTo>
                    <a:pt x="160" y="155"/>
                  </a:lnTo>
                  <a:lnTo>
                    <a:pt x="160" y="153"/>
                  </a:lnTo>
                  <a:lnTo>
                    <a:pt x="157" y="150"/>
                  </a:lnTo>
                  <a:lnTo>
                    <a:pt x="157" y="150"/>
                  </a:lnTo>
                  <a:lnTo>
                    <a:pt x="155" y="146"/>
                  </a:lnTo>
                  <a:lnTo>
                    <a:pt x="153" y="143"/>
                  </a:lnTo>
                  <a:lnTo>
                    <a:pt x="152" y="143"/>
                  </a:lnTo>
                  <a:lnTo>
                    <a:pt x="148" y="144"/>
                  </a:lnTo>
                  <a:lnTo>
                    <a:pt x="146" y="150"/>
                  </a:lnTo>
                  <a:lnTo>
                    <a:pt x="145" y="150"/>
                  </a:lnTo>
                  <a:lnTo>
                    <a:pt x="143" y="150"/>
                  </a:lnTo>
                  <a:lnTo>
                    <a:pt x="145" y="144"/>
                  </a:lnTo>
                  <a:lnTo>
                    <a:pt x="146" y="141"/>
                  </a:lnTo>
                  <a:lnTo>
                    <a:pt x="148" y="137"/>
                  </a:lnTo>
                  <a:lnTo>
                    <a:pt x="150" y="134"/>
                  </a:lnTo>
                  <a:lnTo>
                    <a:pt x="148" y="132"/>
                  </a:lnTo>
                  <a:lnTo>
                    <a:pt x="145" y="137"/>
                  </a:lnTo>
                  <a:lnTo>
                    <a:pt x="143" y="141"/>
                  </a:lnTo>
                  <a:lnTo>
                    <a:pt x="141" y="141"/>
                  </a:lnTo>
                  <a:lnTo>
                    <a:pt x="141" y="141"/>
                  </a:lnTo>
                  <a:lnTo>
                    <a:pt x="141" y="137"/>
                  </a:lnTo>
                  <a:lnTo>
                    <a:pt x="141" y="136"/>
                  </a:lnTo>
                  <a:lnTo>
                    <a:pt x="141" y="137"/>
                  </a:lnTo>
                  <a:lnTo>
                    <a:pt x="138" y="141"/>
                  </a:lnTo>
                  <a:lnTo>
                    <a:pt x="134" y="141"/>
                  </a:lnTo>
                  <a:lnTo>
                    <a:pt x="134" y="144"/>
                  </a:lnTo>
                  <a:lnTo>
                    <a:pt x="138" y="146"/>
                  </a:lnTo>
                  <a:lnTo>
                    <a:pt x="141" y="144"/>
                  </a:lnTo>
                  <a:lnTo>
                    <a:pt x="141" y="146"/>
                  </a:lnTo>
                  <a:lnTo>
                    <a:pt x="141" y="150"/>
                  </a:lnTo>
                  <a:lnTo>
                    <a:pt x="138" y="150"/>
                  </a:lnTo>
                  <a:lnTo>
                    <a:pt x="134" y="151"/>
                  </a:lnTo>
                  <a:lnTo>
                    <a:pt x="138" y="155"/>
                  </a:lnTo>
                  <a:lnTo>
                    <a:pt x="134" y="158"/>
                  </a:lnTo>
                  <a:lnTo>
                    <a:pt x="134" y="158"/>
                  </a:lnTo>
                  <a:lnTo>
                    <a:pt x="131" y="160"/>
                  </a:lnTo>
                  <a:lnTo>
                    <a:pt x="127" y="163"/>
                  </a:lnTo>
                  <a:lnTo>
                    <a:pt x="124" y="160"/>
                  </a:lnTo>
                  <a:lnTo>
                    <a:pt x="122" y="163"/>
                  </a:lnTo>
                  <a:lnTo>
                    <a:pt x="119" y="160"/>
                  </a:lnTo>
                  <a:lnTo>
                    <a:pt x="115" y="158"/>
                  </a:lnTo>
                  <a:lnTo>
                    <a:pt x="115" y="160"/>
                  </a:lnTo>
                  <a:lnTo>
                    <a:pt x="115" y="163"/>
                  </a:lnTo>
                  <a:lnTo>
                    <a:pt x="115" y="165"/>
                  </a:lnTo>
                  <a:lnTo>
                    <a:pt x="115" y="169"/>
                  </a:lnTo>
                  <a:lnTo>
                    <a:pt x="119" y="169"/>
                  </a:lnTo>
                  <a:lnTo>
                    <a:pt x="119" y="165"/>
                  </a:lnTo>
                  <a:lnTo>
                    <a:pt x="122" y="169"/>
                  </a:lnTo>
                  <a:lnTo>
                    <a:pt x="122" y="172"/>
                  </a:lnTo>
                  <a:lnTo>
                    <a:pt x="126" y="172"/>
                  </a:lnTo>
                  <a:lnTo>
                    <a:pt x="127" y="172"/>
                  </a:lnTo>
                  <a:lnTo>
                    <a:pt x="124" y="174"/>
                  </a:lnTo>
                  <a:lnTo>
                    <a:pt x="120" y="174"/>
                  </a:lnTo>
                  <a:lnTo>
                    <a:pt x="119" y="176"/>
                  </a:lnTo>
                  <a:lnTo>
                    <a:pt x="119" y="184"/>
                  </a:lnTo>
                  <a:lnTo>
                    <a:pt x="120" y="188"/>
                  </a:lnTo>
                  <a:lnTo>
                    <a:pt x="119" y="190"/>
                  </a:lnTo>
                  <a:lnTo>
                    <a:pt x="120" y="191"/>
                  </a:lnTo>
                  <a:lnTo>
                    <a:pt x="122" y="191"/>
                  </a:lnTo>
                  <a:lnTo>
                    <a:pt x="126" y="191"/>
                  </a:lnTo>
                  <a:lnTo>
                    <a:pt x="127" y="188"/>
                  </a:lnTo>
                  <a:lnTo>
                    <a:pt x="127" y="184"/>
                  </a:lnTo>
                  <a:lnTo>
                    <a:pt x="129" y="184"/>
                  </a:lnTo>
                  <a:lnTo>
                    <a:pt x="132" y="188"/>
                  </a:lnTo>
                  <a:lnTo>
                    <a:pt x="132" y="195"/>
                  </a:lnTo>
                  <a:lnTo>
                    <a:pt x="132" y="195"/>
                  </a:lnTo>
                  <a:lnTo>
                    <a:pt x="132" y="195"/>
                  </a:lnTo>
                  <a:lnTo>
                    <a:pt x="132" y="195"/>
                  </a:lnTo>
                  <a:close/>
                  <a:moveTo>
                    <a:pt x="155" y="188"/>
                  </a:moveTo>
                  <a:lnTo>
                    <a:pt x="155" y="184"/>
                  </a:lnTo>
                  <a:lnTo>
                    <a:pt x="157" y="183"/>
                  </a:lnTo>
                  <a:lnTo>
                    <a:pt x="157" y="179"/>
                  </a:lnTo>
                  <a:lnTo>
                    <a:pt x="153" y="177"/>
                  </a:lnTo>
                  <a:lnTo>
                    <a:pt x="150" y="176"/>
                  </a:lnTo>
                  <a:lnTo>
                    <a:pt x="148" y="179"/>
                  </a:lnTo>
                  <a:lnTo>
                    <a:pt x="148" y="183"/>
                  </a:lnTo>
                  <a:lnTo>
                    <a:pt x="150" y="184"/>
                  </a:lnTo>
                  <a:lnTo>
                    <a:pt x="155" y="188"/>
                  </a:lnTo>
                  <a:lnTo>
                    <a:pt x="155" y="188"/>
                  </a:lnTo>
                  <a:lnTo>
                    <a:pt x="155" y="188"/>
                  </a:lnTo>
                  <a:lnTo>
                    <a:pt x="155" y="188"/>
                  </a:lnTo>
                  <a:close/>
                  <a:moveTo>
                    <a:pt x="160" y="197"/>
                  </a:moveTo>
                  <a:lnTo>
                    <a:pt x="160" y="197"/>
                  </a:lnTo>
                  <a:lnTo>
                    <a:pt x="160" y="197"/>
                  </a:lnTo>
                  <a:lnTo>
                    <a:pt x="165" y="195"/>
                  </a:lnTo>
                  <a:lnTo>
                    <a:pt x="169" y="195"/>
                  </a:lnTo>
                  <a:lnTo>
                    <a:pt x="171" y="191"/>
                  </a:lnTo>
                  <a:lnTo>
                    <a:pt x="169" y="191"/>
                  </a:lnTo>
                  <a:lnTo>
                    <a:pt x="165" y="190"/>
                  </a:lnTo>
                  <a:lnTo>
                    <a:pt x="165" y="186"/>
                  </a:lnTo>
                  <a:lnTo>
                    <a:pt x="164" y="181"/>
                  </a:lnTo>
                  <a:lnTo>
                    <a:pt x="160" y="183"/>
                  </a:lnTo>
                  <a:lnTo>
                    <a:pt x="160" y="188"/>
                  </a:lnTo>
                  <a:lnTo>
                    <a:pt x="160" y="191"/>
                  </a:lnTo>
                  <a:lnTo>
                    <a:pt x="157" y="191"/>
                  </a:lnTo>
                  <a:lnTo>
                    <a:pt x="155" y="191"/>
                  </a:lnTo>
                  <a:lnTo>
                    <a:pt x="157" y="195"/>
                  </a:lnTo>
                  <a:lnTo>
                    <a:pt x="160" y="197"/>
                  </a:lnTo>
                  <a:lnTo>
                    <a:pt x="160" y="197"/>
                  </a:lnTo>
                  <a:lnTo>
                    <a:pt x="160" y="197"/>
                  </a:lnTo>
                  <a:lnTo>
                    <a:pt x="160" y="197"/>
                  </a:lnTo>
                  <a:close/>
                  <a:moveTo>
                    <a:pt x="204" y="75"/>
                  </a:moveTo>
                  <a:lnTo>
                    <a:pt x="207" y="73"/>
                  </a:lnTo>
                  <a:lnTo>
                    <a:pt x="211" y="73"/>
                  </a:lnTo>
                  <a:lnTo>
                    <a:pt x="211" y="71"/>
                  </a:lnTo>
                  <a:lnTo>
                    <a:pt x="211" y="70"/>
                  </a:lnTo>
                  <a:lnTo>
                    <a:pt x="211" y="68"/>
                  </a:lnTo>
                  <a:lnTo>
                    <a:pt x="211" y="64"/>
                  </a:lnTo>
                  <a:lnTo>
                    <a:pt x="209" y="63"/>
                  </a:lnTo>
                  <a:lnTo>
                    <a:pt x="205" y="64"/>
                  </a:lnTo>
                  <a:lnTo>
                    <a:pt x="202" y="66"/>
                  </a:lnTo>
                  <a:lnTo>
                    <a:pt x="198" y="68"/>
                  </a:lnTo>
                  <a:lnTo>
                    <a:pt x="198" y="68"/>
                  </a:lnTo>
                  <a:lnTo>
                    <a:pt x="200" y="70"/>
                  </a:lnTo>
                  <a:lnTo>
                    <a:pt x="202" y="73"/>
                  </a:lnTo>
                  <a:lnTo>
                    <a:pt x="202" y="73"/>
                  </a:lnTo>
                  <a:lnTo>
                    <a:pt x="204" y="75"/>
                  </a:lnTo>
                  <a:lnTo>
                    <a:pt x="204" y="75"/>
                  </a:lnTo>
                  <a:lnTo>
                    <a:pt x="204" y="75"/>
                  </a:lnTo>
                  <a:lnTo>
                    <a:pt x="204" y="75"/>
                  </a:lnTo>
                  <a:close/>
                  <a:moveTo>
                    <a:pt x="207" y="82"/>
                  </a:moveTo>
                  <a:lnTo>
                    <a:pt x="207" y="78"/>
                  </a:lnTo>
                  <a:lnTo>
                    <a:pt x="207" y="78"/>
                  </a:lnTo>
                  <a:lnTo>
                    <a:pt x="209" y="78"/>
                  </a:lnTo>
                  <a:lnTo>
                    <a:pt x="207" y="82"/>
                  </a:lnTo>
                  <a:lnTo>
                    <a:pt x="207" y="82"/>
                  </a:lnTo>
                  <a:lnTo>
                    <a:pt x="207" y="82"/>
                  </a:lnTo>
                  <a:lnTo>
                    <a:pt x="207" y="82"/>
                  </a:lnTo>
                  <a:close/>
                  <a:moveTo>
                    <a:pt x="207" y="92"/>
                  </a:moveTo>
                  <a:lnTo>
                    <a:pt x="209" y="90"/>
                  </a:lnTo>
                  <a:lnTo>
                    <a:pt x="211" y="87"/>
                  </a:lnTo>
                  <a:lnTo>
                    <a:pt x="211" y="87"/>
                  </a:lnTo>
                  <a:lnTo>
                    <a:pt x="211" y="85"/>
                  </a:lnTo>
                  <a:lnTo>
                    <a:pt x="209" y="87"/>
                  </a:lnTo>
                  <a:lnTo>
                    <a:pt x="205" y="87"/>
                  </a:lnTo>
                  <a:lnTo>
                    <a:pt x="204" y="85"/>
                  </a:lnTo>
                  <a:lnTo>
                    <a:pt x="200" y="85"/>
                  </a:lnTo>
                  <a:lnTo>
                    <a:pt x="198" y="87"/>
                  </a:lnTo>
                  <a:lnTo>
                    <a:pt x="195" y="87"/>
                  </a:lnTo>
                  <a:lnTo>
                    <a:pt x="193" y="90"/>
                  </a:lnTo>
                  <a:lnTo>
                    <a:pt x="195" y="92"/>
                  </a:lnTo>
                  <a:lnTo>
                    <a:pt x="198" y="94"/>
                  </a:lnTo>
                  <a:lnTo>
                    <a:pt x="202" y="90"/>
                  </a:lnTo>
                  <a:lnTo>
                    <a:pt x="204" y="94"/>
                  </a:lnTo>
                  <a:lnTo>
                    <a:pt x="205" y="94"/>
                  </a:lnTo>
                  <a:lnTo>
                    <a:pt x="207" y="92"/>
                  </a:lnTo>
                  <a:lnTo>
                    <a:pt x="207" y="92"/>
                  </a:lnTo>
                  <a:lnTo>
                    <a:pt x="207" y="92"/>
                  </a:lnTo>
                  <a:lnTo>
                    <a:pt x="207" y="92"/>
                  </a:lnTo>
                  <a:close/>
                  <a:moveTo>
                    <a:pt x="214" y="92"/>
                  </a:moveTo>
                  <a:lnTo>
                    <a:pt x="214" y="90"/>
                  </a:lnTo>
                  <a:lnTo>
                    <a:pt x="216" y="87"/>
                  </a:lnTo>
                  <a:lnTo>
                    <a:pt x="219" y="87"/>
                  </a:lnTo>
                  <a:lnTo>
                    <a:pt x="219" y="87"/>
                  </a:lnTo>
                  <a:lnTo>
                    <a:pt x="221" y="90"/>
                  </a:lnTo>
                  <a:lnTo>
                    <a:pt x="219" y="92"/>
                  </a:lnTo>
                  <a:lnTo>
                    <a:pt x="219" y="94"/>
                  </a:lnTo>
                  <a:lnTo>
                    <a:pt x="214" y="92"/>
                  </a:lnTo>
                  <a:lnTo>
                    <a:pt x="214" y="92"/>
                  </a:lnTo>
                  <a:lnTo>
                    <a:pt x="214" y="92"/>
                  </a:lnTo>
                  <a:lnTo>
                    <a:pt x="214" y="92"/>
                  </a:lnTo>
                  <a:close/>
                  <a:moveTo>
                    <a:pt x="202" y="110"/>
                  </a:moveTo>
                  <a:lnTo>
                    <a:pt x="205" y="106"/>
                  </a:lnTo>
                  <a:lnTo>
                    <a:pt x="207" y="101"/>
                  </a:lnTo>
                  <a:lnTo>
                    <a:pt x="211" y="99"/>
                  </a:lnTo>
                  <a:lnTo>
                    <a:pt x="211" y="97"/>
                  </a:lnTo>
                  <a:lnTo>
                    <a:pt x="207" y="96"/>
                  </a:lnTo>
                  <a:lnTo>
                    <a:pt x="204" y="97"/>
                  </a:lnTo>
                  <a:lnTo>
                    <a:pt x="200" y="96"/>
                  </a:lnTo>
                  <a:lnTo>
                    <a:pt x="195" y="96"/>
                  </a:lnTo>
                  <a:lnTo>
                    <a:pt x="195" y="99"/>
                  </a:lnTo>
                  <a:lnTo>
                    <a:pt x="193" y="103"/>
                  </a:lnTo>
                  <a:lnTo>
                    <a:pt x="195" y="103"/>
                  </a:lnTo>
                  <a:lnTo>
                    <a:pt x="197" y="103"/>
                  </a:lnTo>
                  <a:lnTo>
                    <a:pt x="198" y="106"/>
                  </a:lnTo>
                  <a:lnTo>
                    <a:pt x="198" y="108"/>
                  </a:lnTo>
                  <a:lnTo>
                    <a:pt x="195" y="108"/>
                  </a:lnTo>
                  <a:lnTo>
                    <a:pt x="188" y="110"/>
                  </a:lnTo>
                  <a:lnTo>
                    <a:pt x="188" y="113"/>
                  </a:lnTo>
                  <a:lnTo>
                    <a:pt x="192" y="113"/>
                  </a:lnTo>
                  <a:lnTo>
                    <a:pt x="193" y="115"/>
                  </a:lnTo>
                  <a:lnTo>
                    <a:pt x="197" y="113"/>
                  </a:lnTo>
                  <a:lnTo>
                    <a:pt x="197" y="113"/>
                  </a:lnTo>
                  <a:lnTo>
                    <a:pt x="202" y="110"/>
                  </a:lnTo>
                  <a:lnTo>
                    <a:pt x="202" y="110"/>
                  </a:lnTo>
                  <a:lnTo>
                    <a:pt x="202" y="110"/>
                  </a:lnTo>
                  <a:lnTo>
                    <a:pt x="202" y="110"/>
                  </a:lnTo>
                  <a:close/>
                  <a:moveTo>
                    <a:pt x="211" y="110"/>
                  </a:moveTo>
                  <a:lnTo>
                    <a:pt x="209" y="110"/>
                  </a:lnTo>
                  <a:lnTo>
                    <a:pt x="207" y="113"/>
                  </a:lnTo>
                  <a:lnTo>
                    <a:pt x="204" y="110"/>
                  </a:lnTo>
                  <a:lnTo>
                    <a:pt x="205" y="108"/>
                  </a:lnTo>
                  <a:lnTo>
                    <a:pt x="209" y="106"/>
                  </a:lnTo>
                  <a:lnTo>
                    <a:pt x="211" y="104"/>
                  </a:lnTo>
                  <a:lnTo>
                    <a:pt x="214" y="106"/>
                  </a:lnTo>
                  <a:lnTo>
                    <a:pt x="211" y="108"/>
                  </a:lnTo>
                  <a:lnTo>
                    <a:pt x="211" y="110"/>
                  </a:lnTo>
                  <a:lnTo>
                    <a:pt x="211" y="110"/>
                  </a:lnTo>
                  <a:lnTo>
                    <a:pt x="211" y="110"/>
                  </a:lnTo>
                  <a:lnTo>
                    <a:pt x="211" y="110"/>
                  </a:lnTo>
                  <a:close/>
                  <a:moveTo>
                    <a:pt x="221" y="118"/>
                  </a:moveTo>
                  <a:lnTo>
                    <a:pt x="216" y="113"/>
                  </a:lnTo>
                  <a:lnTo>
                    <a:pt x="214" y="110"/>
                  </a:lnTo>
                  <a:lnTo>
                    <a:pt x="216" y="110"/>
                  </a:lnTo>
                  <a:lnTo>
                    <a:pt x="219" y="110"/>
                  </a:lnTo>
                  <a:lnTo>
                    <a:pt x="219" y="113"/>
                  </a:lnTo>
                  <a:lnTo>
                    <a:pt x="223" y="110"/>
                  </a:lnTo>
                  <a:lnTo>
                    <a:pt x="225" y="113"/>
                  </a:lnTo>
                  <a:lnTo>
                    <a:pt x="225" y="118"/>
                  </a:lnTo>
                  <a:lnTo>
                    <a:pt x="221" y="118"/>
                  </a:lnTo>
                  <a:lnTo>
                    <a:pt x="221" y="118"/>
                  </a:lnTo>
                  <a:lnTo>
                    <a:pt x="221" y="118"/>
                  </a:lnTo>
                  <a:lnTo>
                    <a:pt x="221" y="118"/>
                  </a:lnTo>
                  <a:close/>
                  <a:moveTo>
                    <a:pt x="216" y="127"/>
                  </a:moveTo>
                  <a:lnTo>
                    <a:pt x="214" y="123"/>
                  </a:lnTo>
                  <a:lnTo>
                    <a:pt x="207" y="118"/>
                  </a:lnTo>
                  <a:lnTo>
                    <a:pt x="202" y="118"/>
                  </a:lnTo>
                  <a:lnTo>
                    <a:pt x="198" y="118"/>
                  </a:lnTo>
                  <a:lnTo>
                    <a:pt x="197" y="115"/>
                  </a:lnTo>
                  <a:lnTo>
                    <a:pt x="197" y="113"/>
                  </a:lnTo>
                  <a:lnTo>
                    <a:pt x="200" y="113"/>
                  </a:lnTo>
                  <a:lnTo>
                    <a:pt x="205" y="113"/>
                  </a:lnTo>
                  <a:lnTo>
                    <a:pt x="211" y="115"/>
                  </a:lnTo>
                  <a:lnTo>
                    <a:pt x="216" y="120"/>
                  </a:lnTo>
                  <a:lnTo>
                    <a:pt x="219" y="120"/>
                  </a:lnTo>
                  <a:lnTo>
                    <a:pt x="219" y="118"/>
                  </a:lnTo>
                  <a:lnTo>
                    <a:pt x="221" y="120"/>
                  </a:lnTo>
                  <a:lnTo>
                    <a:pt x="219" y="122"/>
                  </a:lnTo>
                  <a:lnTo>
                    <a:pt x="219" y="127"/>
                  </a:lnTo>
                  <a:lnTo>
                    <a:pt x="216" y="127"/>
                  </a:lnTo>
                  <a:lnTo>
                    <a:pt x="216" y="127"/>
                  </a:lnTo>
                  <a:lnTo>
                    <a:pt x="216" y="127"/>
                  </a:lnTo>
                  <a:lnTo>
                    <a:pt x="216" y="127"/>
                  </a:lnTo>
                  <a:close/>
                  <a:moveTo>
                    <a:pt x="219" y="137"/>
                  </a:moveTo>
                  <a:lnTo>
                    <a:pt x="219" y="132"/>
                  </a:lnTo>
                  <a:lnTo>
                    <a:pt x="216" y="129"/>
                  </a:lnTo>
                  <a:lnTo>
                    <a:pt x="214" y="129"/>
                  </a:lnTo>
                  <a:lnTo>
                    <a:pt x="209" y="127"/>
                  </a:lnTo>
                  <a:lnTo>
                    <a:pt x="204" y="123"/>
                  </a:lnTo>
                  <a:lnTo>
                    <a:pt x="202" y="122"/>
                  </a:lnTo>
                  <a:lnTo>
                    <a:pt x="200" y="120"/>
                  </a:lnTo>
                  <a:lnTo>
                    <a:pt x="195" y="122"/>
                  </a:lnTo>
                  <a:lnTo>
                    <a:pt x="192" y="120"/>
                  </a:lnTo>
                  <a:lnTo>
                    <a:pt x="186" y="120"/>
                  </a:lnTo>
                  <a:lnTo>
                    <a:pt x="181" y="120"/>
                  </a:lnTo>
                  <a:lnTo>
                    <a:pt x="183" y="123"/>
                  </a:lnTo>
                  <a:lnTo>
                    <a:pt x="183" y="125"/>
                  </a:lnTo>
                  <a:lnTo>
                    <a:pt x="185" y="127"/>
                  </a:lnTo>
                  <a:lnTo>
                    <a:pt x="188" y="129"/>
                  </a:lnTo>
                  <a:lnTo>
                    <a:pt x="192" y="125"/>
                  </a:lnTo>
                  <a:lnTo>
                    <a:pt x="192" y="125"/>
                  </a:lnTo>
                  <a:lnTo>
                    <a:pt x="195" y="129"/>
                  </a:lnTo>
                  <a:lnTo>
                    <a:pt x="195" y="132"/>
                  </a:lnTo>
                  <a:lnTo>
                    <a:pt x="198" y="132"/>
                  </a:lnTo>
                  <a:lnTo>
                    <a:pt x="200" y="130"/>
                  </a:lnTo>
                  <a:lnTo>
                    <a:pt x="202" y="134"/>
                  </a:lnTo>
                  <a:lnTo>
                    <a:pt x="205" y="136"/>
                  </a:lnTo>
                  <a:lnTo>
                    <a:pt x="211" y="136"/>
                  </a:lnTo>
                  <a:lnTo>
                    <a:pt x="214" y="137"/>
                  </a:lnTo>
                  <a:lnTo>
                    <a:pt x="216" y="137"/>
                  </a:lnTo>
                  <a:lnTo>
                    <a:pt x="219" y="137"/>
                  </a:lnTo>
                  <a:lnTo>
                    <a:pt x="219" y="137"/>
                  </a:lnTo>
                  <a:lnTo>
                    <a:pt x="219" y="137"/>
                  </a:lnTo>
                  <a:lnTo>
                    <a:pt x="219" y="137"/>
                  </a:lnTo>
                  <a:close/>
                  <a:moveTo>
                    <a:pt x="193" y="143"/>
                  </a:moveTo>
                  <a:lnTo>
                    <a:pt x="193" y="143"/>
                  </a:lnTo>
                  <a:lnTo>
                    <a:pt x="192" y="141"/>
                  </a:lnTo>
                  <a:lnTo>
                    <a:pt x="192" y="141"/>
                  </a:lnTo>
                  <a:lnTo>
                    <a:pt x="186" y="141"/>
                  </a:lnTo>
                  <a:lnTo>
                    <a:pt x="185" y="137"/>
                  </a:lnTo>
                  <a:lnTo>
                    <a:pt x="185" y="137"/>
                  </a:lnTo>
                  <a:lnTo>
                    <a:pt x="186" y="136"/>
                  </a:lnTo>
                  <a:lnTo>
                    <a:pt x="188" y="134"/>
                  </a:lnTo>
                  <a:lnTo>
                    <a:pt x="193" y="136"/>
                  </a:lnTo>
                  <a:lnTo>
                    <a:pt x="195" y="134"/>
                  </a:lnTo>
                  <a:lnTo>
                    <a:pt x="197" y="137"/>
                  </a:lnTo>
                  <a:lnTo>
                    <a:pt x="198" y="137"/>
                  </a:lnTo>
                  <a:lnTo>
                    <a:pt x="198" y="136"/>
                  </a:lnTo>
                  <a:lnTo>
                    <a:pt x="200" y="137"/>
                  </a:lnTo>
                  <a:lnTo>
                    <a:pt x="202" y="137"/>
                  </a:lnTo>
                  <a:lnTo>
                    <a:pt x="200" y="141"/>
                  </a:lnTo>
                  <a:lnTo>
                    <a:pt x="193" y="143"/>
                  </a:lnTo>
                  <a:lnTo>
                    <a:pt x="193" y="143"/>
                  </a:lnTo>
                  <a:lnTo>
                    <a:pt x="193" y="143"/>
                  </a:lnTo>
                  <a:lnTo>
                    <a:pt x="193" y="143"/>
                  </a:lnTo>
                  <a:close/>
                  <a:moveTo>
                    <a:pt x="188" y="160"/>
                  </a:moveTo>
                  <a:lnTo>
                    <a:pt x="185" y="158"/>
                  </a:lnTo>
                  <a:lnTo>
                    <a:pt x="185" y="153"/>
                  </a:lnTo>
                  <a:lnTo>
                    <a:pt x="183" y="153"/>
                  </a:lnTo>
                  <a:lnTo>
                    <a:pt x="183" y="158"/>
                  </a:lnTo>
                  <a:lnTo>
                    <a:pt x="181" y="158"/>
                  </a:lnTo>
                  <a:lnTo>
                    <a:pt x="183" y="160"/>
                  </a:lnTo>
                  <a:lnTo>
                    <a:pt x="186" y="160"/>
                  </a:lnTo>
                  <a:lnTo>
                    <a:pt x="188" y="160"/>
                  </a:lnTo>
                  <a:lnTo>
                    <a:pt x="188" y="160"/>
                  </a:lnTo>
                  <a:lnTo>
                    <a:pt x="188" y="160"/>
                  </a:lnTo>
                  <a:lnTo>
                    <a:pt x="188" y="160"/>
                  </a:lnTo>
                  <a:close/>
                  <a:moveTo>
                    <a:pt x="192" y="160"/>
                  </a:moveTo>
                  <a:lnTo>
                    <a:pt x="192" y="160"/>
                  </a:lnTo>
                  <a:lnTo>
                    <a:pt x="192" y="158"/>
                  </a:lnTo>
                  <a:lnTo>
                    <a:pt x="192" y="155"/>
                  </a:lnTo>
                  <a:lnTo>
                    <a:pt x="188" y="151"/>
                  </a:lnTo>
                  <a:lnTo>
                    <a:pt x="188" y="151"/>
                  </a:lnTo>
                  <a:lnTo>
                    <a:pt x="188" y="155"/>
                  </a:lnTo>
                  <a:lnTo>
                    <a:pt x="192" y="160"/>
                  </a:lnTo>
                  <a:lnTo>
                    <a:pt x="192" y="160"/>
                  </a:lnTo>
                  <a:lnTo>
                    <a:pt x="192" y="160"/>
                  </a:lnTo>
                  <a:lnTo>
                    <a:pt x="192" y="160"/>
                  </a:lnTo>
                  <a:close/>
                  <a:moveTo>
                    <a:pt x="197" y="157"/>
                  </a:moveTo>
                  <a:lnTo>
                    <a:pt x="197" y="157"/>
                  </a:lnTo>
                  <a:lnTo>
                    <a:pt x="200" y="158"/>
                  </a:lnTo>
                  <a:lnTo>
                    <a:pt x="200" y="157"/>
                  </a:lnTo>
                  <a:lnTo>
                    <a:pt x="198" y="153"/>
                  </a:lnTo>
                  <a:lnTo>
                    <a:pt x="195" y="151"/>
                  </a:lnTo>
                  <a:lnTo>
                    <a:pt x="193" y="153"/>
                  </a:lnTo>
                  <a:lnTo>
                    <a:pt x="197" y="157"/>
                  </a:lnTo>
                  <a:lnTo>
                    <a:pt x="197" y="157"/>
                  </a:lnTo>
                  <a:lnTo>
                    <a:pt x="197" y="157"/>
                  </a:lnTo>
                  <a:lnTo>
                    <a:pt x="197" y="157"/>
                  </a:lnTo>
                  <a:close/>
                  <a:moveTo>
                    <a:pt x="195" y="165"/>
                  </a:moveTo>
                  <a:lnTo>
                    <a:pt x="197" y="165"/>
                  </a:lnTo>
                  <a:lnTo>
                    <a:pt x="198" y="160"/>
                  </a:lnTo>
                  <a:lnTo>
                    <a:pt x="197" y="158"/>
                  </a:lnTo>
                  <a:lnTo>
                    <a:pt x="195" y="157"/>
                  </a:lnTo>
                  <a:lnTo>
                    <a:pt x="193" y="158"/>
                  </a:lnTo>
                  <a:lnTo>
                    <a:pt x="195" y="160"/>
                  </a:lnTo>
                  <a:lnTo>
                    <a:pt x="193" y="163"/>
                  </a:lnTo>
                  <a:lnTo>
                    <a:pt x="195" y="165"/>
                  </a:lnTo>
                  <a:lnTo>
                    <a:pt x="195" y="165"/>
                  </a:lnTo>
                  <a:lnTo>
                    <a:pt x="195" y="165"/>
                  </a:lnTo>
                  <a:lnTo>
                    <a:pt x="195" y="165"/>
                  </a:lnTo>
                  <a:close/>
                  <a:moveTo>
                    <a:pt x="192" y="172"/>
                  </a:moveTo>
                  <a:lnTo>
                    <a:pt x="192" y="172"/>
                  </a:lnTo>
                  <a:lnTo>
                    <a:pt x="188" y="172"/>
                  </a:lnTo>
                  <a:lnTo>
                    <a:pt x="186" y="169"/>
                  </a:lnTo>
                  <a:lnTo>
                    <a:pt x="185" y="169"/>
                  </a:lnTo>
                  <a:lnTo>
                    <a:pt x="181" y="169"/>
                  </a:lnTo>
                  <a:lnTo>
                    <a:pt x="183" y="172"/>
                  </a:lnTo>
                  <a:lnTo>
                    <a:pt x="183" y="174"/>
                  </a:lnTo>
                  <a:lnTo>
                    <a:pt x="179" y="176"/>
                  </a:lnTo>
                  <a:lnTo>
                    <a:pt x="181" y="179"/>
                  </a:lnTo>
                  <a:lnTo>
                    <a:pt x="186" y="179"/>
                  </a:lnTo>
                  <a:lnTo>
                    <a:pt x="192" y="177"/>
                  </a:lnTo>
                  <a:lnTo>
                    <a:pt x="192" y="172"/>
                  </a:lnTo>
                  <a:lnTo>
                    <a:pt x="192" y="172"/>
                  </a:lnTo>
                  <a:lnTo>
                    <a:pt x="192" y="172"/>
                  </a:lnTo>
                  <a:lnTo>
                    <a:pt x="192" y="172"/>
                  </a:lnTo>
                  <a:close/>
                  <a:moveTo>
                    <a:pt x="193" y="169"/>
                  </a:moveTo>
                  <a:lnTo>
                    <a:pt x="193" y="172"/>
                  </a:lnTo>
                  <a:lnTo>
                    <a:pt x="195" y="174"/>
                  </a:lnTo>
                  <a:lnTo>
                    <a:pt x="197" y="174"/>
                  </a:lnTo>
                  <a:lnTo>
                    <a:pt x="197" y="172"/>
                  </a:lnTo>
                  <a:lnTo>
                    <a:pt x="195" y="169"/>
                  </a:lnTo>
                  <a:lnTo>
                    <a:pt x="193" y="169"/>
                  </a:lnTo>
                  <a:lnTo>
                    <a:pt x="193" y="169"/>
                  </a:lnTo>
                  <a:lnTo>
                    <a:pt x="193" y="169"/>
                  </a:lnTo>
                  <a:lnTo>
                    <a:pt x="193" y="169"/>
                  </a:lnTo>
                  <a:close/>
                  <a:moveTo>
                    <a:pt x="221" y="130"/>
                  </a:moveTo>
                  <a:lnTo>
                    <a:pt x="221" y="127"/>
                  </a:lnTo>
                  <a:lnTo>
                    <a:pt x="223" y="125"/>
                  </a:lnTo>
                  <a:lnTo>
                    <a:pt x="223" y="122"/>
                  </a:lnTo>
                  <a:lnTo>
                    <a:pt x="225" y="120"/>
                  </a:lnTo>
                  <a:lnTo>
                    <a:pt x="226" y="120"/>
                  </a:lnTo>
                  <a:lnTo>
                    <a:pt x="228" y="123"/>
                  </a:lnTo>
                  <a:lnTo>
                    <a:pt x="230" y="127"/>
                  </a:lnTo>
                  <a:lnTo>
                    <a:pt x="228" y="127"/>
                  </a:lnTo>
                  <a:lnTo>
                    <a:pt x="228" y="129"/>
                  </a:lnTo>
                  <a:lnTo>
                    <a:pt x="226" y="130"/>
                  </a:lnTo>
                  <a:lnTo>
                    <a:pt x="223" y="130"/>
                  </a:lnTo>
                  <a:lnTo>
                    <a:pt x="221" y="130"/>
                  </a:lnTo>
                  <a:lnTo>
                    <a:pt x="221" y="130"/>
                  </a:lnTo>
                  <a:lnTo>
                    <a:pt x="221" y="130"/>
                  </a:lnTo>
                  <a:lnTo>
                    <a:pt x="221" y="130"/>
                  </a:lnTo>
                  <a:close/>
                  <a:moveTo>
                    <a:pt x="200" y="165"/>
                  </a:moveTo>
                  <a:lnTo>
                    <a:pt x="202" y="169"/>
                  </a:lnTo>
                  <a:lnTo>
                    <a:pt x="205" y="169"/>
                  </a:lnTo>
                  <a:lnTo>
                    <a:pt x="209" y="169"/>
                  </a:lnTo>
                  <a:lnTo>
                    <a:pt x="209" y="169"/>
                  </a:lnTo>
                  <a:lnTo>
                    <a:pt x="209" y="165"/>
                  </a:lnTo>
                  <a:lnTo>
                    <a:pt x="207" y="163"/>
                  </a:lnTo>
                  <a:lnTo>
                    <a:pt x="205" y="163"/>
                  </a:lnTo>
                  <a:lnTo>
                    <a:pt x="204" y="165"/>
                  </a:lnTo>
                  <a:lnTo>
                    <a:pt x="200" y="165"/>
                  </a:lnTo>
                  <a:lnTo>
                    <a:pt x="200" y="165"/>
                  </a:lnTo>
                  <a:lnTo>
                    <a:pt x="200" y="165"/>
                  </a:lnTo>
                  <a:lnTo>
                    <a:pt x="200" y="165"/>
                  </a:lnTo>
                  <a:close/>
                  <a:moveTo>
                    <a:pt x="202" y="160"/>
                  </a:moveTo>
                  <a:lnTo>
                    <a:pt x="204" y="160"/>
                  </a:lnTo>
                  <a:lnTo>
                    <a:pt x="205" y="158"/>
                  </a:lnTo>
                  <a:lnTo>
                    <a:pt x="205" y="157"/>
                  </a:lnTo>
                  <a:lnTo>
                    <a:pt x="204" y="157"/>
                  </a:lnTo>
                  <a:lnTo>
                    <a:pt x="202" y="160"/>
                  </a:lnTo>
                  <a:lnTo>
                    <a:pt x="202" y="160"/>
                  </a:lnTo>
                  <a:lnTo>
                    <a:pt x="202" y="160"/>
                  </a:lnTo>
                  <a:lnTo>
                    <a:pt x="202" y="160"/>
                  </a:lnTo>
                  <a:close/>
                  <a:moveTo>
                    <a:pt x="207" y="158"/>
                  </a:moveTo>
                  <a:lnTo>
                    <a:pt x="209" y="160"/>
                  </a:lnTo>
                  <a:lnTo>
                    <a:pt x="211" y="160"/>
                  </a:lnTo>
                  <a:lnTo>
                    <a:pt x="211" y="158"/>
                  </a:lnTo>
                  <a:lnTo>
                    <a:pt x="214" y="157"/>
                  </a:lnTo>
                  <a:lnTo>
                    <a:pt x="211" y="157"/>
                  </a:lnTo>
                  <a:lnTo>
                    <a:pt x="211" y="157"/>
                  </a:lnTo>
                  <a:lnTo>
                    <a:pt x="211" y="157"/>
                  </a:lnTo>
                  <a:lnTo>
                    <a:pt x="207" y="158"/>
                  </a:lnTo>
                  <a:lnTo>
                    <a:pt x="207" y="158"/>
                  </a:lnTo>
                  <a:lnTo>
                    <a:pt x="207" y="158"/>
                  </a:lnTo>
                  <a:lnTo>
                    <a:pt x="207" y="158"/>
                  </a:lnTo>
                  <a:close/>
                  <a:moveTo>
                    <a:pt x="209" y="143"/>
                  </a:moveTo>
                  <a:lnTo>
                    <a:pt x="207" y="146"/>
                  </a:lnTo>
                  <a:lnTo>
                    <a:pt x="204" y="146"/>
                  </a:lnTo>
                  <a:lnTo>
                    <a:pt x="202" y="144"/>
                  </a:lnTo>
                  <a:lnTo>
                    <a:pt x="202" y="141"/>
                  </a:lnTo>
                  <a:lnTo>
                    <a:pt x="205" y="137"/>
                  </a:lnTo>
                  <a:lnTo>
                    <a:pt x="209" y="137"/>
                  </a:lnTo>
                  <a:lnTo>
                    <a:pt x="211" y="137"/>
                  </a:lnTo>
                  <a:lnTo>
                    <a:pt x="214" y="141"/>
                  </a:lnTo>
                  <a:lnTo>
                    <a:pt x="214" y="141"/>
                  </a:lnTo>
                  <a:lnTo>
                    <a:pt x="214" y="143"/>
                  </a:lnTo>
                  <a:lnTo>
                    <a:pt x="214" y="144"/>
                  </a:lnTo>
                  <a:lnTo>
                    <a:pt x="211" y="144"/>
                  </a:lnTo>
                  <a:lnTo>
                    <a:pt x="209" y="143"/>
                  </a:lnTo>
                  <a:lnTo>
                    <a:pt x="209" y="143"/>
                  </a:lnTo>
                  <a:lnTo>
                    <a:pt x="209" y="143"/>
                  </a:lnTo>
                  <a:lnTo>
                    <a:pt x="209" y="143"/>
                  </a:lnTo>
                  <a:close/>
                  <a:moveTo>
                    <a:pt x="221" y="143"/>
                  </a:moveTo>
                  <a:lnTo>
                    <a:pt x="223" y="144"/>
                  </a:lnTo>
                  <a:lnTo>
                    <a:pt x="226" y="144"/>
                  </a:lnTo>
                  <a:lnTo>
                    <a:pt x="228" y="143"/>
                  </a:lnTo>
                  <a:lnTo>
                    <a:pt x="230" y="141"/>
                  </a:lnTo>
                  <a:lnTo>
                    <a:pt x="228" y="141"/>
                  </a:lnTo>
                  <a:lnTo>
                    <a:pt x="225" y="141"/>
                  </a:lnTo>
                  <a:lnTo>
                    <a:pt x="223" y="143"/>
                  </a:lnTo>
                  <a:lnTo>
                    <a:pt x="221" y="143"/>
                  </a:lnTo>
                  <a:lnTo>
                    <a:pt x="221" y="143"/>
                  </a:lnTo>
                  <a:lnTo>
                    <a:pt x="221" y="143"/>
                  </a:lnTo>
                  <a:lnTo>
                    <a:pt x="221" y="143"/>
                  </a:lnTo>
                  <a:close/>
                  <a:moveTo>
                    <a:pt x="230" y="174"/>
                  </a:moveTo>
                  <a:lnTo>
                    <a:pt x="230" y="172"/>
                  </a:lnTo>
                  <a:lnTo>
                    <a:pt x="226" y="169"/>
                  </a:lnTo>
                  <a:lnTo>
                    <a:pt x="226" y="165"/>
                  </a:lnTo>
                  <a:lnTo>
                    <a:pt x="226" y="163"/>
                  </a:lnTo>
                  <a:lnTo>
                    <a:pt x="225" y="158"/>
                  </a:lnTo>
                  <a:lnTo>
                    <a:pt x="221" y="157"/>
                  </a:lnTo>
                  <a:lnTo>
                    <a:pt x="219" y="158"/>
                  </a:lnTo>
                  <a:lnTo>
                    <a:pt x="216" y="158"/>
                  </a:lnTo>
                  <a:lnTo>
                    <a:pt x="211" y="160"/>
                  </a:lnTo>
                  <a:lnTo>
                    <a:pt x="211" y="165"/>
                  </a:lnTo>
                  <a:lnTo>
                    <a:pt x="214" y="169"/>
                  </a:lnTo>
                  <a:lnTo>
                    <a:pt x="214" y="174"/>
                  </a:lnTo>
                  <a:lnTo>
                    <a:pt x="219" y="176"/>
                  </a:lnTo>
                  <a:lnTo>
                    <a:pt x="219" y="176"/>
                  </a:lnTo>
                  <a:lnTo>
                    <a:pt x="225" y="174"/>
                  </a:lnTo>
                  <a:lnTo>
                    <a:pt x="230" y="174"/>
                  </a:lnTo>
                  <a:lnTo>
                    <a:pt x="230" y="174"/>
                  </a:lnTo>
                  <a:lnTo>
                    <a:pt x="230" y="174"/>
                  </a:lnTo>
                  <a:lnTo>
                    <a:pt x="230" y="174"/>
                  </a:lnTo>
                  <a:close/>
                  <a:moveTo>
                    <a:pt x="238" y="172"/>
                  </a:moveTo>
                  <a:lnTo>
                    <a:pt x="238" y="169"/>
                  </a:lnTo>
                  <a:lnTo>
                    <a:pt x="237" y="169"/>
                  </a:lnTo>
                  <a:lnTo>
                    <a:pt x="237" y="165"/>
                  </a:lnTo>
                  <a:lnTo>
                    <a:pt x="238" y="165"/>
                  </a:lnTo>
                  <a:lnTo>
                    <a:pt x="238" y="160"/>
                  </a:lnTo>
                  <a:lnTo>
                    <a:pt x="238" y="160"/>
                  </a:lnTo>
                  <a:lnTo>
                    <a:pt x="245" y="157"/>
                  </a:lnTo>
                  <a:lnTo>
                    <a:pt x="245" y="157"/>
                  </a:lnTo>
                  <a:lnTo>
                    <a:pt x="247" y="155"/>
                  </a:lnTo>
                  <a:lnTo>
                    <a:pt x="245" y="155"/>
                  </a:lnTo>
                  <a:lnTo>
                    <a:pt x="242" y="155"/>
                  </a:lnTo>
                  <a:lnTo>
                    <a:pt x="237" y="151"/>
                  </a:lnTo>
                  <a:lnTo>
                    <a:pt x="232" y="150"/>
                  </a:lnTo>
                  <a:lnTo>
                    <a:pt x="230" y="150"/>
                  </a:lnTo>
                  <a:lnTo>
                    <a:pt x="226" y="150"/>
                  </a:lnTo>
                  <a:lnTo>
                    <a:pt x="225" y="150"/>
                  </a:lnTo>
                  <a:lnTo>
                    <a:pt x="225" y="153"/>
                  </a:lnTo>
                  <a:lnTo>
                    <a:pt x="230" y="160"/>
                  </a:lnTo>
                  <a:lnTo>
                    <a:pt x="228" y="165"/>
                  </a:lnTo>
                  <a:lnTo>
                    <a:pt x="232" y="169"/>
                  </a:lnTo>
                  <a:lnTo>
                    <a:pt x="233" y="172"/>
                  </a:lnTo>
                  <a:lnTo>
                    <a:pt x="238" y="172"/>
                  </a:lnTo>
                  <a:lnTo>
                    <a:pt x="238" y="172"/>
                  </a:lnTo>
                  <a:lnTo>
                    <a:pt x="238" y="172"/>
                  </a:lnTo>
                  <a:lnTo>
                    <a:pt x="238" y="172"/>
                  </a:lnTo>
                  <a:close/>
                  <a:moveTo>
                    <a:pt x="247" y="172"/>
                  </a:moveTo>
                  <a:lnTo>
                    <a:pt x="247" y="174"/>
                  </a:lnTo>
                  <a:lnTo>
                    <a:pt x="252" y="176"/>
                  </a:lnTo>
                  <a:lnTo>
                    <a:pt x="254" y="179"/>
                  </a:lnTo>
                  <a:lnTo>
                    <a:pt x="259" y="179"/>
                  </a:lnTo>
                  <a:lnTo>
                    <a:pt x="261" y="174"/>
                  </a:lnTo>
                  <a:lnTo>
                    <a:pt x="261" y="169"/>
                  </a:lnTo>
                  <a:lnTo>
                    <a:pt x="258" y="169"/>
                  </a:lnTo>
                  <a:lnTo>
                    <a:pt x="252" y="169"/>
                  </a:lnTo>
                  <a:lnTo>
                    <a:pt x="247" y="172"/>
                  </a:lnTo>
                  <a:lnTo>
                    <a:pt x="247" y="172"/>
                  </a:lnTo>
                  <a:lnTo>
                    <a:pt x="247" y="172"/>
                  </a:lnTo>
                  <a:lnTo>
                    <a:pt x="247" y="172"/>
                  </a:lnTo>
                  <a:close/>
                  <a:moveTo>
                    <a:pt x="247" y="179"/>
                  </a:moveTo>
                  <a:lnTo>
                    <a:pt x="247" y="183"/>
                  </a:lnTo>
                  <a:lnTo>
                    <a:pt x="251" y="183"/>
                  </a:lnTo>
                  <a:lnTo>
                    <a:pt x="252" y="184"/>
                  </a:lnTo>
                  <a:lnTo>
                    <a:pt x="254" y="183"/>
                  </a:lnTo>
                  <a:lnTo>
                    <a:pt x="251" y="179"/>
                  </a:lnTo>
                  <a:lnTo>
                    <a:pt x="247" y="179"/>
                  </a:lnTo>
                  <a:lnTo>
                    <a:pt x="247" y="179"/>
                  </a:lnTo>
                  <a:lnTo>
                    <a:pt x="247" y="179"/>
                  </a:lnTo>
                  <a:lnTo>
                    <a:pt x="247" y="179"/>
                  </a:lnTo>
                  <a:close/>
                  <a:moveTo>
                    <a:pt x="247" y="70"/>
                  </a:moveTo>
                  <a:lnTo>
                    <a:pt x="249" y="68"/>
                  </a:lnTo>
                  <a:lnTo>
                    <a:pt x="252" y="68"/>
                  </a:lnTo>
                  <a:lnTo>
                    <a:pt x="254" y="66"/>
                  </a:lnTo>
                  <a:lnTo>
                    <a:pt x="258" y="66"/>
                  </a:lnTo>
                  <a:lnTo>
                    <a:pt x="258" y="68"/>
                  </a:lnTo>
                  <a:lnTo>
                    <a:pt x="261" y="68"/>
                  </a:lnTo>
                  <a:lnTo>
                    <a:pt x="261" y="70"/>
                  </a:lnTo>
                  <a:lnTo>
                    <a:pt x="259" y="73"/>
                  </a:lnTo>
                  <a:lnTo>
                    <a:pt x="256" y="73"/>
                  </a:lnTo>
                  <a:lnTo>
                    <a:pt x="254" y="71"/>
                  </a:lnTo>
                  <a:lnTo>
                    <a:pt x="249" y="71"/>
                  </a:lnTo>
                  <a:lnTo>
                    <a:pt x="247" y="70"/>
                  </a:lnTo>
                  <a:lnTo>
                    <a:pt x="247" y="70"/>
                  </a:lnTo>
                  <a:lnTo>
                    <a:pt x="247" y="70"/>
                  </a:lnTo>
                  <a:lnTo>
                    <a:pt x="247" y="70"/>
                  </a:lnTo>
                  <a:close/>
                  <a:moveTo>
                    <a:pt x="254" y="118"/>
                  </a:moveTo>
                  <a:lnTo>
                    <a:pt x="256" y="113"/>
                  </a:lnTo>
                  <a:lnTo>
                    <a:pt x="258" y="113"/>
                  </a:lnTo>
                  <a:lnTo>
                    <a:pt x="258" y="110"/>
                  </a:lnTo>
                  <a:lnTo>
                    <a:pt x="256" y="110"/>
                  </a:lnTo>
                  <a:lnTo>
                    <a:pt x="254" y="106"/>
                  </a:lnTo>
                  <a:lnTo>
                    <a:pt x="251" y="106"/>
                  </a:lnTo>
                  <a:lnTo>
                    <a:pt x="245" y="108"/>
                  </a:lnTo>
                  <a:lnTo>
                    <a:pt x="242" y="110"/>
                  </a:lnTo>
                  <a:lnTo>
                    <a:pt x="242" y="113"/>
                  </a:lnTo>
                  <a:lnTo>
                    <a:pt x="242" y="113"/>
                  </a:lnTo>
                  <a:lnTo>
                    <a:pt x="247" y="118"/>
                  </a:lnTo>
                  <a:lnTo>
                    <a:pt x="251" y="118"/>
                  </a:lnTo>
                  <a:lnTo>
                    <a:pt x="254" y="118"/>
                  </a:lnTo>
                  <a:lnTo>
                    <a:pt x="254" y="118"/>
                  </a:lnTo>
                  <a:lnTo>
                    <a:pt x="254" y="118"/>
                  </a:lnTo>
                  <a:lnTo>
                    <a:pt x="254" y="118"/>
                  </a:lnTo>
                  <a:close/>
                  <a:moveTo>
                    <a:pt x="261" y="113"/>
                  </a:moveTo>
                  <a:lnTo>
                    <a:pt x="261" y="113"/>
                  </a:lnTo>
                  <a:lnTo>
                    <a:pt x="261" y="118"/>
                  </a:lnTo>
                  <a:lnTo>
                    <a:pt x="259" y="120"/>
                  </a:lnTo>
                  <a:lnTo>
                    <a:pt x="258" y="118"/>
                  </a:lnTo>
                  <a:lnTo>
                    <a:pt x="256" y="120"/>
                  </a:lnTo>
                  <a:lnTo>
                    <a:pt x="251" y="123"/>
                  </a:lnTo>
                  <a:lnTo>
                    <a:pt x="247" y="123"/>
                  </a:lnTo>
                  <a:lnTo>
                    <a:pt x="245" y="122"/>
                  </a:lnTo>
                  <a:lnTo>
                    <a:pt x="242" y="123"/>
                  </a:lnTo>
                  <a:lnTo>
                    <a:pt x="242" y="125"/>
                  </a:lnTo>
                  <a:lnTo>
                    <a:pt x="245" y="130"/>
                  </a:lnTo>
                  <a:lnTo>
                    <a:pt x="245" y="137"/>
                  </a:lnTo>
                  <a:lnTo>
                    <a:pt x="245" y="144"/>
                  </a:lnTo>
                  <a:lnTo>
                    <a:pt x="251" y="150"/>
                  </a:lnTo>
                  <a:lnTo>
                    <a:pt x="254" y="150"/>
                  </a:lnTo>
                  <a:lnTo>
                    <a:pt x="259" y="150"/>
                  </a:lnTo>
                  <a:lnTo>
                    <a:pt x="265" y="150"/>
                  </a:lnTo>
                  <a:lnTo>
                    <a:pt x="268" y="144"/>
                  </a:lnTo>
                  <a:lnTo>
                    <a:pt x="273" y="144"/>
                  </a:lnTo>
                  <a:lnTo>
                    <a:pt x="273" y="141"/>
                  </a:lnTo>
                  <a:lnTo>
                    <a:pt x="268" y="141"/>
                  </a:lnTo>
                  <a:lnTo>
                    <a:pt x="268" y="137"/>
                  </a:lnTo>
                  <a:lnTo>
                    <a:pt x="261" y="136"/>
                  </a:lnTo>
                  <a:lnTo>
                    <a:pt x="261" y="130"/>
                  </a:lnTo>
                  <a:lnTo>
                    <a:pt x="261" y="129"/>
                  </a:lnTo>
                  <a:lnTo>
                    <a:pt x="265" y="125"/>
                  </a:lnTo>
                  <a:lnTo>
                    <a:pt x="268" y="125"/>
                  </a:lnTo>
                  <a:lnTo>
                    <a:pt x="270" y="123"/>
                  </a:lnTo>
                  <a:lnTo>
                    <a:pt x="270" y="122"/>
                  </a:lnTo>
                  <a:lnTo>
                    <a:pt x="268" y="118"/>
                  </a:lnTo>
                  <a:lnTo>
                    <a:pt x="265" y="115"/>
                  </a:lnTo>
                  <a:lnTo>
                    <a:pt x="261" y="113"/>
                  </a:lnTo>
                  <a:lnTo>
                    <a:pt x="261" y="113"/>
                  </a:lnTo>
                  <a:lnTo>
                    <a:pt x="261" y="113"/>
                  </a:lnTo>
                  <a:lnTo>
                    <a:pt x="261" y="113"/>
                  </a:lnTo>
                  <a:close/>
                  <a:moveTo>
                    <a:pt x="278" y="118"/>
                  </a:moveTo>
                  <a:lnTo>
                    <a:pt x="275" y="118"/>
                  </a:lnTo>
                  <a:lnTo>
                    <a:pt x="275" y="113"/>
                  </a:lnTo>
                  <a:lnTo>
                    <a:pt x="273" y="113"/>
                  </a:lnTo>
                  <a:lnTo>
                    <a:pt x="270" y="113"/>
                  </a:lnTo>
                  <a:lnTo>
                    <a:pt x="268" y="110"/>
                  </a:lnTo>
                  <a:lnTo>
                    <a:pt x="268" y="108"/>
                  </a:lnTo>
                  <a:lnTo>
                    <a:pt x="268" y="104"/>
                  </a:lnTo>
                  <a:lnTo>
                    <a:pt x="268" y="101"/>
                  </a:lnTo>
                  <a:lnTo>
                    <a:pt x="265" y="96"/>
                  </a:lnTo>
                  <a:lnTo>
                    <a:pt x="268" y="90"/>
                  </a:lnTo>
                  <a:lnTo>
                    <a:pt x="270" y="90"/>
                  </a:lnTo>
                  <a:lnTo>
                    <a:pt x="273" y="87"/>
                  </a:lnTo>
                  <a:lnTo>
                    <a:pt x="273" y="82"/>
                  </a:lnTo>
                  <a:lnTo>
                    <a:pt x="273" y="82"/>
                  </a:lnTo>
                  <a:lnTo>
                    <a:pt x="277" y="82"/>
                  </a:lnTo>
                  <a:lnTo>
                    <a:pt x="278" y="82"/>
                  </a:lnTo>
                  <a:lnTo>
                    <a:pt x="282" y="82"/>
                  </a:lnTo>
                  <a:lnTo>
                    <a:pt x="284" y="87"/>
                  </a:lnTo>
                  <a:lnTo>
                    <a:pt x="282" y="90"/>
                  </a:lnTo>
                  <a:lnTo>
                    <a:pt x="284" y="92"/>
                  </a:lnTo>
                  <a:lnTo>
                    <a:pt x="287" y="94"/>
                  </a:lnTo>
                  <a:lnTo>
                    <a:pt x="291" y="99"/>
                  </a:lnTo>
                  <a:lnTo>
                    <a:pt x="292" y="99"/>
                  </a:lnTo>
                  <a:lnTo>
                    <a:pt x="292" y="101"/>
                  </a:lnTo>
                  <a:lnTo>
                    <a:pt x="287" y="104"/>
                  </a:lnTo>
                  <a:lnTo>
                    <a:pt x="282" y="106"/>
                  </a:lnTo>
                  <a:lnTo>
                    <a:pt x="280" y="108"/>
                  </a:lnTo>
                  <a:lnTo>
                    <a:pt x="282" y="110"/>
                  </a:lnTo>
                  <a:lnTo>
                    <a:pt x="282" y="115"/>
                  </a:lnTo>
                  <a:lnTo>
                    <a:pt x="278" y="118"/>
                  </a:lnTo>
                  <a:lnTo>
                    <a:pt x="278" y="118"/>
                  </a:lnTo>
                  <a:lnTo>
                    <a:pt x="278" y="118"/>
                  </a:lnTo>
                  <a:lnTo>
                    <a:pt x="278" y="118"/>
                  </a:lnTo>
                  <a:close/>
                  <a:moveTo>
                    <a:pt x="2011" y="581"/>
                  </a:moveTo>
                  <a:lnTo>
                    <a:pt x="2009" y="583"/>
                  </a:lnTo>
                  <a:lnTo>
                    <a:pt x="2011" y="584"/>
                  </a:lnTo>
                  <a:lnTo>
                    <a:pt x="2013" y="584"/>
                  </a:lnTo>
                  <a:lnTo>
                    <a:pt x="2013" y="581"/>
                  </a:lnTo>
                  <a:lnTo>
                    <a:pt x="2011" y="581"/>
                  </a:lnTo>
                  <a:lnTo>
                    <a:pt x="2011" y="581"/>
                  </a:lnTo>
                  <a:lnTo>
                    <a:pt x="2011" y="581"/>
                  </a:lnTo>
                  <a:lnTo>
                    <a:pt x="2011" y="581"/>
                  </a:lnTo>
                  <a:lnTo>
                    <a:pt x="2011" y="581"/>
                  </a:lnTo>
                  <a:close/>
                  <a:moveTo>
                    <a:pt x="2004" y="574"/>
                  </a:moveTo>
                  <a:lnTo>
                    <a:pt x="2009" y="576"/>
                  </a:lnTo>
                  <a:lnTo>
                    <a:pt x="2011" y="576"/>
                  </a:lnTo>
                  <a:lnTo>
                    <a:pt x="2011" y="576"/>
                  </a:lnTo>
                  <a:lnTo>
                    <a:pt x="2009" y="572"/>
                  </a:lnTo>
                  <a:lnTo>
                    <a:pt x="2007" y="572"/>
                  </a:lnTo>
                  <a:lnTo>
                    <a:pt x="2004" y="574"/>
                  </a:lnTo>
                  <a:lnTo>
                    <a:pt x="2004" y="574"/>
                  </a:lnTo>
                  <a:lnTo>
                    <a:pt x="2004" y="574"/>
                  </a:lnTo>
                  <a:lnTo>
                    <a:pt x="2004" y="574"/>
                  </a:lnTo>
                  <a:close/>
                  <a:moveTo>
                    <a:pt x="318" y="365"/>
                  </a:moveTo>
                  <a:lnTo>
                    <a:pt x="320" y="365"/>
                  </a:lnTo>
                  <a:lnTo>
                    <a:pt x="324" y="365"/>
                  </a:lnTo>
                  <a:lnTo>
                    <a:pt x="327" y="360"/>
                  </a:lnTo>
                  <a:lnTo>
                    <a:pt x="327" y="360"/>
                  </a:lnTo>
                  <a:lnTo>
                    <a:pt x="325" y="356"/>
                  </a:lnTo>
                  <a:lnTo>
                    <a:pt x="324" y="360"/>
                  </a:lnTo>
                  <a:lnTo>
                    <a:pt x="320" y="360"/>
                  </a:lnTo>
                  <a:lnTo>
                    <a:pt x="318" y="365"/>
                  </a:lnTo>
                  <a:lnTo>
                    <a:pt x="318" y="365"/>
                  </a:lnTo>
                  <a:lnTo>
                    <a:pt x="318" y="365"/>
                  </a:lnTo>
                  <a:lnTo>
                    <a:pt x="318" y="365"/>
                  </a:lnTo>
                  <a:lnTo>
                    <a:pt x="318" y="365"/>
                  </a:lnTo>
                  <a:close/>
                  <a:moveTo>
                    <a:pt x="299" y="475"/>
                  </a:moveTo>
                  <a:lnTo>
                    <a:pt x="304" y="475"/>
                  </a:lnTo>
                  <a:lnTo>
                    <a:pt x="310" y="475"/>
                  </a:lnTo>
                  <a:lnTo>
                    <a:pt x="313" y="473"/>
                  </a:lnTo>
                  <a:lnTo>
                    <a:pt x="315" y="473"/>
                  </a:lnTo>
                  <a:lnTo>
                    <a:pt x="318" y="475"/>
                  </a:lnTo>
                  <a:lnTo>
                    <a:pt x="320" y="475"/>
                  </a:lnTo>
                  <a:lnTo>
                    <a:pt x="324" y="475"/>
                  </a:lnTo>
                  <a:lnTo>
                    <a:pt x="324" y="473"/>
                  </a:lnTo>
                  <a:lnTo>
                    <a:pt x="324" y="469"/>
                  </a:lnTo>
                  <a:lnTo>
                    <a:pt x="324" y="469"/>
                  </a:lnTo>
                  <a:lnTo>
                    <a:pt x="325" y="475"/>
                  </a:lnTo>
                  <a:lnTo>
                    <a:pt x="329" y="475"/>
                  </a:lnTo>
                  <a:lnTo>
                    <a:pt x="334" y="475"/>
                  </a:lnTo>
                  <a:lnTo>
                    <a:pt x="334" y="475"/>
                  </a:lnTo>
                  <a:lnTo>
                    <a:pt x="338" y="473"/>
                  </a:lnTo>
                  <a:lnTo>
                    <a:pt x="338" y="469"/>
                  </a:lnTo>
                  <a:lnTo>
                    <a:pt x="338" y="464"/>
                  </a:lnTo>
                  <a:lnTo>
                    <a:pt x="341" y="461"/>
                  </a:lnTo>
                  <a:lnTo>
                    <a:pt x="343" y="457"/>
                  </a:lnTo>
                  <a:lnTo>
                    <a:pt x="338" y="456"/>
                  </a:lnTo>
                  <a:lnTo>
                    <a:pt x="338" y="450"/>
                  </a:lnTo>
                  <a:lnTo>
                    <a:pt x="334" y="450"/>
                  </a:lnTo>
                  <a:lnTo>
                    <a:pt x="332" y="450"/>
                  </a:lnTo>
                  <a:lnTo>
                    <a:pt x="331" y="450"/>
                  </a:lnTo>
                  <a:lnTo>
                    <a:pt x="332" y="447"/>
                  </a:lnTo>
                  <a:lnTo>
                    <a:pt x="336" y="450"/>
                  </a:lnTo>
                  <a:lnTo>
                    <a:pt x="338" y="447"/>
                  </a:lnTo>
                  <a:lnTo>
                    <a:pt x="338" y="450"/>
                  </a:lnTo>
                  <a:lnTo>
                    <a:pt x="338" y="452"/>
                  </a:lnTo>
                  <a:lnTo>
                    <a:pt x="341" y="454"/>
                  </a:lnTo>
                  <a:lnTo>
                    <a:pt x="343" y="452"/>
                  </a:lnTo>
                  <a:lnTo>
                    <a:pt x="341" y="447"/>
                  </a:lnTo>
                  <a:lnTo>
                    <a:pt x="338" y="442"/>
                  </a:lnTo>
                  <a:lnTo>
                    <a:pt x="334" y="438"/>
                  </a:lnTo>
                  <a:lnTo>
                    <a:pt x="336" y="435"/>
                  </a:lnTo>
                  <a:lnTo>
                    <a:pt x="338" y="438"/>
                  </a:lnTo>
                  <a:lnTo>
                    <a:pt x="338" y="442"/>
                  </a:lnTo>
                  <a:lnTo>
                    <a:pt x="343" y="443"/>
                  </a:lnTo>
                  <a:lnTo>
                    <a:pt x="343" y="443"/>
                  </a:lnTo>
                  <a:lnTo>
                    <a:pt x="346" y="442"/>
                  </a:lnTo>
                  <a:lnTo>
                    <a:pt x="346" y="438"/>
                  </a:lnTo>
                  <a:lnTo>
                    <a:pt x="343" y="438"/>
                  </a:lnTo>
                  <a:lnTo>
                    <a:pt x="343" y="435"/>
                  </a:lnTo>
                  <a:lnTo>
                    <a:pt x="346" y="431"/>
                  </a:lnTo>
                  <a:lnTo>
                    <a:pt x="346" y="428"/>
                  </a:lnTo>
                  <a:lnTo>
                    <a:pt x="343" y="424"/>
                  </a:lnTo>
                  <a:lnTo>
                    <a:pt x="338" y="421"/>
                  </a:lnTo>
                  <a:lnTo>
                    <a:pt x="343" y="419"/>
                  </a:lnTo>
                  <a:lnTo>
                    <a:pt x="343" y="423"/>
                  </a:lnTo>
                  <a:lnTo>
                    <a:pt x="346" y="423"/>
                  </a:lnTo>
                  <a:lnTo>
                    <a:pt x="348" y="419"/>
                  </a:lnTo>
                  <a:lnTo>
                    <a:pt x="346" y="419"/>
                  </a:lnTo>
                  <a:lnTo>
                    <a:pt x="346" y="419"/>
                  </a:lnTo>
                  <a:lnTo>
                    <a:pt x="346" y="414"/>
                  </a:lnTo>
                  <a:lnTo>
                    <a:pt x="346" y="414"/>
                  </a:lnTo>
                  <a:lnTo>
                    <a:pt x="350" y="416"/>
                  </a:lnTo>
                  <a:lnTo>
                    <a:pt x="355" y="416"/>
                  </a:lnTo>
                  <a:lnTo>
                    <a:pt x="355" y="416"/>
                  </a:lnTo>
                  <a:lnTo>
                    <a:pt x="353" y="414"/>
                  </a:lnTo>
                  <a:lnTo>
                    <a:pt x="353" y="412"/>
                  </a:lnTo>
                  <a:lnTo>
                    <a:pt x="355" y="412"/>
                  </a:lnTo>
                  <a:lnTo>
                    <a:pt x="358" y="412"/>
                  </a:lnTo>
                  <a:lnTo>
                    <a:pt x="360" y="410"/>
                  </a:lnTo>
                  <a:lnTo>
                    <a:pt x="360" y="407"/>
                  </a:lnTo>
                  <a:lnTo>
                    <a:pt x="360" y="405"/>
                  </a:lnTo>
                  <a:lnTo>
                    <a:pt x="360" y="403"/>
                  </a:lnTo>
                  <a:lnTo>
                    <a:pt x="365" y="402"/>
                  </a:lnTo>
                  <a:lnTo>
                    <a:pt x="365" y="398"/>
                  </a:lnTo>
                  <a:lnTo>
                    <a:pt x="362" y="396"/>
                  </a:lnTo>
                  <a:lnTo>
                    <a:pt x="362" y="396"/>
                  </a:lnTo>
                  <a:lnTo>
                    <a:pt x="364" y="391"/>
                  </a:lnTo>
                  <a:lnTo>
                    <a:pt x="365" y="396"/>
                  </a:lnTo>
                  <a:lnTo>
                    <a:pt x="365" y="393"/>
                  </a:lnTo>
                  <a:lnTo>
                    <a:pt x="371" y="388"/>
                  </a:lnTo>
                  <a:lnTo>
                    <a:pt x="372" y="384"/>
                  </a:lnTo>
                  <a:lnTo>
                    <a:pt x="374" y="383"/>
                  </a:lnTo>
                  <a:lnTo>
                    <a:pt x="374" y="377"/>
                  </a:lnTo>
                  <a:lnTo>
                    <a:pt x="379" y="374"/>
                  </a:lnTo>
                  <a:lnTo>
                    <a:pt x="383" y="369"/>
                  </a:lnTo>
                  <a:lnTo>
                    <a:pt x="384" y="363"/>
                  </a:lnTo>
                  <a:lnTo>
                    <a:pt x="388" y="363"/>
                  </a:lnTo>
                  <a:lnTo>
                    <a:pt x="393" y="356"/>
                  </a:lnTo>
                  <a:lnTo>
                    <a:pt x="400" y="351"/>
                  </a:lnTo>
                  <a:lnTo>
                    <a:pt x="405" y="346"/>
                  </a:lnTo>
                  <a:lnTo>
                    <a:pt x="407" y="346"/>
                  </a:lnTo>
                  <a:lnTo>
                    <a:pt x="412" y="341"/>
                  </a:lnTo>
                  <a:lnTo>
                    <a:pt x="417" y="339"/>
                  </a:lnTo>
                  <a:lnTo>
                    <a:pt x="419" y="337"/>
                  </a:lnTo>
                  <a:lnTo>
                    <a:pt x="424" y="332"/>
                  </a:lnTo>
                  <a:lnTo>
                    <a:pt x="428" y="329"/>
                  </a:lnTo>
                  <a:lnTo>
                    <a:pt x="430" y="329"/>
                  </a:lnTo>
                  <a:lnTo>
                    <a:pt x="433" y="329"/>
                  </a:lnTo>
                  <a:lnTo>
                    <a:pt x="433" y="327"/>
                  </a:lnTo>
                  <a:lnTo>
                    <a:pt x="431" y="325"/>
                  </a:lnTo>
                  <a:lnTo>
                    <a:pt x="433" y="322"/>
                  </a:lnTo>
                  <a:lnTo>
                    <a:pt x="433" y="318"/>
                  </a:lnTo>
                  <a:lnTo>
                    <a:pt x="433" y="315"/>
                  </a:lnTo>
                  <a:lnTo>
                    <a:pt x="431" y="313"/>
                  </a:lnTo>
                  <a:lnTo>
                    <a:pt x="430" y="313"/>
                  </a:lnTo>
                  <a:lnTo>
                    <a:pt x="430" y="310"/>
                  </a:lnTo>
                  <a:lnTo>
                    <a:pt x="431" y="306"/>
                  </a:lnTo>
                  <a:lnTo>
                    <a:pt x="430" y="304"/>
                  </a:lnTo>
                  <a:lnTo>
                    <a:pt x="426" y="303"/>
                  </a:lnTo>
                  <a:lnTo>
                    <a:pt x="424" y="301"/>
                  </a:lnTo>
                  <a:lnTo>
                    <a:pt x="423" y="301"/>
                  </a:lnTo>
                  <a:lnTo>
                    <a:pt x="419" y="297"/>
                  </a:lnTo>
                  <a:lnTo>
                    <a:pt x="419" y="296"/>
                  </a:lnTo>
                  <a:lnTo>
                    <a:pt x="419" y="294"/>
                  </a:lnTo>
                  <a:lnTo>
                    <a:pt x="416" y="296"/>
                  </a:lnTo>
                  <a:lnTo>
                    <a:pt x="414" y="297"/>
                  </a:lnTo>
                  <a:lnTo>
                    <a:pt x="412" y="297"/>
                  </a:lnTo>
                  <a:lnTo>
                    <a:pt x="409" y="296"/>
                  </a:lnTo>
                  <a:lnTo>
                    <a:pt x="407" y="297"/>
                  </a:lnTo>
                  <a:lnTo>
                    <a:pt x="402" y="299"/>
                  </a:lnTo>
                  <a:lnTo>
                    <a:pt x="400" y="303"/>
                  </a:lnTo>
                  <a:lnTo>
                    <a:pt x="400" y="304"/>
                  </a:lnTo>
                  <a:lnTo>
                    <a:pt x="397" y="304"/>
                  </a:lnTo>
                  <a:lnTo>
                    <a:pt x="393" y="306"/>
                  </a:lnTo>
                  <a:lnTo>
                    <a:pt x="393" y="310"/>
                  </a:lnTo>
                  <a:lnTo>
                    <a:pt x="393" y="311"/>
                  </a:lnTo>
                  <a:lnTo>
                    <a:pt x="393" y="313"/>
                  </a:lnTo>
                  <a:lnTo>
                    <a:pt x="393" y="316"/>
                  </a:lnTo>
                  <a:lnTo>
                    <a:pt x="393" y="318"/>
                  </a:lnTo>
                  <a:lnTo>
                    <a:pt x="391" y="318"/>
                  </a:lnTo>
                  <a:lnTo>
                    <a:pt x="388" y="320"/>
                  </a:lnTo>
                  <a:lnTo>
                    <a:pt x="388" y="323"/>
                  </a:lnTo>
                  <a:lnTo>
                    <a:pt x="388" y="325"/>
                  </a:lnTo>
                  <a:lnTo>
                    <a:pt x="386" y="327"/>
                  </a:lnTo>
                  <a:lnTo>
                    <a:pt x="379" y="332"/>
                  </a:lnTo>
                  <a:lnTo>
                    <a:pt x="377" y="334"/>
                  </a:lnTo>
                  <a:lnTo>
                    <a:pt x="377" y="332"/>
                  </a:lnTo>
                  <a:lnTo>
                    <a:pt x="372" y="332"/>
                  </a:lnTo>
                  <a:lnTo>
                    <a:pt x="371" y="334"/>
                  </a:lnTo>
                  <a:lnTo>
                    <a:pt x="369" y="337"/>
                  </a:lnTo>
                  <a:lnTo>
                    <a:pt x="365" y="339"/>
                  </a:lnTo>
                  <a:lnTo>
                    <a:pt x="365" y="337"/>
                  </a:lnTo>
                  <a:lnTo>
                    <a:pt x="364" y="337"/>
                  </a:lnTo>
                  <a:lnTo>
                    <a:pt x="362" y="337"/>
                  </a:lnTo>
                  <a:lnTo>
                    <a:pt x="362" y="337"/>
                  </a:lnTo>
                  <a:lnTo>
                    <a:pt x="362" y="343"/>
                  </a:lnTo>
                  <a:lnTo>
                    <a:pt x="362" y="343"/>
                  </a:lnTo>
                  <a:lnTo>
                    <a:pt x="360" y="339"/>
                  </a:lnTo>
                  <a:lnTo>
                    <a:pt x="358" y="337"/>
                  </a:lnTo>
                  <a:lnTo>
                    <a:pt x="353" y="337"/>
                  </a:lnTo>
                  <a:lnTo>
                    <a:pt x="346" y="339"/>
                  </a:lnTo>
                  <a:lnTo>
                    <a:pt x="346" y="341"/>
                  </a:lnTo>
                  <a:lnTo>
                    <a:pt x="343" y="341"/>
                  </a:lnTo>
                  <a:lnTo>
                    <a:pt x="343" y="343"/>
                  </a:lnTo>
                  <a:lnTo>
                    <a:pt x="343" y="348"/>
                  </a:lnTo>
                  <a:lnTo>
                    <a:pt x="346" y="350"/>
                  </a:lnTo>
                  <a:lnTo>
                    <a:pt x="346" y="351"/>
                  </a:lnTo>
                  <a:lnTo>
                    <a:pt x="343" y="351"/>
                  </a:lnTo>
                  <a:lnTo>
                    <a:pt x="343" y="355"/>
                  </a:lnTo>
                  <a:lnTo>
                    <a:pt x="341" y="355"/>
                  </a:lnTo>
                  <a:lnTo>
                    <a:pt x="341" y="351"/>
                  </a:lnTo>
                  <a:lnTo>
                    <a:pt x="343" y="351"/>
                  </a:lnTo>
                  <a:lnTo>
                    <a:pt x="343" y="348"/>
                  </a:lnTo>
                  <a:lnTo>
                    <a:pt x="338" y="348"/>
                  </a:lnTo>
                  <a:lnTo>
                    <a:pt x="338" y="351"/>
                  </a:lnTo>
                  <a:lnTo>
                    <a:pt x="334" y="355"/>
                  </a:lnTo>
                  <a:lnTo>
                    <a:pt x="334" y="356"/>
                  </a:lnTo>
                  <a:lnTo>
                    <a:pt x="336" y="356"/>
                  </a:lnTo>
                  <a:lnTo>
                    <a:pt x="334" y="360"/>
                  </a:lnTo>
                  <a:lnTo>
                    <a:pt x="334" y="360"/>
                  </a:lnTo>
                  <a:lnTo>
                    <a:pt x="329" y="360"/>
                  </a:lnTo>
                  <a:lnTo>
                    <a:pt x="327" y="363"/>
                  </a:lnTo>
                  <a:lnTo>
                    <a:pt x="327" y="365"/>
                  </a:lnTo>
                  <a:lnTo>
                    <a:pt x="324" y="365"/>
                  </a:lnTo>
                  <a:lnTo>
                    <a:pt x="324" y="369"/>
                  </a:lnTo>
                  <a:lnTo>
                    <a:pt x="320" y="372"/>
                  </a:lnTo>
                  <a:lnTo>
                    <a:pt x="324" y="374"/>
                  </a:lnTo>
                  <a:lnTo>
                    <a:pt x="324" y="374"/>
                  </a:lnTo>
                  <a:lnTo>
                    <a:pt x="320" y="377"/>
                  </a:lnTo>
                  <a:lnTo>
                    <a:pt x="315" y="377"/>
                  </a:lnTo>
                  <a:lnTo>
                    <a:pt x="315" y="379"/>
                  </a:lnTo>
                  <a:lnTo>
                    <a:pt x="315" y="383"/>
                  </a:lnTo>
                  <a:lnTo>
                    <a:pt x="315" y="386"/>
                  </a:lnTo>
                  <a:lnTo>
                    <a:pt x="315" y="386"/>
                  </a:lnTo>
                  <a:lnTo>
                    <a:pt x="318" y="386"/>
                  </a:lnTo>
                  <a:lnTo>
                    <a:pt x="318" y="388"/>
                  </a:lnTo>
                  <a:lnTo>
                    <a:pt x="318" y="388"/>
                  </a:lnTo>
                  <a:lnTo>
                    <a:pt x="318" y="391"/>
                  </a:lnTo>
                  <a:lnTo>
                    <a:pt x="318" y="393"/>
                  </a:lnTo>
                  <a:lnTo>
                    <a:pt x="315" y="391"/>
                  </a:lnTo>
                  <a:lnTo>
                    <a:pt x="311" y="391"/>
                  </a:lnTo>
                  <a:lnTo>
                    <a:pt x="308" y="393"/>
                  </a:lnTo>
                  <a:lnTo>
                    <a:pt x="306" y="396"/>
                  </a:lnTo>
                  <a:lnTo>
                    <a:pt x="306" y="398"/>
                  </a:lnTo>
                  <a:lnTo>
                    <a:pt x="304" y="400"/>
                  </a:lnTo>
                  <a:lnTo>
                    <a:pt x="301" y="403"/>
                  </a:lnTo>
                  <a:lnTo>
                    <a:pt x="299" y="402"/>
                  </a:lnTo>
                  <a:lnTo>
                    <a:pt x="298" y="400"/>
                  </a:lnTo>
                  <a:lnTo>
                    <a:pt x="296" y="396"/>
                  </a:lnTo>
                  <a:lnTo>
                    <a:pt x="296" y="398"/>
                  </a:lnTo>
                  <a:lnTo>
                    <a:pt x="296" y="402"/>
                  </a:lnTo>
                  <a:lnTo>
                    <a:pt x="296" y="407"/>
                  </a:lnTo>
                  <a:lnTo>
                    <a:pt x="298" y="409"/>
                  </a:lnTo>
                  <a:lnTo>
                    <a:pt x="301" y="409"/>
                  </a:lnTo>
                  <a:lnTo>
                    <a:pt x="301" y="409"/>
                  </a:lnTo>
                  <a:lnTo>
                    <a:pt x="301" y="410"/>
                  </a:lnTo>
                  <a:lnTo>
                    <a:pt x="299" y="416"/>
                  </a:lnTo>
                  <a:lnTo>
                    <a:pt x="301" y="416"/>
                  </a:lnTo>
                  <a:lnTo>
                    <a:pt x="303" y="416"/>
                  </a:lnTo>
                  <a:lnTo>
                    <a:pt x="304" y="416"/>
                  </a:lnTo>
                  <a:lnTo>
                    <a:pt x="306" y="416"/>
                  </a:lnTo>
                  <a:lnTo>
                    <a:pt x="308" y="416"/>
                  </a:lnTo>
                  <a:lnTo>
                    <a:pt x="311" y="416"/>
                  </a:lnTo>
                  <a:lnTo>
                    <a:pt x="313" y="416"/>
                  </a:lnTo>
                  <a:lnTo>
                    <a:pt x="315" y="416"/>
                  </a:lnTo>
                  <a:lnTo>
                    <a:pt x="313" y="419"/>
                  </a:lnTo>
                  <a:lnTo>
                    <a:pt x="310" y="419"/>
                  </a:lnTo>
                  <a:lnTo>
                    <a:pt x="306" y="419"/>
                  </a:lnTo>
                  <a:lnTo>
                    <a:pt x="304" y="419"/>
                  </a:lnTo>
                  <a:lnTo>
                    <a:pt x="303" y="419"/>
                  </a:lnTo>
                  <a:lnTo>
                    <a:pt x="301" y="421"/>
                  </a:lnTo>
                  <a:lnTo>
                    <a:pt x="303" y="424"/>
                  </a:lnTo>
                  <a:lnTo>
                    <a:pt x="304" y="426"/>
                  </a:lnTo>
                  <a:lnTo>
                    <a:pt x="308" y="426"/>
                  </a:lnTo>
                  <a:lnTo>
                    <a:pt x="310" y="426"/>
                  </a:lnTo>
                  <a:lnTo>
                    <a:pt x="311" y="428"/>
                  </a:lnTo>
                  <a:lnTo>
                    <a:pt x="310" y="428"/>
                  </a:lnTo>
                  <a:lnTo>
                    <a:pt x="306" y="430"/>
                  </a:lnTo>
                  <a:lnTo>
                    <a:pt x="301" y="430"/>
                  </a:lnTo>
                  <a:lnTo>
                    <a:pt x="299" y="431"/>
                  </a:lnTo>
                  <a:lnTo>
                    <a:pt x="299" y="433"/>
                  </a:lnTo>
                  <a:lnTo>
                    <a:pt x="301" y="435"/>
                  </a:lnTo>
                  <a:lnTo>
                    <a:pt x="304" y="435"/>
                  </a:lnTo>
                  <a:lnTo>
                    <a:pt x="308" y="435"/>
                  </a:lnTo>
                  <a:lnTo>
                    <a:pt x="308" y="436"/>
                  </a:lnTo>
                  <a:lnTo>
                    <a:pt x="306" y="436"/>
                  </a:lnTo>
                  <a:lnTo>
                    <a:pt x="303" y="436"/>
                  </a:lnTo>
                  <a:lnTo>
                    <a:pt x="303" y="438"/>
                  </a:lnTo>
                  <a:lnTo>
                    <a:pt x="303" y="438"/>
                  </a:lnTo>
                  <a:lnTo>
                    <a:pt x="308" y="438"/>
                  </a:lnTo>
                  <a:lnTo>
                    <a:pt x="313" y="443"/>
                  </a:lnTo>
                  <a:lnTo>
                    <a:pt x="315" y="443"/>
                  </a:lnTo>
                  <a:lnTo>
                    <a:pt x="315" y="443"/>
                  </a:lnTo>
                  <a:lnTo>
                    <a:pt x="315" y="447"/>
                  </a:lnTo>
                  <a:lnTo>
                    <a:pt x="313" y="443"/>
                  </a:lnTo>
                  <a:lnTo>
                    <a:pt x="310" y="443"/>
                  </a:lnTo>
                  <a:lnTo>
                    <a:pt x="306" y="443"/>
                  </a:lnTo>
                  <a:lnTo>
                    <a:pt x="304" y="442"/>
                  </a:lnTo>
                  <a:lnTo>
                    <a:pt x="301" y="442"/>
                  </a:lnTo>
                  <a:lnTo>
                    <a:pt x="299" y="443"/>
                  </a:lnTo>
                  <a:lnTo>
                    <a:pt x="298" y="447"/>
                  </a:lnTo>
                  <a:lnTo>
                    <a:pt x="296" y="447"/>
                  </a:lnTo>
                  <a:lnTo>
                    <a:pt x="298" y="447"/>
                  </a:lnTo>
                  <a:lnTo>
                    <a:pt x="298" y="450"/>
                  </a:lnTo>
                  <a:lnTo>
                    <a:pt x="298" y="450"/>
                  </a:lnTo>
                  <a:lnTo>
                    <a:pt x="296" y="452"/>
                  </a:lnTo>
                  <a:lnTo>
                    <a:pt x="296" y="452"/>
                  </a:lnTo>
                  <a:lnTo>
                    <a:pt x="292" y="454"/>
                  </a:lnTo>
                  <a:lnTo>
                    <a:pt x="292" y="457"/>
                  </a:lnTo>
                  <a:lnTo>
                    <a:pt x="292" y="457"/>
                  </a:lnTo>
                  <a:lnTo>
                    <a:pt x="292" y="459"/>
                  </a:lnTo>
                  <a:lnTo>
                    <a:pt x="289" y="461"/>
                  </a:lnTo>
                  <a:lnTo>
                    <a:pt x="289" y="461"/>
                  </a:lnTo>
                  <a:lnTo>
                    <a:pt x="292" y="466"/>
                  </a:lnTo>
                  <a:lnTo>
                    <a:pt x="296" y="466"/>
                  </a:lnTo>
                  <a:lnTo>
                    <a:pt x="296" y="466"/>
                  </a:lnTo>
                  <a:lnTo>
                    <a:pt x="298" y="464"/>
                  </a:lnTo>
                  <a:lnTo>
                    <a:pt x="299" y="463"/>
                  </a:lnTo>
                  <a:lnTo>
                    <a:pt x="304" y="459"/>
                  </a:lnTo>
                  <a:lnTo>
                    <a:pt x="308" y="457"/>
                  </a:lnTo>
                  <a:lnTo>
                    <a:pt x="311" y="457"/>
                  </a:lnTo>
                  <a:lnTo>
                    <a:pt x="313" y="459"/>
                  </a:lnTo>
                  <a:lnTo>
                    <a:pt x="313" y="461"/>
                  </a:lnTo>
                  <a:lnTo>
                    <a:pt x="311" y="461"/>
                  </a:lnTo>
                  <a:lnTo>
                    <a:pt x="310" y="459"/>
                  </a:lnTo>
                  <a:lnTo>
                    <a:pt x="308" y="459"/>
                  </a:lnTo>
                  <a:lnTo>
                    <a:pt x="306" y="463"/>
                  </a:lnTo>
                  <a:lnTo>
                    <a:pt x="301" y="464"/>
                  </a:lnTo>
                  <a:lnTo>
                    <a:pt x="299" y="466"/>
                  </a:lnTo>
                  <a:lnTo>
                    <a:pt x="299" y="469"/>
                  </a:lnTo>
                  <a:lnTo>
                    <a:pt x="299" y="475"/>
                  </a:lnTo>
                  <a:lnTo>
                    <a:pt x="299" y="475"/>
                  </a:lnTo>
                  <a:lnTo>
                    <a:pt x="299" y="475"/>
                  </a:lnTo>
                  <a:lnTo>
                    <a:pt x="299" y="475"/>
                  </a:lnTo>
                  <a:lnTo>
                    <a:pt x="299" y="475"/>
                  </a:lnTo>
                  <a:lnTo>
                    <a:pt x="299" y="475"/>
                  </a:lnTo>
                  <a:lnTo>
                    <a:pt x="299" y="475"/>
                  </a:lnTo>
                  <a:close/>
                  <a:moveTo>
                    <a:pt x="315" y="569"/>
                  </a:moveTo>
                  <a:lnTo>
                    <a:pt x="315" y="569"/>
                  </a:lnTo>
                  <a:lnTo>
                    <a:pt x="315" y="567"/>
                  </a:lnTo>
                  <a:lnTo>
                    <a:pt x="315" y="565"/>
                  </a:lnTo>
                  <a:lnTo>
                    <a:pt x="315" y="562"/>
                  </a:lnTo>
                  <a:lnTo>
                    <a:pt x="315" y="560"/>
                  </a:lnTo>
                  <a:lnTo>
                    <a:pt x="311" y="560"/>
                  </a:lnTo>
                  <a:lnTo>
                    <a:pt x="311" y="556"/>
                  </a:lnTo>
                  <a:lnTo>
                    <a:pt x="308" y="556"/>
                  </a:lnTo>
                  <a:lnTo>
                    <a:pt x="304" y="556"/>
                  </a:lnTo>
                  <a:lnTo>
                    <a:pt x="301" y="556"/>
                  </a:lnTo>
                  <a:lnTo>
                    <a:pt x="303" y="560"/>
                  </a:lnTo>
                  <a:lnTo>
                    <a:pt x="304" y="560"/>
                  </a:lnTo>
                  <a:lnTo>
                    <a:pt x="306" y="560"/>
                  </a:lnTo>
                  <a:lnTo>
                    <a:pt x="310" y="562"/>
                  </a:lnTo>
                  <a:lnTo>
                    <a:pt x="310" y="565"/>
                  </a:lnTo>
                  <a:lnTo>
                    <a:pt x="311" y="565"/>
                  </a:lnTo>
                  <a:lnTo>
                    <a:pt x="315" y="569"/>
                  </a:lnTo>
                  <a:lnTo>
                    <a:pt x="315" y="569"/>
                  </a:lnTo>
                  <a:lnTo>
                    <a:pt x="315" y="569"/>
                  </a:lnTo>
                  <a:lnTo>
                    <a:pt x="315" y="569"/>
                  </a:lnTo>
                  <a:close/>
                  <a:moveTo>
                    <a:pt x="377" y="569"/>
                  </a:moveTo>
                  <a:lnTo>
                    <a:pt x="371" y="565"/>
                  </a:lnTo>
                  <a:lnTo>
                    <a:pt x="369" y="567"/>
                  </a:lnTo>
                  <a:lnTo>
                    <a:pt x="365" y="565"/>
                  </a:lnTo>
                  <a:lnTo>
                    <a:pt x="365" y="562"/>
                  </a:lnTo>
                  <a:lnTo>
                    <a:pt x="362" y="562"/>
                  </a:lnTo>
                  <a:lnTo>
                    <a:pt x="355" y="556"/>
                  </a:lnTo>
                  <a:lnTo>
                    <a:pt x="353" y="553"/>
                  </a:lnTo>
                  <a:lnTo>
                    <a:pt x="350" y="553"/>
                  </a:lnTo>
                  <a:lnTo>
                    <a:pt x="346" y="546"/>
                  </a:lnTo>
                  <a:lnTo>
                    <a:pt x="341" y="539"/>
                  </a:lnTo>
                  <a:lnTo>
                    <a:pt x="338" y="530"/>
                  </a:lnTo>
                  <a:lnTo>
                    <a:pt x="334" y="525"/>
                  </a:lnTo>
                  <a:lnTo>
                    <a:pt x="334" y="518"/>
                  </a:lnTo>
                  <a:lnTo>
                    <a:pt x="332" y="513"/>
                  </a:lnTo>
                  <a:lnTo>
                    <a:pt x="331" y="503"/>
                  </a:lnTo>
                  <a:lnTo>
                    <a:pt x="329" y="501"/>
                  </a:lnTo>
                  <a:lnTo>
                    <a:pt x="331" y="497"/>
                  </a:lnTo>
                  <a:lnTo>
                    <a:pt x="331" y="497"/>
                  </a:lnTo>
                  <a:lnTo>
                    <a:pt x="327" y="496"/>
                  </a:lnTo>
                  <a:lnTo>
                    <a:pt x="325" y="497"/>
                  </a:lnTo>
                  <a:lnTo>
                    <a:pt x="324" y="496"/>
                  </a:lnTo>
                  <a:lnTo>
                    <a:pt x="324" y="494"/>
                  </a:lnTo>
                  <a:lnTo>
                    <a:pt x="329" y="496"/>
                  </a:lnTo>
                  <a:lnTo>
                    <a:pt x="332" y="492"/>
                  </a:lnTo>
                  <a:lnTo>
                    <a:pt x="332" y="485"/>
                  </a:lnTo>
                  <a:lnTo>
                    <a:pt x="332" y="482"/>
                  </a:lnTo>
                  <a:lnTo>
                    <a:pt x="329" y="483"/>
                  </a:lnTo>
                  <a:lnTo>
                    <a:pt x="325" y="483"/>
                  </a:lnTo>
                  <a:lnTo>
                    <a:pt x="327" y="482"/>
                  </a:lnTo>
                  <a:lnTo>
                    <a:pt x="332" y="480"/>
                  </a:lnTo>
                  <a:lnTo>
                    <a:pt x="332" y="478"/>
                  </a:lnTo>
                  <a:lnTo>
                    <a:pt x="331" y="478"/>
                  </a:lnTo>
                  <a:lnTo>
                    <a:pt x="325" y="478"/>
                  </a:lnTo>
                  <a:lnTo>
                    <a:pt x="318" y="475"/>
                  </a:lnTo>
                  <a:lnTo>
                    <a:pt x="315" y="475"/>
                  </a:lnTo>
                  <a:lnTo>
                    <a:pt x="311" y="475"/>
                  </a:lnTo>
                  <a:lnTo>
                    <a:pt x="304" y="478"/>
                  </a:lnTo>
                  <a:lnTo>
                    <a:pt x="299" y="478"/>
                  </a:lnTo>
                  <a:lnTo>
                    <a:pt x="296" y="480"/>
                  </a:lnTo>
                  <a:lnTo>
                    <a:pt x="292" y="483"/>
                  </a:lnTo>
                  <a:lnTo>
                    <a:pt x="292" y="487"/>
                  </a:lnTo>
                  <a:lnTo>
                    <a:pt x="292" y="489"/>
                  </a:lnTo>
                  <a:lnTo>
                    <a:pt x="292" y="492"/>
                  </a:lnTo>
                  <a:lnTo>
                    <a:pt x="296" y="492"/>
                  </a:lnTo>
                  <a:lnTo>
                    <a:pt x="296" y="494"/>
                  </a:lnTo>
                  <a:lnTo>
                    <a:pt x="296" y="496"/>
                  </a:lnTo>
                  <a:lnTo>
                    <a:pt x="292" y="496"/>
                  </a:lnTo>
                  <a:lnTo>
                    <a:pt x="289" y="497"/>
                  </a:lnTo>
                  <a:lnTo>
                    <a:pt x="287" y="501"/>
                  </a:lnTo>
                  <a:lnTo>
                    <a:pt x="284" y="506"/>
                  </a:lnTo>
                  <a:lnTo>
                    <a:pt x="287" y="506"/>
                  </a:lnTo>
                  <a:lnTo>
                    <a:pt x="291" y="506"/>
                  </a:lnTo>
                  <a:lnTo>
                    <a:pt x="296" y="503"/>
                  </a:lnTo>
                  <a:lnTo>
                    <a:pt x="296" y="506"/>
                  </a:lnTo>
                  <a:lnTo>
                    <a:pt x="292" y="508"/>
                  </a:lnTo>
                  <a:lnTo>
                    <a:pt x="292" y="511"/>
                  </a:lnTo>
                  <a:lnTo>
                    <a:pt x="292" y="511"/>
                  </a:lnTo>
                  <a:lnTo>
                    <a:pt x="296" y="508"/>
                  </a:lnTo>
                  <a:lnTo>
                    <a:pt x="298" y="508"/>
                  </a:lnTo>
                  <a:lnTo>
                    <a:pt x="298" y="509"/>
                  </a:lnTo>
                  <a:lnTo>
                    <a:pt x="296" y="511"/>
                  </a:lnTo>
                  <a:lnTo>
                    <a:pt x="296" y="515"/>
                  </a:lnTo>
                  <a:lnTo>
                    <a:pt x="298" y="516"/>
                  </a:lnTo>
                  <a:lnTo>
                    <a:pt x="301" y="516"/>
                  </a:lnTo>
                  <a:lnTo>
                    <a:pt x="299" y="518"/>
                  </a:lnTo>
                  <a:lnTo>
                    <a:pt x="296" y="518"/>
                  </a:lnTo>
                  <a:lnTo>
                    <a:pt x="296" y="520"/>
                  </a:lnTo>
                  <a:lnTo>
                    <a:pt x="296" y="523"/>
                  </a:lnTo>
                  <a:lnTo>
                    <a:pt x="296" y="525"/>
                  </a:lnTo>
                  <a:lnTo>
                    <a:pt x="296" y="529"/>
                  </a:lnTo>
                  <a:lnTo>
                    <a:pt x="292" y="525"/>
                  </a:lnTo>
                  <a:lnTo>
                    <a:pt x="291" y="529"/>
                  </a:lnTo>
                  <a:lnTo>
                    <a:pt x="289" y="525"/>
                  </a:lnTo>
                  <a:lnTo>
                    <a:pt x="284" y="525"/>
                  </a:lnTo>
                  <a:lnTo>
                    <a:pt x="284" y="529"/>
                  </a:lnTo>
                  <a:lnTo>
                    <a:pt x="284" y="532"/>
                  </a:lnTo>
                  <a:lnTo>
                    <a:pt x="284" y="537"/>
                  </a:lnTo>
                  <a:lnTo>
                    <a:pt x="284" y="541"/>
                  </a:lnTo>
                  <a:lnTo>
                    <a:pt x="284" y="544"/>
                  </a:lnTo>
                  <a:lnTo>
                    <a:pt x="289" y="549"/>
                  </a:lnTo>
                  <a:lnTo>
                    <a:pt x="289" y="551"/>
                  </a:lnTo>
                  <a:lnTo>
                    <a:pt x="292" y="553"/>
                  </a:lnTo>
                  <a:lnTo>
                    <a:pt x="296" y="556"/>
                  </a:lnTo>
                  <a:lnTo>
                    <a:pt x="298" y="553"/>
                  </a:lnTo>
                  <a:lnTo>
                    <a:pt x="301" y="553"/>
                  </a:lnTo>
                  <a:lnTo>
                    <a:pt x="303" y="549"/>
                  </a:lnTo>
                  <a:lnTo>
                    <a:pt x="303" y="544"/>
                  </a:lnTo>
                  <a:lnTo>
                    <a:pt x="303" y="541"/>
                  </a:lnTo>
                  <a:lnTo>
                    <a:pt x="304" y="537"/>
                  </a:lnTo>
                  <a:lnTo>
                    <a:pt x="303" y="543"/>
                  </a:lnTo>
                  <a:lnTo>
                    <a:pt x="303" y="544"/>
                  </a:lnTo>
                  <a:lnTo>
                    <a:pt x="304" y="548"/>
                  </a:lnTo>
                  <a:lnTo>
                    <a:pt x="306" y="551"/>
                  </a:lnTo>
                  <a:lnTo>
                    <a:pt x="308" y="553"/>
                  </a:lnTo>
                  <a:lnTo>
                    <a:pt x="311" y="551"/>
                  </a:lnTo>
                  <a:lnTo>
                    <a:pt x="311" y="548"/>
                  </a:lnTo>
                  <a:lnTo>
                    <a:pt x="313" y="544"/>
                  </a:lnTo>
                  <a:lnTo>
                    <a:pt x="313" y="546"/>
                  </a:lnTo>
                  <a:lnTo>
                    <a:pt x="313" y="548"/>
                  </a:lnTo>
                  <a:lnTo>
                    <a:pt x="313" y="551"/>
                  </a:lnTo>
                  <a:lnTo>
                    <a:pt x="315" y="556"/>
                  </a:lnTo>
                  <a:lnTo>
                    <a:pt x="318" y="560"/>
                  </a:lnTo>
                  <a:lnTo>
                    <a:pt x="324" y="560"/>
                  </a:lnTo>
                  <a:lnTo>
                    <a:pt x="325" y="556"/>
                  </a:lnTo>
                  <a:lnTo>
                    <a:pt x="327" y="556"/>
                  </a:lnTo>
                  <a:lnTo>
                    <a:pt x="325" y="560"/>
                  </a:lnTo>
                  <a:lnTo>
                    <a:pt x="324" y="560"/>
                  </a:lnTo>
                  <a:lnTo>
                    <a:pt x="324" y="560"/>
                  </a:lnTo>
                  <a:lnTo>
                    <a:pt x="320" y="562"/>
                  </a:lnTo>
                  <a:lnTo>
                    <a:pt x="318" y="565"/>
                  </a:lnTo>
                  <a:lnTo>
                    <a:pt x="324" y="567"/>
                  </a:lnTo>
                  <a:lnTo>
                    <a:pt x="324" y="570"/>
                  </a:lnTo>
                  <a:lnTo>
                    <a:pt x="320" y="570"/>
                  </a:lnTo>
                  <a:lnTo>
                    <a:pt x="318" y="569"/>
                  </a:lnTo>
                  <a:lnTo>
                    <a:pt x="318" y="572"/>
                  </a:lnTo>
                  <a:lnTo>
                    <a:pt x="320" y="574"/>
                  </a:lnTo>
                  <a:lnTo>
                    <a:pt x="325" y="574"/>
                  </a:lnTo>
                  <a:lnTo>
                    <a:pt x="329" y="576"/>
                  </a:lnTo>
                  <a:lnTo>
                    <a:pt x="334" y="574"/>
                  </a:lnTo>
                  <a:lnTo>
                    <a:pt x="338" y="576"/>
                  </a:lnTo>
                  <a:lnTo>
                    <a:pt x="338" y="574"/>
                  </a:lnTo>
                  <a:lnTo>
                    <a:pt x="338" y="574"/>
                  </a:lnTo>
                  <a:lnTo>
                    <a:pt x="341" y="576"/>
                  </a:lnTo>
                  <a:lnTo>
                    <a:pt x="343" y="581"/>
                  </a:lnTo>
                  <a:lnTo>
                    <a:pt x="343" y="584"/>
                  </a:lnTo>
                  <a:lnTo>
                    <a:pt x="346" y="583"/>
                  </a:lnTo>
                  <a:lnTo>
                    <a:pt x="348" y="581"/>
                  </a:lnTo>
                  <a:lnTo>
                    <a:pt x="348" y="576"/>
                  </a:lnTo>
                  <a:lnTo>
                    <a:pt x="343" y="574"/>
                  </a:lnTo>
                  <a:lnTo>
                    <a:pt x="343" y="574"/>
                  </a:lnTo>
                  <a:lnTo>
                    <a:pt x="343" y="572"/>
                  </a:lnTo>
                  <a:lnTo>
                    <a:pt x="346" y="574"/>
                  </a:lnTo>
                  <a:lnTo>
                    <a:pt x="350" y="576"/>
                  </a:lnTo>
                  <a:lnTo>
                    <a:pt x="350" y="576"/>
                  </a:lnTo>
                  <a:lnTo>
                    <a:pt x="351" y="581"/>
                  </a:lnTo>
                  <a:lnTo>
                    <a:pt x="353" y="581"/>
                  </a:lnTo>
                  <a:lnTo>
                    <a:pt x="355" y="579"/>
                  </a:lnTo>
                  <a:lnTo>
                    <a:pt x="355" y="576"/>
                  </a:lnTo>
                  <a:lnTo>
                    <a:pt x="358" y="581"/>
                  </a:lnTo>
                  <a:lnTo>
                    <a:pt x="362" y="583"/>
                  </a:lnTo>
                  <a:lnTo>
                    <a:pt x="364" y="583"/>
                  </a:lnTo>
                  <a:lnTo>
                    <a:pt x="364" y="581"/>
                  </a:lnTo>
                  <a:lnTo>
                    <a:pt x="362" y="576"/>
                  </a:lnTo>
                  <a:lnTo>
                    <a:pt x="362" y="576"/>
                  </a:lnTo>
                  <a:lnTo>
                    <a:pt x="364" y="576"/>
                  </a:lnTo>
                  <a:lnTo>
                    <a:pt x="365" y="576"/>
                  </a:lnTo>
                  <a:lnTo>
                    <a:pt x="365" y="579"/>
                  </a:lnTo>
                  <a:lnTo>
                    <a:pt x="369" y="579"/>
                  </a:lnTo>
                  <a:lnTo>
                    <a:pt x="369" y="583"/>
                  </a:lnTo>
                  <a:lnTo>
                    <a:pt x="371" y="584"/>
                  </a:lnTo>
                  <a:lnTo>
                    <a:pt x="372" y="583"/>
                  </a:lnTo>
                  <a:lnTo>
                    <a:pt x="372" y="581"/>
                  </a:lnTo>
                  <a:lnTo>
                    <a:pt x="372" y="576"/>
                  </a:lnTo>
                  <a:lnTo>
                    <a:pt x="369" y="576"/>
                  </a:lnTo>
                  <a:lnTo>
                    <a:pt x="369" y="576"/>
                  </a:lnTo>
                  <a:lnTo>
                    <a:pt x="369" y="574"/>
                  </a:lnTo>
                  <a:lnTo>
                    <a:pt x="371" y="576"/>
                  </a:lnTo>
                  <a:lnTo>
                    <a:pt x="372" y="576"/>
                  </a:lnTo>
                  <a:lnTo>
                    <a:pt x="374" y="572"/>
                  </a:lnTo>
                  <a:lnTo>
                    <a:pt x="377" y="570"/>
                  </a:lnTo>
                  <a:lnTo>
                    <a:pt x="377" y="569"/>
                  </a:lnTo>
                  <a:lnTo>
                    <a:pt x="377" y="569"/>
                  </a:lnTo>
                  <a:lnTo>
                    <a:pt x="377" y="569"/>
                  </a:lnTo>
                  <a:lnTo>
                    <a:pt x="377" y="569"/>
                  </a:lnTo>
                  <a:close/>
                  <a:moveTo>
                    <a:pt x="119" y="784"/>
                  </a:moveTo>
                  <a:lnTo>
                    <a:pt x="119" y="779"/>
                  </a:lnTo>
                  <a:lnTo>
                    <a:pt x="119" y="779"/>
                  </a:lnTo>
                  <a:lnTo>
                    <a:pt x="119" y="776"/>
                  </a:lnTo>
                  <a:lnTo>
                    <a:pt x="115" y="776"/>
                  </a:lnTo>
                  <a:lnTo>
                    <a:pt x="115" y="779"/>
                  </a:lnTo>
                  <a:lnTo>
                    <a:pt x="115" y="779"/>
                  </a:lnTo>
                  <a:lnTo>
                    <a:pt x="119" y="784"/>
                  </a:lnTo>
                  <a:lnTo>
                    <a:pt x="119" y="784"/>
                  </a:lnTo>
                  <a:lnTo>
                    <a:pt x="119" y="784"/>
                  </a:lnTo>
                  <a:lnTo>
                    <a:pt x="119" y="784"/>
                  </a:lnTo>
                  <a:lnTo>
                    <a:pt x="119" y="784"/>
                  </a:lnTo>
                  <a:lnTo>
                    <a:pt x="119" y="784"/>
                  </a:lnTo>
                  <a:lnTo>
                    <a:pt x="119" y="784"/>
                  </a:lnTo>
                  <a:close/>
                  <a:moveTo>
                    <a:pt x="207" y="725"/>
                  </a:moveTo>
                  <a:lnTo>
                    <a:pt x="209" y="725"/>
                  </a:lnTo>
                  <a:lnTo>
                    <a:pt x="209" y="725"/>
                  </a:lnTo>
                  <a:lnTo>
                    <a:pt x="207" y="722"/>
                  </a:lnTo>
                  <a:lnTo>
                    <a:pt x="205" y="722"/>
                  </a:lnTo>
                  <a:lnTo>
                    <a:pt x="205" y="725"/>
                  </a:lnTo>
                  <a:lnTo>
                    <a:pt x="207" y="725"/>
                  </a:lnTo>
                  <a:lnTo>
                    <a:pt x="207" y="725"/>
                  </a:lnTo>
                  <a:lnTo>
                    <a:pt x="207" y="725"/>
                  </a:lnTo>
                  <a:lnTo>
                    <a:pt x="207" y="725"/>
                  </a:lnTo>
                  <a:close/>
                  <a:moveTo>
                    <a:pt x="277" y="652"/>
                  </a:moveTo>
                  <a:lnTo>
                    <a:pt x="280" y="652"/>
                  </a:lnTo>
                  <a:lnTo>
                    <a:pt x="284" y="647"/>
                  </a:lnTo>
                  <a:lnTo>
                    <a:pt x="287" y="643"/>
                  </a:lnTo>
                  <a:lnTo>
                    <a:pt x="287" y="638"/>
                  </a:lnTo>
                  <a:lnTo>
                    <a:pt x="291" y="635"/>
                  </a:lnTo>
                  <a:lnTo>
                    <a:pt x="291" y="638"/>
                  </a:lnTo>
                  <a:lnTo>
                    <a:pt x="291" y="643"/>
                  </a:lnTo>
                  <a:lnTo>
                    <a:pt x="292" y="638"/>
                  </a:lnTo>
                  <a:lnTo>
                    <a:pt x="292" y="635"/>
                  </a:lnTo>
                  <a:lnTo>
                    <a:pt x="289" y="631"/>
                  </a:lnTo>
                  <a:lnTo>
                    <a:pt x="277" y="626"/>
                  </a:lnTo>
                  <a:lnTo>
                    <a:pt x="270" y="626"/>
                  </a:lnTo>
                  <a:lnTo>
                    <a:pt x="268" y="628"/>
                  </a:lnTo>
                  <a:lnTo>
                    <a:pt x="265" y="635"/>
                  </a:lnTo>
                  <a:lnTo>
                    <a:pt x="265" y="643"/>
                  </a:lnTo>
                  <a:lnTo>
                    <a:pt x="268" y="647"/>
                  </a:lnTo>
                  <a:lnTo>
                    <a:pt x="268" y="650"/>
                  </a:lnTo>
                  <a:lnTo>
                    <a:pt x="268" y="650"/>
                  </a:lnTo>
                  <a:lnTo>
                    <a:pt x="273" y="652"/>
                  </a:lnTo>
                  <a:lnTo>
                    <a:pt x="270" y="654"/>
                  </a:lnTo>
                  <a:lnTo>
                    <a:pt x="273" y="654"/>
                  </a:lnTo>
                  <a:lnTo>
                    <a:pt x="277" y="652"/>
                  </a:lnTo>
                  <a:lnTo>
                    <a:pt x="277" y="652"/>
                  </a:lnTo>
                  <a:lnTo>
                    <a:pt x="277" y="652"/>
                  </a:lnTo>
                  <a:lnTo>
                    <a:pt x="277" y="652"/>
                  </a:lnTo>
                  <a:close/>
                  <a:moveTo>
                    <a:pt x="306" y="659"/>
                  </a:moveTo>
                  <a:lnTo>
                    <a:pt x="308" y="659"/>
                  </a:lnTo>
                  <a:lnTo>
                    <a:pt x="310" y="657"/>
                  </a:lnTo>
                  <a:lnTo>
                    <a:pt x="313" y="657"/>
                  </a:lnTo>
                  <a:lnTo>
                    <a:pt x="315" y="656"/>
                  </a:lnTo>
                  <a:lnTo>
                    <a:pt x="310" y="656"/>
                  </a:lnTo>
                  <a:lnTo>
                    <a:pt x="306" y="657"/>
                  </a:lnTo>
                  <a:lnTo>
                    <a:pt x="306" y="659"/>
                  </a:lnTo>
                  <a:lnTo>
                    <a:pt x="306" y="659"/>
                  </a:lnTo>
                  <a:lnTo>
                    <a:pt x="306" y="659"/>
                  </a:lnTo>
                  <a:lnTo>
                    <a:pt x="306" y="659"/>
                  </a:lnTo>
                  <a:close/>
                  <a:moveTo>
                    <a:pt x="357" y="657"/>
                  </a:moveTo>
                  <a:lnTo>
                    <a:pt x="357" y="659"/>
                  </a:lnTo>
                  <a:lnTo>
                    <a:pt x="360" y="656"/>
                  </a:lnTo>
                  <a:lnTo>
                    <a:pt x="360" y="652"/>
                  </a:lnTo>
                  <a:lnTo>
                    <a:pt x="357" y="654"/>
                  </a:lnTo>
                  <a:lnTo>
                    <a:pt x="355" y="656"/>
                  </a:lnTo>
                  <a:lnTo>
                    <a:pt x="357" y="657"/>
                  </a:lnTo>
                  <a:lnTo>
                    <a:pt x="357" y="657"/>
                  </a:lnTo>
                  <a:lnTo>
                    <a:pt x="357" y="657"/>
                  </a:lnTo>
                  <a:lnTo>
                    <a:pt x="357" y="657"/>
                  </a:lnTo>
                  <a:close/>
                  <a:moveTo>
                    <a:pt x="348" y="659"/>
                  </a:moveTo>
                  <a:lnTo>
                    <a:pt x="351" y="659"/>
                  </a:lnTo>
                  <a:lnTo>
                    <a:pt x="353" y="657"/>
                  </a:lnTo>
                  <a:lnTo>
                    <a:pt x="351" y="654"/>
                  </a:lnTo>
                  <a:lnTo>
                    <a:pt x="350" y="656"/>
                  </a:lnTo>
                  <a:lnTo>
                    <a:pt x="348" y="659"/>
                  </a:lnTo>
                  <a:lnTo>
                    <a:pt x="348" y="659"/>
                  </a:lnTo>
                  <a:lnTo>
                    <a:pt x="348" y="659"/>
                  </a:lnTo>
                  <a:lnTo>
                    <a:pt x="348" y="659"/>
                  </a:lnTo>
                  <a:close/>
                  <a:moveTo>
                    <a:pt x="388" y="640"/>
                  </a:moveTo>
                  <a:lnTo>
                    <a:pt x="391" y="640"/>
                  </a:lnTo>
                  <a:lnTo>
                    <a:pt x="393" y="638"/>
                  </a:lnTo>
                  <a:lnTo>
                    <a:pt x="397" y="638"/>
                  </a:lnTo>
                  <a:lnTo>
                    <a:pt x="400" y="635"/>
                  </a:lnTo>
                  <a:lnTo>
                    <a:pt x="397" y="635"/>
                  </a:lnTo>
                  <a:lnTo>
                    <a:pt x="391" y="638"/>
                  </a:lnTo>
                  <a:lnTo>
                    <a:pt x="388" y="640"/>
                  </a:lnTo>
                  <a:lnTo>
                    <a:pt x="388" y="640"/>
                  </a:lnTo>
                  <a:lnTo>
                    <a:pt x="388" y="640"/>
                  </a:lnTo>
                  <a:lnTo>
                    <a:pt x="388" y="640"/>
                  </a:lnTo>
                  <a:close/>
                  <a:moveTo>
                    <a:pt x="372" y="638"/>
                  </a:moveTo>
                  <a:lnTo>
                    <a:pt x="374" y="638"/>
                  </a:lnTo>
                  <a:lnTo>
                    <a:pt x="377" y="638"/>
                  </a:lnTo>
                  <a:lnTo>
                    <a:pt x="377" y="638"/>
                  </a:lnTo>
                  <a:lnTo>
                    <a:pt x="374" y="635"/>
                  </a:lnTo>
                  <a:lnTo>
                    <a:pt x="372" y="638"/>
                  </a:lnTo>
                  <a:lnTo>
                    <a:pt x="372" y="638"/>
                  </a:lnTo>
                  <a:lnTo>
                    <a:pt x="372" y="638"/>
                  </a:lnTo>
                  <a:lnTo>
                    <a:pt x="372" y="638"/>
                  </a:lnTo>
                  <a:close/>
                  <a:moveTo>
                    <a:pt x="364" y="635"/>
                  </a:moveTo>
                  <a:lnTo>
                    <a:pt x="365" y="638"/>
                  </a:lnTo>
                  <a:lnTo>
                    <a:pt x="365" y="638"/>
                  </a:lnTo>
                  <a:lnTo>
                    <a:pt x="369" y="638"/>
                  </a:lnTo>
                  <a:lnTo>
                    <a:pt x="369" y="635"/>
                  </a:lnTo>
                  <a:lnTo>
                    <a:pt x="365" y="635"/>
                  </a:lnTo>
                  <a:lnTo>
                    <a:pt x="364" y="635"/>
                  </a:lnTo>
                  <a:lnTo>
                    <a:pt x="364" y="635"/>
                  </a:lnTo>
                  <a:lnTo>
                    <a:pt x="364" y="635"/>
                  </a:lnTo>
                  <a:lnTo>
                    <a:pt x="364" y="635"/>
                  </a:lnTo>
                  <a:close/>
                  <a:moveTo>
                    <a:pt x="358" y="638"/>
                  </a:moveTo>
                  <a:lnTo>
                    <a:pt x="358" y="638"/>
                  </a:lnTo>
                  <a:lnTo>
                    <a:pt x="360" y="638"/>
                  </a:lnTo>
                  <a:lnTo>
                    <a:pt x="362" y="635"/>
                  </a:lnTo>
                  <a:lnTo>
                    <a:pt x="360" y="635"/>
                  </a:lnTo>
                  <a:lnTo>
                    <a:pt x="358" y="638"/>
                  </a:lnTo>
                  <a:lnTo>
                    <a:pt x="358" y="638"/>
                  </a:lnTo>
                  <a:lnTo>
                    <a:pt x="358" y="638"/>
                  </a:lnTo>
                  <a:lnTo>
                    <a:pt x="358" y="638"/>
                  </a:lnTo>
                  <a:close/>
                  <a:moveTo>
                    <a:pt x="723" y="525"/>
                  </a:moveTo>
                  <a:lnTo>
                    <a:pt x="723" y="529"/>
                  </a:lnTo>
                  <a:lnTo>
                    <a:pt x="723" y="530"/>
                  </a:lnTo>
                  <a:lnTo>
                    <a:pt x="723" y="529"/>
                  </a:lnTo>
                  <a:lnTo>
                    <a:pt x="723" y="525"/>
                  </a:lnTo>
                  <a:lnTo>
                    <a:pt x="723" y="525"/>
                  </a:lnTo>
                  <a:lnTo>
                    <a:pt x="723" y="525"/>
                  </a:lnTo>
                  <a:lnTo>
                    <a:pt x="723" y="525"/>
                  </a:lnTo>
                  <a:lnTo>
                    <a:pt x="723" y="525"/>
                  </a:lnTo>
                  <a:close/>
                  <a:moveTo>
                    <a:pt x="716" y="515"/>
                  </a:moveTo>
                  <a:lnTo>
                    <a:pt x="716" y="522"/>
                  </a:lnTo>
                  <a:lnTo>
                    <a:pt x="718" y="525"/>
                  </a:lnTo>
                  <a:lnTo>
                    <a:pt x="716" y="530"/>
                  </a:lnTo>
                  <a:lnTo>
                    <a:pt x="718" y="530"/>
                  </a:lnTo>
                  <a:lnTo>
                    <a:pt x="720" y="529"/>
                  </a:lnTo>
                  <a:lnTo>
                    <a:pt x="720" y="520"/>
                  </a:lnTo>
                  <a:lnTo>
                    <a:pt x="716" y="515"/>
                  </a:lnTo>
                  <a:lnTo>
                    <a:pt x="716" y="515"/>
                  </a:lnTo>
                  <a:lnTo>
                    <a:pt x="716" y="515"/>
                  </a:lnTo>
                  <a:lnTo>
                    <a:pt x="716" y="515"/>
                  </a:lnTo>
                  <a:lnTo>
                    <a:pt x="716" y="515"/>
                  </a:lnTo>
                  <a:close/>
                  <a:moveTo>
                    <a:pt x="711" y="508"/>
                  </a:moveTo>
                  <a:lnTo>
                    <a:pt x="713" y="511"/>
                  </a:lnTo>
                  <a:lnTo>
                    <a:pt x="715" y="513"/>
                  </a:lnTo>
                  <a:lnTo>
                    <a:pt x="715" y="509"/>
                  </a:lnTo>
                  <a:lnTo>
                    <a:pt x="713" y="508"/>
                  </a:lnTo>
                  <a:lnTo>
                    <a:pt x="711" y="508"/>
                  </a:lnTo>
                  <a:lnTo>
                    <a:pt x="711" y="508"/>
                  </a:lnTo>
                  <a:lnTo>
                    <a:pt x="711" y="508"/>
                  </a:lnTo>
                  <a:lnTo>
                    <a:pt x="711" y="508"/>
                  </a:lnTo>
                  <a:close/>
                  <a:moveTo>
                    <a:pt x="400" y="612"/>
                  </a:moveTo>
                  <a:lnTo>
                    <a:pt x="402" y="612"/>
                  </a:lnTo>
                  <a:lnTo>
                    <a:pt x="402" y="607"/>
                  </a:lnTo>
                  <a:lnTo>
                    <a:pt x="400" y="607"/>
                  </a:lnTo>
                  <a:lnTo>
                    <a:pt x="400" y="612"/>
                  </a:lnTo>
                  <a:lnTo>
                    <a:pt x="400" y="612"/>
                  </a:lnTo>
                  <a:lnTo>
                    <a:pt x="400" y="612"/>
                  </a:lnTo>
                  <a:lnTo>
                    <a:pt x="400" y="612"/>
                  </a:lnTo>
                  <a:close/>
                  <a:moveTo>
                    <a:pt x="417" y="626"/>
                  </a:moveTo>
                  <a:lnTo>
                    <a:pt x="417" y="626"/>
                  </a:lnTo>
                  <a:lnTo>
                    <a:pt x="419" y="623"/>
                  </a:lnTo>
                  <a:lnTo>
                    <a:pt x="417" y="623"/>
                  </a:lnTo>
                  <a:lnTo>
                    <a:pt x="417" y="626"/>
                  </a:lnTo>
                  <a:lnTo>
                    <a:pt x="417" y="626"/>
                  </a:lnTo>
                  <a:lnTo>
                    <a:pt x="417" y="626"/>
                  </a:lnTo>
                  <a:lnTo>
                    <a:pt x="417" y="626"/>
                  </a:lnTo>
                  <a:close/>
                  <a:moveTo>
                    <a:pt x="416" y="621"/>
                  </a:moveTo>
                  <a:lnTo>
                    <a:pt x="414" y="616"/>
                  </a:lnTo>
                  <a:lnTo>
                    <a:pt x="409" y="616"/>
                  </a:lnTo>
                  <a:lnTo>
                    <a:pt x="405" y="612"/>
                  </a:lnTo>
                  <a:lnTo>
                    <a:pt x="405" y="612"/>
                  </a:lnTo>
                  <a:lnTo>
                    <a:pt x="409" y="616"/>
                  </a:lnTo>
                  <a:lnTo>
                    <a:pt x="416" y="621"/>
                  </a:lnTo>
                  <a:lnTo>
                    <a:pt x="416" y="621"/>
                  </a:lnTo>
                  <a:lnTo>
                    <a:pt x="416" y="621"/>
                  </a:lnTo>
                  <a:lnTo>
                    <a:pt x="416" y="621"/>
                  </a:lnTo>
                  <a:close/>
                  <a:moveTo>
                    <a:pt x="423" y="605"/>
                  </a:moveTo>
                  <a:lnTo>
                    <a:pt x="424" y="600"/>
                  </a:lnTo>
                  <a:lnTo>
                    <a:pt x="423" y="595"/>
                  </a:lnTo>
                  <a:lnTo>
                    <a:pt x="419" y="591"/>
                  </a:lnTo>
                  <a:lnTo>
                    <a:pt x="414" y="588"/>
                  </a:lnTo>
                  <a:lnTo>
                    <a:pt x="410" y="588"/>
                  </a:lnTo>
                  <a:lnTo>
                    <a:pt x="407" y="583"/>
                  </a:lnTo>
                  <a:lnTo>
                    <a:pt x="404" y="581"/>
                  </a:lnTo>
                  <a:lnTo>
                    <a:pt x="402" y="579"/>
                  </a:lnTo>
                  <a:lnTo>
                    <a:pt x="397" y="576"/>
                  </a:lnTo>
                  <a:lnTo>
                    <a:pt x="397" y="576"/>
                  </a:lnTo>
                  <a:lnTo>
                    <a:pt x="393" y="576"/>
                  </a:lnTo>
                  <a:lnTo>
                    <a:pt x="393" y="579"/>
                  </a:lnTo>
                  <a:lnTo>
                    <a:pt x="391" y="581"/>
                  </a:lnTo>
                  <a:lnTo>
                    <a:pt x="393" y="584"/>
                  </a:lnTo>
                  <a:lnTo>
                    <a:pt x="397" y="584"/>
                  </a:lnTo>
                  <a:lnTo>
                    <a:pt x="397" y="584"/>
                  </a:lnTo>
                  <a:lnTo>
                    <a:pt x="393" y="584"/>
                  </a:lnTo>
                  <a:lnTo>
                    <a:pt x="391" y="584"/>
                  </a:lnTo>
                  <a:lnTo>
                    <a:pt x="391" y="584"/>
                  </a:lnTo>
                  <a:lnTo>
                    <a:pt x="391" y="588"/>
                  </a:lnTo>
                  <a:lnTo>
                    <a:pt x="397" y="593"/>
                  </a:lnTo>
                  <a:lnTo>
                    <a:pt x="400" y="595"/>
                  </a:lnTo>
                  <a:lnTo>
                    <a:pt x="402" y="598"/>
                  </a:lnTo>
                  <a:lnTo>
                    <a:pt x="404" y="598"/>
                  </a:lnTo>
                  <a:lnTo>
                    <a:pt x="405" y="595"/>
                  </a:lnTo>
                  <a:lnTo>
                    <a:pt x="407" y="596"/>
                  </a:lnTo>
                  <a:lnTo>
                    <a:pt x="410" y="595"/>
                  </a:lnTo>
                  <a:lnTo>
                    <a:pt x="410" y="596"/>
                  </a:lnTo>
                  <a:lnTo>
                    <a:pt x="412" y="602"/>
                  </a:lnTo>
                  <a:lnTo>
                    <a:pt x="412" y="603"/>
                  </a:lnTo>
                  <a:lnTo>
                    <a:pt x="414" y="605"/>
                  </a:lnTo>
                  <a:lnTo>
                    <a:pt x="419" y="605"/>
                  </a:lnTo>
                  <a:lnTo>
                    <a:pt x="419" y="603"/>
                  </a:lnTo>
                  <a:lnTo>
                    <a:pt x="423" y="605"/>
                  </a:lnTo>
                  <a:lnTo>
                    <a:pt x="423" y="605"/>
                  </a:lnTo>
                  <a:lnTo>
                    <a:pt x="423" y="605"/>
                  </a:lnTo>
                  <a:lnTo>
                    <a:pt x="423" y="605"/>
                  </a:lnTo>
                  <a:close/>
                  <a:moveTo>
                    <a:pt x="504" y="459"/>
                  </a:moveTo>
                  <a:lnTo>
                    <a:pt x="504" y="459"/>
                  </a:lnTo>
                  <a:lnTo>
                    <a:pt x="504" y="457"/>
                  </a:lnTo>
                  <a:lnTo>
                    <a:pt x="504" y="454"/>
                  </a:lnTo>
                  <a:lnTo>
                    <a:pt x="506" y="454"/>
                  </a:lnTo>
                  <a:lnTo>
                    <a:pt x="508" y="457"/>
                  </a:lnTo>
                  <a:lnTo>
                    <a:pt x="510" y="457"/>
                  </a:lnTo>
                  <a:lnTo>
                    <a:pt x="511" y="457"/>
                  </a:lnTo>
                  <a:lnTo>
                    <a:pt x="515" y="457"/>
                  </a:lnTo>
                  <a:lnTo>
                    <a:pt x="515" y="454"/>
                  </a:lnTo>
                  <a:lnTo>
                    <a:pt x="518" y="450"/>
                  </a:lnTo>
                  <a:lnTo>
                    <a:pt x="523" y="450"/>
                  </a:lnTo>
                  <a:lnTo>
                    <a:pt x="523" y="447"/>
                  </a:lnTo>
                  <a:lnTo>
                    <a:pt x="520" y="443"/>
                  </a:lnTo>
                  <a:lnTo>
                    <a:pt x="516" y="443"/>
                  </a:lnTo>
                  <a:lnTo>
                    <a:pt x="516" y="438"/>
                  </a:lnTo>
                  <a:lnTo>
                    <a:pt x="513" y="436"/>
                  </a:lnTo>
                  <a:lnTo>
                    <a:pt x="511" y="435"/>
                  </a:lnTo>
                  <a:lnTo>
                    <a:pt x="508" y="436"/>
                  </a:lnTo>
                  <a:lnTo>
                    <a:pt x="504" y="438"/>
                  </a:lnTo>
                  <a:lnTo>
                    <a:pt x="501" y="438"/>
                  </a:lnTo>
                  <a:lnTo>
                    <a:pt x="497" y="443"/>
                  </a:lnTo>
                  <a:lnTo>
                    <a:pt x="497" y="443"/>
                  </a:lnTo>
                  <a:lnTo>
                    <a:pt x="501" y="447"/>
                  </a:lnTo>
                  <a:lnTo>
                    <a:pt x="501" y="450"/>
                  </a:lnTo>
                  <a:lnTo>
                    <a:pt x="501" y="456"/>
                  </a:lnTo>
                  <a:lnTo>
                    <a:pt x="504" y="459"/>
                  </a:lnTo>
                  <a:lnTo>
                    <a:pt x="504" y="459"/>
                  </a:lnTo>
                  <a:lnTo>
                    <a:pt x="504" y="459"/>
                  </a:lnTo>
                  <a:lnTo>
                    <a:pt x="504" y="459"/>
                  </a:lnTo>
                  <a:close/>
                  <a:moveTo>
                    <a:pt x="515" y="603"/>
                  </a:moveTo>
                  <a:lnTo>
                    <a:pt x="515" y="603"/>
                  </a:lnTo>
                  <a:lnTo>
                    <a:pt x="515" y="605"/>
                  </a:lnTo>
                  <a:lnTo>
                    <a:pt x="518" y="605"/>
                  </a:lnTo>
                  <a:lnTo>
                    <a:pt x="520" y="603"/>
                  </a:lnTo>
                  <a:lnTo>
                    <a:pt x="520" y="600"/>
                  </a:lnTo>
                  <a:lnTo>
                    <a:pt x="518" y="598"/>
                  </a:lnTo>
                  <a:lnTo>
                    <a:pt x="516" y="600"/>
                  </a:lnTo>
                  <a:lnTo>
                    <a:pt x="516" y="602"/>
                  </a:lnTo>
                  <a:lnTo>
                    <a:pt x="515" y="603"/>
                  </a:lnTo>
                  <a:lnTo>
                    <a:pt x="515" y="603"/>
                  </a:lnTo>
                  <a:lnTo>
                    <a:pt x="515" y="603"/>
                  </a:lnTo>
                  <a:lnTo>
                    <a:pt x="515" y="603"/>
                  </a:lnTo>
                  <a:close/>
                  <a:moveTo>
                    <a:pt x="577" y="683"/>
                  </a:moveTo>
                  <a:lnTo>
                    <a:pt x="577" y="685"/>
                  </a:lnTo>
                  <a:lnTo>
                    <a:pt x="581" y="687"/>
                  </a:lnTo>
                  <a:lnTo>
                    <a:pt x="581" y="689"/>
                  </a:lnTo>
                  <a:lnTo>
                    <a:pt x="584" y="692"/>
                  </a:lnTo>
                  <a:lnTo>
                    <a:pt x="588" y="690"/>
                  </a:lnTo>
                  <a:lnTo>
                    <a:pt x="589" y="689"/>
                  </a:lnTo>
                  <a:lnTo>
                    <a:pt x="588" y="685"/>
                  </a:lnTo>
                  <a:lnTo>
                    <a:pt x="586" y="683"/>
                  </a:lnTo>
                  <a:lnTo>
                    <a:pt x="583" y="685"/>
                  </a:lnTo>
                  <a:lnTo>
                    <a:pt x="581" y="683"/>
                  </a:lnTo>
                  <a:lnTo>
                    <a:pt x="577" y="683"/>
                  </a:lnTo>
                  <a:lnTo>
                    <a:pt x="577" y="683"/>
                  </a:lnTo>
                  <a:lnTo>
                    <a:pt x="577" y="683"/>
                  </a:lnTo>
                  <a:lnTo>
                    <a:pt x="577" y="683"/>
                  </a:lnTo>
                  <a:close/>
                  <a:moveTo>
                    <a:pt x="567" y="456"/>
                  </a:moveTo>
                  <a:lnTo>
                    <a:pt x="567" y="452"/>
                  </a:lnTo>
                  <a:lnTo>
                    <a:pt x="565" y="450"/>
                  </a:lnTo>
                  <a:lnTo>
                    <a:pt x="565" y="450"/>
                  </a:lnTo>
                  <a:lnTo>
                    <a:pt x="567" y="447"/>
                  </a:lnTo>
                  <a:lnTo>
                    <a:pt x="565" y="443"/>
                  </a:lnTo>
                  <a:lnTo>
                    <a:pt x="562" y="443"/>
                  </a:lnTo>
                  <a:lnTo>
                    <a:pt x="560" y="447"/>
                  </a:lnTo>
                  <a:lnTo>
                    <a:pt x="558" y="450"/>
                  </a:lnTo>
                  <a:lnTo>
                    <a:pt x="560" y="454"/>
                  </a:lnTo>
                  <a:lnTo>
                    <a:pt x="562" y="454"/>
                  </a:lnTo>
                  <a:lnTo>
                    <a:pt x="565" y="456"/>
                  </a:lnTo>
                  <a:lnTo>
                    <a:pt x="567" y="456"/>
                  </a:lnTo>
                  <a:lnTo>
                    <a:pt x="567" y="456"/>
                  </a:lnTo>
                  <a:lnTo>
                    <a:pt x="567" y="456"/>
                  </a:lnTo>
                  <a:lnTo>
                    <a:pt x="567" y="456"/>
                  </a:lnTo>
                  <a:close/>
                  <a:moveTo>
                    <a:pt x="562" y="431"/>
                  </a:moveTo>
                  <a:lnTo>
                    <a:pt x="563" y="428"/>
                  </a:lnTo>
                  <a:lnTo>
                    <a:pt x="567" y="430"/>
                  </a:lnTo>
                  <a:lnTo>
                    <a:pt x="570" y="426"/>
                  </a:lnTo>
                  <a:lnTo>
                    <a:pt x="569" y="424"/>
                  </a:lnTo>
                  <a:lnTo>
                    <a:pt x="569" y="423"/>
                  </a:lnTo>
                  <a:lnTo>
                    <a:pt x="572" y="423"/>
                  </a:lnTo>
                  <a:lnTo>
                    <a:pt x="570" y="421"/>
                  </a:lnTo>
                  <a:lnTo>
                    <a:pt x="567" y="421"/>
                  </a:lnTo>
                  <a:lnTo>
                    <a:pt x="563" y="424"/>
                  </a:lnTo>
                  <a:lnTo>
                    <a:pt x="560" y="430"/>
                  </a:lnTo>
                  <a:lnTo>
                    <a:pt x="562" y="431"/>
                  </a:lnTo>
                  <a:lnTo>
                    <a:pt x="562" y="431"/>
                  </a:lnTo>
                  <a:lnTo>
                    <a:pt x="562" y="431"/>
                  </a:lnTo>
                  <a:lnTo>
                    <a:pt x="562" y="431"/>
                  </a:lnTo>
                  <a:close/>
                  <a:moveTo>
                    <a:pt x="577" y="436"/>
                  </a:moveTo>
                  <a:lnTo>
                    <a:pt x="579" y="438"/>
                  </a:lnTo>
                  <a:lnTo>
                    <a:pt x="584" y="438"/>
                  </a:lnTo>
                  <a:lnTo>
                    <a:pt x="586" y="438"/>
                  </a:lnTo>
                  <a:lnTo>
                    <a:pt x="586" y="436"/>
                  </a:lnTo>
                  <a:lnTo>
                    <a:pt x="581" y="436"/>
                  </a:lnTo>
                  <a:lnTo>
                    <a:pt x="577" y="435"/>
                  </a:lnTo>
                  <a:lnTo>
                    <a:pt x="577" y="436"/>
                  </a:lnTo>
                  <a:lnTo>
                    <a:pt x="577" y="436"/>
                  </a:lnTo>
                  <a:lnTo>
                    <a:pt x="577" y="436"/>
                  </a:lnTo>
                  <a:lnTo>
                    <a:pt x="577" y="436"/>
                  </a:lnTo>
                  <a:close/>
                  <a:moveTo>
                    <a:pt x="609" y="461"/>
                  </a:moveTo>
                  <a:lnTo>
                    <a:pt x="609" y="464"/>
                  </a:lnTo>
                  <a:lnTo>
                    <a:pt x="607" y="466"/>
                  </a:lnTo>
                  <a:lnTo>
                    <a:pt x="605" y="466"/>
                  </a:lnTo>
                  <a:lnTo>
                    <a:pt x="605" y="469"/>
                  </a:lnTo>
                  <a:lnTo>
                    <a:pt x="605" y="475"/>
                  </a:lnTo>
                  <a:lnTo>
                    <a:pt x="607" y="473"/>
                  </a:lnTo>
                  <a:lnTo>
                    <a:pt x="610" y="469"/>
                  </a:lnTo>
                  <a:lnTo>
                    <a:pt x="614" y="469"/>
                  </a:lnTo>
                  <a:lnTo>
                    <a:pt x="616" y="466"/>
                  </a:lnTo>
                  <a:lnTo>
                    <a:pt x="619" y="464"/>
                  </a:lnTo>
                  <a:lnTo>
                    <a:pt x="622" y="461"/>
                  </a:lnTo>
                  <a:lnTo>
                    <a:pt x="619" y="457"/>
                  </a:lnTo>
                  <a:lnTo>
                    <a:pt x="619" y="456"/>
                  </a:lnTo>
                  <a:lnTo>
                    <a:pt x="616" y="456"/>
                  </a:lnTo>
                  <a:lnTo>
                    <a:pt x="610" y="457"/>
                  </a:lnTo>
                  <a:lnTo>
                    <a:pt x="609" y="461"/>
                  </a:lnTo>
                  <a:lnTo>
                    <a:pt x="609" y="461"/>
                  </a:lnTo>
                  <a:lnTo>
                    <a:pt x="609" y="461"/>
                  </a:lnTo>
                  <a:lnTo>
                    <a:pt x="609" y="461"/>
                  </a:lnTo>
                  <a:close/>
                  <a:moveTo>
                    <a:pt x="619" y="428"/>
                  </a:moveTo>
                  <a:lnTo>
                    <a:pt x="619" y="433"/>
                  </a:lnTo>
                  <a:lnTo>
                    <a:pt x="617" y="438"/>
                  </a:lnTo>
                  <a:lnTo>
                    <a:pt x="616" y="443"/>
                  </a:lnTo>
                  <a:lnTo>
                    <a:pt x="616" y="443"/>
                  </a:lnTo>
                  <a:lnTo>
                    <a:pt x="619" y="447"/>
                  </a:lnTo>
                  <a:lnTo>
                    <a:pt x="619" y="447"/>
                  </a:lnTo>
                  <a:lnTo>
                    <a:pt x="624" y="447"/>
                  </a:lnTo>
                  <a:lnTo>
                    <a:pt x="628" y="450"/>
                  </a:lnTo>
                  <a:lnTo>
                    <a:pt x="629" y="447"/>
                  </a:lnTo>
                  <a:lnTo>
                    <a:pt x="629" y="447"/>
                  </a:lnTo>
                  <a:lnTo>
                    <a:pt x="628" y="442"/>
                  </a:lnTo>
                  <a:lnTo>
                    <a:pt x="628" y="436"/>
                  </a:lnTo>
                  <a:lnTo>
                    <a:pt x="622" y="433"/>
                  </a:lnTo>
                  <a:lnTo>
                    <a:pt x="619" y="428"/>
                  </a:lnTo>
                  <a:lnTo>
                    <a:pt x="619" y="428"/>
                  </a:lnTo>
                  <a:lnTo>
                    <a:pt x="619" y="428"/>
                  </a:lnTo>
                  <a:lnTo>
                    <a:pt x="619" y="428"/>
                  </a:lnTo>
                  <a:close/>
                  <a:moveTo>
                    <a:pt x="642" y="388"/>
                  </a:moveTo>
                  <a:lnTo>
                    <a:pt x="645" y="384"/>
                  </a:lnTo>
                  <a:lnTo>
                    <a:pt x="643" y="383"/>
                  </a:lnTo>
                  <a:lnTo>
                    <a:pt x="640" y="383"/>
                  </a:lnTo>
                  <a:lnTo>
                    <a:pt x="638" y="384"/>
                  </a:lnTo>
                  <a:lnTo>
                    <a:pt x="640" y="388"/>
                  </a:lnTo>
                  <a:lnTo>
                    <a:pt x="642" y="388"/>
                  </a:lnTo>
                  <a:lnTo>
                    <a:pt x="642" y="388"/>
                  </a:lnTo>
                  <a:lnTo>
                    <a:pt x="642" y="388"/>
                  </a:lnTo>
                  <a:lnTo>
                    <a:pt x="642" y="388"/>
                  </a:lnTo>
                  <a:close/>
                  <a:moveTo>
                    <a:pt x="650" y="386"/>
                  </a:moveTo>
                  <a:lnTo>
                    <a:pt x="654" y="383"/>
                  </a:lnTo>
                  <a:lnTo>
                    <a:pt x="654" y="381"/>
                  </a:lnTo>
                  <a:lnTo>
                    <a:pt x="650" y="381"/>
                  </a:lnTo>
                  <a:lnTo>
                    <a:pt x="650" y="381"/>
                  </a:lnTo>
                  <a:lnTo>
                    <a:pt x="647" y="383"/>
                  </a:lnTo>
                  <a:lnTo>
                    <a:pt x="647" y="384"/>
                  </a:lnTo>
                  <a:lnTo>
                    <a:pt x="650" y="386"/>
                  </a:lnTo>
                  <a:lnTo>
                    <a:pt x="650" y="386"/>
                  </a:lnTo>
                  <a:lnTo>
                    <a:pt x="650" y="386"/>
                  </a:lnTo>
                  <a:lnTo>
                    <a:pt x="650" y="386"/>
                  </a:lnTo>
                  <a:close/>
                  <a:moveTo>
                    <a:pt x="668" y="388"/>
                  </a:moveTo>
                  <a:lnTo>
                    <a:pt x="669" y="386"/>
                  </a:lnTo>
                  <a:lnTo>
                    <a:pt x="664" y="384"/>
                  </a:lnTo>
                  <a:lnTo>
                    <a:pt x="661" y="386"/>
                  </a:lnTo>
                  <a:lnTo>
                    <a:pt x="662" y="388"/>
                  </a:lnTo>
                  <a:lnTo>
                    <a:pt x="668" y="388"/>
                  </a:lnTo>
                  <a:lnTo>
                    <a:pt x="668" y="388"/>
                  </a:lnTo>
                  <a:lnTo>
                    <a:pt x="668" y="388"/>
                  </a:lnTo>
                  <a:lnTo>
                    <a:pt x="668" y="388"/>
                  </a:lnTo>
                  <a:close/>
                  <a:moveTo>
                    <a:pt x="692" y="379"/>
                  </a:moveTo>
                  <a:lnTo>
                    <a:pt x="692" y="384"/>
                  </a:lnTo>
                  <a:lnTo>
                    <a:pt x="695" y="384"/>
                  </a:lnTo>
                  <a:lnTo>
                    <a:pt x="695" y="383"/>
                  </a:lnTo>
                  <a:lnTo>
                    <a:pt x="694" y="381"/>
                  </a:lnTo>
                  <a:lnTo>
                    <a:pt x="692" y="379"/>
                  </a:lnTo>
                  <a:lnTo>
                    <a:pt x="692" y="379"/>
                  </a:lnTo>
                  <a:lnTo>
                    <a:pt x="692" y="379"/>
                  </a:lnTo>
                  <a:lnTo>
                    <a:pt x="692" y="379"/>
                  </a:lnTo>
                  <a:close/>
                  <a:moveTo>
                    <a:pt x="678" y="377"/>
                  </a:moveTo>
                  <a:lnTo>
                    <a:pt x="682" y="377"/>
                  </a:lnTo>
                  <a:lnTo>
                    <a:pt x="682" y="374"/>
                  </a:lnTo>
                  <a:lnTo>
                    <a:pt x="682" y="372"/>
                  </a:lnTo>
                  <a:lnTo>
                    <a:pt x="678" y="374"/>
                  </a:lnTo>
                  <a:lnTo>
                    <a:pt x="678" y="376"/>
                  </a:lnTo>
                  <a:lnTo>
                    <a:pt x="678" y="377"/>
                  </a:lnTo>
                  <a:lnTo>
                    <a:pt x="678" y="377"/>
                  </a:lnTo>
                  <a:lnTo>
                    <a:pt x="678" y="377"/>
                  </a:lnTo>
                  <a:lnTo>
                    <a:pt x="678" y="377"/>
                  </a:lnTo>
                  <a:close/>
                  <a:moveTo>
                    <a:pt x="666" y="363"/>
                  </a:moveTo>
                  <a:lnTo>
                    <a:pt x="666" y="360"/>
                  </a:lnTo>
                  <a:lnTo>
                    <a:pt x="664" y="360"/>
                  </a:lnTo>
                  <a:lnTo>
                    <a:pt x="659" y="365"/>
                  </a:lnTo>
                  <a:lnTo>
                    <a:pt x="659" y="365"/>
                  </a:lnTo>
                  <a:lnTo>
                    <a:pt x="662" y="369"/>
                  </a:lnTo>
                  <a:lnTo>
                    <a:pt x="664" y="365"/>
                  </a:lnTo>
                  <a:lnTo>
                    <a:pt x="662" y="365"/>
                  </a:lnTo>
                  <a:lnTo>
                    <a:pt x="664" y="363"/>
                  </a:lnTo>
                  <a:lnTo>
                    <a:pt x="666" y="363"/>
                  </a:lnTo>
                  <a:lnTo>
                    <a:pt x="666" y="363"/>
                  </a:lnTo>
                  <a:lnTo>
                    <a:pt x="666" y="363"/>
                  </a:lnTo>
                  <a:lnTo>
                    <a:pt x="666" y="363"/>
                  </a:lnTo>
                  <a:close/>
                  <a:moveTo>
                    <a:pt x="676" y="360"/>
                  </a:moveTo>
                  <a:lnTo>
                    <a:pt x="675" y="356"/>
                  </a:lnTo>
                  <a:lnTo>
                    <a:pt x="669" y="356"/>
                  </a:lnTo>
                  <a:lnTo>
                    <a:pt x="669" y="360"/>
                  </a:lnTo>
                  <a:lnTo>
                    <a:pt x="669" y="363"/>
                  </a:lnTo>
                  <a:lnTo>
                    <a:pt x="673" y="363"/>
                  </a:lnTo>
                  <a:lnTo>
                    <a:pt x="675" y="360"/>
                  </a:lnTo>
                  <a:lnTo>
                    <a:pt x="676" y="360"/>
                  </a:lnTo>
                  <a:lnTo>
                    <a:pt x="676" y="360"/>
                  </a:lnTo>
                  <a:lnTo>
                    <a:pt x="676" y="360"/>
                  </a:lnTo>
                  <a:lnTo>
                    <a:pt x="676" y="360"/>
                  </a:lnTo>
                  <a:close/>
                  <a:moveTo>
                    <a:pt x="676" y="360"/>
                  </a:moveTo>
                  <a:lnTo>
                    <a:pt x="678" y="363"/>
                  </a:lnTo>
                  <a:lnTo>
                    <a:pt x="678" y="360"/>
                  </a:lnTo>
                  <a:lnTo>
                    <a:pt x="682" y="360"/>
                  </a:lnTo>
                  <a:lnTo>
                    <a:pt x="682" y="356"/>
                  </a:lnTo>
                  <a:lnTo>
                    <a:pt x="682" y="355"/>
                  </a:lnTo>
                  <a:lnTo>
                    <a:pt x="678" y="355"/>
                  </a:lnTo>
                  <a:lnTo>
                    <a:pt x="678" y="356"/>
                  </a:lnTo>
                  <a:lnTo>
                    <a:pt x="678" y="360"/>
                  </a:lnTo>
                  <a:lnTo>
                    <a:pt x="676" y="360"/>
                  </a:lnTo>
                  <a:lnTo>
                    <a:pt x="676" y="360"/>
                  </a:lnTo>
                  <a:lnTo>
                    <a:pt x="676" y="360"/>
                  </a:lnTo>
                  <a:lnTo>
                    <a:pt x="676" y="360"/>
                  </a:lnTo>
                  <a:close/>
                  <a:moveTo>
                    <a:pt x="666" y="351"/>
                  </a:moveTo>
                  <a:lnTo>
                    <a:pt x="669" y="348"/>
                  </a:lnTo>
                  <a:lnTo>
                    <a:pt x="668" y="346"/>
                  </a:lnTo>
                  <a:lnTo>
                    <a:pt x="666" y="346"/>
                  </a:lnTo>
                  <a:lnTo>
                    <a:pt x="662" y="346"/>
                  </a:lnTo>
                  <a:lnTo>
                    <a:pt x="661" y="348"/>
                  </a:lnTo>
                  <a:lnTo>
                    <a:pt x="661" y="348"/>
                  </a:lnTo>
                  <a:lnTo>
                    <a:pt x="664" y="350"/>
                  </a:lnTo>
                  <a:lnTo>
                    <a:pt x="666" y="351"/>
                  </a:lnTo>
                  <a:lnTo>
                    <a:pt x="666" y="351"/>
                  </a:lnTo>
                  <a:lnTo>
                    <a:pt x="666" y="351"/>
                  </a:lnTo>
                  <a:lnTo>
                    <a:pt x="666" y="351"/>
                  </a:lnTo>
                  <a:close/>
                  <a:moveTo>
                    <a:pt x="682" y="343"/>
                  </a:moveTo>
                  <a:lnTo>
                    <a:pt x="683" y="343"/>
                  </a:lnTo>
                  <a:lnTo>
                    <a:pt x="683" y="341"/>
                  </a:lnTo>
                  <a:lnTo>
                    <a:pt x="682" y="339"/>
                  </a:lnTo>
                  <a:lnTo>
                    <a:pt x="685" y="337"/>
                  </a:lnTo>
                  <a:lnTo>
                    <a:pt x="685" y="337"/>
                  </a:lnTo>
                  <a:lnTo>
                    <a:pt x="682" y="334"/>
                  </a:lnTo>
                  <a:lnTo>
                    <a:pt x="678" y="334"/>
                  </a:lnTo>
                  <a:lnTo>
                    <a:pt x="678" y="334"/>
                  </a:lnTo>
                  <a:lnTo>
                    <a:pt x="678" y="337"/>
                  </a:lnTo>
                  <a:lnTo>
                    <a:pt x="676" y="337"/>
                  </a:lnTo>
                  <a:lnTo>
                    <a:pt x="675" y="337"/>
                  </a:lnTo>
                  <a:lnTo>
                    <a:pt x="673" y="337"/>
                  </a:lnTo>
                  <a:lnTo>
                    <a:pt x="675" y="339"/>
                  </a:lnTo>
                  <a:lnTo>
                    <a:pt x="676" y="341"/>
                  </a:lnTo>
                  <a:lnTo>
                    <a:pt x="678" y="341"/>
                  </a:lnTo>
                  <a:lnTo>
                    <a:pt x="682" y="343"/>
                  </a:lnTo>
                  <a:lnTo>
                    <a:pt x="682" y="343"/>
                  </a:lnTo>
                  <a:lnTo>
                    <a:pt x="682" y="343"/>
                  </a:lnTo>
                  <a:lnTo>
                    <a:pt x="682" y="343"/>
                  </a:lnTo>
                  <a:close/>
                  <a:moveTo>
                    <a:pt x="727" y="219"/>
                  </a:moveTo>
                  <a:lnTo>
                    <a:pt x="728" y="219"/>
                  </a:lnTo>
                  <a:lnTo>
                    <a:pt x="732" y="219"/>
                  </a:lnTo>
                  <a:lnTo>
                    <a:pt x="734" y="216"/>
                  </a:lnTo>
                  <a:lnTo>
                    <a:pt x="734" y="216"/>
                  </a:lnTo>
                  <a:lnTo>
                    <a:pt x="735" y="217"/>
                  </a:lnTo>
                  <a:lnTo>
                    <a:pt x="734" y="219"/>
                  </a:lnTo>
                  <a:lnTo>
                    <a:pt x="737" y="217"/>
                  </a:lnTo>
                  <a:lnTo>
                    <a:pt x="741" y="214"/>
                  </a:lnTo>
                  <a:lnTo>
                    <a:pt x="741" y="210"/>
                  </a:lnTo>
                  <a:lnTo>
                    <a:pt x="742" y="209"/>
                  </a:lnTo>
                  <a:lnTo>
                    <a:pt x="742" y="205"/>
                  </a:lnTo>
                  <a:lnTo>
                    <a:pt x="741" y="203"/>
                  </a:lnTo>
                  <a:lnTo>
                    <a:pt x="739" y="203"/>
                  </a:lnTo>
                  <a:lnTo>
                    <a:pt x="739" y="205"/>
                  </a:lnTo>
                  <a:lnTo>
                    <a:pt x="735" y="209"/>
                  </a:lnTo>
                  <a:lnTo>
                    <a:pt x="732" y="210"/>
                  </a:lnTo>
                  <a:lnTo>
                    <a:pt x="728" y="216"/>
                  </a:lnTo>
                  <a:lnTo>
                    <a:pt x="727" y="219"/>
                  </a:lnTo>
                  <a:lnTo>
                    <a:pt x="727" y="219"/>
                  </a:lnTo>
                  <a:lnTo>
                    <a:pt x="727" y="219"/>
                  </a:lnTo>
                  <a:lnTo>
                    <a:pt x="727" y="219"/>
                  </a:lnTo>
                  <a:close/>
                  <a:moveTo>
                    <a:pt x="760" y="223"/>
                  </a:moveTo>
                  <a:lnTo>
                    <a:pt x="763" y="223"/>
                  </a:lnTo>
                  <a:lnTo>
                    <a:pt x="765" y="219"/>
                  </a:lnTo>
                  <a:lnTo>
                    <a:pt x="763" y="219"/>
                  </a:lnTo>
                  <a:lnTo>
                    <a:pt x="760" y="219"/>
                  </a:lnTo>
                  <a:lnTo>
                    <a:pt x="758" y="223"/>
                  </a:lnTo>
                  <a:lnTo>
                    <a:pt x="760" y="223"/>
                  </a:lnTo>
                  <a:lnTo>
                    <a:pt x="760" y="223"/>
                  </a:lnTo>
                  <a:lnTo>
                    <a:pt x="760" y="223"/>
                  </a:lnTo>
                  <a:lnTo>
                    <a:pt x="760" y="223"/>
                  </a:lnTo>
                  <a:close/>
                  <a:moveTo>
                    <a:pt x="765" y="230"/>
                  </a:moveTo>
                  <a:lnTo>
                    <a:pt x="767" y="230"/>
                  </a:lnTo>
                  <a:lnTo>
                    <a:pt x="768" y="228"/>
                  </a:lnTo>
                  <a:lnTo>
                    <a:pt x="768" y="228"/>
                  </a:lnTo>
                  <a:lnTo>
                    <a:pt x="765" y="224"/>
                  </a:lnTo>
                  <a:lnTo>
                    <a:pt x="765" y="223"/>
                  </a:lnTo>
                  <a:lnTo>
                    <a:pt x="763" y="223"/>
                  </a:lnTo>
                  <a:lnTo>
                    <a:pt x="763" y="224"/>
                  </a:lnTo>
                  <a:lnTo>
                    <a:pt x="765" y="228"/>
                  </a:lnTo>
                  <a:lnTo>
                    <a:pt x="765" y="230"/>
                  </a:lnTo>
                  <a:lnTo>
                    <a:pt x="765" y="230"/>
                  </a:lnTo>
                  <a:lnTo>
                    <a:pt x="765" y="230"/>
                  </a:lnTo>
                  <a:lnTo>
                    <a:pt x="765" y="230"/>
                  </a:lnTo>
                  <a:close/>
                  <a:moveTo>
                    <a:pt x="735" y="238"/>
                  </a:moveTo>
                  <a:lnTo>
                    <a:pt x="739" y="236"/>
                  </a:lnTo>
                  <a:lnTo>
                    <a:pt x="739" y="235"/>
                  </a:lnTo>
                  <a:lnTo>
                    <a:pt x="737" y="233"/>
                  </a:lnTo>
                  <a:lnTo>
                    <a:pt x="735" y="235"/>
                  </a:lnTo>
                  <a:lnTo>
                    <a:pt x="732" y="236"/>
                  </a:lnTo>
                  <a:lnTo>
                    <a:pt x="732" y="238"/>
                  </a:lnTo>
                  <a:lnTo>
                    <a:pt x="735" y="238"/>
                  </a:lnTo>
                  <a:lnTo>
                    <a:pt x="735" y="238"/>
                  </a:lnTo>
                  <a:lnTo>
                    <a:pt x="735" y="238"/>
                  </a:lnTo>
                  <a:lnTo>
                    <a:pt x="735" y="238"/>
                  </a:lnTo>
                  <a:close/>
                  <a:moveTo>
                    <a:pt x="751" y="238"/>
                  </a:moveTo>
                  <a:lnTo>
                    <a:pt x="755" y="236"/>
                  </a:lnTo>
                  <a:lnTo>
                    <a:pt x="755" y="233"/>
                  </a:lnTo>
                  <a:lnTo>
                    <a:pt x="755" y="233"/>
                  </a:lnTo>
                  <a:lnTo>
                    <a:pt x="755" y="228"/>
                  </a:lnTo>
                  <a:lnTo>
                    <a:pt x="751" y="228"/>
                  </a:lnTo>
                  <a:lnTo>
                    <a:pt x="751" y="230"/>
                  </a:lnTo>
                  <a:lnTo>
                    <a:pt x="749" y="233"/>
                  </a:lnTo>
                  <a:lnTo>
                    <a:pt x="746" y="235"/>
                  </a:lnTo>
                  <a:lnTo>
                    <a:pt x="748" y="236"/>
                  </a:lnTo>
                  <a:lnTo>
                    <a:pt x="749" y="236"/>
                  </a:lnTo>
                  <a:lnTo>
                    <a:pt x="751" y="235"/>
                  </a:lnTo>
                  <a:lnTo>
                    <a:pt x="751" y="235"/>
                  </a:lnTo>
                  <a:lnTo>
                    <a:pt x="751" y="238"/>
                  </a:lnTo>
                  <a:lnTo>
                    <a:pt x="751" y="238"/>
                  </a:lnTo>
                  <a:lnTo>
                    <a:pt x="751" y="238"/>
                  </a:lnTo>
                  <a:lnTo>
                    <a:pt x="751" y="238"/>
                  </a:lnTo>
                  <a:close/>
                  <a:moveTo>
                    <a:pt x="755" y="256"/>
                  </a:moveTo>
                  <a:lnTo>
                    <a:pt x="756" y="256"/>
                  </a:lnTo>
                  <a:lnTo>
                    <a:pt x="758" y="256"/>
                  </a:lnTo>
                  <a:lnTo>
                    <a:pt x="763" y="256"/>
                  </a:lnTo>
                  <a:lnTo>
                    <a:pt x="763" y="256"/>
                  </a:lnTo>
                  <a:lnTo>
                    <a:pt x="767" y="256"/>
                  </a:lnTo>
                  <a:lnTo>
                    <a:pt x="770" y="256"/>
                  </a:lnTo>
                  <a:lnTo>
                    <a:pt x="772" y="252"/>
                  </a:lnTo>
                  <a:lnTo>
                    <a:pt x="772" y="250"/>
                  </a:lnTo>
                  <a:lnTo>
                    <a:pt x="770" y="250"/>
                  </a:lnTo>
                  <a:lnTo>
                    <a:pt x="770" y="250"/>
                  </a:lnTo>
                  <a:lnTo>
                    <a:pt x="770" y="247"/>
                  </a:lnTo>
                  <a:lnTo>
                    <a:pt x="767" y="247"/>
                  </a:lnTo>
                  <a:lnTo>
                    <a:pt x="765" y="250"/>
                  </a:lnTo>
                  <a:lnTo>
                    <a:pt x="765" y="250"/>
                  </a:lnTo>
                  <a:lnTo>
                    <a:pt x="765" y="250"/>
                  </a:lnTo>
                  <a:lnTo>
                    <a:pt x="763" y="250"/>
                  </a:lnTo>
                  <a:lnTo>
                    <a:pt x="763" y="250"/>
                  </a:lnTo>
                  <a:lnTo>
                    <a:pt x="760" y="250"/>
                  </a:lnTo>
                  <a:lnTo>
                    <a:pt x="758" y="250"/>
                  </a:lnTo>
                  <a:lnTo>
                    <a:pt x="756" y="252"/>
                  </a:lnTo>
                  <a:lnTo>
                    <a:pt x="755" y="250"/>
                  </a:lnTo>
                  <a:lnTo>
                    <a:pt x="755" y="256"/>
                  </a:lnTo>
                  <a:lnTo>
                    <a:pt x="755" y="256"/>
                  </a:lnTo>
                  <a:lnTo>
                    <a:pt x="755" y="256"/>
                  </a:lnTo>
                  <a:lnTo>
                    <a:pt x="755" y="256"/>
                  </a:lnTo>
                  <a:lnTo>
                    <a:pt x="755" y="256"/>
                  </a:lnTo>
                  <a:close/>
                  <a:moveTo>
                    <a:pt x="622" y="75"/>
                  </a:moveTo>
                  <a:lnTo>
                    <a:pt x="628" y="71"/>
                  </a:lnTo>
                  <a:lnTo>
                    <a:pt x="629" y="68"/>
                  </a:lnTo>
                  <a:lnTo>
                    <a:pt x="629" y="64"/>
                  </a:lnTo>
                  <a:lnTo>
                    <a:pt x="635" y="59"/>
                  </a:lnTo>
                  <a:lnTo>
                    <a:pt x="642" y="56"/>
                  </a:lnTo>
                  <a:lnTo>
                    <a:pt x="647" y="54"/>
                  </a:lnTo>
                  <a:lnTo>
                    <a:pt x="647" y="50"/>
                  </a:lnTo>
                  <a:lnTo>
                    <a:pt x="647" y="47"/>
                  </a:lnTo>
                  <a:lnTo>
                    <a:pt x="642" y="43"/>
                  </a:lnTo>
                  <a:lnTo>
                    <a:pt x="636" y="40"/>
                  </a:lnTo>
                  <a:lnTo>
                    <a:pt x="633" y="31"/>
                  </a:lnTo>
                  <a:lnTo>
                    <a:pt x="633" y="28"/>
                  </a:lnTo>
                  <a:lnTo>
                    <a:pt x="635" y="26"/>
                  </a:lnTo>
                  <a:lnTo>
                    <a:pt x="635" y="23"/>
                  </a:lnTo>
                  <a:lnTo>
                    <a:pt x="633" y="23"/>
                  </a:lnTo>
                  <a:lnTo>
                    <a:pt x="624" y="23"/>
                  </a:lnTo>
                  <a:lnTo>
                    <a:pt x="619" y="21"/>
                  </a:lnTo>
                  <a:lnTo>
                    <a:pt x="614" y="17"/>
                  </a:lnTo>
                  <a:lnTo>
                    <a:pt x="607" y="9"/>
                  </a:lnTo>
                  <a:lnTo>
                    <a:pt x="602" y="3"/>
                  </a:lnTo>
                  <a:lnTo>
                    <a:pt x="596" y="0"/>
                  </a:lnTo>
                  <a:lnTo>
                    <a:pt x="595" y="0"/>
                  </a:lnTo>
                  <a:lnTo>
                    <a:pt x="595" y="3"/>
                  </a:lnTo>
                  <a:lnTo>
                    <a:pt x="593" y="5"/>
                  </a:lnTo>
                  <a:lnTo>
                    <a:pt x="595" y="9"/>
                  </a:lnTo>
                  <a:lnTo>
                    <a:pt x="593" y="12"/>
                  </a:lnTo>
                  <a:lnTo>
                    <a:pt x="591" y="17"/>
                  </a:lnTo>
                  <a:lnTo>
                    <a:pt x="588" y="23"/>
                  </a:lnTo>
                  <a:lnTo>
                    <a:pt x="584" y="28"/>
                  </a:lnTo>
                  <a:lnTo>
                    <a:pt x="583" y="31"/>
                  </a:lnTo>
                  <a:lnTo>
                    <a:pt x="584" y="43"/>
                  </a:lnTo>
                  <a:lnTo>
                    <a:pt x="586" y="47"/>
                  </a:lnTo>
                  <a:lnTo>
                    <a:pt x="589" y="49"/>
                  </a:lnTo>
                  <a:lnTo>
                    <a:pt x="589" y="50"/>
                  </a:lnTo>
                  <a:lnTo>
                    <a:pt x="589" y="63"/>
                  </a:lnTo>
                  <a:lnTo>
                    <a:pt x="586" y="64"/>
                  </a:lnTo>
                  <a:lnTo>
                    <a:pt x="586" y="68"/>
                  </a:lnTo>
                  <a:lnTo>
                    <a:pt x="586" y="71"/>
                  </a:lnTo>
                  <a:lnTo>
                    <a:pt x="588" y="70"/>
                  </a:lnTo>
                  <a:lnTo>
                    <a:pt x="591" y="66"/>
                  </a:lnTo>
                  <a:lnTo>
                    <a:pt x="595" y="64"/>
                  </a:lnTo>
                  <a:lnTo>
                    <a:pt x="596" y="66"/>
                  </a:lnTo>
                  <a:lnTo>
                    <a:pt x="596" y="70"/>
                  </a:lnTo>
                  <a:lnTo>
                    <a:pt x="602" y="73"/>
                  </a:lnTo>
                  <a:lnTo>
                    <a:pt x="605" y="73"/>
                  </a:lnTo>
                  <a:lnTo>
                    <a:pt x="607" y="71"/>
                  </a:lnTo>
                  <a:lnTo>
                    <a:pt x="609" y="71"/>
                  </a:lnTo>
                  <a:lnTo>
                    <a:pt x="614" y="75"/>
                  </a:lnTo>
                  <a:lnTo>
                    <a:pt x="619" y="75"/>
                  </a:lnTo>
                  <a:lnTo>
                    <a:pt x="622" y="75"/>
                  </a:lnTo>
                  <a:lnTo>
                    <a:pt x="622" y="75"/>
                  </a:lnTo>
                  <a:lnTo>
                    <a:pt x="622" y="75"/>
                  </a:lnTo>
                  <a:lnTo>
                    <a:pt x="622" y="75"/>
                  </a:lnTo>
                  <a:close/>
                  <a:moveTo>
                    <a:pt x="605" y="99"/>
                  </a:moveTo>
                  <a:lnTo>
                    <a:pt x="607" y="101"/>
                  </a:lnTo>
                  <a:lnTo>
                    <a:pt x="610" y="103"/>
                  </a:lnTo>
                  <a:lnTo>
                    <a:pt x="614" y="103"/>
                  </a:lnTo>
                  <a:lnTo>
                    <a:pt x="617" y="99"/>
                  </a:lnTo>
                  <a:lnTo>
                    <a:pt x="619" y="96"/>
                  </a:lnTo>
                  <a:lnTo>
                    <a:pt x="624" y="94"/>
                  </a:lnTo>
                  <a:lnTo>
                    <a:pt x="624" y="90"/>
                  </a:lnTo>
                  <a:lnTo>
                    <a:pt x="628" y="85"/>
                  </a:lnTo>
                  <a:lnTo>
                    <a:pt x="624" y="82"/>
                  </a:lnTo>
                  <a:lnTo>
                    <a:pt x="619" y="78"/>
                  </a:lnTo>
                  <a:lnTo>
                    <a:pt x="612" y="78"/>
                  </a:lnTo>
                  <a:lnTo>
                    <a:pt x="607" y="78"/>
                  </a:lnTo>
                  <a:lnTo>
                    <a:pt x="605" y="82"/>
                  </a:lnTo>
                  <a:lnTo>
                    <a:pt x="600" y="78"/>
                  </a:lnTo>
                  <a:lnTo>
                    <a:pt x="600" y="78"/>
                  </a:lnTo>
                  <a:lnTo>
                    <a:pt x="596" y="82"/>
                  </a:lnTo>
                  <a:lnTo>
                    <a:pt x="591" y="82"/>
                  </a:lnTo>
                  <a:lnTo>
                    <a:pt x="591" y="82"/>
                  </a:lnTo>
                  <a:lnTo>
                    <a:pt x="593" y="85"/>
                  </a:lnTo>
                  <a:lnTo>
                    <a:pt x="596" y="87"/>
                  </a:lnTo>
                  <a:lnTo>
                    <a:pt x="596" y="90"/>
                  </a:lnTo>
                  <a:lnTo>
                    <a:pt x="602" y="90"/>
                  </a:lnTo>
                  <a:lnTo>
                    <a:pt x="605" y="94"/>
                  </a:lnTo>
                  <a:lnTo>
                    <a:pt x="609" y="96"/>
                  </a:lnTo>
                  <a:lnTo>
                    <a:pt x="614" y="96"/>
                  </a:lnTo>
                  <a:lnTo>
                    <a:pt x="617" y="96"/>
                  </a:lnTo>
                  <a:lnTo>
                    <a:pt x="616" y="97"/>
                  </a:lnTo>
                  <a:lnTo>
                    <a:pt x="610" y="99"/>
                  </a:lnTo>
                  <a:lnTo>
                    <a:pt x="605" y="99"/>
                  </a:lnTo>
                  <a:lnTo>
                    <a:pt x="605" y="99"/>
                  </a:lnTo>
                  <a:lnTo>
                    <a:pt x="605" y="99"/>
                  </a:lnTo>
                  <a:lnTo>
                    <a:pt x="605" y="99"/>
                  </a:lnTo>
                  <a:close/>
                  <a:moveTo>
                    <a:pt x="722" y="110"/>
                  </a:moveTo>
                  <a:lnTo>
                    <a:pt x="722" y="113"/>
                  </a:lnTo>
                  <a:lnTo>
                    <a:pt x="718" y="118"/>
                  </a:lnTo>
                  <a:lnTo>
                    <a:pt x="713" y="118"/>
                  </a:lnTo>
                  <a:lnTo>
                    <a:pt x="709" y="122"/>
                  </a:lnTo>
                  <a:lnTo>
                    <a:pt x="704" y="125"/>
                  </a:lnTo>
                  <a:lnTo>
                    <a:pt x="704" y="125"/>
                  </a:lnTo>
                  <a:lnTo>
                    <a:pt x="699" y="122"/>
                  </a:lnTo>
                  <a:lnTo>
                    <a:pt x="697" y="120"/>
                  </a:lnTo>
                  <a:lnTo>
                    <a:pt x="694" y="120"/>
                  </a:lnTo>
                  <a:lnTo>
                    <a:pt x="692" y="120"/>
                  </a:lnTo>
                  <a:lnTo>
                    <a:pt x="687" y="120"/>
                  </a:lnTo>
                  <a:lnTo>
                    <a:pt x="678" y="120"/>
                  </a:lnTo>
                  <a:lnTo>
                    <a:pt x="676" y="118"/>
                  </a:lnTo>
                  <a:lnTo>
                    <a:pt x="673" y="115"/>
                  </a:lnTo>
                  <a:lnTo>
                    <a:pt x="669" y="118"/>
                  </a:lnTo>
                  <a:lnTo>
                    <a:pt x="664" y="120"/>
                  </a:lnTo>
                  <a:lnTo>
                    <a:pt x="661" y="118"/>
                  </a:lnTo>
                  <a:lnTo>
                    <a:pt x="659" y="118"/>
                  </a:lnTo>
                  <a:lnTo>
                    <a:pt x="654" y="115"/>
                  </a:lnTo>
                  <a:lnTo>
                    <a:pt x="650" y="113"/>
                  </a:lnTo>
                  <a:lnTo>
                    <a:pt x="650" y="108"/>
                  </a:lnTo>
                  <a:lnTo>
                    <a:pt x="647" y="104"/>
                  </a:lnTo>
                  <a:lnTo>
                    <a:pt x="645" y="104"/>
                  </a:lnTo>
                  <a:lnTo>
                    <a:pt x="642" y="106"/>
                  </a:lnTo>
                  <a:lnTo>
                    <a:pt x="638" y="103"/>
                  </a:lnTo>
                  <a:lnTo>
                    <a:pt x="635" y="101"/>
                  </a:lnTo>
                  <a:lnTo>
                    <a:pt x="635" y="103"/>
                  </a:lnTo>
                  <a:lnTo>
                    <a:pt x="635" y="106"/>
                  </a:lnTo>
                  <a:lnTo>
                    <a:pt x="633" y="106"/>
                  </a:lnTo>
                  <a:lnTo>
                    <a:pt x="631" y="106"/>
                  </a:lnTo>
                  <a:lnTo>
                    <a:pt x="628" y="103"/>
                  </a:lnTo>
                  <a:lnTo>
                    <a:pt x="629" y="101"/>
                  </a:lnTo>
                  <a:lnTo>
                    <a:pt x="633" y="99"/>
                  </a:lnTo>
                  <a:lnTo>
                    <a:pt x="633" y="96"/>
                  </a:lnTo>
                  <a:lnTo>
                    <a:pt x="633" y="90"/>
                  </a:lnTo>
                  <a:lnTo>
                    <a:pt x="633" y="87"/>
                  </a:lnTo>
                  <a:lnTo>
                    <a:pt x="638" y="85"/>
                  </a:lnTo>
                  <a:lnTo>
                    <a:pt x="636" y="82"/>
                  </a:lnTo>
                  <a:lnTo>
                    <a:pt x="633" y="82"/>
                  </a:lnTo>
                  <a:lnTo>
                    <a:pt x="629" y="78"/>
                  </a:lnTo>
                  <a:lnTo>
                    <a:pt x="629" y="78"/>
                  </a:lnTo>
                  <a:lnTo>
                    <a:pt x="631" y="71"/>
                  </a:lnTo>
                  <a:lnTo>
                    <a:pt x="635" y="70"/>
                  </a:lnTo>
                  <a:lnTo>
                    <a:pt x="640" y="68"/>
                  </a:lnTo>
                  <a:lnTo>
                    <a:pt x="640" y="64"/>
                  </a:lnTo>
                  <a:lnTo>
                    <a:pt x="642" y="63"/>
                  </a:lnTo>
                  <a:lnTo>
                    <a:pt x="647" y="63"/>
                  </a:lnTo>
                  <a:lnTo>
                    <a:pt x="650" y="56"/>
                  </a:lnTo>
                  <a:lnTo>
                    <a:pt x="654" y="54"/>
                  </a:lnTo>
                  <a:lnTo>
                    <a:pt x="654" y="50"/>
                  </a:lnTo>
                  <a:lnTo>
                    <a:pt x="661" y="54"/>
                  </a:lnTo>
                  <a:lnTo>
                    <a:pt x="664" y="56"/>
                  </a:lnTo>
                  <a:lnTo>
                    <a:pt x="669" y="64"/>
                  </a:lnTo>
                  <a:lnTo>
                    <a:pt x="673" y="68"/>
                  </a:lnTo>
                  <a:lnTo>
                    <a:pt x="669" y="73"/>
                  </a:lnTo>
                  <a:lnTo>
                    <a:pt x="673" y="75"/>
                  </a:lnTo>
                  <a:lnTo>
                    <a:pt x="669" y="78"/>
                  </a:lnTo>
                  <a:lnTo>
                    <a:pt x="669" y="78"/>
                  </a:lnTo>
                  <a:lnTo>
                    <a:pt x="669" y="82"/>
                  </a:lnTo>
                  <a:lnTo>
                    <a:pt x="669" y="82"/>
                  </a:lnTo>
                  <a:lnTo>
                    <a:pt x="675" y="77"/>
                  </a:lnTo>
                  <a:lnTo>
                    <a:pt x="675" y="73"/>
                  </a:lnTo>
                  <a:lnTo>
                    <a:pt x="675" y="70"/>
                  </a:lnTo>
                  <a:lnTo>
                    <a:pt x="676" y="66"/>
                  </a:lnTo>
                  <a:lnTo>
                    <a:pt x="676" y="64"/>
                  </a:lnTo>
                  <a:lnTo>
                    <a:pt x="669" y="59"/>
                  </a:lnTo>
                  <a:lnTo>
                    <a:pt x="669" y="56"/>
                  </a:lnTo>
                  <a:lnTo>
                    <a:pt x="669" y="56"/>
                  </a:lnTo>
                  <a:lnTo>
                    <a:pt x="678" y="56"/>
                  </a:lnTo>
                  <a:lnTo>
                    <a:pt x="683" y="56"/>
                  </a:lnTo>
                  <a:lnTo>
                    <a:pt x="694" y="63"/>
                  </a:lnTo>
                  <a:lnTo>
                    <a:pt x="695" y="64"/>
                  </a:lnTo>
                  <a:lnTo>
                    <a:pt x="697" y="64"/>
                  </a:lnTo>
                  <a:lnTo>
                    <a:pt x="697" y="70"/>
                  </a:lnTo>
                  <a:lnTo>
                    <a:pt x="701" y="71"/>
                  </a:lnTo>
                  <a:lnTo>
                    <a:pt x="701" y="77"/>
                  </a:lnTo>
                  <a:lnTo>
                    <a:pt x="701" y="82"/>
                  </a:lnTo>
                  <a:lnTo>
                    <a:pt x="706" y="87"/>
                  </a:lnTo>
                  <a:lnTo>
                    <a:pt x="709" y="90"/>
                  </a:lnTo>
                  <a:lnTo>
                    <a:pt x="709" y="92"/>
                  </a:lnTo>
                  <a:lnTo>
                    <a:pt x="706" y="92"/>
                  </a:lnTo>
                  <a:lnTo>
                    <a:pt x="704" y="90"/>
                  </a:lnTo>
                  <a:lnTo>
                    <a:pt x="701" y="90"/>
                  </a:lnTo>
                  <a:lnTo>
                    <a:pt x="704" y="96"/>
                  </a:lnTo>
                  <a:lnTo>
                    <a:pt x="706" y="97"/>
                  </a:lnTo>
                  <a:lnTo>
                    <a:pt x="711" y="99"/>
                  </a:lnTo>
                  <a:lnTo>
                    <a:pt x="715" y="104"/>
                  </a:lnTo>
                  <a:lnTo>
                    <a:pt x="718" y="104"/>
                  </a:lnTo>
                  <a:lnTo>
                    <a:pt x="722" y="110"/>
                  </a:lnTo>
                  <a:lnTo>
                    <a:pt x="722" y="110"/>
                  </a:lnTo>
                  <a:lnTo>
                    <a:pt x="722" y="110"/>
                  </a:lnTo>
                  <a:lnTo>
                    <a:pt x="722" y="110"/>
                  </a:lnTo>
                  <a:close/>
                  <a:moveTo>
                    <a:pt x="1382" y="71"/>
                  </a:moveTo>
                  <a:lnTo>
                    <a:pt x="1384" y="78"/>
                  </a:lnTo>
                  <a:lnTo>
                    <a:pt x="1389" y="87"/>
                  </a:lnTo>
                  <a:lnTo>
                    <a:pt x="1390" y="90"/>
                  </a:lnTo>
                  <a:lnTo>
                    <a:pt x="1401" y="92"/>
                  </a:lnTo>
                  <a:lnTo>
                    <a:pt x="1411" y="94"/>
                  </a:lnTo>
                  <a:lnTo>
                    <a:pt x="1418" y="97"/>
                  </a:lnTo>
                  <a:lnTo>
                    <a:pt x="1422" y="97"/>
                  </a:lnTo>
                  <a:lnTo>
                    <a:pt x="1427" y="96"/>
                  </a:lnTo>
                  <a:lnTo>
                    <a:pt x="1432" y="97"/>
                  </a:lnTo>
                  <a:lnTo>
                    <a:pt x="1436" y="96"/>
                  </a:lnTo>
                  <a:lnTo>
                    <a:pt x="1441" y="92"/>
                  </a:lnTo>
                  <a:lnTo>
                    <a:pt x="1444" y="87"/>
                  </a:lnTo>
                  <a:lnTo>
                    <a:pt x="1446" y="85"/>
                  </a:lnTo>
                  <a:lnTo>
                    <a:pt x="1444" y="78"/>
                  </a:lnTo>
                  <a:lnTo>
                    <a:pt x="1441" y="78"/>
                  </a:lnTo>
                  <a:lnTo>
                    <a:pt x="1439" y="78"/>
                  </a:lnTo>
                  <a:lnTo>
                    <a:pt x="1439" y="77"/>
                  </a:lnTo>
                  <a:lnTo>
                    <a:pt x="1439" y="73"/>
                  </a:lnTo>
                  <a:lnTo>
                    <a:pt x="1437" y="71"/>
                  </a:lnTo>
                  <a:lnTo>
                    <a:pt x="1434" y="73"/>
                  </a:lnTo>
                  <a:lnTo>
                    <a:pt x="1430" y="71"/>
                  </a:lnTo>
                  <a:lnTo>
                    <a:pt x="1422" y="73"/>
                  </a:lnTo>
                  <a:lnTo>
                    <a:pt x="1417" y="78"/>
                  </a:lnTo>
                  <a:lnTo>
                    <a:pt x="1411" y="78"/>
                  </a:lnTo>
                  <a:lnTo>
                    <a:pt x="1411" y="77"/>
                  </a:lnTo>
                  <a:lnTo>
                    <a:pt x="1410" y="73"/>
                  </a:lnTo>
                  <a:lnTo>
                    <a:pt x="1408" y="73"/>
                  </a:lnTo>
                  <a:lnTo>
                    <a:pt x="1403" y="75"/>
                  </a:lnTo>
                  <a:lnTo>
                    <a:pt x="1399" y="75"/>
                  </a:lnTo>
                  <a:lnTo>
                    <a:pt x="1396" y="73"/>
                  </a:lnTo>
                  <a:lnTo>
                    <a:pt x="1396" y="77"/>
                  </a:lnTo>
                  <a:lnTo>
                    <a:pt x="1394" y="78"/>
                  </a:lnTo>
                  <a:lnTo>
                    <a:pt x="1387" y="77"/>
                  </a:lnTo>
                  <a:lnTo>
                    <a:pt x="1385" y="75"/>
                  </a:lnTo>
                  <a:lnTo>
                    <a:pt x="1384" y="73"/>
                  </a:lnTo>
                  <a:lnTo>
                    <a:pt x="1382" y="71"/>
                  </a:lnTo>
                  <a:lnTo>
                    <a:pt x="1382" y="71"/>
                  </a:lnTo>
                  <a:lnTo>
                    <a:pt x="1382" y="71"/>
                  </a:lnTo>
                  <a:lnTo>
                    <a:pt x="1382" y="71"/>
                  </a:lnTo>
                  <a:close/>
                  <a:moveTo>
                    <a:pt x="1250" y="130"/>
                  </a:moveTo>
                  <a:lnTo>
                    <a:pt x="1246" y="122"/>
                  </a:lnTo>
                  <a:lnTo>
                    <a:pt x="1245" y="118"/>
                  </a:lnTo>
                  <a:lnTo>
                    <a:pt x="1241" y="115"/>
                  </a:lnTo>
                  <a:lnTo>
                    <a:pt x="1238" y="115"/>
                  </a:lnTo>
                  <a:lnTo>
                    <a:pt x="1234" y="110"/>
                  </a:lnTo>
                  <a:lnTo>
                    <a:pt x="1231" y="110"/>
                  </a:lnTo>
                  <a:lnTo>
                    <a:pt x="1229" y="108"/>
                  </a:lnTo>
                  <a:lnTo>
                    <a:pt x="1229" y="110"/>
                  </a:lnTo>
                  <a:lnTo>
                    <a:pt x="1232" y="115"/>
                  </a:lnTo>
                  <a:lnTo>
                    <a:pt x="1238" y="120"/>
                  </a:lnTo>
                  <a:lnTo>
                    <a:pt x="1241" y="127"/>
                  </a:lnTo>
                  <a:lnTo>
                    <a:pt x="1245" y="136"/>
                  </a:lnTo>
                  <a:lnTo>
                    <a:pt x="1248" y="137"/>
                  </a:lnTo>
                  <a:lnTo>
                    <a:pt x="1250" y="136"/>
                  </a:lnTo>
                  <a:lnTo>
                    <a:pt x="1250" y="130"/>
                  </a:lnTo>
                  <a:lnTo>
                    <a:pt x="1250" y="130"/>
                  </a:lnTo>
                  <a:lnTo>
                    <a:pt x="1250" y="130"/>
                  </a:lnTo>
                  <a:lnTo>
                    <a:pt x="1250" y="130"/>
                  </a:lnTo>
                  <a:close/>
                  <a:moveTo>
                    <a:pt x="1317" y="137"/>
                  </a:moveTo>
                  <a:lnTo>
                    <a:pt x="1314" y="137"/>
                  </a:lnTo>
                  <a:lnTo>
                    <a:pt x="1312" y="137"/>
                  </a:lnTo>
                  <a:lnTo>
                    <a:pt x="1312" y="136"/>
                  </a:lnTo>
                  <a:lnTo>
                    <a:pt x="1314" y="132"/>
                  </a:lnTo>
                  <a:lnTo>
                    <a:pt x="1314" y="134"/>
                  </a:lnTo>
                  <a:lnTo>
                    <a:pt x="1317" y="137"/>
                  </a:lnTo>
                  <a:lnTo>
                    <a:pt x="1321" y="137"/>
                  </a:lnTo>
                  <a:lnTo>
                    <a:pt x="1321" y="141"/>
                  </a:lnTo>
                  <a:lnTo>
                    <a:pt x="1321" y="141"/>
                  </a:lnTo>
                  <a:lnTo>
                    <a:pt x="1323" y="141"/>
                  </a:lnTo>
                  <a:lnTo>
                    <a:pt x="1326" y="137"/>
                  </a:lnTo>
                  <a:lnTo>
                    <a:pt x="1330" y="130"/>
                  </a:lnTo>
                  <a:lnTo>
                    <a:pt x="1335" y="123"/>
                  </a:lnTo>
                  <a:lnTo>
                    <a:pt x="1340" y="123"/>
                  </a:lnTo>
                  <a:lnTo>
                    <a:pt x="1344" y="120"/>
                  </a:lnTo>
                  <a:lnTo>
                    <a:pt x="1345" y="122"/>
                  </a:lnTo>
                  <a:lnTo>
                    <a:pt x="1344" y="123"/>
                  </a:lnTo>
                  <a:lnTo>
                    <a:pt x="1345" y="125"/>
                  </a:lnTo>
                  <a:lnTo>
                    <a:pt x="1349" y="125"/>
                  </a:lnTo>
                  <a:lnTo>
                    <a:pt x="1351" y="125"/>
                  </a:lnTo>
                  <a:lnTo>
                    <a:pt x="1351" y="122"/>
                  </a:lnTo>
                  <a:lnTo>
                    <a:pt x="1356" y="118"/>
                  </a:lnTo>
                  <a:lnTo>
                    <a:pt x="1359" y="115"/>
                  </a:lnTo>
                  <a:lnTo>
                    <a:pt x="1357" y="113"/>
                  </a:lnTo>
                  <a:lnTo>
                    <a:pt x="1352" y="115"/>
                  </a:lnTo>
                  <a:lnTo>
                    <a:pt x="1349" y="118"/>
                  </a:lnTo>
                  <a:lnTo>
                    <a:pt x="1344" y="113"/>
                  </a:lnTo>
                  <a:lnTo>
                    <a:pt x="1337" y="113"/>
                  </a:lnTo>
                  <a:lnTo>
                    <a:pt x="1337" y="110"/>
                  </a:lnTo>
                  <a:lnTo>
                    <a:pt x="1331" y="110"/>
                  </a:lnTo>
                  <a:lnTo>
                    <a:pt x="1331" y="110"/>
                  </a:lnTo>
                  <a:lnTo>
                    <a:pt x="1326" y="104"/>
                  </a:lnTo>
                  <a:lnTo>
                    <a:pt x="1323" y="103"/>
                  </a:lnTo>
                  <a:lnTo>
                    <a:pt x="1321" y="96"/>
                  </a:lnTo>
                  <a:lnTo>
                    <a:pt x="1321" y="92"/>
                  </a:lnTo>
                  <a:lnTo>
                    <a:pt x="1317" y="90"/>
                  </a:lnTo>
                  <a:lnTo>
                    <a:pt x="1317" y="87"/>
                  </a:lnTo>
                  <a:lnTo>
                    <a:pt x="1314" y="85"/>
                  </a:lnTo>
                  <a:lnTo>
                    <a:pt x="1314" y="82"/>
                  </a:lnTo>
                  <a:lnTo>
                    <a:pt x="1314" y="82"/>
                  </a:lnTo>
                  <a:lnTo>
                    <a:pt x="1314" y="78"/>
                  </a:lnTo>
                  <a:lnTo>
                    <a:pt x="1314" y="78"/>
                  </a:lnTo>
                  <a:lnTo>
                    <a:pt x="1317" y="78"/>
                  </a:lnTo>
                  <a:lnTo>
                    <a:pt x="1317" y="75"/>
                  </a:lnTo>
                  <a:lnTo>
                    <a:pt x="1314" y="75"/>
                  </a:lnTo>
                  <a:lnTo>
                    <a:pt x="1312" y="73"/>
                  </a:lnTo>
                  <a:lnTo>
                    <a:pt x="1305" y="73"/>
                  </a:lnTo>
                  <a:lnTo>
                    <a:pt x="1302" y="71"/>
                  </a:lnTo>
                  <a:lnTo>
                    <a:pt x="1298" y="68"/>
                  </a:lnTo>
                  <a:lnTo>
                    <a:pt x="1295" y="68"/>
                  </a:lnTo>
                  <a:lnTo>
                    <a:pt x="1291" y="68"/>
                  </a:lnTo>
                  <a:lnTo>
                    <a:pt x="1291" y="68"/>
                  </a:lnTo>
                  <a:lnTo>
                    <a:pt x="1295" y="73"/>
                  </a:lnTo>
                  <a:lnTo>
                    <a:pt x="1298" y="73"/>
                  </a:lnTo>
                  <a:lnTo>
                    <a:pt x="1300" y="77"/>
                  </a:lnTo>
                  <a:lnTo>
                    <a:pt x="1295" y="77"/>
                  </a:lnTo>
                  <a:lnTo>
                    <a:pt x="1295" y="75"/>
                  </a:lnTo>
                  <a:lnTo>
                    <a:pt x="1291" y="75"/>
                  </a:lnTo>
                  <a:lnTo>
                    <a:pt x="1291" y="78"/>
                  </a:lnTo>
                  <a:lnTo>
                    <a:pt x="1291" y="82"/>
                  </a:lnTo>
                  <a:lnTo>
                    <a:pt x="1291" y="85"/>
                  </a:lnTo>
                  <a:lnTo>
                    <a:pt x="1295" y="90"/>
                  </a:lnTo>
                  <a:lnTo>
                    <a:pt x="1298" y="94"/>
                  </a:lnTo>
                  <a:lnTo>
                    <a:pt x="1300" y="97"/>
                  </a:lnTo>
                  <a:lnTo>
                    <a:pt x="1298" y="99"/>
                  </a:lnTo>
                  <a:lnTo>
                    <a:pt x="1295" y="99"/>
                  </a:lnTo>
                  <a:lnTo>
                    <a:pt x="1291" y="94"/>
                  </a:lnTo>
                  <a:lnTo>
                    <a:pt x="1290" y="90"/>
                  </a:lnTo>
                  <a:lnTo>
                    <a:pt x="1288" y="87"/>
                  </a:lnTo>
                  <a:lnTo>
                    <a:pt x="1283" y="90"/>
                  </a:lnTo>
                  <a:lnTo>
                    <a:pt x="1281" y="90"/>
                  </a:lnTo>
                  <a:lnTo>
                    <a:pt x="1281" y="90"/>
                  </a:lnTo>
                  <a:lnTo>
                    <a:pt x="1278" y="90"/>
                  </a:lnTo>
                  <a:lnTo>
                    <a:pt x="1276" y="85"/>
                  </a:lnTo>
                  <a:lnTo>
                    <a:pt x="1276" y="82"/>
                  </a:lnTo>
                  <a:lnTo>
                    <a:pt x="1272" y="82"/>
                  </a:lnTo>
                  <a:lnTo>
                    <a:pt x="1269" y="78"/>
                  </a:lnTo>
                  <a:lnTo>
                    <a:pt x="1264" y="78"/>
                  </a:lnTo>
                  <a:lnTo>
                    <a:pt x="1262" y="77"/>
                  </a:lnTo>
                  <a:lnTo>
                    <a:pt x="1260" y="75"/>
                  </a:lnTo>
                  <a:lnTo>
                    <a:pt x="1257" y="75"/>
                  </a:lnTo>
                  <a:lnTo>
                    <a:pt x="1253" y="78"/>
                  </a:lnTo>
                  <a:lnTo>
                    <a:pt x="1255" y="82"/>
                  </a:lnTo>
                  <a:lnTo>
                    <a:pt x="1253" y="82"/>
                  </a:lnTo>
                  <a:lnTo>
                    <a:pt x="1253" y="87"/>
                  </a:lnTo>
                  <a:lnTo>
                    <a:pt x="1251" y="92"/>
                  </a:lnTo>
                  <a:lnTo>
                    <a:pt x="1248" y="96"/>
                  </a:lnTo>
                  <a:lnTo>
                    <a:pt x="1248" y="97"/>
                  </a:lnTo>
                  <a:lnTo>
                    <a:pt x="1251" y="104"/>
                  </a:lnTo>
                  <a:lnTo>
                    <a:pt x="1255" y="104"/>
                  </a:lnTo>
                  <a:lnTo>
                    <a:pt x="1257" y="106"/>
                  </a:lnTo>
                  <a:lnTo>
                    <a:pt x="1255" y="108"/>
                  </a:lnTo>
                  <a:lnTo>
                    <a:pt x="1253" y="108"/>
                  </a:lnTo>
                  <a:lnTo>
                    <a:pt x="1253" y="110"/>
                  </a:lnTo>
                  <a:lnTo>
                    <a:pt x="1257" y="110"/>
                  </a:lnTo>
                  <a:lnTo>
                    <a:pt x="1258" y="113"/>
                  </a:lnTo>
                  <a:lnTo>
                    <a:pt x="1258" y="118"/>
                  </a:lnTo>
                  <a:lnTo>
                    <a:pt x="1260" y="118"/>
                  </a:lnTo>
                  <a:lnTo>
                    <a:pt x="1264" y="120"/>
                  </a:lnTo>
                  <a:lnTo>
                    <a:pt x="1264" y="122"/>
                  </a:lnTo>
                  <a:lnTo>
                    <a:pt x="1264" y="123"/>
                  </a:lnTo>
                  <a:lnTo>
                    <a:pt x="1267" y="125"/>
                  </a:lnTo>
                  <a:lnTo>
                    <a:pt x="1267" y="123"/>
                  </a:lnTo>
                  <a:lnTo>
                    <a:pt x="1269" y="123"/>
                  </a:lnTo>
                  <a:lnTo>
                    <a:pt x="1272" y="125"/>
                  </a:lnTo>
                  <a:lnTo>
                    <a:pt x="1267" y="127"/>
                  </a:lnTo>
                  <a:lnTo>
                    <a:pt x="1267" y="127"/>
                  </a:lnTo>
                  <a:lnTo>
                    <a:pt x="1264" y="127"/>
                  </a:lnTo>
                  <a:lnTo>
                    <a:pt x="1264" y="129"/>
                  </a:lnTo>
                  <a:lnTo>
                    <a:pt x="1264" y="132"/>
                  </a:lnTo>
                  <a:lnTo>
                    <a:pt x="1276" y="137"/>
                  </a:lnTo>
                  <a:lnTo>
                    <a:pt x="1281" y="141"/>
                  </a:lnTo>
                  <a:lnTo>
                    <a:pt x="1286" y="141"/>
                  </a:lnTo>
                  <a:lnTo>
                    <a:pt x="1290" y="143"/>
                  </a:lnTo>
                  <a:lnTo>
                    <a:pt x="1291" y="144"/>
                  </a:lnTo>
                  <a:lnTo>
                    <a:pt x="1291" y="150"/>
                  </a:lnTo>
                  <a:lnTo>
                    <a:pt x="1295" y="151"/>
                  </a:lnTo>
                  <a:lnTo>
                    <a:pt x="1300" y="151"/>
                  </a:lnTo>
                  <a:lnTo>
                    <a:pt x="1305" y="150"/>
                  </a:lnTo>
                  <a:lnTo>
                    <a:pt x="1311" y="150"/>
                  </a:lnTo>
                  <a:lnTo>
                    <a:pt x="1314" y="151"/>
                  </a:lnTo>
                  <a:lnTo>
                    <a:pt x="1317" y="151"/>
                  </a:lnTo>
                  <a:lnTo>
                    <a:pt x="1317" y="150"/>
                  </a:lnTo>
                  <a:lnTo>
                    <a:pt x="1317" y="144"/>
                  </a:lnTo>
                  <a:lnTo>
                    <a:pt x="1317" y="141"/>
                  </a:lnTo>
                  <a:lnTo>
                    <a:pt x="1317" y="137"/>
                  </a:lnTo>
                  <a:lnTo>
                    <a:pt x="1317" y="137"/>
                  </a:lnTo>
                  <a:lnTo>
                    <a:pt x="1317" y="137"/>
                  </a:lnTo>
                  <a:lnTo>
                    <a:pt x="1317" y="137"/>
                  </a:lnTo>
                  <a:close/>
                  <a:moveTo>
                    <a:pt x="1317" y="71"/>
                  </a:moveTo>
                  <a:lnTo>
                    <a:pt x="1323" y="71"/>
                  </a:lnTo>
                  <a:lnTo>
                    <a:pt x="1328" y="71"/>
                  </a:lnTo>
                  <a:lnTo>
                    <a:pt x="1331" y="71"/>
                  </a:lnTo>
                  <a:lnTo>
                    <a:pt x="1342" y="77"/>
                  </a:lnTo>
                  <a:lnTo>
                    <a:pt x="1345" y="77"/>
                  </a:lnTo>
                  <a:lnTo>
                    <a:pt x="1349" y="77"/>
                  </a:lnTo>
                  <a:lnTo>
                    <a:pt x="1356" y="77"/>
                  </a:lnTo>
                  <a:lnTo>
                    <a:pt x="1364" y="78"/>
                  </a:lnTo>
                  <a:lnTo>
                    <a:pt x="1364" y="82"/>
                  </a:lnTo>
                  <a:lnTo>
                    <a:pt x="1361" y="82"/>
                  </a:lnTo>
                  <a:lnTo>
                    <a:pt x="1357" y="85"/>
                  </a:lnTo>
                  <a:lnTo>
                    <a:pt x="1357" y="87"/>
                  </a:lnTo>
                  <a:lnTo>
                    <a:pt x="1363" y="92"/>
                  </a:lnTo>
                  <a:lnTo>
                    <a:pt x="1366" y="92"/>
                  </a:lnTo>
                  <a:lnTo>
                    <a:pt x="1366" y="97"/>
                  </a:lnTo>
                  <a:lnTo>
                    <a:pt x="1368" y="99"/>
                  </a:lnTo>
                  <a:lnTo>
                    <a:pt x="1364" y="103"/>
                  </a:lnTo>
                  <a:lnTo>
                    <a:pt x="1364" y="108"/>
                  </a:lnTo>
                  <a:lnTo>
                    <a:pt x="1361" y="110"/>
                  </a:lnTo>
                  <a:lnTo>
                    <a:pt x="1359" y="113"/>
                  </a:lnTo>
                  <a:lnTo>
                    <a:pt x="1356" y="110"/>
                  </a:lnTo>
                  <a:lnTo>
                    <a:pt x="1354" y="110"/>
                  </a:lnTo>
                  <a:lnTo>
                    <a:pt x="1351" y="113"/>
                  </a:lnTo>
                  <a:lnTo>
                    <a:pt x="1349" y="113"/>
                  </a:lnTo>
                  <a:lnTo>
                    <a:pt x="1340" y="110"/>
                  </a:lnTo>
                  <a:lnTo>
                    <a:pt x="1337" y="106"/>
                  </a:lnTo>
                  <a:lnTo>
                    <a:pt x="1328" y="99"/>
                  </a:lnTo>
                  <a:lnTo>
                    <a:pt x="1326" y="94"/>
                  </a:lnTo>
                  <a:lnTo>
                    <a:pt x="1328" y="90"/>
                  </a:lnTo>
                  <a:lnTo>
                    <a:pt x="1328" y="87"/>
                  </a:lnTo>
                  <a:lnTo>
                    <a:pt x="1330" y="87"/>
                  </a:lnTo>
                  <a:lnTo>
                    <a:pt x="1328" y="82"/>
                  </a:lnTo>
                  <a:lnTo>
                    <a:pt x="1326" y="82"/>
                  </a:lnTo>
                  <a:lnTo>
                    <a:pt x="1326" y="78"/>
                  </a:lnTo>
                  <a:lnTo>
                    <a:pt x="1323" y="78"/>
                  </a:lnTo>
                  <a:lnTo>
                    <a:pt x="1321" y="75"/>
                  </a:lnTo>
                  <a:lnTo>
                    <a:pt x="1317" y="71"/>
                  </a:lnTo>
                  <a:lnTo>
                    <a:pt x="1317" y="71"/>
                  </a:lnTo>
                  <a:lnTo>
                    <a:pt x="1317" y="71"/>
                  </a:lnTo>
                  <a:lnTo>
                    <a:pt x="1317" y="71"/>
                  </a:lnTo>
                  <a:close/>
                  <a:moveTo>
                    <a:pt x="751" y="160"/>
                  </a:moveTo>
                  <a:lnTo>
                    <a:pt x="751" y="160"/>
                  </a:lnTo>
                  <a:lnTo>
                    <a:pt x="755" y="158"/>
                  </a:lnTo>
                  <a:lnTo>
                    <a:pt x="758" y="155"/>
                  </a:lnTo>
                  <a:lnTo>
                    <a:pt x="763" y="150"/>
                  </a:lnTo>
                  <a:lnTo>
                    <a:pt x="765" y="150"/>
                  </a:lnTo>
                  <a:lnTo>
                    <a:pt x="763" y="144"/>
                  </a:lnTo>
                  <a:lnTo>
                    <a:pt x="765" y="143"/>
                  </a:lnTo>
                  <a:lnTo>
                    <a:pt x="772" y="137"/>
                  </a:lnTo>
                  <a:lnTo>
                    <a:pt x="774" y="137"/>
                  </a:lnTo>
                  <a:lnTo>
                    <a:pt x="777" y="137"/>
                  </a:lnTo>
                  <a:lnTo>
                    <a:pt x="779" y="137"/>
                  </a:lnTo>
                  <a:lnTo>
                    <a:pt x="782" y="136"/>
                  </a:lnTo>
                  <a:lnTo>
                    <a:pt x="782" y="132"/>
                  </a:lnTo>
                  <a:lnTo>
                    <a:pt x="786" y="132"/>
                  </a:lnTo>
                  <a:lnTo>
                    <a:pt x="791" y="127"/>
                  </a:lnTo>
                  <a:lnTo>
                    <a:pt x="793" y="123"/>
                  </a:lnTo>
                  <a:lnTo>
                    <a:pt x="794" y="122"/>
                  </a:lnTo>
                  <a:lnTo>
                    <a:pt x="798" y="115"/>
                  </a:lnTo>
                  <a:lnTo>
                    <a:pt x="796" y="113"/>
                  </a:lnTo>
                  <a:lnTo>
                    <a:pt x="793" y="108"/>
                  </a:lnTo>
                  <a:lnTo>
                    <a:pt x="791" y="103"/>
                  </a:lnTo>
                  <a:lnTo>
                    <a:pt x="789" y="99"/>
                  </a:lnTo>
                  <a:lnTo>
                    <a:pt x="786" y="96"/>
                  </a:lnTo>
                  <a:lnTo>
                    <a:pt x="782" y="96"/>
                  </a:lnTo>
                  <a:lnTo>
                    <a:pt x="779" y="96"/>
                  </a:lnTo>
                  <a:lnTo>
                    <a:pt x="777" y="94"/>
                  </a:lnTo>
                  <a:lnTo>
                    <a:pt x="774" y="94"/>
                  </a:lnTo>
                  <a:lnTo>
                    <a:pt x="768" y="90"/>
                  </a:lnTo>
                  <a:lnTo>
                    <a:pt x="767" y="90"/>
                  </a:lnTo>
                  <a:lnTo>
                    <a:pt x="767" y="90"/>
                  </a:lnTo>
                  <a:lnTo>
                    <a:pt x="763" y="90"/>
                  </a:lnTo>
                  <a:lnTo>
                    <a:pt x="763" y="87"/>
                  </a:lnTo>
                  <a:lnTo>
                    <a:pt x="760" y="85"/>
                  </a:lnTo>
                  <a:lnTo>
                    <a:pt x="758" y="85"/>
                  </a:lnTo>
                  <a:lnTo>
                    <a:pt x="756" y="87"/>
                  </a:lnTo>
                  <a:lnTo>
                    <a:pt x="755" y="87"/>
                  </a:lnTo>
                  <a:lnTo>
                    <a:pt x="751" y="82"/>
                  </a:lnTo>
                  <a:lnTo>
                    <a:pt x="751" y="82"/>
                  </a:lnTo>
                  <a:lnTo>
                    <a:pt x="751" y="82"/>
                  </a:lnTo>
                  <a:lnTo>
                    <a:pt x="755" y="87"/>
                  </a:lnTo>
                  <a:lnTo>
                    <a:pt x="755" y="87"/>
                  </a:lnTo>
                  <a:lnTo>
                    <a:pt x="751" y="90"/>
                  </a:lnTo>
                  <a:lnTo>
                    <a:pt x="751" y="92"/>
                  </a:lnTo>
                  <a:lnTo>
                    <a:pt x="749" y="92"/>
                  </a:lnTo>
                  <a:lnTo>
                    <a:pt x="749" y="90"/>
                  </a:lnTo>
                  <a:lnTo>
                    <a:pt x="748" y="78"/>
                  </a:lnTo>
                  <a:lnTo>
                    <a:pt x="744" y="78"/>
                  </a:lnTo>
                  <a:lnTo>
                    <a:pt x="741" y="78"/>
                  </a:lnTo>
                  <a:lnTo>
                    <a:pt x="735" y="75"/>
                  </a:lnTo>
                  <a:lnTo>
                    <a:pt x="734" y="75"/>
                  </a:lnTo>
                  <a:lnTo>
                    <a:pt x="732" y="78"/>
                  </a:lnTo>
                  <a:lnTo>
                    <a:pt x="732" y="82"/>
                  </a:lnTo>
                  <a:lnTo>
                    <a:pt x="735" y="82"/>
                  </a:lnTo>
                  <a:lnTo>
                    <a:pt x="739" y="87"/>
                  </a:lnTo>
                  <a:lnTo>
                    <a:pt x="737" y="87"/>
                  </a:lnTo>
                  <a:lnTo>
                    <a:pt x="734" y="87"/>
                  </a:lnTo>
                  <a:lnTo>
                    <a:pt x="732" y="87"/>
                  </a:lnTo>
                  <a:lnTo>
                    <a:pt x="732" y="85"/>
                  </a:lnTo>
                  <a:lnTo>
                    <a:pt x="728" y="85"/>
                  </a:lnTo>
                  <a:lnTo>
                    <a:pt x="732" y="87"/>
                  </a:lnTo>
                  <a:lnTo>
                    <a:pt x="732" y="90"/>
                  </a:lnTo>
                  <a:lnTo>
                    <a:pt x="732" y="90"/>
                  </a:lnTo>
                  <a:lnTo>
                    <a:pt x="732" y="94"/>
                  </a:lnTo>
                  <a:lnTo>
                    <a:pt x="732" y="96"/>
                  </a:lnTo>
                  <a:lnTo>
                    <a:pt x="734" y="96"/>
                  </a:lnTo>
                  <a:lnTo>
                    <a:pt x="735" y="97"/>
                  </a:lnTo>
                  <a:lnTo>
                    <a:pt x="735" y="101"/>
                  </a:lnTo>
                  <a:lnTo>
                    <a:pt x="739" y="110"/>
                  </a:lnTo>
                  <a:lnTo>
                    <a:pt x="742" y="113"/>
                  </a:lnTo>
                  <a:lnTo>
                    <a:pt x="744" y="113"/>
                  </a:lnTo>
                  <a:lnTo>
                    <a:pt x="742" y="113"/>
                  </a:lnTo>
                  <a:lnTo>
                    <a:pt x="739" y="115"/>
                  </a:lnTo>
                  <a:lnTo>
                    <a:pt x="737" y="120"/>
                  </a:lnTo>
                  <a:lnTo>
                    <a:pt x="741" y="127"/>
                  </a:lnTo>
                  <a:lnTo>
                    <a:pt x="742" y="132"/>
                  </a:lnTo>
                  <a:lnTo>
                    <a:pt x="742" y="136"/>
                  </a:lnTo>
                  <a:lnTo>
                    <a:pt x="744" y="137"/>
                  </a:lnTo>
                  <a:lnTo>
                    <a:pt x="744" y="141"/>
                  </a:lnTo>
                  <a:lnTo>
                    <a:pt x="742" y="141"/>
                  </a:lnTo>
                  <a:lnTo>
                    <a:pt x="746" y="146"/>
                  </a:lnTo>
                  <a:lnTo>
                    <a:pt x="748" y="151"/>
                  </a:lnTo>
                  <a:lnTo>
                    <a:pt x="751" y="155"/>
                  </a:lnTo>
                  <a:lnTo>
                    <a:pt x="749" y="158"/>
                  </a:lnTo>
                  <a:lnTo>
                    <a:pt x="751" y="160"/>
                  </a:lnTo>
                  <a:lnTo>
                    <a:pt x="751" y="160"/>
                  </a:lnTo>
                  <a:lnTo>
                    <a:pt x="751" y="160"/>
                  </a:lnTo>
                  <a:lnTo>
                    <a:pt x="751" y="160"/>
                  </a:lnTo>
                  <a:close/>
                  <a:moveTo>
                    <a:pt x="817" y="122"/>
                  </a:moveTo>
                  <a:lnTo>
                    <a:pt x="821" y="120"/>
                  </a:lnTo>
                  <a:lnTo>
                    <a:pt x="821" y="118"/>
                  </a:lnTo>
                  <a:lnTo>
                    <a:pt x="819" y="118"/>
                  </a:lnTo>
                  <a:lnTo>
                    <a:pt x="821" y="115"/>
                  </a:lnTo>
                  <a:lnTo>
                    <a:pt x="822" y="115"/>
                  </a:lnTo>
                  <a:lnTo>
                    <a:pt x="821" y="113"/>
                  </a:lnTo>
                  <a:lnTo>
                    <a:pt x="819" y="113"/>
                  </a:lnTo>
                  <a:lnTo>
                    <a:pt x="815" y="118"/>
                  </a:lnTo>
                  <a:lnTo>
                    <a:pt x="817" y="118"/>
                  </a:lnTo>
                  <a:lnTo>
                    <a:pt x="814" y="118"/>
                  </a:lnTo>
                  <a:lnTo>
                    <a:pt x="814" y="122"/>
                  </a:lnTo>
                  <a:lnTo>
                    <a:pt x="815" y="123"/>
                  </a:lnTo>
                  <a:lnTo>
                    <a:pt x="817" y="122"/>
                  </a:lnTo>
                  <a:lnTo>
                    <a:pt x="817" y="122"/>
                  </a:lnTo>
                  <a:lnTo>
                    <a:pt x="817" y="122"/>
                  </a:lnTo>
                  <a:lnTo>
                    <a:pt x="817" y="122"/>
                  </a:lnTo>
                  <a:close/>
                  <a:moveTo>
                    <a:pt x="822" y="122"/>
                  </a:moveTo>
                  <a:lnTo>
                    <a:pt x="824" y="120"/>
                  </a:lnTo>
                  <a:lnTo>
                    <a:pt x="827" y="120"/>
                  </a:lnTo>
                  <a:lnTo>
                    <a:pt x="831" y="118"/>
                  </a:lnTo>
                  <a:lnTo>
                    <a:pt x="833" y="118"/>
                  </a:lnTo>
                  <a:lnTo>
                    <a:pt x="833" y="118"/>
                  </a:lnTo>
                  <a:lnTo>
                    <a:pt x="836" y="118"/>
                  </a:lnTo>
                  <a:lnTo>
                    <a:pt x="836" y="120"/>
                  </a:lnTo>
                  <a:lnTo>
                    <a:pt x="836" y="123"/>
                  </a:lnTo>
                  <a:lnTo>
                    <a:pt x="833" y="122"/>
                  </a:lnTo>
                  <a:lnTo>
                    <a:pt x="833" y="123"/>
                  </a:lnTo>
                  <a:lnTo>
                    <a:pt x="827" y="125"/>
                  </a:lnTo>
                  <a:lnTo>
                    <a:pt x="822" y="125"/>
                  </a:lnTo>
                  <a:lnTo>
                    <a:pt x="822" y="122"/>
                  </a:lnTo>
                  <a:lnTo>
                    <a:pt x="822" y="122"/>
                  </a:lnTo>
                  <a:lnTo>
                    <a:pt x="822" y="122"/>
                  </a:lnTo>
                  <a:lnTo>
                    <a:pt x="822" y="122"/>
                  </a:lnTo>
                  <a:close/>
                  <a:moveTo>
                    <a:pt x="855" y="155"/>
                  </a:moveTo>
                  <a:lnTo>
                    <a:pt x="855" y="158"/>
                  </a:lnTo>
                  <a:lnTo>
                    <a:pt x="859" y="160"/>
                  </a:lnTo>
                  <a:lnTo>
                    <a:pt x="859" y="163"/>
                  </a:lnTo>
                  <a:lnTo>
                    <a:pt x="859" y="165"/>
                  </a:lnTo>
                  <a:lnTo>
                    <a:pt x="862" y="163"/>
                  </a:lnTo>
                  <a:lnTo>
                    <a:pt x="862" y="160"/>
                  </a:lnTo>
                  <a:lnTo>
                    <a:pt x="861" y="155"/>
                  </a:lnTo>
                  <a:lnTo>
                    <a:pt x="859" y="155"/>
                  </a:lnTo>
                  <a:lnTo>
                    <a:pt x="855" y="155"/>
                  </a:lnTo>
                  <a:lnTo>
                    <a:pt x="855" y="155"/>
                  </a:lnTo>
                  <a:lnTo>
                    <a:pt x="855" y="155"/>
                  </a:lnTo>
                  <a:lnTo>
                    <a:pt x="855" y="155"/>
                  </a:lnTo>
                  <a:close/>
                  <a:moveTo>
                    <a:pt x="1173" y="259"/>
                  </a:moveTo>
                  <a:lnTo>
                    <a:pt x="1175" y="259"/>
                  </a:lnTo>
                  <a:lnTo>
                    <a:pt x="1175" y="256"/>
                  </a:lnTo>
                  <a:lnTo>
                    <a:pt x="1175" y="250"/>
                  </a:lnTo>
                  <a:lnTo>
                    <a:pt x="1172" y="252"/>
                  </a:lnTo>
                  <a:lnTo>
                    <a:pt x="1172" y="256"/>
                  </a:lnTo>
                  <a:lnTo>
                    <a:pt x="1172" y="259"/>
                  </a:lnTo>
                  <a:lnTo>
                    <a:pt x="1172" y="259"/>
                  </a:lnTo>
                  <a:lnTo>
                    <a:pt x="1173" y="259"/>
                  </a:lnTo>
                  <a:lnTo>
                    <a:pt x="1173" y="259"/>
                  </a:lnTo>
                  <a:lnTo>
                    <a:pt x="1173" y="259"/>
                  </a:lnTo>
                  <a:lnTo>
                    <a:pt x="1173" y="259"/>
                  </a:lnTo>
                  <a:close/>
                  <a:moveTo>
                    <a:pt x="1132" y="306"/>
                  </a:moveTo>
                  <a:lnTo>
                    <a:pt x="1137" y="306"/>
                  </a:lnTo>
                  <a:lnTo>
                    <a:pt x="1137" y="306"/>
                  </a:lnTo>
                  <a:lnTo>
                    <a:pt x="1137" y="306"/>
                  </a:lnTo>
                  <a:lnTo>
                    <a:pt x="1137" y="304"/>
                  </a:lnTo>
                  <a:lnTo>
                    <a:pt x="1137" y="303"/>
                  </a:lnTo>
                  <a:lnTo>
                    <a:pt x="1133" y="299"/>
                  </a:lnTo>
                  <a:lnTo>
                    <a:pt x="1130" y="299"/>
                  </a:lnTo>
                  <a:lnTo>
                    <a:pt x="1128" y="301"/>
                  </a:lnTo>
                  <a:lnTo>
                    <a:pt x="1130" y="303"/>
                  </a:lnTo>
                  <a:lnTo>
                    <a:pt x="1132" y="304"/>
                  </a:lnTo>
                  <a:lnTo>
                    <a:pt x="1132" y="304"/>
                  </a:lnTo>
                  <a:lnTo>
                    <a:pt x="1132" y="306"/>
                  </a:lnTo>
                  <a:lnTo>
                    <a:pt x="1132" y="306"/>
                  </a:lnTo>
                  <a:lnTo>
                    <a:pt x="1132" y="306"/>
                  </a:lnTo>
                  <a:lnTo>
                    <a:pt x="1132" y="306"/>
                  </a:lnTo>
                  <a:close/>
                  <a:moveTo>
                    <a:pt x="1013" y="287"/>
                  </a:moveTo>
                  <a:lnTo>
                    <a:pt x="1017" y="287"/>
                  </a:lnTo>
                  <a:lnTo>
                    <a:pt x="1019" y="287"/>
                  </a:lnTo>
                  <a:lnTo>
                    <a:pt x="1020" y="287"/>
                  </a:lnTo>
                  <a:lnTo>
                    <a:pt x="1022" y="282"/>
                  </a:lnTo>
                  <a:lnTo>
                    <a:pt x="1024" y="282"/>
                  </a:lnTo>
                  <a:lnTo>
                    <a:pt x="1024" y="278"/>
                  </a:lnTo>
                  <a:lnTo>
                    <a:pt x="1022" y="278"/>
                  </a:lnTo>
                  <a:lnTo>
                    <a:pt x="1020" y="271"/>
                  </a:lnTo>
                  <a:lnTo>
                    <a:pt x="1019" y="270"/>
                  </a:lnTo>
                  <a:lnTo>
                    <a:pt x="1017" y="266"/>
                  </a:lnTo>
                  <a:lnTo>
                    <a:pt x="1017" y="264"/>
                  </a:lnTo>
                  <a:lnTo>
                    <a:pt x="1015" y="263"/>
                  </a:lnTo>
                  <a:lnTo>
                    <a:pt x="1010" y="264"/>
                  </a:lnTo>
                  <a:lnTo>
                    <a:pt x="1003" y="270"/>
                  </a:lnTo>
                  <a:lnTo>
                    <a:pt x="1000" y="270"/>
                  </a:lnTo>
                  <a:lnTo>
                    <a:pt x="1000" y="271"/>
                  </a:lnTo>
                  <a:lnTo>
                    <a:pt x="1000" y="275"/>
                  </a:lnTo>
                  <a:lnTo>
                    <a:pt x="1003" y="276"/>
                  </a:lnTo>
                  <a:lnTo>
                    <a:pt x="1003" y="278"/>
                  </a:lnTo>
                  <a:lnTo>
                    <a:pt x="1001" y="282"/>
                  </a:lnTo>
                  <a:lnTo>
                    <a:pt x="998" y="278"/>
                  </a:lnTo>
                  <a:lnTo>
                    <a:pt x="998" y="282"/>
                  </a:lnTo>
                  <a:lnTo>
                    <a:pt x="1000" y="282"/>
                  </a:lnTo>
                  <a:lnTo>
                    <a:pt x="1005" y="282"/>
                  </a:lnTo>
                  <a:lnTo>
                    <a:pt x="1013" y="287"/>
                  </a:lnTo>
                  <a:lnTo>
                    <a:pt x="1013" y="287"/>
                  </a:lnTo>
                  <a:lnTo>
                    <a:pt x="1013" y="287"/>
                  </a:lnTo>
                  <a:lnTo>
                    <a:pt x="1013" y="287"/>
                  </a:lnTo>
                  <a:close/>
                  <a:moveTo>
                    <a:pt x="1359" y="181"/>
                  </a:moveTo>
                  <a:lnTo>
                    <a:pt x="1361" y="179"/>
                  </a:lnTo>
                  <a:lnTo>
                    <a:pt x="1361" y="179"/>
                  </a:lnTo>
                  <a:lnTo>
                    <a:pt x="1363" y="176"/>
                  </a:lnTo>
                  <a:lnTo>
                    <a:pt x="1364" y="172"/>
                  </a:lnTo>
                  <a:lnTo>
                    <a:pt x="1363" y="169"/>
                  </a:lnTo>
                  <a:lnTo>
                    <a:pt x="1359" y="165"/>
                  </a:lnTo>
                  <a:lnTo>
                    <a:pt x="1357" y="160"/>
                  </a:lnTo>
                  <a:lnTo>
                    <a:pt x="1354" y="160"/>
                  </a:lnTo>
                  <a:lnTo>
                    <a:pt x="1351" y="160"/>
                  </a:lnTo>
                  <a:lnTo>
                    <a:pt x="1349" y="165"/>
                  </a:lnTo>
                  <a:lnTo>
                    <a:pt x="1349" y="165"/>
                  </a:lnTo>
                  <a:lnTo>
                    <a:pt x="1349" y="172"/>
                  </a:lnTo>
                  <a:lnTo>
                    <a:pt x="1349" y="172"/>
                  </a:lnTo>
                  <a:lnTo>
                    <a:pt x="1351" y="174"/>
                  </a:lnTo>
                  <a:lnTo>
                    <a:pt x="1354" y="176"/>
                  </a:lnTo>
                  <a:lnTo>
                    <a:pt x="1356" y="179"/>
                  </a:lnTo>
                  <a:lnTo>
                    <a:pt x="1359" y="181"/>
                  </a:lnTo>
                  <a:lnTo>
                    <a:pt x="1359" y="181"/>
                  </a:lnTo>
                  <a:lnTo>
                    <a:pt x="1359" y="181"/>
                  </a:lnTo>
                  <a:lnTo>
                    <a:pt x="1359" y="181"/>
                  </a:lnTo>
                  <a:close/>
                  <a:moveTo>
                    <a:pt x="1368" y="207"/>
                  </a:moveTo>
                  <a:lnTo>
                    <a:pt x="1371" y="205"/>
                  </a:lnTo>
                  <a:lnTo>
                    <a:pt x="1373" y="202"/>
                  </a:lnTo>
                  <a:lnTo>
                    <a:pt x="1380" y="200"/>
                  </a:lnTo>
                  <a:lnTo>
                    <a:pt x="1385" y="200"/>
                  </a:lnTo>
                  <a:lnTo>
                    <a:pt x="1390" y="200"/>
                  </a:lnTo>
                  <a:lnTo>
                    <a:pt x="1396" y="200"/>
                  </a:lnTo>
                  <a:lnTo>
                    <a:pt x="1404" y="200"/>
                  </a:lnTo>
                  <a:lnTo>
                    <a:pt x="1408" y="197"/>
                  </a:lnTo>
                  <a:lnTo>
                    <a:pt x="1413" y="197"/>
                  </a:lnTo>
                  <a:lnTo>
                    <a:pt x="1417" y="197"/>
                  </a:lnTo>
                  <a:lnTo>
                    <a:pt x="1418" y="195"/>
                  </a:lnTo>
                  <a:lnTo>
                    <a:pt x="1417" y="191"/>
                  </a:lnTo>
                  <a:lnTo>
                    <a:pt x="1415" y="190"/>
                  </a:lnTo>
                  <a:lnTo>
                    <a:pt x="1411" y="183"/>
                  </a:lnTo>
                  <a:lnTo>
                    <a:pt x="1403" y="177"/>
                  </a:lnTo>
                  <a:lnTo>
                    <a:pt x="1399" y="177"/>
                  </a:lnTo>
                  <a:lnTo>
                    <a:pt x="1396" y="176"/>
                  </a:lnTo>
                  <a:lnTo>
                    <a:pt x="1390" y="172"/>
                  </a:lnTo>
                  <a:lnTo>
                    <a:pt x="1389" y="172"/>
                  </a:lnTo>
                  <a:lnTo>
                    <a:pt x="1387" y="174"/>
                  </a:lnTo>
                  <a:lnTo>
                    <a:pt x="1382" y="172"/>
                  </a:lnTo>
                  <a:lnTo>
                    <a:pt x="1378" y="172"/>
                  </a:lnTo>
                  <a:lnTo>
                    <a:pt x="1377" y="176"/>
                  </a:lnTo>
                  <a:lnTo>
                    <a:pt x="1371" y="181"/>
                  </a:lnTo>
                  <a:lnTo>
                    <a:pt x="1373" y="186"/>
                  </a:lnTo>
                  <a:lnTo>
                    <a:pt x="1373" y="191"/>
                  </a:lnTo>
                  <a:lnTo>
                    <a:pt x="1371" y="200"/>
                  </a:lnTo>
                  <a:lnTo>
                    <a:pt x="1368" y="203"/>
                  </a:lnTo>
                  <a:lnTo>
                    <a:pt x="1368" y="207"/>
                  </a:lnTo>
                  <a:lnTo>
                    <a:pt x="1368" y="207"/>
                  </a:lnTo>
                  <a:lnTo>
                    <a:pt x="1368" y="207"/>
                  </a:lnTo>
                  <a:lnTo>
                    <a:pt x="1368" y="207"/>
                  </a:lnTo>
                  <a:lnTo>
                    <a:pt x="1368" y="207"/>
                  </a:lnTo>
                  <a:close/>
                  <a:moveTo>
                    <a:pt x="1290" y="190"/>
                  </a:moveTo>
                  <a:lnTo>
                    <a:pt x="1290" y="191"/>
                  </a:lnTo>
                  <a:lnTo>
                    <a:pt x="1291" y="197"/>
                  </a:lnTo>
                  <a:lnTo>
                    <a:pt x="1295" y="197"/>
                  </a:lnTo>
                  <a:lnTo>
                    <a:pt x="1298" y="197"/>
                  </a:lnTo>
                  <a:lnTo>
                    <a:pt x="1302" y="200"/>
                  </a:lnTo>
                  <a:lnTo>
                    <a:pt x="1305" y="202"/>
                  </a:lnTo>
                  <a:lnTo>
                    <a:pt x="1307" y="202"/>
                  </a:lnTo>
                  <a:lnTo>
                    <a:pt x="1309" y="200"/>
                  </a:lnTo>
                  <a:lnTo>
                    <a:pt x="1304" y="195"/>
                  </a:lnTo>
                  <a:lnTo>
                    <a:pt x="1300" y="195"/>
                  </a:lnTo>
                  <a:lnTo>
                    <a:pt x="1295" y="191"/>
                  </a:lnTo>
                  <a:lnTo>
                    <a:pt x="1291" y="190"/>
                  </a:lnTo>
                  <a:lnTo>
                    <a:pt x="1290" y="190"/>
                  </a:lnTo>
                  <a:lnTo>
                    <a:pt x="1290" y="190"/>
                  </a:lnTo>
                  <a:lnTo>
                    <a:pt x="1290" y="190"/>
                  </a:lnTo>
                  <a:lnTo>
                    <a:pt x="1290" y="190"/>
                  </a:lnTo>
                  <a:lnTo>
                    <a:pt x="1290" y="190"/>
                  </a:lnTo>
                  <a:close/>
                  <a:moveTo>
                    <a:pt x="1396" y="299"/>
                  </a:moveTo>
                  <a:lnTo>
                    <a:pt x="1399" y="303"/>
                  </a:lnTo>
                  <a:lnTo>
                    <a:pt x="1403" y="304"/>
                  </a:lnTo>
                  <a:lnTo>
                    <a:pt x="1403" y="303"/>
                  </a:lnTo>
                  <a:lnTo>
                    <a:pt x="1408" y="301"/>
                  </a:lnTo>
                  <a:lnTo>
                    <a:pt x="1408" y="299"/>
                  </a:lnTo>
                  <a:lnTo>
                    <a:pt x="1408" y="296"/>
                  </a:lnTo>
                  <a:lnTo>
                    <a:pt x="1406" y="292"/>
                  </a:lnTo>
                  <a:lnTo>
                    <a:pt x="1404" y="292"/>
                  </a:lnTo>
                  <a:lnTo>
                    <a:pt x="1404" y="296"/>
                  </a:lnTo>
                  <a:lnTo>
                    <a:pt x="1401" y="299"/>
                  </a:lnTo>
                  <a:lnTo>
                    <a:pt x="1401" y="299"/>
                  </a:lnTo>
                  <a:lnTo>
                    <a:pt x="1396" y="299"/>
                  </a:lnTo>
                  <a:lnTo>
                    <a:pt x="1396" y="299"/>
                  </a:lnTo>
                  <a:lnTo>
                    <a:pt x="1396" y="299"/>
                  </a:lnTo>
                  <a:lnTo>
                    <a:pt x="1396" y="299"/>
                  </a:lnTo>
                  <a:close/>
                  <a:moveTo>
                    <a:pt x="1776" y="270"/>
                  </a:moveTo>
                  <a:lnTo>
                    <a:pt x="1780" y="268"/>
                  </a:lnTo>
                  <a:lnTo>
                    <a:pt x="1780" y="266"/>
                  </a:lnTo>
                  <a:lnTo>
                    <a:pt x="1776" y="263"/>
                  </a:lnTo>
                  <a:lnTo>
                    <a:pt x="1776" y="263"/>
                  </a:lnTo>
                  <a:lnTo>
                    <a:pt x="1776" y="264"/>
                  </a:lnTo>
                  <a:lnTo>
                    <a:pt x="1776" y="270"/>
                  </a:lnTo>
                  <a:lnTo>
                    <a:pt x="1776" y="270"/>
                  </a:lnTo>
                  <a:lnTo>
                    <a:pt x="1776" y="270"/>
                  </a:lnTo>
                  <a:lnTo>
                    <a:pt x="1776" y="270"/>
                  </a:lnTo>
                  <a:close/>
                  <a:moveTo>
                    <a:pt x="1774" y="271"/>
                  </a:moveTo>
                  <a:lnTo>
                    <a:pt x="1776" y="273"/>
                  </a:lnTo>
                  <a:lnTo>
                    <a:pt x="1776" y="270"/>
                  </a:lnTo>
                  <a:lnTo>
                    <a:pt x="1774" y="266"/>
                  </a:lnTo>
                  <a:lnTo>
                    <a:pt x="1773" y="266"/>
                  </a:lnTo>
                  <a:lnTo>
                    <a:pt x="1773" y="268"/>
                  </a:lnTo>
                  <a:lnTo>
                    <a:pt x="1774" y="271"/>
                  </a:lnTo>
                  <a:lnTo>
                    <a:pt x="1774" y="271"/>
                  </a:lnTo>
                  <a:lnTo>
                    <a:pt x="1774" y="271"/>
                  </a:lnTo>
                  <a:lnTo>
                    <a:pt x="1774" y="271"/>
                  </a:lnTo>
                  <a:close/>
                  <a:moveTo>
                    <a:pt x="1773" y="273"/>
                  </a:moveTo>
                  <a:lnTo>
                    <a:pt x="1774" y="278"/>
                  </a:lnTo>
                  <a:lnTo>
                    <a:pt x="1776" y="282"/>
                  </a:lnTo>
                  <a:lnTo>
                    <a:pt x="1776" y="278"/>
                  </a:lnTo>
                  <a:lnTo>
                    <a:pt x="1776" y="275"/>
                  </a:lnTo>
                  <a:lnTo>
                    <a:pt x="1773" y="271"/>
                  </a:lnTo>
                  <a:lnTo>
                    <a:pt x="1771" y="271"/>
                  </a:lnTo>
                  <a:lnTo>
                    <a:pt x="1773" y="273"/>
                  </a:lnTo>
                  <a:lnTo>
                    <a:pt x="1773" y="273"/>
                  </a:lnTo>
                  <a:lnTo>
                    <a:pt x="1773" y="273"/>
                  </a:lnTo>
                  <a:lnTo>
                    <a:pt x="1773" y="273"/>
                  </a:lnTo>
                  <a:close/>
                  <a:moveTo>
                    <a:pt x="1762" y="271"/>
                  </a:moveTo>
                  <a:lnTo>
                    <a:pt x="1764" y="275"/>
                  </a:lnTo>
                  <a:lnTo>
                    <a:pt x="1768" y="276"/>
                  </a:lnTo>
                  <a:lnTo>
                    <a:pt x="1768" y="275"/>
                  </a:lnTo>
                  <a:lnTo>
                    <a:pt x="1769" y="275"/>
                  </a:lnTo>
                  <a:lnTo>
                    <a:pt x="1768" y="270"/>
                  </a:lnTo>
                  <a:lnTo>
                    <a:pt x="1766" y="270"/>
                  </a:lnTo>
                  <a:lnTo>
                    <a:pt x="1766" y="270"/>
                  </a:lnTo>
                  <a:lnTo>
                    <a:pt x="1762" y="271"/>
                  </a:lnTo>
                  <a:lnTo>
                    <a:pt x="1762" y="271"/>
                  </a:lnTo>
                  <a:lnTo>
                    <a:pt x="1762" y="271"/>
                  </a:lnTo>
                  <a:lnTo>
                    <a:pt x="1762" y="271"/>
                  </a:lnTo>
                  <a:close/>
                  <a:moveTo>
                    <a:pt x="1858" y="231"/>
                  </a:moveTo>
                  <a:lnTo>
                    <a:pt x="1861" y="233"/>
                  </a:lnTo>
                  <a:lnTo>
                    <a:pt x="1865" y="233"/>
                  </a:lnTo>
                  <a:lnTo>
                    <a:pt x="1867" y="228"/>
                  </a:lnTo>
                  <a:lnTo>
                    <a:pt x="1867" y="224"/>
                  </a:lnTo>
                  <a:lnTo>
                    <a:pt x="1863" y="223"/>
                  </a:lnTo>
                  <a:lnTo>
                    <a:pt x="1865" y="223"/>
                  </a:lnTo>
                  <a:lnTo>
                    <a:pt x="1863" y="219"/>
                  </a:lnTo>
                  <a:lnTo>
                    <a:pt x="1861" y="216"/>
                  </a:lnTo>
                  <a:lnTo>
                    <a:pt x="1861" y="217"/>
                  </a:lnTo>
                  <a:lnTo>
                    <a:pt x="1858" y="217"/>
                  </a:lnTo>
                  <a:lnTo>
                    <a:pt x="1854" y="216"/>
                  </a:lnTo>
                  <a:lnTo>
                    <a:pt x="1851" y="216"/>
                  </a:lnTo>
                  <a:lnTo>
                    <a:pt x="1851" y="217"/>
                  </a:lnTo>
                  <a:lnTo>
                    <a:pt x="1847" y="217"/>
                  </a:lnTo>
                  <a:lnTo>
                    <a:pt x="1849" y="219"/>
                  </a:lnTo>
                  <a:lnTo>
                    <a:pt x="1846" y="219"/>
                  </a:lnTo>
                  <a:lnTo>
                    <a:pt x="1844" y="223"/>
                  </a:lnTo>
                  <a:lnTo>
                    <a:pt x="1846" y="228"/>
                  </a:lnTo>
                  <a:lnTo>
                    <a:pt x="1846" y="228"/>
                  </a:lnTo>
                  <a:lnTo>
                    <a:pt x="1849" y="228"/>
                  </a:lnTo>
                  <a:lnTo>
                    <a:pt x="1854" y="228"/>
                  </a:lnTo>
                  <a:lnTo>
                    <a:pt x="1858" y="231"/>
                  </a:lnTo>
                  <a:lnTo>
                    <a:pt x="1858" y="231"/>
                  </a:lnTo>
                  <a:lnTo>
                    <a:pt x="1858" y="231"/>
                  </a:lnTo>
                  <a:lnTo>
                    <a:pt x="1858" y="231"/>
                  </a:lnTo>
                  <a:close/>
                  <a:moveTo>
                    <a:pt x="1880" y="223"/>
                  </a:moveTo>
                  <a:lnTo>
                    <a:pt x="1880" y="223"/>
                  </a:lnTo>
                  <a:lnTo>
                    <a:pt x="1880" y="219"/>
                  </a:lnTo>
                  <a:lnTo>
                    <a:pt x="1879" y="219"/>
                  </a:lnTo>
                  <a:lnTo>
                    <a:pt x="1879" y="223"/>
                  </a:lnTo>
                  <a:lnTo>
                    <a:pt x="1880" y="223"/>
                  </a:lnTo>
                  <a:lnTo>
                    <a:pt x="1880" y="223"/>
                  </a:lnTo>
                  <a:lnTo>
                    <a:pt x="1880" y="223"/>
                  </a:lnTo>
                  <a:lnTo>
                    <a:pt x="1880" y="223"/>
                  </a:lnTo>
                  <a:close/>
                  <a:moveTo>
                    <a:pt x="1903" y="1144"/>
                  </a:moveTo>
                  <a:lnTo>
                    <a:pt x="1903" y="1137"/>
                  </a:lnTo>
                  <a:lnTo>
                    <a:pt x="1903" y="1135"/>
                  </a:lnTo>
                  <a:lnTo>
                    <a:pt x="1901" y="1132"/>
                  </a:lnTo>
                  <a:lnTo>
                    <a:pt x="1900" y="1129"/>
                  </a:lnTo>
                  <a:lnTo>
                    <a:pt x="1901" y="1122"/>
                  </a:lnTo>
                  <a:lnTo>
                    <a:pt x="1905" y="1120"/>
                  </a:lnTo>
                  <a:lnTo>
                    <a:pt x="1907" y="1120"/>
                  </a:lnTo>
                  <a:lnTo>
                    <a:pt x="1907" y="1122"/>
                  </a:lnTo>
                  <a:lnTo>
                    <a:pt x="1908" y="1123"/>
                  </a:lnTo>
                  <a:lnTo>
                    <a:pt x="1913" y="1123"/>
                  </a:lnTo>
                  <a:lnTo>
                    <a:pt x="1913" y="1122"/>
                  </a:lnTo>
                  <a:lnTo>
                    <a:pt x="1915" y="1122"/>
                  </a:lnTo>
                  <a:lnTo>
                    <a:pt x="1917" y="1123"/>
                  </a:lnTo>
                  <a:lnTo>
                    <a:pt x="1917" y="1125"/>
                  </a:lnTo>
                  <a:lnTo>
                    <a:pt x="1917" y="1127"/>
                  </a:lnTo>
                  <a:lnTo>
                    <a:pt x="1920" y="1130"/>
                  </a:lnTo>
                  <a:lnTo>
                    <a:pt x="1920" y="1132"/>
                  </a:lnTo>
                  <a:lnTo>
                    <a:pt x="1922" y="1135"/>
                  </a:lnTo>
                  <a:lnTo>
                    <a:pt x="1924" y="1132"/>
                  </a:lnTo>
                  <a:lnTo>
                    <a:pt x="1922" y="1132"/>
                  </a:lnTo>
                  <a:lnTo>
                    <a:pt x="1922" y="1129"/>
                  </a:lnTo>
                  <a:lnTo>
                    <a:pt x="1922" y="1123"/>
                  </a:lnTo>
                  <a:lnTo>
                    <a:pt x="1919" y="1122"/>
                  </a:lnTo>
                  <a:lnTo>
                    <a:pt x="1919" y="1116"/>
                  </a:lnTo>
                  <a:lnTo>
                    <a:pt x="1917" y="1113"/>
                  </a:lnTo>
                  <a:lnTo>
                    <a:pt x="1913" y="1115"/>
                  </a:lnTo>
                  <a:lnTo>
                    <a:pt x="1912" y="1115"/>
                  </a:lnTo>
                  <a:lnTo>
                    <a:pt x="1908" y="1113"/>
                  </a:lnTo>
                  <a:lnTo>
                    <a:pt x="1908" y="1108"/>
                  </a:lnTo>
                  <a:lnTo>
                    <a:pt x="1905" y="1104"/>
                  </a:lnTo>
                  <a:lnTo>
                    <a:pt x="1901" y="1099"/>
                  </a:lnTo>
                  <a:lnTo>
                    <a:pt x="1898" y="1099"/>
                  </a:lnTo>
                  <a:lnTo>
                    <a:pt x="1896" y="1095"/>
                  </a:lnTo>
                  <a:lnTo>
                    <a:pt x="1894" y="1089"/>
                  </a:lnTo>
                  <a:lnTo>
                    <a:pt x="1891" y="1085"/>
                  </a:lnTo>
                  <a:lnTo>
                    <a:pt x="1889" y="1082"/>
                  </a:lnTo>
                  <a:lnTo>
                    <a:pt x="1889" y="1076"/>
                  </a:lnTo>
                  <a:lnTo>
                    <a:pt x="1889" y="1069"/>
                  </a:lnTo>
                  <a:lnTo>
                    <a:pt x="1889" y="1066"/>
                  </a:lnTo>
                  <a:lnTo>
                    <a:pt x="1889" y="1059"/>
                  </a:lnTo>
                  <a:lnTo>
                    <a:pt x="1889" y="1057"/>
                  </a:lnTo>
                  <a:lnTo>
                    <a:pt x="1886" y="1050"/>
                  </a:lnTo>
                  <a:lnTo>
                    <a:pt x="1889" y="1050"/>
                  </a:lnTo>
                  <a:lnTo>
                    <a:pt x="1889" y="1047"/>
                  </a:lnTo>
                  <a:lnTo>
                    <a:pt x="1889" y="1045"/>
                  </a:lnTo>
                  <a:lnTo>
                    <a:pt x="1889" y="1045"/>
                  </a:lnTo>
                  <a:lnTo>
                    <a:pt x="1891" y="1045"/>
                  </a:lnTo>
                  <a:lnTo>
                    <a:pt x="1896" y="1045"/>
                  </a:lnTo>
                  <a:lnTo>
                    <a:pt x="1900" y="1045"/>
                  </a:lnTo>
                  <a:lnTo>
                    <a:pt x="1903" y="1049"/>
                  </a:lnTo>
                  <a:lnTo>
                    <a:pt x="1907" y="1054"/>
                  </a:lnTo>
                  <a:lnTo>
                    <a:pt x="1908" y="1054"/>
                  </a:lnTo>
                  <a:lnTo>
                    <a:pt x="1912" y="1057"/>
                  </a:lnTo>
                  <a:lnTo>
                    <a:pt x="1915" y="1062"/>
                  </a:lnTo>
                  <a:lnTo>
                    <a:pt x="1917" y="1062"/>
                  </a:lnTo>
                  <a:lnTo>
                    <a:pt x="1915" y="1057"/>
                  </a:lnTo>
                  <a:lnTo>
                    <a:pt x="1912" y="1054"/>
                  </a:lnTo>
                  <a:lnTo>
                    <a:pt x="1908" y="1050"/>
                  </a:lnTo>
                  <a:lnTo>
                    <a:pt x="1905" y="1045"/>
                  </a:lnTo>
                  <a:lnTo>
                    <a:pt x="1901" y="1040"/>
                  </a:lnTo>
                  <a:lnTo>
                    <a:pt x="1901" y="1038"/>
                  </a:lnTo>
                  <a:lnTo>
                    <a:pt x="1900" y="1036"/>
                  </a:lnTo>
                  <a:lnTo>
                    <a:pt x="1896" y="1031"/>
                  </a:lnTo>
                  <a:lnTo>
                    <a:pt x="1894" y="1026"/>
                  </a:lnTo>
                  <a:lnTo>
                    <a:pt x="1893" y="1026"/>
                  </a:lnTo>
                  <a:lnTo>
                    <a:pt x="1891" y="1022"/>
                  </a:lnTo>
                  <a:lnTo>
                    <a:pt x="1886" y="1015"/>
                  </a:lnTo>
                  <a:lnTo>
                    <a:pt x="1884" y="1007"/>
                  </a:lnTo>
                  <a:lnTo>
                    <a:pt x="1880" y="1003"/>
                  </a:lnTo>
                  <a:lnTo>
                    <a:pt x="1875" y="995"/>
                  </a:lnTo>
                  <a:lnTo>
                    <a:pt x="1872" y="989"/>
                  </a:lnTo>
                  <a:lnTo>
                    <a:pt x="1870" y="988"/>
                  </a:lnTo>
                  <a:lnTo>
                    <a:pt x="1870" y="984"/>
                  </a:lnTo>
                  <a:lnTo>
                    <a:pt x="1868" y="981"/>
                  </a:lnTo>
                  <a:lnTo>
                    <a:pt x="1865" y="979"/>
                  </a:lnTo>
                  <a:lnTo>
                    <a:pt x="1865" y="981"/>
                  </a:lnTo>
                  <a:lnTo>
                    <a:pt x="1863" y="981"/>
                  </a:lnTo>
                  <a:lnTo>
                    <a:pt x="1861" y="979"/>
                  </a:lnTo>
                  <a:lnTo>
                    <a:pt x="1863" y="975"/>
                  </a:lnTo>
                  <a:lnTo>
                    <a:pt x="1861" y="975"/>
                  </a:lnTo>
                  <a:lnTo>
                    <a:pt x="1858" y="972"/>
                  </a:lnTo>
                  <a:lnTo>
                    <a:pt x="1856" y="969"/>
                  </a:lnTo>
                  <a:lnTo>
                    <a:pt x="1854" y="963"/>
                  </a:lnTo>
                  <a:lnTo>
                    <a:pt x="1853" y="962"/>
                  </a:lnTo>
                  <a:lnTo>
                    <a:pt x="1853" y="958"/>
                  </a:lnTo>
                  <a:lnTo>
                    <a:pt x="1853" y="955"/>
                  </a:lnTo>
                  <a:lnTo>
                    <a:pt x="1854" y="955"/>
                  </a:lnTo>
                  <a:lnTo>
                    <a:pt x="1853" y="949"/>
                  </a:lnTo>
                  <a:lnTo>
                    <a:pt x="1853" y="944"/>
                  </a:lnTo>
                  <a:lnTo>
                    <a:pt x="1851" y="941"/>
                  </a:lnTo>
                  <a:lnTo>
                    <a:pt x="1847" y="941"/>
                  </a:lnTo>
                  <a:lnTo>
                    <a:pt x="1844" y="936"/>
                  </a:lnTo>
                  <a:lnTo>
                    <a:pt x="1844" y="934"/>
                  </a:lnTo>
                  <a:lnTo>
                    <a:pt x="1842" y="932"/>
                  </a:lnTo>
                  <a:lnTo>
                    <a:pt x="1842" y="930"/>
                  </a:lnTo>
                  <a:lnTo>
                    <a:pt x="1844" y="930"/>
                  </a:lnTo>
                  <a:lnTo>
                    <a:pt x="1847" y="932"/>
                  </a:lnTo>
                  <a:lnTo>
                    <a:pt x="1851" y="937"/>
                  </a:lnTo>
                  <a:lnTo>
                    <a:pt x="1849" y="934"/>
                  </a:lnTo>
                  <a:lnTo>
                    <a:pt x="1844" y="927"/>
                  </a:lnTo>
                  <a:lnTo>
                    <a:pt x="1841" y="925"/>
                  </a:lnTo>
                  <a:lnTo>
                    <a:pt x="1839" y="925"/>
                  </a:lnTo>
                  <a:lnTo>
                    <a:pt x="1839" y="922"/>
                  </a:lnTo>
                  <a:lnTo>
                    <a:pt x="1832" y="913"/>
                  </a:lnTo>
                  <a:lnTo>
                    <a:pt x="1830" y="911"/>
                  </a:lnTo>
                  <a:lnTo>
                    <a:pt x="1830" y="906"/>
                  </a:lnTo>
                  <a:lnTo>
                    <a:pt x="1827" y="902"/>
                  </a:lnTo>
                  <a:lnTo>
                    <a:pt x="1821" y="901"/>
                  </a:lnTo>
                  <a:lnTo>
                    <a:pt x="1820" y="896"/>
                  </a:lnTo>
                  <a:lnTo>
                    <a:pt x="1818" y="894"/>
                  </a:lnTo>
                  <a:lnTo>
                    <a:pt x="1818" y="896"/>
                  </a:lnTo>
                  <a:lnTo>
                    <a:pt x="1818" y="897"/>
                  </a:lnTo>
                  <a:lnTo>
                    <a:pt x="1818" y="901"/>
                  </a:lnTo>
                  <a:lnTo>
                    <a:pt x="1816" y="901"/>
                  </a:lnTo>
                  <a:lnTo>
                    <a:pt x="1816" y="899"/>
                  </a:lnTo>
                  <a:lnTo>
                    <a:pt x="1811" y="899"/>
                  </a:lnTo>
                  <a:lnTo>
                    <a:pt x="1816" y="904"/>
                  </a:lnTo>
                  <a:lnTo>
                    <a:pt x="1821" y="908"/>
                  </a:lnTo>
                  <a:lnTo>
                    <a:pt x="1823" y="911"/>
                  </a:lnTo>
                  <a:lnTo>
                    <a:pt x="1823" y="913"/>
                  </a:lnTo>
                  <a:lnTo>
                    <a:pt x="1825" y="913"/>
                  </a:lnTo>
                  <a:lnTo>
                    <a:pt x="1827" y="913"/>
                  </a:lnTo>
                  <a:lnTo>
                    <a:pt x="1827" y="913"/>
                  </a:lnTo>
                  <a:lnTo>
                    <a:pt x="1827" y="916"/>
                  </a:lnTo>
                  <a:lnTo>
                    <a:pt x="1823" y="916"/>
                  </a:lnTo>
                  <a:lnTo>
                    <a:pt x="1825" y="918"/>
                  </a:lnTo>
                  <a:lnTo>
                    <a:pt x="1827" y="918"/>
                  </a:lnTo>
                  <a:lnTo>
                    <a:pt x="1827" y="925"/>
                  </a:lnTo>
                  <a:lnTo>
                    <a:pt x="1825" y="925"/>
                  </a:lnTo>
                  <a:lnTo>
                    <a:pt x="1823" y="925"/>
                  </a:lnTo>
                  <a:lnTo>
                    <a:pt x="1820" y="922"/>
                  </a:lnTo>
                  <a:lnTo>
                    <a:pt x="1818" y="925"/>
                  </a:lnTo>
                  <a:lnTo>
                    <a:pt x="1816" y="929"/>
                  </a:lnTo>
                  <a:lnTo>
                    <a:pt x="1820" y="932"/>
                  </a:lnTo>
                  <a:lnTo>
                    <a:pt x="1820" y="936"/>
                  </a:lnTo>
                  <a:lnTo>
                    <a:pt x="1825" y="941"/>
                  </a:lnTo>
                  <a:lnTo>
                    <a:pt x="1827" y="944"/>
                  </a:lnTo>
                  <a:lnTo>
                    <a:pt x="1827" y="953"/>
                  </a:lnTo>
                  <a:lnTo>
                    <a:pt x="1827" y="955"/>
                  </a:lnTo>
                  <a:lnTo>
                    <a:pt x="1830" y="960"/>
                  </a:lnTo>
                  <a:lnTo>
                    <a:pt x="1832" y="969"/>
                  </a:lnTo>
                  <a:lnTo>
                    <a:pt x="1835" y="972"/>
                  </a:lnTo>
                  <a:lnTo>
                    <a:pt x="1839" y="975"/>
                  </a:lnTo>
                  <a:lnTo>
                    <a:pt x="1839" y="975"/>
                  </a:lnTo>
                  <a:lnTo>
                    <a:pt x="1835" y="977"/>
                  </a:lnTo>
                  <a:lnTo>
                    <a:pt x="1844" y="986"/>
                  </a:lnTo>
                  <a:lnTo>
                    <a:pt x="1847" y="988"/>
                  </a:lnTo>
                  <a:lnTo>
                    <a:pt x="1853" y="993"/>
                  </a:lnTo>
                  <a:lnTo>
                    <a:pt x="1853" y="1000"/>
                  </a:lnTo>
                  <a:lnTo>
                    <a:pt x="1853" y="1003"/>
                  </a:lnTo>
                  <a:lnTo>
                    <a:pt x="1856" y="1007"/>
                  </a:lnTo>
                  <a:lnTo>
                    <a:pt x="1856" y="1010"/>
                  </a:lnTo>
                  <a:lnTo>
                    <a:pt x="1858" y="1014"/>
                  </a:lnTo>
                  <a:lnTo>
                    <a:pt x="1861" y="1017"/>
                  </a:lnTo>
                  <a:lnTo>
                    <a:pt x="1861" y="1017"/>
                  </a:lnTo>
                  <a:lnTo>
                    <a:pt x="1861" y="1021"/>
                  </a:lnTo>
                  <a:lnTo>
                    <a:pt x="1863" y="1026"/>
                  </a:lnTo>
                  <a:lnTo>
                    <a:pt x="1865" y="1031"/>
                  </a:lnTo>
                  <a:lnTo>
                    <a:pt x="1867" y="1035"/>
                  </a:lnTo>
                  <a:lnTo>
                    <a:pt x="1867" y="1042"/>
                  </a:lnTo>
                  <a:lnTo>
                    <a:pt x="1868" y="1043"/>
                  </a:lnTo>
                  <a:lnTo>
                    <a:pt x="1868" y="1047"/>
                  </a:lnTo>
                  <a:lnTo>
                    <a:pt x="1868" y="1050"/>
                  </a:lnTo>
                  <a:lnTo>
                    <a:pt x="1872" y="1059"/>
                  </a:lnTo>
                  <a:lnTo>
                    <a:pt x="1870" y="1062"/>
                  </a:lnTo>
                  <a:lnTo>
                    <a:pt x="1872" y="1066"/>
                  </a:lnTo>
                  <a:lnTo>
                    <a:pt x="1875" y="1069"/>
                  </a:lnTo>
                  <a:lnTo>
                    <a:pt x="1880" y="1076"/>
                  </a:lnTo>
                  <a:lnTo>
                    <a:pt x="1880" y="1082"/>
                  </a:lnTo>
                  <a:lnTo>
                    <a:pt x="1884" y="1085"/>
                  </a:lnTo>
                  <a:lnTo>
                    <a:pt x="1884" y="1092"/>
                  </a:lnTo>
                  <a:lnTo>
                    <a:pt x="1884" y="1097"/>
                  </a:lnTo>
                  <a:lnTo>
                    <a:pt x="1886" y="1102"/>
                  </a:lnTo>
                  <a:lnTo>
                    <a:pt x="1889" y="1108"/>
                  </a:lnTo>
                  <a:lnTo>
                    <a:pt x="1891" y="1113"/>
                  </a:lnTo>
                  <a:lnTo>
                    <a:pt x="1893" y="1115"/>
                  </a:lnTo>
                  <a:lnTo>
                    <a:pt x="1891" y="1120"/>
                  </a:lnTo>
                  <a:lnTo>
                    <a:pt x="1891" y="1129"/>
                  </a:lnTo>
                  <a:lnTo>
                    <a:pt x="1893" y="1132"/>
                  </a:lnTo>
                  <a:lnTo>
                    <a:pt x="1896" y="1135"/>
                  </a:lnTo>
                  <a:lnTo>
                    <a:pt x="1898" y="1141"/>
                  </a:lnTo>
                  <a:lnTo>
                    <a:pt x="1903" y="1144"/>
                  </a:lnTo>
                  <a:lnTo>
                    <a:pt x="1903" y="1144"/>
                  </a:lnTo>
                  <a:lnTo>
                    <a:pt x="1903" y="1144"/>
                  </a:lnTo>
                  <a:lnTo>
                    <a:pt x="1903" y="1144"/>
                  </a:lnTo>
                  <a:close/>
                  <a:moveTo>
                    <a:pt x="1729" y="899"/>
                  </a:moveTo>
                  <a:lnTo>
                    <a:pt x="1731" y="899"/>
                  </a:lnTo>
                  <a:lnTo>
                    <a:pt x="1731" y="897"/>
                  </a:lnTo>
                  <a:lnTo>
                    <a:pt x="1731" y="896"/>
                  </a:lnTo>
                  <a:lnTo>
                    <a:pt x="1735" y="897"/>
                  </a:lnTo>
                  <a:lnTo>
                    <a:pt x="1735" y="899"/>
                  </a:lnTo>
                  <a:lnTo>
                    <a:pt x="1738" y="901"/>
                  </a:lnTo>
                  <a:lnTo>
                    <a:pt x="1740" y="897"/>
                  </a:lnTo>
                  <a:lnTo>
                    <a:pt x="1740" y="896"/>
                  </a:lnTo>
                  <a:lnTo>
                    <a:pt x="1740" y="894"/>
                  </a:lnTo>
                  <a:lnTo>
                    <a:pt x="1740" y="894"/>
                  </a:lnTo>
                  <a:lnTo>
                    <a:pt x="1741" y="890"/>
                  </a:lnTo>
                  <a:lnTo>
                    <a:pt x="1741" y="890"/>
                  </a:lnTo>
                  <a:lnTo>
                    <a:pt x="1740" y="890"/>
                  </a:lnTo>
                  <a:lnTo>
                    <a:pt x="1738" y="890"/>
                  </a:lnTo>
                  <a:lnTo>
                    <a:pt x="1736" y="890"/>
                  </a:lnTo>
                  <a:lnTo>
                    <a:pt x="1736" y="890"/>
                  </a:lnTo>
                  <a:lnTo>
                    <a:pt x="1738" y="889"/>
                  </a:lnTo>
                  <a:lnTo>
                    <a:pt x="1738" y="889"/>
                  </a:lnTo>
                  <a:lnTo>
                    <a:pt x="1736" y="885"/>
                  </a:lnTo>
                  <a:lnTo>
                    <a:pt x="1735" y="889"/>
                  </a:lnTo>
                  <a:lnTo>
                    <a:pt x="1731" y="885"/>
                  </a:lnTo>
                  <a:lnTo>
                    <a:pt x="1729" y="889"/>
                  </a:lnTo>
                  <a:lnTo>
                    <a:pt x="1729" y="890"/>
                  </a:lnTo>
                  <a:lnTo>
                    <a:pt x="1726" y="894"/>
                  </a:lnTo>
                  <a:lnTo>
                    <a:pt x="1726" y="896"/>
                  </a:lnTo>
                  <a:lnTo>
                    <a:pt x="1729" y="899"/>
                  </a:lnTo>
                  <a:lnTo>
                    <a:pt x="1729" y="899"/>
                  </a:lnTo>
                  <a:lnTo>
                    <a:pt x="1729" y="899"/>
                  </a:lnTo>
                  <a:lnTo>
                    <a:pt x="1729" y="899"/>
                  </a:lnTo>
                  <a:close/>
                  <a:moveTo>
                    <a:pt x="1717" y="897"/>
                  </a:moveTo>
                  <a:lnTo>
                    <a:pt x="1719" y="896"/>
                  </a:lnTo>
                  <a:lnTo>
                    <a:pt x="1719" y="896"/>
                  </a:lnTo>
                  <a:lnTo>
                    <a:pt x="1721" y="894"/>
                  </a:lnTo>
                  <a:lnTo>
                    <a:pt x="1722" y="896"/>
                  </a:lnTo>
                  <a:lnTo>
                    <a:pt x="1722" y="894"/>
                  </a:lnTo>
                  <a:lnTo>
                    <a:pt x="1722" y="894"/>
                  </a:lnTo>
                  <a:lnTo>
                    <a:pt x="1722" y="890"/>
                  </a:lnTo>
                  <a:lnTo>
                    <a:pt x="1722" y="889"/>
                  </a:lnTo>
                  <a:lnTo>
                    <a:pt x="1722" y="890"/>
                  </a:lnTo>
                  <a:lnTo>
                    <a:pt x="1721" y="890"/>
                  </a:lnTo>
                  <a:lnTo>
                    <a:pt x="1715" y="894"/>
                  </a:lnTo>
                  <a:lnTo>
                    <a:pt x="1715" y="894"/>
                  </a:lnTo>
                  <a:lnTo>
                    <a:pt x="1717" y="897"/>
                  </a:lnTo>
                  <a:lnTo>
                    <a:pt x="1717" y="897"/>
                  </a:lnTo>
                  <a:lnTo>
                    <a:pt x="1717" y="897"/>
                  </a:lnTo>
                  <a:lnTo>
                    <a:pt x="1717" y="897"/>
                  </a:lnTo>
                  <a:close/>
                  <a:moveTo>
                    <a:pt x="1741" y="909"/>
                  </a:moveTo>
                  <a:lnTo>
                    <a:pt x="1741" y="909"/>
                  </a:lnTo>
                  <a:lnTo>
                    <a:pt x="1743" y="908"/>
                  </a:lnTo>
                  <a:lnTo>
                    <a:pt x="1745" y="906"/>
                  </a:lnTo>
                  <a:lnTo>
                    <a:pt x="1743" y="904"/>
                  </a:lnTo>
                  <a:lnTo>
                    <a:pt x="1741" y="906"/>
                  </a:lnTo>
                  <a:lnTo>
                    <a:pt x="1741" y="906"/>
                  </a:lnTo>
                  <a:lnTo>
                    <a:pt x="1741" y="909"/>
                  </a:lnTo>
                  <a:lnTo>
                    <a:pt x="1741" y="909"/>
                  </a:lnTo>
                  <a:lnTo>
                    <a:pt x="1741" y="909"/>
                  </a:lnTo>
                  <a:lnTo>
                    <a:pt x="1741" y="909"/>
                  </a:lnTo>
                  <a:close/>
                  <a:moveTo>
                    <a:pt x="1736" y="904"/>
                  </a:moveTo>
                  <a:lnTo>
                    <a:pt x="1736" y="906"/>
                  </a:lnTo>
                  <a:lnTo>
                    <a:pt x="1738" y="909"/>
                  </a:lnTo>
                  <a:lnTo>
                    <a:pt x="1740" y="908"/>
                  </a:lnTo>
                  <a:lnTo>
                    <a:pt x="1740" y="904"/>
                  </a:lnTo>
                  <a:lnTo>
                    <a:pt x="1738" y="904"/>
                  </a:lnTo>
                  <a:lnTo>
                    <a:pt x="1736" y="904"/>
                  </a:lnTo>
                  <a:lnTo>
                    <a:pt x="1736" y="904"/>
                  </a:lnTo>
                  <a:lnTo>
                    <a:pt x="1736" y="904"/>
                  </a:lnTo>
                  <a:lnTo>
                    <a:pt x="1736" y="904"/>
                  </a:lnTo>
                  <a:close/>
                  <a:moveTo>
                    <a:pt x="1738" y="922"/>
                  </a:moveTo>
                  <a:lnTo>
                    <a:pt x="1740" y="916"/>
                  </a:lnTo>
                  <a:lnTo>
                    <a:pt x="1741" y="916"/>
                  </a:lnTo>
                  <a:lnTo>
                    <a:pt x="1743" y="913"/>
                  </a:lnTo>
                  <a:lnTo>
                    <a:pt x="1741" y="913"/>
                  </a:lnTo>
                  <a:lnTo>
                    <a:pt x="1743" y="911"/>
                  </a:lnTo>
                  <a:lnTo>
                    <a:pt x="1738" y="913"/>
                  </a:lnTo>
                  <a:lnTo>
                    <a:pt x="1735" y="916"/>
                  </a:lnTo>
                  <a:lnTo>
                    <a:pt x="1735" y="918"/>
                  </a:lnTo>
                  <a:lnTo>
                    <a:pt x="1738" y="922"/>
                  </a:lnTo>
                  <a:lnTo>
                    <a:pt x="1738" y="922"/>
                  </a:lnTo>
                  <a:lnTo>
                    <a:pt x="1738" y="922"/>
                  </a:lnTo>
                  <a:lnTo>
                    <a:pt x="1738" y="922"/>
                  </a:lnTo>
                  <a:close/>
                  <a:moveTo>
                    <a:pt x="1868" y="720"/>
                  </a:moveTo>
                  <a:lnTo>
                    <a:pt x="1870" y="722"/>
                  </a:lnTo>
                  <a:lnTo>
                    <a:pt x="1872" y="716"/>
                  </a:lnTo>
                  <a:lnTo>
                    <a:pt x="1874" y="715"/>
                  </a:lnTo>
                  <a:lnTo>
                    <a:pt x="1870" y="715"/>
                  </a:lnTo>
                  <a:lnTo>
                    <a:pt x="1868" y="716"/>
                  </a:lnTo>
                  <a:lnTo>
                    <a:pt x="1868" y="720"/>
                  </a:lnTo>
                  <a:lnTo>
                    <a:pt x="1868" y="720"/>
                  </a:lnTo>
                  <a:lnTo>
                    <a:pt x="1868" y="720"/>
                  </a:lnTo>
                  <a:lnTo>
                    <a:pt x="1868" y="720"/>
                  </a:lnTo>
                  <a:close/>
                  <a:moveTo>
                    <a:pt x="2077" y="697"/>
                  </a:moveTo>
                  <a:lnTo>
                    <a:pt x="2079" y="697"/>
                  </a:lnTo>
                  <a:lnTo>
                    <a:pt x="2077" y="694"/>
                  </a:lnTo>
                  <a:lnTo>
                    <a:pt x="2077" y="692"/>
                  </a:lnTo>
                  <a:lnTo>
                    <a:pt x="2077" y="690"/>
                  </a:lnTo>
                  <a:lnTo>
                    <a:pt x="2077" y="689"/>
                  </a:lnTo>
                  <a:lnTo>
                    <a:pt x="2079" y="683"/>
                  </a:lnTo>
                  <a:lnTo>
                    <a:pt x="2082" y="680"/>
                  </a:lnTo>
                  <a:lnTo>
                    <a:pt x="2085" y="676"/>
                  </a:lnTo>
                  <a:lnTo>
                    <a:pt x="2085" y="676"/>
                  </a:lnTo>
                  <a:lnTo>
                    <a:pt x="2085" y="675"/>
                  </a:lnTo>
                  <a:lnTo>
                    <a:pt x="2085" y="669"/>
                  </a:lnTo>
                  <a:lnTo>
                    <a:pt x="2080" y="663"/>
                  </a:lnTo>
                  <a:lnTo>
                    <a:pt x="2079" y="663"/>
                  </a:lnTo>
                  <a:lnTo>
                    <a:pt x="2077" y="666"/>
                  </a:lnTo>
                  <a:lnTo>
                    <a:pt x="2077" y="666"/>
                  </a:lnTo>
                  <a:lnTo>
                    <a:pt x="2075" y="669"/>
                  </a:lnTo>
                  <a:lnTo>
                    <a:pt x="2070" y="675"/>
                  </a:lnTo>
                  <a:lnTo>
                    <a:pt x="2068" y="675"/>
                  </a:lnTo>
                  <a:lnTo>
                    <a:pt x="2066" y="676"/>
                  </a:lnTo>
                  <a:lnTo>
                    <a:pt x="2068" y="676"/>
                  </a:lnTo>
                  <a:lnTo>
                    <a:pt x="2072" y="675"/>
                  </a:lnTo>
                  <a:lnTo>
                    <a:pt x="2072" y="676"/>
                  </a:lnTo>
                  <a:lnTo>
                    <a:pt x="2072" y="678"/>
                  </a:lnTo>
                  <a:lnTo>
                    <a:pt x="2073" y="685"/>
                  </a:lnTo>
                  <a:lnTo>
                    <a:pt x="2075" y="687"/>
                  </a:lnTo>
                  <a:lnTo>
                    <a:pt x="2075" y="692"/>
                  </a:lnTo>
                  <a:lnTo>
                    <a:pt x="2073" y="694"/>
                  </a:lnTo>
                  <a:lnTo>
                    <a:pt x="2073" y="694"/>
                  </a:lnTo>
                  <a:lnTo>
                    <a:pt x="2077" y="697"/>
                  </a:lnTo>
                  <a:lnTo>
                    <a:pt x="2077" y="697"/>
                  </a:lnTo>
                  <a:lnTo>
                    <a:pt x="2077" y="697"/>
                  </a:lnTo>
                  <a:lnTo>
                    <a:pt x="2077" y="697"/>
                  </a:lnTo>
                  <a:close/>
                  <a:moveTo>
                    <a:pt x="2080" y="975"/>
                  </a:moveTo>
                  <a:lnTo>
                    <a:pt x="2082" y="975"/>
                  </a:lnTo>
                  <a:lnTo>
                    <a:pt x="2084" y="972"/>
                  </a:lnTo>
                  <a:lnTo>
                    <a:pt x="2082" y="970"/>
                  </a:lnTo>
                  <a:lnTo>
                    <a:pt x="2080" y="969"/>
                  </a:lnTo>
                  <a:lnTo>
                    <a:pt x="2079" y="970"/>
                  </a:lnTo>
                  <a:lnTo>
                    <a:pt x="2079" y="972"/>
                  </a:lnTo>
                  <a:lnTo>
                    <a:pt x="2080" y="975"/>
                  </a:lnTo>
                  <a:lnTo>
                    <a:pt x="2080" y="975"/>
                  </a:lnTo>
                  <a:lnTo>
                    <a:pt x="2080" y="975"/>
                  </a:lnTo>
                  <a:lnTo>
                    <a:pt x="2080" y="975"/>
                  </a:lnTo>
                  <a:close/>
                  <a:moveTo>
                    <a:pt x="2063" y="970"/>
                  </a:moveTo>
                  <a:lnTo>
                    <a:pt x="2063" y="972"/>
                  </a:lnTo>
                  <a:lnTo>
                    <a:pt x="2063" y="975"/>
                  </a:lnTo>
                  <a:lnTo>
                    <a:pt x="2066" y="975"/>
                  </a:lnTo>
                  <a:lnTo>
                    <a:pt x="2066" y="972"/>
                  </a:lnTo>
                  <a:lnTo>
                    <a:pt x="2063" y="970"/>
                  </a:lnTo>
                  <a:lnTo>
                    <a:pt x="2063" y="970"/>
                  </a:lnTo>
                  <a:lnTo>
                    <a:pt x="2063" y="970"/>
                  </a:lnTo>
                  <a:lnTo>
                    <a:pt x="2063" y="970"/>
                  </a:lnTo>
                  <a:lnTo>
                    <a:pt x="2063" y="970"/>
                  </a:lnTo>
                  <a:close/>
                  <a:moveTo>
                    <a:pt x="2072" y="1000"/>
                  </a:moveTo>
                  <a:lnTo>
                    <a:pt x="2073" y="1000"/>
                  </a:lnTo>
                  <a:lnTo>
                    <a:pt x="2073" y="995"/>
                  </a:lnTo>
                  <a:lnTo>
                    <a:pt x="2073" y="993"/>
                  </a:lnTo>
                  <a:lnTo>
                    <a:pt x="2077" y="991"/>
                  </a:lnTo>
                  <a:lnTo>
                    <a:pt x="2079" y="988"/>
                  </a:lnTo>
                  <a:lnTo>
                    <a:pt x="2079" y="984"/>
                  </a:lnTo>
                  <a:lnTo>
                    <a:pt x="2079" y="981"/>
                  </a:lnTo>
                  <a:lnTo>
                    <a:pt x="2080" y="979"/>
                  </a:lnTo>
                  <a:lnTo>
                    <a:pt x="2080" y="975"/>
                  </a:lnTo>
                  <a:lnTo>
                    <a:pt x="2073" y="972"/>
                  </a:lnTo>
                  <a:lnTo>
                    <a:pt x="2073" y="975"/>
                  </a:lnTo>
                  <a:lnTo>
                    <a:pt x="2073" y="981"/>
                  </a:lnTo>
                  <a:lnTo>
                    <a:pt x="2073" y="984"/>
                  </a:lnTo>
                  <a:lnTo>
                    <a:pt x="2070" y="986"/>
                  </a:lnTo>
                  <a:lnTo>
                    <a:pt x="2068" y="988"/>
                  </a:lnTo>
                  <a:lnTo>
                    <a:pt x="2066" y="989"/>
                  </a:lnTo>
                  <a:lnTo>
                    <a:pt x="2066" y="989"/>
                  </a:lnTo>
                  <a:lnTo>
                    <a:pt x="2068" y="993"/>
                  </a:lnTo>
                  <a:lnTo>
                    <a:pt x="2068" y="995"/>
                  </a:lnTo>
                  <a:lnTo>
                    <a:pt x="2066" y="995"/>
                  </a:lnTo>
                  <a:lnTo>
                    <a:pt x="2066" y="998"/>
                  </a:lnTo>
                  <a:lnTo>
                    <a:pt x="2070" y="998"/>
                  </a:lnTo>
                  <a:lnTo>
                    <a:pt x="2072" y="1000"/>
                  </a:lnTo>
                  <a:lnTo>
                    <a:pt x="2072" y="1000"/>
                  </a:lnTo>
                  <a:lnTo>
                    <a:pt x="2072" y="1000"/>
                  </a:lnTo>
                  <a:lnTo>
                    <a:pt x="2072" y="1000"/>
                  </a:lnTo>
                  <a:close/>
                  <a:moveTo>
                    <a:pt x="2068" y="1021"/>
                  </a:moveTo>
                  <a:lnTo>
                    <a:pt x="2068" y="1021"/>
                  </a:lnTo>
                  <a:lnTo>
                    <a:pt x="2070" y="1019"/>
                  </a:lnTo>
                  <a:lnTo>
                    <a:pt x="2068" y="1014"/>
                  </a:lnTo>
                  <a:lnTo>
                    <a:pt x="2068" y="1012"/>
                  </a:lnTo>
                  <a:lnTo>
                    <a:pt x="2066" y="1010"/>
                  </a:lnTo>
                  <a:lnTo>
                    <a:pt x="2066" y="1014"/>
                  </a:lnTo>
                  <a:lnTo>
                    <a:pt x="2066" y="1017"/>
                  </a:lnTo>
                  <a:lnTo>
                    <a:pt x="2068" y="1021"/>
                  </a:lnTo>
                  <a:lnTo>
                    <a:pt x="2068" y="1021"/>
                  </a:lnTo>
                  <a:lnTo>
                    <a:pt x="2068" y="1021"/>
                  </a:lnTo>
                  <a:lnTo>
                    <a:pt x="2068" y="1021"/>
                  </a:lnTo>
                  <a:close/>
                  <a:moveTo>
                    <a:pt x="2070" y="1026"/>
                  </a:moveTo>
                  <a:lnTo>
                    <a:pt x="2072" y="1026"/>
                  </a:lnTo>
                  <a:lnTo>
                    <a:pt x="2070" y="1022"/>
                  </a:lnTo>
                  <a:lnTo>
                    <a:pt x="2068" y="1022"/>
                  </a:lnTo>
                  <a:lnTo>
                    <a:pt x="2066" y="1022"/>
                  </a:lnTo>
                  <a:lnTo>
                    <a:pt x="2066" y="1026"/>
                  </a:lnTo>
                  <a:lnTo>
                    <a:pt x="2070" y="1026"/>
                  </a:lnTo>
                  <a:lnTo>
                    <a:pt x="2070" y="1026"/>
                  </a:lnTo>
                  <a:lnTo>
                    <a:pt x="2070" y="1026"/>
                  </a:lnTo>
                  <a:lnTo>
                    <a:pt x="2070" y="1026"/>
                  </a:lnTo>
                  <a:close/>
                  <a:moveTo>
                    <a:pt x="2063" y="1031"/>
                  </a:moveTo>
                  <a:lnTo>
                    <a:pt x="2063" y="1031"/>
                  </a:lnTo>
                  <a:lnTo>
                    <a:pt x="2063" y="1031"/>
                  </a:lnTo>
                  <a:lnTo>
                    <a:pt x="2063" y="1031"/>
                  </a:lnTo>
                  <a:lnTo>
                    <a:pt x="2063" y="1031"/>
                  </a:lnTo>
                  <a:lnTo>
                    <a:pt x="2063" y="1031"/>
                  </a:lnTo>
                  <a:lnTo>
                    <a:pt x="2063" y="1031"/>
                  </a:lnTo>
                  <a:lnTo>
                    <a:pt x="2063" y="1031"/>
                  </a:lnTo>
                  <a:lnTo>
                    <a:pt x="2063" y="1031"/>
                  </a:lnTo>
                  <a:close/>
                  <a:moveTo>
                    <a:pt x="2066" y="1040"/>
                  </a:moveTo>
                  <a:lnTo>
                    <a:pt x="2066" y="1038"/>
                  </a:lnTo>
                  <a:lnTo>
                    <a:pt x="2068" y="1036"/>
                  </a:lnTo>
                  <a:lnTo>
                    <a:pt x="2068" y="1035"/>
                  </a:lnTo>
                  <a:lnTo>
                    <a:pt x="2066" y="1035"/>
                  </a:lnTo>
                  <a:lnTo>
                    <a:pt x="2066" y="1035"/>
                  </a:lnTo>
                  <a:lnTo>
                    <a:pt x="2066" y="1040"/>
                  </a:lnTo>
                  <a:lnTo>
                    <a:pt x="2066" y="1040"/>
                  </a:lnTo>
                  <a:lnTo>
                    <a:pt x="2066" y="1040"/>
                  </a:lnTo>
                  <a:lnTo>
                    <a:pt x="2066" y="1040"/>
                  </a:lnTo>
                  <a:close/>
                  <a:moveTo>
                    <a:pt x="2061" y="1062"/>
                  </a:moveTo>
                  <a:lnTo>
                    <a:pt x="2063" y="1059"/>
                  </a:lnTo>
                  <a:lnTo>
                    <a:pt x="2061" y="1057"/>
                  </a:lnTo>
                  <a:lnTo>
                    <a:pt x="2061" y="1059"/>
                  </a:lnTo>
                  <a:lnTo>
                    <a:pt x="2061" y="1062"/>
                  </a:lnTo>
                  <a:lnTo>
                    <a:pt x="2061" y="1062"/>
                  </a:lnTo>
                  <a:lnTo>
                    <a:pt x="2061" y="1062"/>
                  </a:lnTo>
                  <a:lnTo>
                    <a:pt x="2061" y="1062"/>
                  </a:lnTo>
                  <a:close/>
                  <a:moveTo>
                    <a:pt x="2061" y="1073"/>
                  </a:moveTo>
                  <a:lnTo>
                    <a:pt x="2061" y="1069"/>
                  </a:lnTo>
                  <a:lnTo>
                    <a:pt x="2061" y="1068"/>
                  </a:lnTo>
                  <a:lnTo>
                    <a:pt x="2058" y="1069"/>
                  </a:lnTo>
                  <a:lnTo>
                    <a:pt x="2061" y="1073"/>
                  </a:lnTo>
                  <a:lnTo>
                    <a:pt x="2061" y="1073"/>
                  </a:lnTo>
                  <a:lnTo>
                    <a:pt x="2061" y="1073"/>
                  </a:lnTo>
                  <a:lnTo>
                    <a:pt x="2061" y="1073"/>
                  </a:lnTo>
                  <a:close/>
                  <a:moveTo>
                    <a:pt x="2058" y="1076"/>
                  </a:moveTo>
                  <a:lnTo>
                    <a:pt x="2061" y="1078"/>
                  </a:lnTo>
                  <a:lnTo>
                    <a:pt x="2061" y="1076"/>
                  </a:lnTo>
                  <a:lnTo>
                    <a:pt x="2058" y="1076"/>
                  </a:lnTo>
                  <a:lnTo>
                    <a:pt x="2058" y="1076"/>
                  </a:lnTo>
                  <a:lnTo>
                    <a:pt x="2058" y="1076"/>
                  </a:lnTo>
                  <a:lnTo>
                    <a:pt x="2058" y="1076"/>
                  </a:lnTo>
                  <a:close/>
                  <a:moveTo>
                    <a:pt x="2056" y="1082"/>
                  </a:moveTo>
                  <a:lnTo>
                    <a:pt x="2058" y="1082"/>
                  </a:lnTo>
                  <a:lnTo>
                    <a:pt x="2058" y="1082"/>
                  </a:lnTo>
                  <a:lnTo>
                    <a:pt x="2058" y="1082"/>
                  </a:lnTo>
                  <a:lnTo>
                    <a:pt x="2058" y="1082"/>
                  </a:lnTo>
                  <a:lnTo>
                    <a:pt x="2056" y="1082"/>
                  </a:lnTo>
                  <a:lnTo>
                    <a:pt x="2056" y="1082"/>
                  </a:lnTo>
                  <a:lnTo>
                    <a:pt x="2056" y="1082"/>
                  </a:lnTo>
                  <a:lnTo>
                    <a:pt x="2056" y="1082"/>
                  </a:lnTo>
                  <a:close/>
                  <a:moveTo>
                    <a:pt x="2054" y="1095"/>
                  </a:moveTo>
                  <a:lnTo>
                    <a:pt x="2056" y="1094"/>
                  </a:lnTo>
                  <a:lnTo>
                    <a:pt x="2056" y="1087"/>
                  </a:lnTo>
                  <a:lnTo>
                    <a:pt x="2054" y="1087"/>
                  </a:lnTo>
                  <a:lnTo>
                    <a:pt x="2054" y="1090"/>
                  </a:lnTo>
                  <a:lnTo>
                    <a:pt x="2052" y="1095"/>
                  </a:lnTo>
                  <a:lnTo>
                    <a:pt x="2054" y="1095"/>
                  </a:lnTo>
                  <a:lnTo>
                    <a:pt x="2054" y="1095"/>
                  </a:lnTo>
                  <a:lnTo>
                    <a:pt x="2054" y="1095"/>
                  </a:lnTo>
                  <a:lnTo>
                    <a:pt x="2054" y="1095"/>
                  </a:lnTo>
                  <a:close/>
                  <a:moveTo>
                    <a:pt x="2025" y="1135"/>
                  </a:moveTo>
                  <a:lnTo>
                    <a:pt x="2026" y="1135"/>
                  </a:lnTo>
                  <a:lnTo>
                    <a:pt x="2030" y="1132"/>
                  </a:lnTo>
                  <a:lnTo>
                    <a:pt x="2032" y="1127"/>
                  </a:lnTo>
                  <a:lnTo>
                    <a:pt x="2035" y="1125"/>
                  </a:lnTo>
                  <a:lnTo>
                    <a:pt x="2035" y="1122"/>
                  </a:lnTo>
                  <a:lnTo>
                    <a:pt x="2035" y="1118"/>
                  </a:lnTo>
                  <a:lnTo>
                    <a:pt x="2039" y="1113"/>
                  </a:lnTo>
                  <a:lnTo>
                    <a:pt x="2039" y="1115"/>
                  </a:lnTo>
                  <a:lnTo>
                    <a:pt x="2033" y="1115"/>
                  </a:lnTo>
                  <a:lnTo>
                    <a:pt x="2032" y="1118"/>
                  </a:lnTo>
                  <a:lnTo>
                    <a:pt x="2032" y="1120"/>
                  </a:lnTo>
                  <a:lnTo>
                    <a:pt x="2030" y="1123"/>
                  </a:lnTo>
                  <a:lnTo>
                    <a:pt x="2028" y="1125"/>
                  </a:lnTo>
                  <a:lnTo>
                    <a:pt x="2028" y="1127"/>
                  </a:lnTo>
                  <a:lnTo>
                    <a:pt x="2025" y="1130"/>
                  </a:lnTo>
                  <a:lnTo>
                    <a:pt x="2025" y="1135"/>
                  </a:lnTo>
                  <a:lnTo>
                    <a:pt x="2025" y="1135"/>
                  </a:lnTo>
                  <a:lnTo>
                    <a:pt x="2025" y="1135"/>
                  </a:lnTo>
                  <a:lnTo>
                    <a:pt x="2025" y="1135"/>
                  </a:lnTo>
                  <a:close/>
                  <a:moveTo>
                    <a:pt x="1993" y="1172"/>
                  </a:moveTo>
                  <a:lnTo>
                    <a:pt x="1993" y="1172"/>
                  </a:lnTo>
                  <a:lnTo>
                    <a:pt x="1995" y="1169"/>
                  </a:lnTo>
                  <a:lnTo>
                    <a:pt x="1997" y="1167"/>
                  </a:lnTo>
                  <a:lnTo>
                    <a:pt x="1997" y="1162"/>
                  </a:lnTo>
                  <a:lnTo>
                    <a:pt x="1999" y="1160"/>
                  </a:lnTo>
                  <a:lnTo>
                    <a:pt x="1999" y="1158"/>
                  </a:lnTo>
                  <a:lnTo>
                    <a:pt x="2000" y="1156"/>
                  </a:lnTo>
                  <a:lnTo>
                    <a:pt x="2002" y="1158"/>
                  </a:lnTo>
                  <a:lnTo>
                    <a:pt x="2004" y="1155"/>
                  </a:lnTo>
                  <a:lnTo>
                    <a:pt x="2007" y="1149"/>
                  </a:lnTo>
                  <a:lnTo>
                    <a:pt x="2011" y="1146"/>
                  </a:lnTo>
                  <a:lnTo>
                    <a:pt x="2013" y="1146"/>
                  </a:lnTo>
                  <a:lnTo>
                    <a:pt x="2016" y="1144"/>
                  </a:lnTo>
                  <a:lnTo>
                    <a:pt x="2016" y="1141"/>
                  </a:lnTo>
                  <a:lnTo>
                    <a:pt x="2016" y="1135"/>
                  </a:lnTo>
                  <a:lnTo>
                    <a:pt x="2013" y="1137"/>
                  </a:lnTo>
                  <a:lnTo>
                    <a:pt x="2011" y="1141"/>
                  </a:lnTo>
                  <a:lnTo>
                    <a:pt x="2009" y="1144"/>
                  </a:lnTo>
                  <a:lnTo>
                    <a:pt x="2007" y="1144"/>
                  </a:lnTo>
                  <a:lnTo>
                    <a:pt x="2004" y="1146"/>
                  </a:lnTo>
                  <a:lnTo>
                    <a:pt x="2002" y="1146"/>
                  </a:lnTo>
                  <a:lnTo>
                    <a:pt x="2002" y="1144"/>
                  </a:lnTo>
                  <a:lnTo>
                    <a:pt x="2000" y="1144"/>
                  </a:lnTo>
                  <a:lnTo>
                    <a:pt x="1999" y="1146"/>
                  </a:lnTo>
                  <a:lnTo>
                    <a:pt x="2000" y="1148"/>
                  </a:lnTo>
                  <a:lnTo>
                    <a:pt x="1999" y="1151"/>
                  </a:lnTo>
                  <a:lnTo>
                    <a:pt x="1997" y="1155"/>
                  </a:lnTo>
                  <a:lnTo>
                    <a:pt x="1995" y="1155"/>
                  </a:lnTo>
                  <a:lnTo>
                    <a:pt x="1995" y="1156"/>
                  </a:lnTo>
                  <a:lnTo>
                    <a:pt x="1995" y="1160"/>
                  </a:lnTo>
                  <a:lnTo>
                    <a:pt x="1993" y="1162"/>
                  </a:lnTo>
                  <a:lnTo>
                    <a:pt x="1993" y="1163"/>
                  </a:lnTo>
                  <a:lnTo>
                    <a:pt x="1993" y="1163"/>
                  </a:lnTo>
                  <a:lnTo>
                    <a:pt x="1993" y="1167"/>
                  </a:lnTo>
                  <a:lnTo>
                    <a:pt x="1993" y="1169"/>
                  </a:lnTo>
                  <a:lnTo>
                    <a:pt x="1993" y="1172"/>
                  </a:lnTo>
                  <a:lnTo>
                    <a:pt x="1993" y="1172"/>
                  </a:lnTo>
                  <a:lnTo>
                    <a:pt x="1993" y="1172"/>
                  </a:lnTo>
                  <a:lnTo>
                    <a:pt x="1993" y="1172"/>
                  </a:lnTo>
                  <a:close/>
                  <a:moveTo>
                    <a:pt x="1978" y="1195"/>
                  </a:moveTo>
                  <a:lnTo>
                    <a:pt x="1978" y="1195"/>
                  </a:lnTo>
                  <a:lnTo>
                    <a:pt x="1978" y="1191"/>
                  </a:lnTo>
                  <a:lnTo>
                    <a:pt x="1980" y="1182"/>
                  </a:lnTo>
                  <a:lnTo>
                    <a:pt x="1981" y="1181"/>
                  </a:lnTo>
                  <a:lnTo>
                    <a:pt x="1985" y="1177"/>
                  </a:lnTo>
                  <a:lnTo>
                    <a:pt x="1985" y="1174"/>
                  </a:lnTo>
                  <a:lnTo>
                    <a:pt x="1985" y="1174"/>
                  </a:lnTo>
                  <a:lnTo>
                    <a:pt x="1981" y="1174"/>
                  </a:lnTo>
                  <a:lnTo>
                    <a:pt x="1981" y="1174"/>
                  </a:lnTo>
                  <a:lnTo>
                    <a:pt x="1980" y="1172"/>
                  </a:lnTo>
                  <a:lnTo>
                    <a:pt x="1978" y="1172"/>
                  </a:lnTo>
                  <a:lnTo>
                    <a:pt x="1978" y="1177"/>
                  </a:lnTo>
                  <a:lnTo>
                    <a:pt x="1976" y="1181"/>
                  </a:lnTo>
                  <a:lnTo>
                    <a:pt x="1976" y="1186"/>
                  </a:lnTo>
                  <a:lnTo>
                    <a:pt x="1974" y="1189"/>
                  </a:lnTo>
                  <a:lnTo>
                    <a:pt x="1976" y="1191"/>
                  </a:lnTo>
                  <a:lnTo>
                    <a:pt x="1978" y="1195"/>
                  </a:lnTo>
                  <a:lnTo>
                    <a:pt x="1978" y="1195"/>
                  </a:lnTo>
                  <a:lnTo>
                    <a:pt x="1978" y="1195"/>
                  </a:lnTo>
                  <a:lnTo>
                    <a:pt x="1978" y="1195"/>
                  </a:lnTo>
                  <a:close/>
                  <a:moveTo>
                    <a:pt x="33" y="922"/>
                  </a:moveTo>
                  <a:lnTo>
                    <a:pt x="33" y="922"/>
                  </a:lnTo>
                  <a:lnTo>
                    <a:pt x="33" y="925"/>
                  </a:lnTo>
                  <a:lnTo>
                    <a:pt x="37" y="925"/>
                  </a:lnTo>
                  <a:lnTo>
                    <a:pt x="37" y="925"/>
                  </a:lnTo>
                  <a:lnTo>
                    <a:pt x="33" y="922"/>
                  </a:lnTo>
                  <a:lnTo>
                    <a:pt x="33" y="922"/>
                  </a:lnTo>
                  <a:lnTo>
                    <a:pt x="33" y="922"/>
                  </a:lnTo>
                  <a:close/>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13" name="Groupe 219">
              <a:extLst>
                <a:ext uri="{FF2B5EF4-FFF2-40B4-BE49-F238E27FC236}">
                  <a16:creationId xmlns:a16="http://schemas.microsoft.com/office/drawing/2014/main" id="{790AF242-10E5-47AB-B5D9-4DAE89B2095E}"/>
                </a:ext>
              </a:extLst>
            </p:cNvPr>
            <p:cNvGrpSpPr/>
            <p:nvPr/>
          </p:nvGrpSpPr>
          <p:grpSpPr>
            <a:xfrm>
              <a:off x="4556125" y="1839913"/>
              <a:ext cx="601663" cy="736600"/>
              <a:chOff x="4556125" y="1839913"/>
              <a:chExt cx="601663" cy="736600"/>
            </a:xfrm>
            <a:grpFill/>
          </p:grpSpPr>
          <p:sp>
            <p:nvSpPr>
              <p:cNvPr id="1033" name="Freeform 8">
                <a:extLst>
                  <a:ext uri="{FF2B5EF4-FFF2-40B4-BE49-F238E27FC236}">
                    <a16:creationId xmlns:a16="http://schemas.microsoft.com/office/drawing/2014/main" id="{3860D93B-8129-4F53-AA8C-5B8431DA62A3}"/>
                  </a:ext>
                </a:extLst>
              </p:cNvPr>
              <p:cNvSpPr>
                <a:spLocks noEditPoints="1"/>
              </p:cNvSpPr>
              <p:nvPr/>
            </p:nvSpPr>
            <p:spPr bwMode="auto">
              <a:xfrm>
                <a:off x="4556125" y="1839913"/>
                <a:ext cx="549275" cy="635000"/>
              </a:xfrm>
              <a:custGeom>
                <a:avLst/>
                <a:gdLst/>
                <a:ahLst/>
                <a:cxnLst>
                  <a:cxn ang="0">
                    <a:pos x="329" y="45"/>
                  </a:cxn>
                  <a:cxn ang="0">
                    <a:pos x="343" y="21"/>
                  </a:cxn>
                  <a:cxn ang="0">
                    <a:pos x="310" y="11"/>
                  </a:cxn>
                  <a:cxn ang="0">
                    <a:pos x="296" y="14"/>
                  </a:cxn>
                  <a:cxn ang="0">
                    <a:pos x="287" y="11"/>
                  </a:cxn>
                  <a:cxn ang="0">
                    <a:pos x="270" y="14"/>
                  </a:cxn>
                  <a:cxn ang="0">
                    <a:pos x="258" y="11"/>
                  </a:cxn>
                  <a:cxn ang="0">
                    <a:pos x="240" y="32"/>
                  </a:cxn>
                  <a:cxn ang="0">
                    <a:pos x="214" y="42"/>
                  </a:cxn>
                  <a:cxn ang="0">
                    <a:pos x="200" y="65"/>
                  </a:cxn>
                  <a:cxn ang="0">
                    <a:pos x="186" y="70"/>
                  </a:cxn>
                  <a:cxn ang="0">
                    <a:pos x="164" y="78"/>
                  </a:cxn>
                  <a:cxn ang="0">
                    <a:pos x="165" y="96"/>
                  </a:cxn>
                  <a:cxn ang="0">
                    <a:pos x="141" y="108"/>
                  </a:cxn>
                  <a:cxn ang="0">
                    <a:pos x="143" y="131"/>
                  </a:cxn>
                  <a:cxn ang="0">
                    <a:pos x="124" y="143"/>
                  </a:cxn>
                  <a:cxn ang="0">
                    <a:pos x="112" y="164"/>
                  </a:cxn>
                  <a:cxn ang="0">
                    <a:pos x="108" y="186"/>
                  </a:cxn>
                  <a:cxn ang="0">
                    <a:pos x="96" y="209"/>
                  </a:cxn>
                  <a:cxn ang="0">
                    <a:pos x="73" y="238"/>
                  </a:cxn>
                  <a:cxn ang="0">
                    <a:pos x="92" y="240"/>
                  </a:cxn>
                  <a:cxn ang="0">
                    <a:pos x="66" y="252"/>
                  </a:cxn>
                  <a:cxn ang="0">
                    <a:pos x="46" y="261"/>
                  </a:cxn>
                  <a:cxn ang="0">
                    <a:pos x="44" y="273"/>
                  </a:cxn>
                  <a:cxn ang="0">
                    <a:pos x="25" y="284"/>
                  </a:cxn>
                  <a:cxn ang="0">
                    <a:pos x="25" y="298"/>
                  </a:cxn>
                  <a:cxn ang="0">
                    <a:pos x="6" y="311"/>
                  </a:cxn>
                  <a:cxn ang="0">
                    <a:pos x="39" y="315"/>
                  </a:cxn>
                  <a:cxn ang="0">
                    <a:pos x="7" y="322"/>
                  </a:cxn>
                  <a:cxn ang="0">
                    <a:pos x="28" y="332"/>
                  </a:cxn>
                  <a:cxn ang="0">
                    <a:pos x="14" y="353"/>
                  </a:cxn>
                  <a:cxn ang="0">
                    <a:pos x="25" y="378"/>
                  </a:cxn>
                  <a:cxn ang="0">
                    <a:pos x="46" y="397"/>
                  </a:cxn>
                  <a:cxn ang="0">
                    <a:pos x="68" y="362"/>
                  </a:cxn>
                  <a:cxn ang="0">
                    <a:pos x="86" y="348"/>
                  </a:cxn>
                  <a:cxn ang="0">
                    <a:pos x="112" y="339"/>
                  </a:cxn>
                  <a:cxn ang="0">
                    <a:pos x="124" y="228"/>
                  </a:cxn>
                  <a:cxn ang="0">
                    <a:pos x="157" y="115"/>
                  </a:cxn>
                  <a:cxn ang="0">
                    <a:pos x="200" y="89"/>
                  </a:cxn>
                  <a:cxn ang="0">
                    <a:pos x="247" y="82"/>
                  </a:cxn>
                  <a:cxn ang="0">
                    <a:pos x="292" y="38"/>
                  </a:cxn>
                  <a:cxn ang="0">
                    <a:pos x="6" y="350"/>
                  </a:cxn>
                  <a:cxn ang="0">
                    <a:pos x="0" y="325"/>
                  </a:cxn>
                  <a:cxn ang="0">
                    <a:pos x="0" y="334"/>
                  </a:cxn>
                  <a:cxn ang="0">
                    <a:pos x="2" y="292"/>
                  </a:cxn>
                  <a:cxn ang="0">
                    <a:pos x="47" y="258"/>
                  </a:cxn>
                  <a:cxn ang="0">
                    <a:pos x="51" y="252"/>
                  </a:cxn>
                  <a:cxn ang="0">
                    <a:pos x="86" y="209"/>
                  </a:cxn>
                  <a:cxn ang="0">
                    <a:pos x="105" y="176"/>
                  </a:cxn>
                  <a:cxn ang="0">
                    <a:pos x="103" y="120"/>
                  </a:cxn>
                  <a:cxn ang="0">
                    <a:pos x="117" y="105"/>
                  </a:cxn>
                  <a:cxn ang="0">
                    <a:pos x="134" y="89"/>
                  </a:cxn>
                  <a:cxn ang="0">
                    <a:pos x="143" y="77"/>
                  </a:cxn>
                  <a:cxn ang="0">
                    <a:pos x="148" y="89"/>
                  </a:cxn>
                  <a:cxn ang="0">
                    <a:pos x="169" y="66"/>
                  </a:cxn>
                  <a:cxn ang="0">
                    <a:pos x="169" y="66"/>
                  </a:cxn>
                  <a:cxn ang="0">
                    <a:pos x="178" y="44"/>
                  </a:cxn>
                  <a:cxn ang="0">
                    <a:pos x="188" y="44"/>
                  </a:cxn>
                  <a:cxn ang="0">
                    <a:pos x="205" y="38"/>
                  </a:cxn>
                  <a:cxn ang="0">
                    <a:pos x="233" y="32"/>
                  </a:cxn>
                  <a:cxn ang="0">
                    <a:pos x="240" y="23"/>
                  </a:cxn>
                  <a:cxn ang="0">
                    <a:pos x="259" y="7"/>
                  </a:cxn>
                </a:cxnLst>
                <a:rect l="0" t="0" r="r" b="b"/>
                <a:pathLst>
                  <a:path w="346" h="400">
                    <a:moveTo>
                      <a:pt x="320" y="72"/>
                    </a:moveTo>
                    <a:lnTo>
                      <a:pt x="324" y="70"/>
                    </a:lnTo>
                    <a:lnTo>
                      <a:pt x="324" y="65"/>
                    </a:lnTo>
                    <a:lnTo>
                      <a:pt x="327" y="61"/>
                    </a:lnTo>
                    <a:lnTo>
                      <a:pt x="331" y="61"/>
                    </a:lnTo>
                    <a:lnTo>
                      <a:pt x="334" y="58"/>
                    </a:lnTo>
                    <a:lnTo>
                      <a:pt x="332" y="52"/>
                    </a:lnTo>
                    <a:lnTo>
                      <a:pt x="336" y="51"/>
                    </a:lnTo>
                    <a:lnTo>
                      <a:pt x="339" y="52"/>
                    </a:lnTo>
                    <a:lnTo>
                      <a:pt x="343" y="51"/>
                    </a:lnTo>
                    <a:lnTo>
                      <a:pt x="341" y="47"/>
                    </a:lnTo>
                    <a:lnTo>
                      <a:pt x="341" y="45"/>
                    </a:lnTo>
                    <a:lnTo>
                      <a:pt x="337" y="44"/>
                    </a:lnTo>
                    <a:lnTo>
                      <a:pt x="337" y="44"/>
                    </a:lnTo>
                    <a:lnTo>
                      <a:pt x="336" y="45"/>
                    </a:lnTo>
                    <a:lnTo>
                      <a:pt x="336" y="47"/>
                    </a:lnTo>
                    <a:lnTo>
                      <a:pt x="334" y="45"/>
                    </a:lnTo>
                    <a:lnTo>
                      <a:pt x="332" y="44"/>
                    </a:lnTo>
                    <a:lnTo>
                      <a:pt x="331" y="44"/>
                    </a:lnTo>
                    <a:lnTo>
                      <a:pt x="332" y="45"/>
                    </a:lnTo>
                    <a:lnTo>
                      <a:pt x="331" y="49"/>
                    </a:lnTo>
                    <a:lnTo>
                      <a:pt x="329" y="49"/>
                    </a:lnTo>
                    <a:lnTo>
                      <a:pt x="329" y="45"/>
                    </a:lnTo>
                    <a:lnTo>
                      <a:pt x="327" y="47"/>
                    </a:lnTo>
                    <a:lnTo>
                      <a:pt x="327" y="49"/>
                    </a:lnTo>
                    <a:lnTo>
                      <a:pt x="324" y="47"/>
                    </a:lnTo>
                    <a:lnTo>
                      <a:pt x="324" y="44"/>
                    </a:lnTo>
                    <a:lnTo>
                      <a:pt x="324" y="42"/>
                    </a:lnTo>
                    <a:lnTo>
                      <a:pt x="322" y="38"/>
                    </a:lnTo>
                    <a:lnTo>
                      <a:pt x="320" y="38"/>
                    </a:lnTo>
                    <a:lnTo>
                      <a:pt x="315" y="38"/>
                    </a:lnTo>
                    <a:lnTo>
                      <a:pt x="315" y="38"/>
                    </a:lnTo>
                    <a:lnTo>
                      <a:pt x="310" y="38"/>
                    </a:lnTo>
                    <a:lnTo>
                      <a:pt x="308" y="33"/>
                    </a:lnTo>
                    <a:lnTo>
                      <a:pt x="310" y="33"/>
                    </a:lnTo>
                    <a:lnTo>
                      <a:pt x="315" y="37"/>
                    </a:lnTo>
                    <a:lnTo>
                      <a:pt x="318" y="33"/>
                    </a:lnTo>
                    <a:lnTo>
                      <a:pt x="322" y="37"/>
                    </a:lnTo>
                    <a:lnTo>
                      <a:pt x="327" y="37"/>
                    </a:lnTo>
                    <a:lnTo>
                      <a:pt x="332" y="33"/>
                    </a:lnTo>
                    <a:lnTo>
                      <a:pt x="336" y="30"/>
                    </a:lnTo>
                    <a:lnTo>
                      <a:pt x="343" y="28"/>
                    </a:lnTo>
                    <a:lnTo>
                      <a:pt x="346" y="25"/>
                    </a:lnTo>
                    <a:lnTo>
                      <a:pt x="346" y="25"/>
                    </a:lnTo>
                    <a:lnTo>
                      <a:pt x="344" y="23"/>
                    </a:lnTo>
                    <a:lnTo>
                      <a:pt x="343" y="21"/>
                    </a:lnTo>
                    <a:lnTo>
                      <a:pt x="341" y="21"/>
                    </a:lnTo>
                    <a:lnTo>
                      <a:pt x="337" y="21"/>
                    </a:lnTo>
                    <a:lnTo>
                      <a:pt x="332" y="18"/>
                    </a:lnTo>
                    <a:lnTo>
                      <a:pt x="331" y="18"/>
                    </a:lnTo>
                    <a:lnTo>
                      <a:pt x="327" y="21"/>
                    </a:lnTo>
                    <a:lnTo>
                      <a:pt x="327" y="21"/>
                    </a:lnTo>
                    <a:lnTo>
                      <a:pt x="327" y="19"/>
                    </a:lnTo>
                    <a:lnTo>
                      <a:pt x="329" y="18"/>
                    </a:lnTo>
                    <a:lnTo>
                      <a:pt x="329" y="16"/>
                    </a:lnTo>
                    <a:lnTo>
                      <a:pt x="327" y="14"/>
                    </a:lnTo>
                    <a:lnTo>
                      <a:pt x="324" y="14"/>
                    </a:lnTo>
                    <a:lnTo>
                      <a:pt x="324" y="14"/>
                    </a:lnTo>
                    <a:lnTo>
                      <a:pt x="322" y="18"/>
                    </a:lnTo>
                    <a:lnTo>
                      <a:pt x="320" y="18"/>
                    </a:lnTo>
                    <a:lnTo>
                      <a:pt x="320" y="14"/>
                    </a:lnTo>
                    <a:lnTo>
                      <a:pt x="318" y="14"/>
                    </a:lnTo>
                    <a:lnTo>
                      <a:pt x="315" y="18"/>
                    </a:lnTo>
                    <a:lnTo>
                      <a:pt x="315" y="18"/>
                    </a:lnTo>
                    <a:lnTo>
                      <a:pt x="315" y="14"/>
                    </a:lnTo>
                    <a:lnTo>
                      <a:pt x="315" y="14"/>
                    </a:lnTo>
                    <a:lnTo>
                      <a:pt x="315" y="11"/>
                    </a:lnTo>
                    <a:lnTo>
                      <a:pt x="313" y="11"/>
                    </a:lnTo>
                    <a:lnTo>
                      <a:pt x="310" y="11"/>
                    </a:lnTo>
                    <a:lnTo>
                      <a:pt x="308" y="11"/>
                    </a:lnTo>
                    <a:lnTo>
                      <a:pt x="308" y="16"/>
                    </a:lnTo>
                    <a:lnTo>
                      <a:pt x="304" y="16"/>
                    </a:lnTo>
                    <a:lnTo>
                      <a:pt x="304" y="18"/>
                    </a:lnTo>
                    <a:lnTo>
                      <a:pt x="308" y="23"/>
                    </a:lnTo>
                    <a:lnTo>
                      <a:pt x="306" y="25"/>
                    </a:lnTo>
                    <a:lnTo>
                      <a:pt x="304" y="26"/>
                    </a:lnTo>
                    <a:lnTo>
                      <a:pt x="304" y="25"/>
                    </a:lnTo>
                    <a:lnTo>
                      <a:pt x="301" y="25"/>
                    </a:lnTo>
                    <a:lnTo>
                      <a:pt x="301" y="25"/>
                    </a:lnTo>
                    <a:lnTo>
                      <a:pt x="298" y="25"/>
                    </a:lnTo>
                    <a:lnTo>
                      <a:pt x="296" y="26"/>
                    </a:lnTo>
                    <a:lnTo>
                      <a:pt x="298" y="21"/>
                    </a:lnTo>
                    <a:lnTo>
                      <a:pt x="301" y="21"/>
                    </a:lnTo>
                    <a:lnTo>
                      <a:pt x="301" y="18"/>
                    </a:lnTo>
                    <a:lnTo>
                      <a:pt x="301" y="16"/>
                    </a:lnTo>
                    <a:lnTo>
                      <a:pt x="301" y="16"/>
                    </a:lnTo>
                    <a:lnTo>
                      <a:pt x="296" y="19"/>
                    </a:lnTo>
                    <a:lnTo>
                      <a:pt x="296" y="18"/>
                    </a:lnTo>
                    <a:lnTo>
                      <a:pt x="296" y="16"/>
                    </a:lnTo>
                    <a:lnTo>
                      <a:pt x="296" y="14"/>
                    </a:lnTo>
                    <a:lnTo>
                      <a:pt x="298" y="14"/>
                    </a:lnTo>
                    <a:lnTo>
                      <a:pt x="296" y="14"/>
                    </a:lnTo>
                    <a:lnTo>
                      <a:pt x="292" y="11"/>
                    </a:lnTo>
                    <a:lnTo>
                      <a:pt x="296" y="11"/>
                    </a:lnTo>
                    <a:lnTo>
                      <a:pt x="298" y="11"/>
                    </a:lnTo>
                    <a:lnTo>
                      <a:pt x="301" y="11"/>
                    </a:lnTo>
                    <a:lnTo>
                      <a:pt x="304" y="7"/>
                    </a:lnTo>
                    <a:lnTo>
                      <a:pt x="304" y="5"/>
                    </a:lnTo>
                    <a:lnTo>
                      <a:pt x="301" y="5"/>
                    </a:lnTo>
                    <a:lnTo>
                      <a:pt x="298" y="5"/>
                    </a:lnTo>
                    <a:lnTo>
                      <a:pt x="298" y="2"/>
                    </a:lnTo>
                    <a:lnTo>
                      <a:pt x="298" y="0"/>
                    </a:lnTo>
                    <a:lnTo>
                      <a:pt x="296" y="2"/>
                    </a:lnTo>
                    <a:lnTo>
                      <a:pt x="292" y="2"/>
                    </a:lnTo>
                    <a:lnTo>
                      <a:pt x="292" y="0"/>
                    </a:lnTo>
                    <a:lnTo>
                      <a:pt x="289" y="2"/>
                    </a:lnTo>
                    <a:lnTo>
                      <a:pt x="289" y="2"/>
                    </a:lnTo>
                    <a:lnTo>
                      <a:pt x="292" y="7"/>
                    </a:lnTo>
                    <a:lnTo>
                      <a:pt x="291" y="9"/>
                    </a:lnTo>
                    <a:lnTo>
                      <a:pt x="289" y="9"/>
                    </a:lnTo>
                    <a:lnTo>
                      <a:pt x="285" y="5"/>
                    </a:lnTo>
                    <a:lnTo>
                      <a:pt x="284" y="7"/>
                    </a:lnTo>
                    <a:lnTo>
                      <a:pt x="284" y="9"/>
                    </a:lnTo>
                    <a:lnTo>
                      <a:pt x="284" y="11"/>
                    </a:lnTo>
                    <a:lnTo>
                      <a:pt x="287" y="11"/>
                    </a:lnTo>
                    <a:lnTo>
                      <a:pt x="289" y="11"/>
                    </a:lnTo>
                    <a:lnTo>
                      <a:pt x="289" y="14"/>
                    </a:lnTo>
                    <a:lnTo>
                      <a:pt x="285" y="14"/>
                    </a:lnTo>
                    <a:lnTo>
                      <a:pt x="285" y="16"/>
                    </a:lnTo>
                    <a:lnTo>
                      <a:pt x="284" y="16"/>
                    </a:lnTo>
                    <a:lnTo>
                      <a:pt x="284" y="19"/>
                    </a:lnTo>
                    <a:lnTo>
                      <a:pt x="284" y="19"/>
                    </a:lnTo>
                    <a:lnTo>
                      <a:pt x="282" y="21"/>
                    </a:lnTo>
                    <a:lnTo>
                      <a:pt x="284" y="25"/>
                    </a:lnTo>
                    <a:lnTo>
                      <a:pt x="282" y="26"/>
                    </a:lnTo>
                    <a:lnTo>
                      <a:pt x="282" y="25"/>
                    </a:lnTo>
                    <a:lnTo>
                      <a:pt x="278" y="26"/>
                    </a:lnTo>
                    <a:lnTo>
                      <a:pt x="277" y="28"/>
                    </a:lnTo>
                    <a:lnTo>
                      <a:pt x="275" y="30"/>
                    </a:lnTo>
                    <a:lnTo>
                      <a:pt x="275" y="26"/>
                    </a:lnTo>
                    <a:lnTo>
                      <a:pt x="278" y="19"/>
                    </a:lnTo>
                    <a:lnTo>
                      <a:pt x="275" y="18"/>
                    </a:lnTo>
                    <a:lnTo>
                      <a:pt x="275" y="18"/>
                    </a:lnTo>
                    <a:lnTo>
                      <a:pt x="277" y="14"/>
                    </a:lnTo>
                    <a:lnTo>
                      <a:pt x="277" y="11"/>
                    </a:lnTo>
                    <a:lnTo>
                      <a:pt x="277" y="9"/>
                    </a:lnTo>
                    <a:lnTo>
                      <a:pt x="275" y="9"/>
                    </a:lnTo>
                    <a:lnTo>
                      <a:pt x="270" y="14"/>
                    </a:lnTo>
                    <a:lnTo>
                      <a:pt x="270" y="19"/>
                    </a:lnTo>
                    <a:lnTo>
                      <a:pt x="266" y="26"/>
                    </a:lnTo>
                    <a:lnTo>
                      <a:pt x="266" y="30"/>
                    </a:lnTo>
                    <a:lnTo>
                      <a:pt x="266" y="32"/>
                    </a:lnTo>
                    <a:lnTo>
                      <a:pt x="266" y="33"/>
                    </a:lnTo>
                    <a:lnTo>
                      <a:pt x="261" y="38"/>
                    </a:lnTo>
                    <a:lnTo>
                      <a:pt x="259" y="42"/>
                    </a:lnTo>
                    <a:lnTo>
                      <a:pt x="259" y="38"/>
                    </a:lnTo>
                    <a:lnTo>
                      <a:pt x="258" y="37"/>
                    </a:lnTo>
                    <a:lnTo>
                      <a:pt x="261" y="32"/>
                    </a:lnTo>
                    <a:lnTo>
                      <a:pt x="261" y="28"/>
                    </a:lnTo>
                    <a:lnTo>
                      <a:pt x="263" y="26"/>
                    </a:lnTo>
                    <a:lnTo>
                      <a:pt x="261" y="23"/>
                    </a:lnTo>
                    <a:lnTo>
                      <a:pt x="266" y="18"/>
                    </a:lnTo>
                    <a:lnTo>
                      <a:pt x="266" y="14"/>
                    </a:lnTo>
                    <a:lnTo>
                      <a:pt x="268" y="14"/>
                    </a:lnTo>
                    <a:lnTo>
                      <a:pt x="268" y="11"/>
                    </a:lnTo>
                    <a:lnTo>
                      <a:pt x="265" y="11"/>
                    </a:lnTo>
                    <a:lnTo>
                      <a:pt x="261" y="9"/>
                    </a:lnTo>
                    <a:lnTo>
                      <a:pt x="259" y="11"/>
                    </a:lnTo>
                    <a:lnTo>
                      <a:pt x="261" y="11"/>
                    </a:lnTo>
                    <a:lnTo>
                      <a:pt x="259" y="14"/>
                    </a:lnTo>
                    <a:lnTo>
                      <a:pt x="258" y="11"/>
                    </a:lnTo>
                    <a:lnTo>
                      <a:pt x="256" y="11"/>
                    </a:lnTo>
                    <a:lnTo>
                      <a:pt x="252" y="9"/>
                    </a:lnTo>
                    <a:lnTo>
                      <a:pt x="251" y="11"/>
                    </a:lnTo>
                    <a:lnTo>
                      <a:pt x="251" y="14"/>
                    </a:lnTo>
                    <a:lnTo>
                      <a:pt x="251" y="16"/>
                    </a:lnTo>
                    <a:lnTo>
                      <a:pt x="251" y="14"/>
                    </a:lnTo>
                    <a:lnTo>
                      <a:pt x="247" y="14"/>
                    </a:lnTo>
                    <a:lnTo>
                      <a:pt x="247" y="14"/>
                    </a:lnTo>
                    <a:lnTo>
                      <a:pt x="247" y="16"/>
                    </a:lnTo>
                    <a:lnTo>
                      <a:pt x="251" y="18"/>
                    </a:lnTo>
                    <a:lnTo>
                      <a:pt x="251" y="21"/>
                    </a:lnTo>
                    <a:lnTo>
                      <a:pt x="251" y="23"/>
                    </a:lnTo>
                    <a:lnTo>
                      <a:pt x="247" y="19"/>
                    </a:lnTo>
                    <a:lnTo>
                      <a:pt x="247" y="23"/>
                    </a:lnTo>
                    <a:lnTo>
                      <a:pt x="247" y="25"/>
                    </a:lnTo>
                    <a:lnTo>
                      <a:pt x="247" y="26"/>
                    </a:lnTo>
                    <a:lnTo>
                      <a:pt x="247" y="26"/>
                    </a:lnTo>
                    <a:lnTo>
                      <a:pt x="242" y="25"/>
                    </a:lnTo>
                    <a:lnTo>
                      <a:pt x="242" y="25"/>
                    </a:lnTo>
                    <a:lnTo>
                      <a:pt x="240" y="28"/>
                    </a:lnTo>
                    <a:lnTo>
                      <a:pt x="238" y="30"/>
                    </a:lnTo>
                    <a:lnTo>
                      <a:pt x="238" y="32"/>
                    </a:lnTo>
                    <a:lnTo>
                      <a:pt x="240" y="32"/>
                    </a:lnTo>
                    <a:lnTo>
                      <a:pt x="237" y="33"/>
                    </a:lnTo>
                    <a:lnTo>
                      <a:pt x="235" y="37"/>
                    </a:lnTo>
                    <a:lnTo>
                      <a:pt x="238" y="38"/>
                    </a:lnTo>
                    <a:lnTo>
                      <a:pt x="237" y="42"/>
                    </a:lnTo>
                    <a:lnTo>
                      <a:pt x="238" y="42"/>
                    </a:lnTo>
                    <a:lnTo>
                      <a:pt x="240" y="42"/>
                    </a:lnTo>
                    <a:lnTo>
                      <a:pt x="238" y="44"/>
                    </a:lnTo>
                    <a:lnTo>
                      <a:pt x="233" y="44"/>
                    </a:lnTo>
                    <a:lnTo>
                      <a:pt x="233" y="38"/>
                    </a:lnTo>
                    <a:lnTo>
                      <a:pt x="231" y="38"/>
                    </a:lnTo>
                    <a:lnTo>
                      <a:pt x="233" y="38"/>
                    </a:lnTo>
                    <a:lnTo>
                      <a:pt x="230" y="37"/>
                    </a:lnTo>
                    <a:lnTo>
                      <a:pt x="228" y="37"/>
                    </a:lnTo>
                    <a:lnTo>
                      <a:pt x="223" y="37"/>
                    </a:lnTo>
                    <a:lnTo>
                      <a:pt x="219" y="32"/>
                    </a:lnTo>
                    <a:lnTo>
                      <a:pt x="218" y="32"/>
                    </a:lnTo>
                    <a:lnTo>
                      <a:pt x="216" y="33"/>
                    </a:lnTo>
                    <a:lnTo>
                      <a:pt x="214" y="32"/>
                    </a:lnTo>
                    <a:lnTo>
                      <a:pt x="212" y="33"/>
                    </a:lnTo>
                    <a:lnTo>
                      <a:pt x="209" y="33"/>
                    </a:lnTo>
                    <a:lnTo>
                      <a:pt x="209" y="37"/>
                    </a:lnTo>
                    <a:lnTo>
                      <a:pt x="212" y="42"/>
                    </a:lnTo>
                    <a:lnTo>
                      <a:pt x="214" y="42"/>
                    </a:lnTo>
                    <a:lnTo>
                      <a:pt x="216" y="42"/>
                    </a:lnTo>
                    <a:lnTo>
                      <a:pt x="219" y="42"/>
                    </a:lnTo>
                    <a:lnTo>
                      <a:pt x="219" y="45"/>
                    </a:lnTo>
                    <a:lnTo>
                      <a:pt x="219" y="49"/>
                    </a:lnTo>
                    <a:lnTo>
                      <a:pt x="219" y="52"/>
                    </a:lnTo>
                    <a:lnTo>
                      <a:pt x="219" y="54"/>
                    </a:lnTo>
                    <a:lnTo>
                      <a:pt x="219" y="52"/>
                    </a:lnTo>
                    <a:lnTo>
                      <a:pt x="216" y="49"/>
                    </a:lnTo>
                    <a:lnTo>
                      <a:pt x="214" y="47"/>
                    </a:lnTo>
                    <a:lnTo>
                      <a:pt x="211" y="45"/>
                    </a:lnTo>
                    <a:lnTo>
                      <a:pt x="211" y="49"/>
                    </a:lnTo>
                    <a:lnTo>
                      <a:pt x="207" y="51"/>
                    </a:lnTo>
                    <a:lnTo>
                      <a:pt x="207" y="45"/>
                    </a:lnTo>
                    <a:lnTo>
                      <a:pt x="204" y="49"/>
                    </a:lnTo>
                    <a:lnTo>
                      <a:pt x="204" y="51"/>
                    </a:lnTo>
                    <a:lnTo>
                      <a:pt x="202" y="52"/>
                    </a:lnTo>
                    <a:lnTo>
                      <a:pt x="202" y="56"/>
                    </a:lnTo>
                    <a:lnTo>
                      <a:pt x="205" y="58"/>
                    </a:lnTo>
                    <a:lnTo>
                      <a:pt x="207" y="61"/>
                    </a:lnTo>
                    <a:lnTo>
                      <a:pt x="204" y="61"/>
                    </a:lnTo>
                    <a:lnTo>
                      <a:pt x="202" y="59"/>
                    </a:lnTo>
                    <a:lnTo>
                      <a:pt x="200" y="61"/>
                    </a:lnTo>
                    <a:lnTo>
                      <a:pt x="200" y="65"/>
                    </a:lnTo>
                    <a:lnTo>
                      <a:pt x="197" y="66"/>
                    </a:lnTo>
                    <a:lnTo>
                      <a:pt x="197" y="65"/>
                    </a:lnTo>
                    <a:lnTo>
                      <a:pt x="200" y="65"/>
                    </a:lnTo>
                    <a:lnTo>
                      <a:pt x="197" y="61"/>
                    </a:lnTo>
                    <a:lnTo>
                      <a:pt x="200" y="58"/>
                    </a:lnTo>
                    <a:lnTo>
                      <a:pt x="197" y="47"/>
                    </a:lnTo>
                    <a:lnTo>
                      <a:pt x="197" y="49"/>
                    </a:lnTo>
                    <a:lnTo>
                      <a:pt x="193" y="54"/>
                    </a:lnTo>
                    <a:lnTo>
                      <a:pt x="192" y="59"/>
                    </a:lnTo>
                    <a:lnTo>
                      <a:pt x="193" y="61"/>
                    </a:lnTo>
                    <a:lnTo>
                      <a:pt x="190" y="65"/>
                    </a:lnTo>
                    <a:lnTo>
                      <a:pt x="190" y="61"/>
                    </a:lnTo>
                    <a:lnTo>
                      <a:pt x="192" y="58"/>
                    </a:lnTo>
                    <a:lnTo>
                      <a:pt x="190" y="52"/>
                    </a:lnTo>
                    <a:lnTo>
                      <a:pt x="188" y="52"/>
                    </a:lnTo>
                    <a:lnTo>
                      <a:pt x="185" y="54"/>
                    </a:lnTo>
                    <a:lnTo>
                      <a:pt x="183" y="59"/>
                    </a:lnTo>
                    <a:lnTo>
                      <a:pt x="185" y="61"/>
                    </a:lnTo>
                    <a:lnTo>
                      <a:pt x="185" y="65"/>
                    </a:lnTo>
                    <a:lnTo>
                      <a:pt x="188" y="70"/>
                    </a:lnTo>
                    <a:lnTo>
                      <a:pt x="190" y="70"/>
                    </a:lnTo>
                    <a:lnTo>
                      <a:pt x="188" y="73"/>
                    </a:lnTo>
                    <a:lnTo>
                      <a:pt x="186" y="70"/>
                    </a:lnTo>
                    <a:lnTo>
                      <a:pt x="183" y="70"/>
                    </a:lnTo>
                    <a:lnTo>
                      <a:pt x="181" y="61"/>
                    </a:lnTo>
                    <a:lnTo>
                      <a:pt x="179" y="61"/>
                    </a:lnTo>
                    <a:lnTo>
                      <a:pt x="174" y="61"/>
                    </a:lnTo>
                    <a:lnTo>
                      <a:pt x="174" y="65"/>
                    </a:lnTo>
                    <a:lnTo>
                      <a:pt x="179" y="70"/>
                    </a:lnTo>
                    <a:lnTo>
                      <a:pt x="181" y="70"/>
                    </a:lnTo>
                    <a:lnTo>
                      <a:pt x="183" y="70"/>
                    </a:lnTo>
                    <a:lnTo>
                      <a:pt x="179" y="70"/>
                    </a:lnTo>
                    <a:lnTo>
                      <a:pt x="178" y="70"/>
                    </a:lnTo>
                    <a:lnTo>
                      <a:pt x="178" y="73"/>
                    </a:lnTo>
                    <a:lnTo>
                      <a:pt x="174" y="72"/>
                    </a:lnTo>
                    <a:lnTo>
                      <a:pt x="174" y="66"/>
                    </a:lnTo>
                    <a:lnTo>
                      <a:pt x="174" y="66"/>
                    </a:lnTo>
                    <a:lnTo>
                      <a:pt x="174" y="65"/>
                    </a:lnTo>
                    <a:lnTo>
                      <a:pt x="172" y="65"/>
                    </a:lnTo>
                    <a:lnTo>
                      <a:pt x="171" y="70"/>
                    </a:lnTo>
                    <a:lnTo>
                      <a:pt x="172" y="72"/>
                    </a:lnTo>
                    <a:lnTo>
                      <a:pt x="172" y="75"/>
                    </a:lnTo>
                    <a:lnTo>
                      <a:pt x="169" y="73"/>
                    </a:lnTo>
                    <a:lnTo>
                      <a:pt x="165" y="75"/>
                    </a:lnTo>
                    <a:lnTo>
                      <a:pt x="164" y="78"/>
                    </a:lnTo>
                    <a:lnTo>
                      <a:pt x="164" y="78"/>
                    </a:lnTo>
                    <a:lnTo>
                      <a:pt x="165" y="78"/>
                    </a:lnTo>
                    <a:lnTo>
                      <a:pt x="169" y="82"/>
                    </a:lnTo>
                    <a:lnTo>
                      <a:pt x="165" y="82"/>
                    </a:lnTo>
                    <a:lnTo>
                      <a:pt x="164" y="84"/>
                    </a:lnTo>
                    <a:lnTo>
                      <a:pt x="165" y="84"/>
                    </a:lnTo>
                    <a:lnTo>
                      <a:pt x="164" y="84"/>
                    </a:lnTo>
                    <a:lnTo>
                      <a:pt x="162" y="87"/>
                    </a:lnTo>
                    <a:lnTo>
                      <a:pt x="162" y="89"/>
                    </a:lnTo>
                    <a:lnTo>
                      <a:pt x="162" y="89"/>
                    </a:lnTo>
                    <a:lnTo>
                      <a:pt x="160" y="89"/>
                    </a:lnTo>
                    <a:lnTo>
                      <a:pt x="159" y="87"/>
                    </a:lnTo>
                    <a:lnTo>
                      <a:pt x="157" y="89"/>
                    </a:lnTo>
                    <a:lnTo>
                      <a:pt x="155" y="89"/>
                    </a:lnTo>
                    <a:lnTo>
                      <a:pt x="155" y="92"/>
                    </a:lnTo>
                    <a:lnTo>
                      <a:pt x="155" y="92"/>
                    </a:lnTo>
                    <a:lnTo>
                      <a:pt x="150" y="92"/>
                    </a:lnTo>
                    <a:lnTo>
                      <a:pt x="148" y="96"/>
                    </a:lnTo>
                    <a:lnTo>
                      <a:pt x="152" y="98"/>
                    </a:lnTo>
                    <a:lnTo>
                      <a:pt x="159" y="96"/>
                    </a:lnTo>
                    <a:lnTo>
                      <a:pt x="160" y="96"/>
                    </a:lnTo>
                    <a:lnTo>
                      <a:pt x="164" y="96"/>
                    </a:lnTo>
                    <a:lnTo>
                      <a:pt x="165" y="96"/>
                    </a:lnTo>
                    <a:lnTo>
                      <a:pt x="165" y="96"/>
                    </a:lnTo>
                    <a:lnTo>
                      <a:pt x="164" y="99"/>
                    </a:lnTo>
                    <a:lnTo>
                      <a:pt x="164" y="105"/>
                    </a:lnTo>
                    <a:lnTo>
                      <a:pt x="162" y="105"/>
                    </a:lnTo>
                    <a:lnTo>
                      <a:pt x="160" y="103"/>
                    </a:lnTo>
                    <a:lnTo>
                      <a:pt x="160" y="101"/>
                    </a:lnTo>
                    <a:lnTo>
                      <a:pt x="159" y="101"/>
                    </a:lnTo>
                    <a:lnTo>
                      <a:pt x="157" y="99"/>
                    </a:lnTo>
                    <a:lnTo>
                      <a:pt x="155" y="99"/>
                    </a:lnTo>
                    <a:lnTo>
                      <a:pt x="155" y="101"/>
                    </a:lnTo>
                    <a:lnTo>
                      <a:pt x="155" y="103"/>
                    </a:lnTo>
                    <a:lnTo>
                      <a:pt x="150" y="101"/>
                    </a:lnTo>
                    <a:lnTo>
                      <a:pt x="148" y="103"/>
                    </a:lnTo>
                    <a:lnTo>
                      <a:pt x="152" y="105"/>
                    </a:lnTo>
                    <a:lnTo>
                      <a:pt x="152" y="106"/>
                    </a:lnTo>
                    <a:lnTo>
                      <a:pt x="150" y="106"/>
                    </a:lnTo>
                    <a:lnTo>
                      <a:pt x="150" y="110"/>
                    </a:lnTo>
                    <a:lnTo>
                      <a:pt x="150" y="112"/>
                    </a:lnTo>
                    <a:lnTo>
                      <a:pt x="150" y="112"/>
                    </a:lnTo>
                    <a:lnTo>
                      <a:pt x="148" y="112"/>
                    </a:lnTo>
                    <a:lnTo>
                      <a:pt x="148" y="108"/>
                    </a:lnTo>
                    <a:lnTo>
                      <a:pt x="146" y="105"/>
                    </a:lnTo>
                    <a:lnTo>
                      <a:pt x="143" y="106"/>
                    </a:lnTo>
                    <a:lnTo>
                      <a:pt x="141" y="108"/>
                    </a:lnTo>
                    <a:lnTo>
                      <a:pt x="141" y="106"/>
                    </a:lnTo>
                    <a:lnTo>
                      <a:pt x="141" y="105"/>
                    </a:lnTo>
                    <a:lnTo>
                      <a:pt x="139" y="105"/>
                    </a:lnTo>
                    <a:lnTo>
                      <a:pt x="136" y="106"/>
                    </a:lnTo>
                    <a:lnTo>
                      <a:pt x="139" y="110"/>
                    </a:lnTo>
                    <a:lnTo>
                      <a:pt x="143" y="110"/>
                    </a:lnTo>
                    <a:lnTo>
                      <a:pt x="146" y="112"/>
                    </a:lnTo>
                    <a:lnTo>
                      <a:pt x="143" y="115"/>
                    </a:lnTo>
                    <a:lnTo>
                      <a:pt x="138" y="115"/>
                    </a:lnTo>
                    <a:lnTo>
                      <a:pt x="136" y="112"/>
                    </a:lnTo>
                    <a:lnTo>
                      <a:pt x="134" y="112"/>
                    </a:lnTo>
                    <a:lnTo>
                      <a:pt x="132" y="115"/>
                    </a:lnTo>
                    <a:lnTo>
                      <a:pt x="134" y="120"/>
                    </a:lnTo>
                    <a:lnTo>
                      <a:pt x="132" y="120"/>
                    </a:lnTo>
                    <a:lnTo>
                      <a:pt x="134" y="120"/>
                    </a:lnTo>
                    <a:lnTo>
                      <a:pt x="138" y="118"/>
                    </a:lnTo>
                    <a:lnTo>
                      <a:pt x="141" y="118"/>
                    </a:lnTo>
                    <a:lnTo>
                      <a:pt x="143" y="120"/>
                    </a:lnTo>
                    <a:lnTo>
                      <a:pt x="138" y="120"/>
                    </a:lnTo>
                    <a:lnTo>
                      <a:pt x="138" y="124"/>
                    </a:lnTo>
                    <a:lnTo>
                      <a:pt x="139" y="125"/>
                    </a:lnTo>
                    <a:lnTo>
                      <a:pt x="143" y="127"/>
                    </a:lnTo>
                    <a:lnTo>
                      <a:pt x="143" y="131"/>
                    </a:lnTo>
                    <a:lnTo>
                      <a:pt x="139" y="129"/>
                    </a:lnTo>
                    <a:lnTo>
                      <a:pt x="138" y="129"/>
                    </a:lnTo>
                    <a:lnTo>
                      <a:pt x="136" y="125"/>
                    </a:lnTo>
                    <a:lnTo>
                      <a:pt x="134" y="125"/>
                    </a:lnTo>
                    <a:lnTo>
                      <a:pt x="131" y="127"/>
                    </a:lnTo>
                    <a:lnTo>
                      <a:pt x="134" y="131"/>
                    </a:lnTo>
                    <a:lnTo>
                      <a:pt x="131" y="131"/>
                    </a:lnTo>
                    <a:lnTo>
                      <a:pt x="127" y="132"/>
                    </a:lnTo>
                    <a:lnTo>
                      <a:pt x="127" y="134"/>
                    </a:lnTo>
                    <a:lnTo>
                      <a:pt x="131" y="136"/>
                    </a:lnTo>
                    <a:lnTo>
                      <a:pt x="134" y="134"/>
                    </a:lnTo>
                    <a:lnTo>
                      <a:pt x="136" y="136"/>
                    </a:lnTo>
                    <a:lnTo>
                      <a:pt x="139" y="136"/>
                    </a:lnTo>
                    <a:lnTo>
                      <a:pt x="139" y="138"/>
                    </a:lnTo>
                    <a:lnTo>
                      <a:pt x="141" y="139"/>
                    </a:lnTo>
                    <a:lnTo>
                      <a:pt x="141" y="141"/>
                    </a:lnTo>
                    <a:lnTo>
                      <a:pt x="138" y="138"/>
                    </a:lnTo>
                    <a:lnTo>
                      <a:pt x="134" y="138"/>
                    </a:lnTo>
                    <a:lnTo>
                      <a:pt x="132" y="139"/>
                    </a:lnTo>
                    <a:lnTo>
                      <a:pt x="127" y="141"/>
                    </a:lnTo>
                    <a:lnTo>
                      <a:pt x="127" y="143"/>
                    </a:lnTo>
                    <a:lnTo>
                      <a:pt x="124" y="143"/>
                    </a:lnTo>
                    <a:lnTo>
                      <a:pt x="124" y="143"/>
                    </a:lnTo>
                    <a:lnTo>
                      <a:pt x="120" y="146"/>
                    </a:lnTo>
                    <a:lnTo>
                      <a:pt x="117" y="146"/>
                    </a:lnTo>
                    <a:lnTo>
                      <a:pt x="117" y="146"/>
                    </a:lnTo>
                    <a:lnTo>
                      <a:pt x="120" y="146"/>
                    </a:lnTo>
                    <a:lnTo>
                      <a:pt x="120" y="151"/>
                    </a:lnTo>
                    <a:lnTo>
                      <a:pt x="119" y="151"/>
                    </a:lnTo>
                    <a:lnTo>
                      <a:pt x="119" y="151"/>
                    </a:lnTo>
                    <a:lnTo>
                      <a:pt x="117" y="151"/>
                    </a:lnTo>
                    <a:lnTo>
                      <a:pt x="119" y="153"/>
                    </a:lnTo>
                    <a:lnTo>
                      <a:pt x="119" y="153"/>
                    </a:lnTo>
                    <a:lnTo>
                      <a:pt x="115" y="153"/>
                    </a:lnTo>
                    <a:lnTo>
                      <a:pt x="115" y="153"/>
                    </a:lnTo>
                    <a:lnTo>
                      <a:pt x="113" y="153"/>
                    </a:lnTo>
                    <a:lnTo>
                      <a:pt x="115" y="155"/>
                    </a:lnTo>
                    <a:lnTo>
                      <a:pt x="115" y="157"/>
                    </a:lnTo>
                    <a:lnTo>
                      <a:pt x="115" y="158"/>
                    </a:lnTo>
                    <a:lnTo>
                      <a:pt x="117" y="158"/>
                    </a:lnTo>
                    <a:lnTo>
                      <a:pt x="115" y="160"/>
                    </a:lnTo>
                    <a:lnTo>
                      <a:pt x="113" y="160"/>
                    </a:lnTo>
                    <a:lnTo>
                      <a:pt x="112" y="158"/>
                    </a:lnTo>
                    <a:lnTo>
                      <a:pt x="112" y="162"/>
                    </a:lnTo>
                    <a:lnTo>
                      <a:pt x="110" y="164"/>
                    </a:lnTo>
                    <a:lnTo>
                      <a:pt x="112" y="164"/>
                    </a:lnTo>
                    <a:lnTo>
                      <a:pt x="117" y="165"/>
                    </a:lnTo>
                    <a:lnTo>
                      <a:pt x="117" y="167"/>
                    </a:lnTo>
                    <a:lnTo>
                      <a:pt x="120" y="169"/>
                    </a:lnTo>
                    <a:lnTo>
                      <a:pt x="120" y="167"/>
                    </a:lnTo>
                    <a:lnTo>
                      <a:pt x="120" y="169"/>
                    </a:lnTo>
                    <a:lnTo>
                      <a:pt x="120" y="171"/>
                    </a:lnTo>
                    <a:lnTo>
                      <a:pt x="117" y="171"/>
                    </a:lnTo>
                    <a:lnTo>
                      <a:pt x="115" y="169"/>
                    </a:lnTo>
                    <a:lnTo>
                      <a:pt x="112" y="171"/>
                    </a:lnTo>
                    <a:lnTo>
                      <a:pt x="108" y="171"/>
                    </a:lnTo>
                    <a:lnTo>
                      <a:pt x="108" y="174"/>
                    </a:lnTo>
                    <a:lnTo>
                      <a:pt x="112" y="174"/>
                    </a:lnTo>
                    <a:lnTo>
                      <a:pt x="112" y="174"/>
                    </a:lnTo>
                    <a:lnTo>
                      <a:pt x="113" y="176"/>
                    </a:lnTo>
                    <a:lnTo>
                      <a:pt x="113" y="179"/>
                    </a:lnTo>
                    <a:lnTo>
                      <a:pt x="112" y="178"/>
                    </a:lnTo>
                    <a:lnTo>
                      <a:pt x="110" y="178"/>
                    </a:lnTo>
                    <a:lnTo>
                      <a:pt x="108" y="179"/>
                    </a:lnTo>
                    <a:lnTo>
                      <a:pt x="108" y="181"/>
                    </a:lnTo>
                    <a:lnTo>
                      <a:pt x="108" y="183"/>
                    </a:lnTo>
                    <a:lnTo>
                      <a:pt x="110" y="185"/>
                    </a:lnTo>
                    <a:lnTo>
                      <a:pt x="110" y="186"/>
                    </a:lnTo>
                    <a:lnTo>
                      <a:pt x="108" y="186"/>
                    </a:lnTo>
                    <a:lnTo>
                      <a:pt x="106" y="185"/>
                    </a:lnTo>
                    <a:lnTo>
                      <a:pt x="105" y="185"/>
                    </a:lnTo>
                    <a:lnTo>
                      <a:pt x="105" y="188"/>
                    </a:lnTo>
                    <a:lnTo>
                      <a:pt x="108" y="190"/>
                    </a:lnTo>
                    <a:lnTo>
                      <a:pt x="108" y="190"/>
                    </a:lnTo>
                    <a:lnTo>
                      <a:pt x="108" y="193"/>
                    </a:lnTo>
                    <a:lnTo>
                      <a:pt x="105" y="190"/>
                    </a:lnTo>
                    <a:lnTo>
                      <a:pt x="103" y="191"/>
                    </a:lnTo>
                    <a:lnTo>
                      <a:pt x="103" y="193"/>
                    </a:lnTo>
                    <a:lnTo>
                      <a:pt x="105" y="193"/>
                    </a:lnTo>
                    <a:lnTo>
                      <a:pt x="103" y="197"/>
                    </a:lnTo>
                    <a:lnTo>
                      <a:pt x="105" y="198"/>
                    </a:lnTo>
                    <a:lnTo>
                      <a:pt x="106" y="198"/>
                    </a:lnTo>
                    <a:lnTo>
                      <a:pt x="108" y="197"/>
                    </a:lnTo>
                    <a:lnTo>
                      <a:pt x="110" y="197"/>
                    </a:lnTo>
                    <a:lnTo>
                      <a:pt x="108" y="202"/>
                    </a:lnTo>
                    <a:lnTo>
                      <a:pt x="106" y="202"/>
                    </a:lnTo>
                    <a:lnTo>
                      <a:pt x="103" y="205"/>
                    </a:lnTo>
                    <a:lnTo>
                      <a:pt x="101" y="205"/>
                    </a:lnTo>
                    <a:lnTo>
                      <a:pt x="101" y="205"/>
                    </a:lnTo>
                    <a:lnTo>
                      <a:pt x="101" y="205"/>
                    </a:lnTo>
                    <a:lnTo>
                      <a:pt x="98" y="207"/>
                    </a:lnTo>
                    <a:lnTo>
                      <a:pt x="96" y="209"/>
                    </a:lnTo>
                    <a:lnTo>
                      <a:pt x="98" y="211"/>
                    </a:lnTo>
                    <a:lnTo>
                      <a:pt x="96" y="212"/>
                    </a:lnTo>
                    <a:lnTo>
                      <a:pt x="92" y="212"/>
                    </a:lnTo>
                    <a:lnTo>
                      <a:pt x="91" y="216"/>
                    </a:lnTo>
                    <a:lnTo>
                      <a:pt x="91" y="218"/>
                    </a:lnTo>
                    <a:lnTo>
                      <a:pt x="92" y="218"/>
                    </a:lnTo>
                    <a:lnTo>
                      <a:pt x="91" y="219"/>
                    </a:lnTo>
                    <a:lnTo>
                      <a:pt x="91" y="221"/>
                    </a:lnTo>
                    <a:lnTo>
                      <a:pt x="87" y="221"/>
                    </a:lnTo>
                    <a:lnTo>
                      <a:pt x="87" y="219"/>
                    </a:lnTo>
                    <a:lnTo>
                      <a:pt x="86" y="219"/>
                    </a:lnTo>
                    <a:lnTo>
                      <a:pt x="84" y="221"/>
                    </a:lnTo>
                    <a:lnTo>
                      <a:pt x="82" y="221"/>
                    </a:lnTo>
                    <a:lnTo>
                      <a:pt x="82" y="221"/>
                    </a:lnTo>
                    <a:lnTo>
                      <a:pt x="80" y="225"/>
                    </a:lnTo>
                    <a:lnTo>
                      <a:pt x="80" y="225"/>
                    </a:lnTo>
                    <a:lnTo>
                      <a:pt x="80" y="228"/>
                    </a:lnTo>
                    <a:lnTo>
                      <a:pt x="79" y="228"/>
                    </a:lnTo>
                    <a:lnTo>
                      <a:pt x="75" y="228"/>
                    </a:lnTo>
                    <a:lnTo>
                      <a:pt x="75" y="233"/>
                    </a:lnTo>
                    <a:lnTo>
                      <a:pt x="73" y="233"/>
                    </a:lnTo>
                    <a:lnTo>
                      <a:pt x="73" y="233"/>
                    </a:lnTo>
                    <a:lnTo>
                      <a:pt x="73" y="238"/>
                    </a:lnTo>
                    <a:lnTo>
                      <a:pt x="70" y="240"/>
                    </a:lnTo>
                    <a:lnTo>
                      <a:pt x="68" y="242"/>
                    </a:lnTo>
                    <a:lnTo>
                      <a:pt x="70" y="244"/>
                    </a:lnTo>
                    <a:lnTo>
                      <a:pt x="73" y="242"/>
                    </a:lnTo>
                    <a:lnTo>
                      <a:pt x="73" y="242"/>
                    </a:lnTo>
                    <a:lnTo>
                      <a:pt x="73" y="244"/>
                    </a:lnTo>
                    <a:lnTo>
                      <a:pt x="70" y="245"/>
                    </a:lnTo>
                    <a:lnTo>
                      <a:pt x="70" y="249"/>
                    </a:lnTo>
                    <a:lnTo>
                      <a:pt x="73" y="251"/>
                    </a:lnTo>
                    <a:lnTo>
                      <a:pt x="79" y="249"/>
                    </a:lnTo>
                    <a:lnTo>
                      <a:pt x="80" y="249"/>
                    </a:lnTo>
                    <a:lnTo>
                      <a:pt x="86" y="244"/>
                    </a:lnTo>
                    <a:lnTo>
                      <a:pt x="86" y="240"/>
                    </a:lnTo>
                    <a:lnTo>
                      <a:pt x="84" y="242"/>
                    </a:lnTo>
                    <a:lnTo>
                      <a:pt x="86" y="238"/>
                    </a:lnTo>
                    <a:lnTo>
                      <a:pt x="86" y="235"/>
                    </a:lnTo>
                    <a:lnTo>
                      <a:pt x="87" y="233"/>
                    </a:lnTo>
                    <a:lnTo>
                      <a:pt x="89" y="233"/>
                    </a:lnTo>
                    <a:lnTo>
                      <a:pt x="92" y="233"/>
                    </a:lnTo>
                    <a:lnTo>
                      <a:pt x="92" y="233"/>
                    </a:lnTo>
                    <a:lnTo>
                      <a:pt x="89" y="237"/>
                    </a:lnTo>
                    <a:lnTo>
                      <a:pt x="89" y="238"/>
                    </a:lnTo>
                    <a:lnTo>
                      <a:pt x="92" y="240"/>
                    </a:lnTo>
                    <a:lnTo>
                      <a:pt x="92" y="242"/>
                    </a:lnTo>
                    <a:lnTo>
                      <a:pt x="89" y="242"/>
                    </a:lnTo>
                    <a:lnTo>
                      <a:pt x="84" y="247"/>
                    </a:lnTo>
                    <a:lnTo>
                      <a:pt x="87" y="249"/>
                    </a:lnTo>
                    <a:lnTo>
                      <a:pt x="86" y="252"/>
                    </a:lnTo>
                    <a:lnTo>
                      <a:pt x="86" y="256"/>
                    </a:lnTo>
                    <a:lnTo>
                      <a:pt x="82" y="252"/>
                    </a:lnTo>
                    <a:lnTo>
                      <a:pt x="80" y="252"/>
                    </a:lnTo>
                    <a:lnTo>
                      <a:pt x="79" y="252"/>
                    </a:lnTo>
                    <a:lnTo>
                      <a:pt x="75" y="252"/>
                    </a:lnTo>
                    <a:lnTo>
                      <a:pt x="73" y="256"/>
                    </a:lnTo>
                    <a:lnTo>
                      <a:pt x="73" y="258"/>
                    </a:lnTo>
                    <a:lnTo>
                      <a:pt x="70" y="259"/>
                    </a:lnTo>
                    <a:lnTo>
                      <a:pt x="70" y="256"/>
                    </a:lnTo>
                    <a:lnTo>
                      <a:pt x="73" y="256"/>
                    </a:lnTo>
                    <a:lnTo>
                      <a:pt x="70" y="252"/>
                    </a:lnTo>
                    <a:lnTo>
                      <a:pt x="70" y="251"/>
                    </a:lnTo>
                    <a:lnTo>
                      <a:pt x="70" y="247"/>
                    </a:lnTo>
                    <a:lnTo>
                      <a:pt x="66" y="247"/>
                    </a:lnTo>
                    <a:lnTo>
                      <a:pt x="65" y="249"/>
                    </a:lnTo>
                    <a:lnTo>
                      <a:pt x="61" y="251"/>
                    </a:lnTo>
                    <a:lnTo>
                      <a:pt x="61" y="252"/>
                    </a:lnTo>
                    <a:lnTo>
                      <a:pt x="66" y="252"/>
                    </a:lnTo>
                    <a:lnTo>
                      <a:pt x="61" y="256"/>
                    </a:lnTo>
                    <a:lnTo>
                      <a:pt x="59" y="252"/>
                    </a:lnTo>
                    <a:lnTo>
                      <a:pt x="56" y="252"/>
                    </a:lnTo>
                    <a:lnTo>
                      <a:pt x="53" y="256"/>
                    </a:lnTo>
                    <a:lnTo>
                      <a:pt x="54" y="256"/>
                    </a:lnTo>
                    <a:lnTo>
                      <a:pt x="56" y="256"/>
                    </a:lnTo>
                    <a:lnTo>
                      <a:pt x="58" y="258"/>
                    </a:lnTo>
                    <a:lnTo>
                      <a:pt x="54" y="259"/>
                    </a:lnTo>
                    <a:lnTo>
                      <a:pt x="53" y="261"/>
                    </a:lnTo>
                    <a:lnTo>
                      <a:pt x="51" y="259"/>
                    </a:lnTo>
                    <a:lnTo>
                      <a:pt x="47" y="259"/>
                    </a:lnTo>
                    <a:lnTo>
                      <a:pt x="47" y="261"/>
                    </a:lnTo>
                    <a:lnTo>
                      <a:pt x="51" y="263"/>
                    </a:lnTo>
                    <a:lnTo>
                      <a:pt x="56" y="263"/>
                    </a:lnTo>
                    <a:lnTo>
                      <a:pt x="54" y="266"/>
                    </a:lnTo>
                    <a:lnTo>
                      <a:pt x="58" y="266"/>
                    </a:lnTo>
                    <a:lnTo>
                      <a:pt x="58" y="270"/>
                    </a:lnTo>
                    <a:lnTo>
                      <a:pt x="53" y="268"/>
                    </a:lnTo>
                    <a:lnTo>
                      <a:pt x="53" y="265"/>
                    </a:lnTo>
                    <a:lnTo>
                      <a:pt x="51" y="265"/>
                    </a:lnTo>
                    <a:lnTo>
                      <a:pt x="47" y="263"/>
                    </a:lnTo>
                    <a:lnTo>
                      <a:pt x="47" y="261"/>
                    </a:lnTo>
                    <a:lnTo>
                      <a:pt x="46" y="261"/>
                    </a:lnTo>
                    <a:lnTo>
                      <a:pt x="46" y="263"/>
                    </a:lnTo>
                    <a:lnTo>
                      <a:pt x="47" y="268"/>
                    </a:lnTo>
                    <a:lnTo>
                      <a:pt x="51" y="270"/>
                    </a:lnTo>
                    <a:lnTo>
                      <a:pt x="53" y="270"/>
                    </a:lnTo>
                    <a:lnTo>
                      <a:pt x="54" y="271"/>
                    </a:lnTo>
                    <a:lnTo>
                      <a:pt x="51" y="271"/>
                    </a:lnTo>
                    <a:lnTo>
                      <a:pt x="47" y="270"/>
                    </a:lnTo>
                    <a:lnTo>
                      <a:pt x="44" y="265"/>
                    </a:lnTo>
                    <a:lnTo>
                      <a:pt x="39" y="266"/>
                    </a:lnTo>
                    <a:lnTo>
                      <a:pt x="39" y="265"/>
                    </a:lnTo>
                    <a:lnTo>
                      <a:pt x="35" y="265"/>
                    </a:lnTo>
                    <a:lnTo>
                      <a:pt x="33" y="263"/>
                    </a:lnTo>
                    <a:lnTo>
                      <a:pt x="32" y="265"/>
                    </a:lnTo>
                    <a:lnTo>
                      <a:pt x="32" y="268"/>
                    </a:lnTo>
                    <a:lnTo>
                      <a:pt x="30" y="270"/>
                    </a:lnTo>
                    <a:lnTo>
                      <a:pt x="33" y="271"/>
                    </a:lnTo>
                    <a:lnTo>
                      <a:pt x="39" y="270"/>
                    </a:lnTo>
                    <a:lnTo>
                      <a:pt x="39" y="271"/>
                    </a:lnTo>
                    <a:lnTo>
                      <a:pt x="37" y="273"/>
                    </a:lnTo>
                    <a:lnTo>
                      <a:pt x="39" y="273"/>
                    </a:lnTo>
                    <a:lnTo>
                      <a:pt x="44" y="271"/>
                    </a:lnTo>
                    <a:lnTo>
                      <a:pt x="46" y="271"/>
                    </a:lnTo>
                    <a:lnTo>
                      <a:pt x="44" y="273"/>
                    </a:lnTo>
                    <a:lnTo>
                      <a:pt x="39" y="275"/>
                    </a:lnTo>
                    <a:lnTo>
                      <a:pt x="37" y="278"/>
                    </a:lnTo>
                    <a:lnTo>
                      <a:pt x="33" y="278"/>
                    </a:lnTo>
                    <a:lnTo>
                      <a:pt x="30" y="273"/>
                    </a:lnTo>
                    <a:lnTo>
                      <a:pt x="28" y="273"/>
                    </a:lnTo>
                    <a:lnTo>
                      <a:pt x="28" y="275"/>
                    </a:lnTo>
                    <a:lnTo>
                      <a:pt x="25" y="273"/>
                    </a:lnTo>
                    <a:lnTo>
                      <a:pt x="23" y="275"/>
                    </a:lnTo>
                    <a:lnTo>
                      <a:pt x="23" y="273"/>
                    </a:lnTo>
                    <a:lnTo>
                      <a:pt x="20" y="275"/>
                    </a:lnTo>
                    <a:lnTo>
                      <a:pt x="20" y="275"/>
                    </a:lnTo>
                    <a:lnTo>
                      <a:pt x="25" y="275"/>
                    </a:lnTo>
                    <a:lnTo>
                      <a:pt x="28" y="278"/>
                    </a:lnTo>
                    <a:lnTo>
                      <a:pt x="32" y="280"/>
                    </a:lnTo>
                    <a:lnTo>
                      <a:pt x="32" y="284"/>
                    </a:lnTo>
                    <a:lnTo>
                      <a:pt x="32" y="285"/>
                    </a:lnTo>
                    <a:lnTo>
                      <a:pt x="30" y="287"/>
                    </a:lnTo>
                    <a:lnTo>
                      <a:pt x="28" y="285"/>
                    </a:lnTo>
                    <a:lnTo>
                      <a:pt x="28" y="280"/>
                    </a:lnTo>
                    <a:lnTo>
                      <a:pt x="28" y="280"/>
                    </a:lnTo>
                    <a:lnTo>
                      <a:pt x="25" y="280"/>
                    </a:lnTo>
                    <a:lnTo>
                      <a:pt x="25" y="284"/>
                    </a:lnTo>
                    <a:lnTo>
                      <a:pt x="25" y="284"/>
                    </a:lnTo>
                    <a:lnTo>
                      <a:pt x="20" y="284"/>
                    </a:lnTo>
                    <a:lnTo>
                      <a:pt x="16" y="285"/>
                    </a:lnTo>
                    <a:lnTo>
                      <a:pt x="20" y="287"/>
                    </a:lnTo>
                    <a:lnTo>
                      <a:pt x="16" y="289"/>
                    </a:lnTo>
                    <a:lnTo>
                      <a:pt x="16" y="289"/>
                    </a:lnTo>
                    <a:lnTo>
                      <a:pt x="14" y="285"/>
                    </a:lnTo>
                    <a:lnTo>
                      <a:pt x="9" y="285"/>
                    </a:lnTo>
                    <a:lnTo>
                      <a:pt x="11" y="289"/>
                    </a:lnTo>
                    <a:lnTo>
                      <a:pt x="9" y="291"/>
                    </a:lnTo>
                    <a:lnTo>
                      <a:pt x="9" y="287"/>
                    </a:lnTo>
                    <a:lnTo>
                      <a:pt x="6" y="284"/>
                    </a:lnTo>
                    <a:lnTo>
                      <a:pt x="6" y="285"/>
                    </a:lnTo>
                    <a:lnTo>
                      <a:pt x="6" y="287"/>
                    </a:lnTo>
                    <a:lnTo>
                      <a:pt x="7" y="291"/>
                    </a:lnTo>
                    <a:lnTo>
                      <a:pt x="6" y="292"/>
                    </a:lnTo>
                    <a:lnTo>
                      <a:pt x="7" y="294"/>
                    </a:lnTo>
                    <a:lnTo>
                      <a:pt x="11" y="292"/>
                    </a:lnTo>
                    <a:lnTo>
                      <a:pt x="16" y="294"/>
                    </a:lnTo>
                    <a:lnTo>
                      <a:pt x="20" y="296"/>
                    </a:lnTo>
                    <a:lnTo>
                      <a:pt x="25" y="296"/>
                    </a:lnTo>
                    <a:lnTo>
                      <a:pt x="25" y="294"/>
                    </a:lnTo>
                    <a:lnTo>
                      <a:pt x="28" y="294"/>
                    </a:lnTo>
                    <a:lnTo>
                      <a:pt x="25" y="298"/>
                    </a:lnTo>
                    <a:lnTo>
                      <a:pt x="20" y="298"/>
                    </a:lnTo>
                    <a:lnTo>
                      <a:pt x="20" y="298"/>
                    </a:lnTo>
                    <a:lnTo>
                      <a:pt x="14" y="296"/>
                    </a:lnTo>
                    <a:lnTo>
                      <a:pt x="11" y="296"/>
                    </a:lnTo>
                    <a:lnTo>
                      <a:pt x="9" y="296"/>
                    </a:lnTo>
                    <a:lnTo>
                      <a:pt x="6" y="298"/>
                    </a:lnTo>
                    <a:lnTo>
                      <a:pt x="2" y="298"/>
                    </a:lnTo>
                    <a:lnTo>
                      <a:pt x="2" y="299"/>
                    </a:lnTo>
                    <a:lnTo>
                      <a:pt x="7" y="303"/>
                    </a:lnTo>
                    <a:lnTo>
                      <a:pt x="6" y="303"/>
                    </a:lnTo>
                    <a:lnTo>
                      <a:pt x="9" y="306"/>
                    </a:lnTo>
                    <a:lnTo>
                      <a:pt x="11" y="303"/>
                    </a:lnTo>
                    <a:lnTo>
                      <a:pt x="16" y="303"/>
                    </a:lnTo>
                    <a:lnTo>
                      <a:pt x="13" y="306"/>
                    </a:lnTo>
                    <a:lnTo>
                      <a:pt x="7" y="306"/>
                    </a:lnTo>
                    <a:lnTo>
                      <a:pt x="6" y="306"/>
                    </a:lnTo>
                    <a:lnTo>
                      <a:pt x="6" y="306"/>
                    </a:lnTo>
                    <a:lnTo>
                      <a:pt x="6" y="306"/>
                    </a:lnTo>
                    <a:lnTo>
                      <a:pt x="6" y="308"/>
                    </a:lnTo>
                    <a:lnTo>
                      <a:pt x="9" y="308"/>
                    </a:lnTo>
                    <a:lnTo>
                      <a:pt x="6" y="310"/>
                    </a:lnTo>
                    <a:lnTo>
                      <a:pt x="6" y="310"/>
                    </a:lnTo>
                    <a:lnTo>
                      <a:pt x="6" y="311"/>
                    </a:lnTo>
                    <a:lnTo>
                      <a:pt x="6" y="315"/>
                    </a:lnTo>
                    <a:lnTo>
                      <a:pt x="7" y="315"/>
                    </a:lnTo>
                    <a:lnTo>
                      <a:pt x="11" y="315"/>
                    </a:lnTo>
                    <a:lnTo>
                      <a:pt x="14" y="315"/>
                    </a:lnTo>
                    <a:lnTo>
                      <a:pt x="20" y="311"/>
                    </a:lnTo>
                    <a:lnTo>
                      <a:pt x="23" y="315"/>
                    </a:lnTo>
                    <a:lnTo>
                      <a:pt x="25" y="315"/>
                    </a:lnTo>
                    <a:lnTo>
                      <a:pt x="25" y="311"/>
                    </a:lnTo>
                    <a:lnTo>
                      <a:pt x="25" y="310"/>
                    </a:lnTo>
                    <a:lnTo>
                      <a:pt x="28" y="310"/>
                    </a:lnTo>
                    <a:lnTo>
                      <a:pt x="28" y="311"/>
                    </a:lnTo>
                    <a:lnTo>
                      <a:pt x="32" y="311"/>
                    </a:lnTo>
                    <a:lnTo>
                      <a:pt x="35" y="308"/>
                    </a:lnTo>
                    <a:lnTo>
                      <a:pt x="37" y="308"/>
                    </a:lnTo>
                    <a:lnTo>
                      <a:pt x="35" y="310"/>
                    </a:lnTo>
                    <a:lnTo>
                      <a:pt x="33" y="311"/>
                    </a:lnTo>
                    <a:lnTo>
                      <a:pt x="37" y="315"/>
                    </a:lnTo>
                    <a:lnTo>
                      <a:pt x="39" y="311"/>
                    </a:lnTo>
                    <a:lnTo>
                      <a:pt x="39" y="310"/>
                    </a:lnTo>
                    <a:lnTo>
                      <a:pt x="39" y="306"/>
                    </a:lnTo>
                    <a:lnTo>
                      <a:pt x="39" y="308"/>
                    </a:lnTo>
                    <a:lnTo>
                      <a:pt x="44" y="311"/>
                    </a:lnTo>
                    <a:lnTo>
                      <a:pt x="39" y="315"/>
                    </a:lnTo>
                    <a:lnTo>
                      <a:pt x="37" y="315"/>
                    </a:lnTo>
                    <a:lnTo>
                      <a:pt x="33" y="317"/>
                    </a:lnTo>
                    <a:lnTo>
                      <a:pt x="35" y="318"/>
                    </a:lnTo>
                    <a:lnTo>
                      <a:pt x="33" y="320"/>
                    </a:lnTo>
                    <a:lnTo>
                      <a:pt x="30" y="322"/>
                    </a:lnTo>
                    <a:lnTo>
                      <a:pt x="30" y="320"/>
                    </a:lnTo>
                    <a:lnTo>
                      <a:pt x="32" y="318"/>
                    </a:lnTo>
                    <a:lnTo>
                      <a:pt x="30" y="315"/>
                    </a:lnTo>
                    <a:lnTo>
                      <a:pt x="28" y="315"/>
                    </a:lnTo>
                    <a:lnTo>
                      <a:pt x="25" y="318"/>
                    </a:lnTo>
                    <a:lnTo>
                      <a:pt x="25" y="320"/>
                    </a:lnTo>
                    <a:lnTo>
                      <a:pt x="23" y="317"/>
                    </a:lnTo>
                    <a:lnTo>
                      <a:pt x="20" y="315"/>
                    </a:lnTo>
                    <a:lnTo>
                      <a:pt x="16" y="317"/>
                    </a:lnTo>
                    <a:lnTo>
                      <a:pt x="13" y="315"/>
                    </a:lnTo>
                    <a:lnTo>
                      <a:pt x="9" y="318"/>
                    </a:lnTo>
                    <a:lnTo>
                      <a:pt x="6" y="318"/>
                    </a:lnTo>
                    <a:lnTo>
                      <a:pt x="6" y="317"/>
                    </a:lnTo>
                    <a:lnTo>
                      <a:pt x="2" y="317"/>
                    </a:lnTo>
                    <a:lnTo>
                      <a:pt x="6" y="320"/>
                    </a:lnTo>
                    <a:lnTo>
                      <a:pt x="6" y="322"/>
                    </a:lnTo>
                    <a:lnTo>
                      <a:pt x="6" y="324"/>
                    </a:lnTo>
                    <a:lnTo>
                      <a:pt x="7" y="322"/>
                    </a:lnTo>
                    <a:lnTo>
                      <a:pt x="9" y="320"/>
                    </a:lnTo>
                    <a:lnTo>
                      <a:pt x="11" y="320"/>
                    </a:lnTo>
                    <a:lnTo>
                      <a:pt x="9" y="324"/>
                    </a:lnTo>
                    <a:lnTo>
                      <a:pt x="9" y="325"/>
                    </a:lnTo>
                    <a:lnTo>
                      <a:pt x="7" y="325"/>
                    </a:lnTo>
                    <a:lnTo>
                      <a:pt x="6" y="325"/>
                    </a:lnTo>
                    <a:lnTo>
                      <a:pt x="6" y="331"/>
                    </a:lnTo>
                    <a:lnTo>
                      <a:pt x="9" y="332"/>
                    </a:lnTo>
                    <a:lnTo>
                      <a:pt x="14" y="325"/>
                    </a:lnTo>
                    <a:lnTo>
                      <a:pt x="16" y="325"/>
                    </a:lnTo>
                    <a:lnTo>
                      <a:pt x="16" y="329"/>
                    </a:lnTo>
                    <a:lnTo>
                      <a:pt x="16" y="332"/>
                    </a:lnTo>
                    <a:lnTo>
                      <a:pt x="11" y="334"/>
                    </a:lnTo>
                    <a:lnTo>
                      <a:pt x="13" y="334"/>
                    </a:lnTo>
                    <a:lnTo>
                      <a:pt x="14" y="334"/>
                    </a:lnTo>
                    <a:lnTo>
                      <a:pt x="14" y="338"/>
                    </a:lnTo>
                    <a:lnTo>
                      <a:pt x="16" y="339"/>
                    </a:lnTo>
                    <a:lnTo>
                      <a:pt x="14" y="343"/>
                    </a:lnTo>
                    <a:lnTo>
                      <a:pt x="16" y="343"/>
                    </a:lnTo>
                    <a:lnTo>
                      <a:pt x="16" y="339"/>
                    </a:lnTo>
                    <a:lnTo>
                      <a:pt x="20" y="338"/>
                    </a:lnTo>
                    <a:lnTo>
                      <a:pt x="20" y="334"/>
                    </a:lnTo>
                    <a:lnTo>
                      <a:pt x="28" y="332"/>
                    </a:lnTo>
                    <a:lnTo>
                      <a:pt x="30" y="332"/>
                    </a:lnTo>
                    <a:lnTo>
                      <a:pt x="32" y="332"/>
                    </a:lnTo>
                    <a:lnTo>
                      <a:pt x="30" y="334"/>
                    </a:lnTo>
                    <a:lnTo>
                      <a:pt x="28" y="334"/>
                    </a:lnTo>
                    <a:lnTo>
                      <a:pt x="28" y="339"/>
                    </a:lnTo>
                    <a:lnTo>
                      <a:pt x="28" y="341"/>
                    </a:lnTo>
                    <a:lnTo>
                      <a:pt x="25" y="339"/>
                    </a:lnTo>
                    <a:lnTo>
                      <a:pt x="25" y="338"/>
                    </a:lnTo>
                    <a:lnTo>
                      <a:pt x="25" y="338"/>
                    </a:lnTo>
                    <a:lnTo>
                      <a:pt x="23" y="339"/>
                    </a:lnTo>
                    <a:lnTo>
                      <a:pt x="20" y="339"/>
                    </a:lnTo>
                    <a:lnTo>
                      <a:pt x="23" y="341"/>
                    </a:lnTo>
                    <a:lnTo>
                      <a:pt x="20" y="345"/>
                    </a:lnTo>
                    <a:lnTo>
                      <a:pt x="16" y="345"/>
                    </a:lnTo>
                    <a:lnTo>
                      <a:pt x="16" y="348"/>
                    </a:lnTo>
                    <a:lnTo>
                      <a:pt x="20" y="348"/>
                    </a:lnTo>
                    <a:lnTo>
                      <a:pt x="25" y="348"/>
                    </a:lnTo>
                    <a:lnTo>
                      <a:pt x="25" y="350"/>
                    </a:lnTo>
                    <a:lnTo>
                      <a:pt x="20" y="351"/>
                    </a:lnTo>
                    <a:lnTo>
                      <a:pt x="20" y="353"/>
                    </a:lnTo>
                    <a:lnTo>
                      <a:pt x="20" y="355"/>
                    </a:lnTo>
                    <a:lnTo>
                      <a:pt x="16" y="353"/>
                    </a:lnTo>
                    <a:lnTo>
                      <a:pt x="14" y="353"/>
                    </a:lnTo>
                    <a:lnTo>
                      <a:pt x="14" y="357"/>
                    </a:lnTo>
                    <a:lnTo>
                      <a:pt x="13" y="353"/>
                    </a:lnTo>
                    <a:lnTo>
                      <a:pt x="11" y="355"/>
                    </a:lnTo>
                    <a:lnTo>
                      <a:pt x="7" y="357"/>
                    </a:lnTo>
                    <a:lnTo>
                      <a:pt x="9" y="362"/>
                    </a:lnTo>
                    <a:lnTo>
                      <a:pt x="14" y="365"/>
                    </a:lnTo>
                    <a:lnTo>
                      <a:pt x="14" y="362"/>
                    </a:lnTo>
                    <a:lnTo>
                      <a:pt x="16" y="365"/>
                    </a:lnTo>
                    <a:lnTo>
                      <a:pt x="16" y="362"/>
                    </a:lnTo>
                    <a:lnTo>
                      <a:pt x="16" y="362"/>
                    </a:lnTo>
                    <a:lnTo>
                      <a:pt x="20" y="357"/>
                    </a:lnTo>
                    <a:lnTo>
                      <a:pt x="23" y="362"/>
                    </a:lnTo>
                    <a:lnTo>
                      <a:pt x="20" y="362"/>
                    </a:lnTo>
                    <a:lnTo>
                      <a:pt x="23" y="365"/>
                    </a:lnTo>
                    <a:lnTo>
                      <a:pt x="23" y="367"/>
                    </a:lnTo>
                    <a:lnTo>
                      <a:pt x="20" y="369"/>
                    </a:lnTo>
                    <a:lnTo>
                      <a:pt x="23" y="374"/>
                    </a:lnTo>
                    <a:lnTo>
                      <a:pt x="25" y="372"/>
                    </a:lnTo>
                    <a:lnTo>
                      <a:pt x="28" y="371"/>
                    </a:lnTo>
                    <a:lnTo>
                      <a:pt x="28" y="372"/>
                    </a:lnTo>
                    <a:lnTo>
                      <a:pt x="25" y="372"/>
                    </a:lnTo>
                    <a:lnTo>
                      <a:pt x="25" y="374"/>
                    </a:lnTo>
                    <a:lnTo>
                      <a:pt x="25" y="378"/>
                    </a:lnTo>
                    <a:lnTo>
                      <a:pt x="25" y="379"/>
                    </a:lnTo>
                    <a:lnTo>
                      <a:pt x="20" y="374"/>
                    </a:lnTo>
                    <a:lnTo>
                      <a:pt x="16" y="374"/>
                    </a:lnTo>
                    <a:lnTo>
                      <a:pt x="16" y="374"/>
                    </a:lnTo>
                    <a:lnTo>
                      <a:pt x="13" y="374"/>
                    </a:lnTo>
                    <a:lnTo>
                      <a:pt x="13" y="376"/>
                    </a:lnTo>
                    <a:lnTo>
                      <a:pt x="11" y="378"/>
                    </a:lnTo>
                    <a:lnTo>
                      <a:pt x="16" y="384"/>
                    </a:lnTo>
                    <a:lnTo>
                      <a:pt x="20" y="384"/>
                    </a:lnTo>
                    <a:lnTo>
                      <a:pt x="25" y="390"/>
                    </a:lnTo>
                    <a:lnTo>
                      <a:pt x="28" y="391"/>
                    </a:lnTo>
                    <a:lnTo>
                      <a:pt x="30" y="393"/>
                    </a:lnTo>
                    <a:lnTo>
                      <a:pt x="28" y="395"/>
                    </a:lnTo>
                    <a:lnTo>
                      <a:pt x="32" y="397"/>
                    </a:lnTo>
                    <a:lnTo>
                      <a:pt x="33" y="397"/>
                    </a:lnTo>
                    <a:lnTo>
                      <a:pt x="32" y="393"/>
                    </a:lnTo>
                    <a:lnTo>
                      <a:pt x="35" y="393"/>
                    </a:lnTo>
                    <a:lnTo>
                      <a:pt x="37" y="395"/>
                    </a:lnTo>
                    <a:lnTo>
                      <a:pt x="37" y="395"/>
                    </a:lnTo>
                    <a:lnTo>
                      <a:pt x="39" y="400"/>
                    </a:lnTo>
                    <a:lnTo>
                      <a:pt x="42" y="398"/>
                    </a:lnTo>
                    <a:lnTo>
                      <a:pt x="42" y="398"/>
                    </a:lnTo>
                    <a:lnTo>
                      <a:pt x="46" y="397"/>
                    </a:lnTo>
                    <a:lnTo>
                      <a:pt x="47" y="393"/>
                    </a:lnTo>
                    <a:lnTo>
                      <a:pt x="51" y="393"/>
                    </a:lnTo>
                    <a:lnTo>
                      <a:pt x="51" y="391"/>
                    </a:lnTo>
                    <a:lnTo>
                      <a:pt x="53" y="391"/>
                    </a:lnTo>
                    <a:lnTo>
                      <a:pt x="53" y="395"/>
                    </a:lnTo>
                    <a:lnTo>
                      <a:pt x="54" y="395"/>
                    </a:lnTo>
                    <a:lnTo>
                      <a:pt x="61" y="388"/>
                    </a:lnTo>
                    <a:lnTo>
                      <a:pt x="61" y="388"/>
                    </a:lnTo>
                    <a:lnTo>
                      <a:pt x="58" y="384"/>
                    </a:lnTo>
                    <a:lnTo>
                      <a:pt x="63" y="388"/>
                    </a:lnTo>
                    <a:lnTo>
                      <a:pt x="66" y="383"/>
                    </a:lnTo>
                    <a:lnTo>
                      <a:pt x="66" y="383"/>
                    </a:lnTo>
                    <a:lnTo>
                      <a:pt x="68" y="381"/>
                    </a:lnTo>
                    <a:lnTo>
                      <a:pt x="68" y="378"/>
                    </a:lnTo>
                    <a:lnTo>
                      <a:pt x="70" y="376"/>
                    </a:lnTo>
                    <a:lnTo>
                      <a:pt x="73" y="376"/>
                    </a:lnTo>
                    <a:lnTo>
                      <a:pt x="73" y="374"/>
                    </a:lnTo>
                    <a:lnTo>
                      <a:pt x="70" y="371"/>
                    </a:lnTo>
                    <a:lnTo>
                      <a:pt x="73" y="367"/>
                    </a:lnTo>
                    <a:lnTo>
                      <a:pt x="70" y="365"/>
                    </a:lnTo>
                    <a:lnTo>
                      <a:pt x="66" y="362"/>
                    </a:lnTo>
                    <a:lnTo>
                      <a:pt x="66" y="360"/>
                    </a:lnTo>
                    <a:lnTo>
                      <a:pt x="68" y="362"/>
                    </a:lnTo>
                    <a:lnTo>
                      <a:pt x="70" y="365"/>
                    </a:lnTo>
                    <a:lnTo>
                      <a:pt x="73" y="369"/>
                    </a:lnTo>
                    <a:lnTo>
                      <a:pt x="73" y="371"/>
                    </a:lnTo>
                    <a:lnTo>
                      <a:pt x="75" y="371"/>
                    </a:lnTo>
                    <a:lnTo>
                      <a:pt x="75" y="372"/>
                    </a:lnTo>
                    <a:lnTo>
                      <a:pt x="79" y="374"/>
                    </a:lnTo>
                    <a:lnTo>
                      <a:pt x="80" y="372"/>
                    </a:lnTo>
                    <a:lnTo>
                      <a:pt x="79" y="371"/>
                    </a:lnTo>
                    <a:lnTo>
                      <a:pt x="79" y="371"/>
                    </a:lnTo>
                    <a:lnTo>
                      <a:pt x="79" y="367"/>
                    </a:lnTo>
                    <a:lnTo>
                      <a:pt x="82" y="371"/>
                    </a:lnTo>
                    <a:lnTo>
                      <a:pt x="82" y="371"/>
                    </a:lnTo>
                    <a:lnTo>
                      <a:pt x="86" y="367"/>
                    </a:lnTo>
                    <a:lnTo>
                      <a:pt x="87" y="365"/>
                    </a:lnTo>
                    <a:lnTo>
                      <a:pt x="87" y="362"/>
                    </a:lnTo>
                    <a:lnTo>
                      <a:pt x="84" y="360"/>
                    </a:lnTo>
                    <a:lnTo>
                      <a:pt x="82" y="357"/>
                    </a:lnTo>
                    <a:lnTo>
                      <a:pt x="84" y="357"/>
                    </a:lnTo>
                    <a:lnTo>
                      <a:pt x="86" y="355"/>
                    </a:lnTo>
                    <a:lnTo>
                      <a:pt x="87" y="355"/>
                    </a:lnTo>
                    <a:lnTo>
                      <a:pt x="87" y="353"/>
                    </a:lnTo>
                    <a:lnTo>
                      <a:pt x="86" y="351"/>
                    </a:lnTo>
                    <a:lnTo>
                      <a:pt x="86" y="348"/>
                    </a:lnTo>
                    <a:lnTo>
                      <a:pt x="89" y="346"/>
                    </a:lnTo>
                    <a:lnTo>
                      <a:pt x="91" y="350"/>
                    </a:lnTo>
                    <a:lnTo>
                      <a:pt x="89" y="351"/>
                    </a:lnTo>
                    <a:lnTo>
                      <a:pt x="91" y="357"/>
                    </a:lnTo>
                    <a:lnTo>
                      <a:pt x="89" y="360"/>
                    </a:lnTo>
                    <a:lnTo>
                      <a:pt x="91" y="362"/>
                    </a:lnTo>
                    <a:lnTo>
                      <a:pt x="92" y="365"/>
                    </a:lnTo>
                    <a:lnTo>
                      <a:pt x="96" y="367"/>
                    </a:lnTo>
                    <a:lnTo>
                      <a:pt x="98" y="367"/>
                    </a:lnTo>
                    <a:lnTo>
                      <a:pt x="101" y="369"/>
                    </a:lnTo>
                    <a:lnTo>
                      <a:pt x="101" y="371"/>
                    </a:lnTo>
                    <a:lnTo>
                      <a:pt x="101" y="371"/>
                    </a:lnTo>
                    <a:lnTo>
                      <a:pt x="103" y="376"/>
                    </a:lnTo>
                    <a:lnTo>
                      <a:pt x="105" y="371"/>
                    </a:lnTo>
                    <a:lnTo>
                      <a:pt x="105" y="362"/>
                    </a:lnTo>
                    <a:lnTo>
                      <a:pt x="101" y="357"/>
                    </a:lnTo>
                    <a:lnTo>
                      <a:pt x="103" y="353"/>
                    </a:lnTo>
                    <a:lnTo>
                      <a:pt x="106" y="353"/>
                    </a:lnTo>
                    <a:lnTo>
                      <a:pt x="105" y="350"/>
                    </a:lnTo>
                    <a:lnTo>
                      <a:pt x="105" y="346"/>
                    </a:lnTo>
                    <a:lnTo>
                      <a:pt x="110" y="346"/>
                    </a:lnTo>
                    <a:lnTo>
                      <a:pt x="112" y="343"/>
                    </a:lnTo>
                    <a:lnTo>
                      <a:pt x="112" y="339"/>
                    </a:lnTo>
                    <a:lnTo>
                      <a:pt x="115" y="334"/>
                    </a:lnTo>
                    <a:lnTo>
                      <a:pt x="112" y="332"/>
                    </a:lnTo>
                    <a:lnTo>
                      <a:pt x="110" y="324"/>
                    </a:lnTo>
                    <a:lnTo>
                      <a:pt x="106" y="317"/>
                    </a:lnTo>
                    <a:lnTo>
                      <a:pt x="108" y="315"/>
                    </a:lnTo>
                    <a:lnTo>
                      <a:pt x="115" y="311"/>
                    </a:lnTo>
                    <a:lnTo>
                      <a:pt x="115" y="306"/>
                    </a:lnTo>
                    <a:lnTo>
                      <a:pt x="117" y="303"/>
                    </a:lnTo>
                    <a:lnTo>
                      <a:pt x="112" y="296"/>
                    </a:lnTo>
                    <a:lnTo>
                      <a:pt x="106" y="294"/>
                    </a:lnTo>
                    <a:lnTo>
                      <a:pt x="106" y="287"/>
                    </a:lnTo>
                    <a:lnTo>
                      <a:pt x="106" y="280"/>
                    </a:lnTo>
                    <a:lnTo>
                      <a:pt x="106" y="275"/>
                    </a:lnTo>
                    <a:lnTo>
                      <a:pt x="105" y="270"/>
                    </a:lnTo>
                    <a:lnTo>
                      <a:pt x="106" y="265"/>
                    </a:lnTo>
                    <a:lnTo>
                      <a:pt x="105" y="256"/>
                    </a:lnTo>
                    <a:lnTo>
                      <a:pt x="103" y="247"/>
                    </a:lnTo>
                    <a:lnTo>
                      <a:pt x="105" y="238"/>
                    </a:lnTo>
                    <a:lnTo>
                      <a:pt x="108" y="233"/>
                    </a:lnTo>
                    <a:lnTo>
                      <a:pt x="112" y="230"/>
                    </a:lnTo>
                    <a:lnTo>
                      <a:pt x="117" y="230"/>
                    </a:lnTo>
                    <a:lnTo>
                      <a:pt x="124" y="230"/>
                    </a:lnTo>
                    <a:lnTo>
                      <a:pt x="124" y="228"/>
                    </a:lnTo>
                    <a:lnTo>
                      <a:pt x="124" y="221"/>
                    </a:lnTo>
                    <a:lnTo>
                      <a:pt x="124" y="218"/>
                    </a:lnTo>
                    <a:lnTo>
                      <a:pt x="124" y="214"/>
                    </a:lnTo>
                    <a:lnTo>
                      <a:pt x="129" y="198"/>
                    </a:lnTo>
                    <a:lnTo>
                      <a:pt x="129" y="191"/>
                    </a:lnTo>
                    <a:lnTo>
                      <a:pt x="131" y="183"/>
                    </a:lnTo>
                    <a:lnTo>
                      <a:pt x="132" y="179"/>
                    </a:lnTo>
                    <a:lnTo>
                      <a:pt x="132" y="174"/>
                    </a:lnTo>
                    <a:lnTo>
                      <a:pt x="131" y="171"/>
                    </a:lnTo>
                    <a:lnTo>
                      <a:pt x="131" y="169"/>
                    </a:lnTo>
                    <a:lnTo>
                      <a:pt x="136" y="165"/>
                    </a:lnTo>
                    <a:lnTo>
                      <a:pt x="143" y="164"/>
                    </a:lnTo>
                    <a:lnTo>
                      <a:pt x="143" y="162"/>
                    </a:lnTo>
                    <a:lnTo>
                      <a:pt x="143" y="158"/>
                    </a:lnTo>
                    <a:lnTo>
                      <a:pt x="148" y="151"/>
                    </a:lnTo>
                    <a:lnTo>
                      <a:pt x="155" y="143"/>
                    </a:lnTo>
                    <a:lnTo>
                      <a:pt x="155" y="139"/>
                    </a:lnTo>
                    <a:lnTo>
                      <a:pt x="155" y="134"/>
                    </a:lnTo>
                    <a:lnTo>
                      <a:pt x="152" y="132"/>
                    </a:lnTo>
                    <a:lnTo>
                      <a:pt x="152" y="124"/>
                    </a:lnTo>
                    <a:lnTo>
                      <a:pt x="155" y="124"/>
                    </a:lnTo>
                    <a:lnTo>
                      <a:pt x="155" y="120"/>
                    </a:lnTo>
                    <a:lnTo>
                      <a:pt x="157" y="115"/>
                    </a:lnTo>
                    <a:lnTo>
                      <a:pt x="159" y="115"/>
                    </a:lnTo>
                    <a:lnTo>
                      <a:pt x="162" y="110"/>
                    </a:lnTo>
                    <a:lnTo>
                      <a:pt x="165" y="106"/>
                    </a:lnTo>
                    <a:lnTo>
                      <a:pt x="169" y="108"/>
                    </a:lnTo>
                    <a:lnTo>
                      <a:pt x="171" y="110"/>
                    </a:lnTo>
                    <a:lnTo>
                      <a:pt x="174" y="110"/>
                    </a:lnTo>
                    <a:lnTo>
                      <a:pt x="174" y="108"/>
                    </a:lnTo>
                    <a:lnTo>
                      <a:pt x="174" y="105"/>
                    </a:lnTo>
                    <a:lnTo>
                      <a:pt x="174" y="101"/>
                    </a:lnTo>
                    <a:lnTo>
                      <a:pt x="174" y="99"/>
                    </a:lnTo>
                    <a:lnTo>
                      <a:pt x="178" y="98"/>
                    </a:lnTo>
                    <a:lnTo>
                      <a:pt x="174" y="96"/>
                    </a:lnTo>
                    <a:lnTo>
                      <a:pt x="174" y="92"/>
                    </a:lnTo>
                    <a:lnTo>
                      <a:pt x="179" y="92"/>
                    </a:lnTo>
                    <a:lnTo>
                      <a:pt x="185" y="92"/>
                    </a:lnTo>
                    <a:lnTo>
                      <a:pt x="190" y="92"/>
                    </a:lnTo>
                    <a:lnTo>
                      <a:pt x="193" y="96"/>
                    </a:lnTo>
                    <a:lnTo>
                      <a:pt x="197" y="96"/>
                    </a:lnTo>
                    <a:lnTo>
                      <a:pt x="200" y="96"/>
                    </a:lnTo>
                    <a:lnTo>
                      <a:pt x="200" y="96"/>
                    </a:lnTo>
                    <a:lnTo>
                      <a:pt x="202" y="98"/>
                    </a:lnTo>
                    <a:lnTo>
                      <a:pt x="202" y="92"/>
                    </a:lnTo>
                    <a:lnTo>
                      <a:pt x="200" y="89"/>
                    </a:lnTo>
                    <a:lnTo>
                      <a:pt x="200" y="84"/>
                    </a:lnTo>
                    <a:lnTo>
                      <a:pt x="204" y="84"/>
                    </a:lnTo>
                    <a:lnTo>
                      <a:pt x="202" y="80"/>
                    </a:lnTo>
                    <a:lnTo>
                      <a:pt x="200" y="78"/>
                    </a:lnTo>
                    <a:lnTo>
                      <a:pt x="200" y="75"/>
                    </a:lnTo>
                    <a:lnTo>
                      <a:pt x="204" y="77"/>
                    </a:lnTo>
                    <a:lnTo>
                      <a:pt x="207" y="75"/>
                    </a:lnTo>
                    <a:lnTo>
                      <a:pt x="209" y="75"/>
                    </a:lnTo>
                    <a:lnTo>
                      <a:pt x="209" y="75"/>
                    </a:lnTo>
                    <a:lnTo>
                      <a:pt x="209" y="73"/>
                    </a:lnTo>
                    <a:lnTo>
                      <a:pt x="211" y="75"/>
                    </a:lnTo>
                    <a:lnTo>
                      <a:pt x="212" y="73"/>
                    </a:lnTo>
                    <a:lnTo>
                      <a:pt x="211" y="72"/>
                    </a:lnTo>
                    <a:lnTo>
                      <a:pt x="212" y="70"/>
                    </a:lnTo>
                    <a:lnTo>
                      <a:pt x="214" y="66"/>
                    </a:lnTo>
                    <a:lnTo>
                      <a:pt x="218" y="66"/>
                    </a:lnTo>
                    <a:lnTo>
                      <a:pt x="219" y="70"/>
                    </a:lnTo>
                    <a:lnTo>
                      <a:pt x="228" y="77"/>
                    </a:lnTo>
                    <a:lnTo>
                      <a:pt x="228" y="80"/>
                    </a:lnTo>
                    <a:lnTo>
                      <a:pt x="231" y="84"/>
                    </a:lnTo>
                    <a:lnTo>
                      <a:pt x="237" y="87"/>
                    </a:lnTo>
                    <a:lnTo>
                      <a:pt x="242" y="87"/>
                    </a:lnTo>
                    <a:lnTo>
                      <a:pt x="247" y="82"/>
                    </a:lnTo>
                    <a:lnTo>
                      <a:pt x="251" y="80"/>
                    </a:lnTo>
                    <a:lnTo>
                      <a:pt x="254" y="80"/>
                    </a:lnTo>
                    <a:lnTo>
                      <a:pt x="259" y="84"/>
                    </a:lnTo>
                    <a:lnTo>
                      <a:pt x="263" y="84"/>
                    </a:lnTo>
                    <a:lnTo>
                      <a:pt x="266" y="80"/>
                    </a:lnTo>
                    <a:lnTo>
                      <a:pt x="268" y="80"/>
                    </a:lnTo>
                    <a:lnTo>
                      <a:pt x="270" y="77"/>
                    </a:lnTo>
                    <a:lnTo>
                      <a:pt x="273" y="77"/>
                    </a:lnTo>
                    <a:lnTo>
                      <a:pt x="275" y="75"/>
                    </a:lnTo>
                    <a:lnTo>
                      <a:pt x="277" y="73"/>
                    </a:lnTo>
                    <a:lnTo>
                      <a:pt x="275" y="70"/>
                    </a:lnTo>
                    <a:lnTo>
                      <a:pt x="273" y="65"/>
                    </a:lnTo>
                    <a:lnTo>
                      <a:pt x="275" y="56"/>
                    </a:lnTo>
                    <a:lnTo>
                      <a:pt x="277" y="54"/>
                    </a:lnTo>
                    <a:lnTo>
                      <a:pt x="275" y="51"/>
                    </a:lnTo>
                    <a:lnTo>
                      <a:pt x="277" y="49"/>
                    </a:lnTo>
                    <a:lnTo>
                      <a:pt x="278" y="45"/>
                    </a:lnTo>
                    <a:lnTo>
                      <a:pt x="278" y="44"/>
                    </a:lnTo>
                    <a:lnTo>
                      <a:pt x="282" y="42"/>
                    </a:lnTo>
                    <a:lnTo>
                      <a:pt x="287" y="42"/>
                    </a:lnTo>
                    <a:lnTo>
                      <a:pt x="291" y="42"/>
                    </a:lnTo>
                    <a:lnTo>
                      <a:pt x="291" y="42"/>
                    </a:lnTo>
                    <a:lnTo>
                      <a:pt x="292" y="38"/>
                    </a:lnTo>
                    <a:lnTo>
                      <a:pt x="301" y="38"/>
                    </a:lnTo>
                    <a:lnTo>
                      <a:pt x="304" y="42"/>
                    </a:lnTo>
                    <a:lnTo>
                      <a:pt x="306" y="45"/>
                    </a:lnTo>
                    <a:lnTo>
                      <a:pt x="310" y="47"/>
                    </a:lnTo>
                    <a:lnTo>
                      <a:pt x="313" y="49"/>
                    </a:lnTo>
                    <a:lnTo>
                      <a:pt x="320" y="49"/>
                    </a:lnTo>
                    <a:lnTo>
                      <a:pt x="320" y="52"/>
                    </a:lnTo>
                    <a:lnTo>
                      <a:pt x="324" y="56"/>
                    </a:lnTo>
                    <a:lnTo>
                      <a:pt x="324" y="61"/>
                    </a:lnTo>
                    <a:lnTo>
                      <a:pt x="320" y="65"/>
                    </a:lnTo>
                    <a:lnTo>
                      <a:pt x="320" y="72"/>
                    </a:lnTo>
                    <a:lnTo>
                      <a:pt x="320" y="72"/>
                    </a:lnTo>
                    <a:lnTo>
                      <a:pt x="320" y="72"/>
                    </a:lnTo>
                    <a:lnTo>
                      <a:pt x="320" y="72"/>
                    </a:lnTo>
                    <a:close/>
                    <a:moveTo>
                      <a:pt x="14" y="367"/>
                    </a:moveTo>
                    <a:lnTo>
                      <a:pt x="16" y="371"/>
                    </a:lnTo>
                    <a:lnTo>
                      <a:pt x="14" y="371"/>
                    </a:lnTo>
                    <a:lnTo>
                      <a:pt x="14" y="367"/>
                    </a:lnTo>
                    <a:lnTo>
                      <a:pt x="14" y="367"/>
                    </a:lnTo>
                    <a:lnTo>
                      <a:pt x="14" y="367"/>
                    </a:lnTo>
                    <a:lnTo>
                      <a:pt x="14" y="367"/>
                    </a:lnTo>
                    <a:close/>
                    <a:moveTo>
                      <a:pt x="6" y="350"/>
                    </a:moveTo>
                    <a:lnTo>
                      <a:pt x="6" y="350"/>
                    </a:lnTo>
                    <a:lnTo>
                      <a:pt x="9" y="348"/>
                    </a:lnTo>
                    <a:lnTo>
                      <a:pt x="11" y="350"/>
                    </a:lnTo>
                    <a:lnTo>
                      <a:pt x="9" y="353"/>
                    </a:lnTo>
                    <a:lnTo>
                      <a:pt x="6" y="350"/>
                    </a:lnTo>
                    <a:lnTo>
                      <a:pt x="6" y="350"/>
                    </a:lnTo>
                    <a:lnTo>
                      <a:pt x="6" y="350"/>
                    </a:lnTo>
                    <a:lnTo>
                      <a:pt x="6" y="350"/>
                    </a:lnTo>
                    <a:close/>
                    <a:moveTo>
                      <a:pt x="13" y="343"/>
                    </a:moveTo>
                    <a:lnTo>
                      <a:pt x="13" y="345"/>
                    </a:lnTo>
                    <a:lnTo>
                      <a:pt x="11" y="345"/>
                    </a:lnTo>
                    <a:lnTo>
                      <a:pt x="13" y="343"/>
                    </a:lnTo>
                    <a:lnTo>
                      <a:pt x="13" y="343"/>
                    </a:lnTo>
                    <a:lnTo>
                      <a:pt x="13" y="343"/>
                    </a:lnTo>
                    <a:lnTo>
                      <a:pt x="13" y="343"/>
                    </a:lnTo>
                    <a:close/>
                    <a:moveTo>
                      <a:pt x="9" y="341"/>
                    </a:moveTo>
                    <a:lnTo>
                      <a:pt x="9" y="343"/>
                    </a:lnTo>
                    <a:lnTo>
                      <a:pt x="6" y="343"/>
                    </a:lnTo>
                    <a:lnTo>
                      <a:pt x="9" y="341"/>
                    </a:lnTo>
                    <a:lnTo>
                      <a:pt x="9" y="341"/>
                    </a:lnTo>
                    <a:lnTo>
                      <a:pt x="9" y="341"/>
                    </a:lnTo>
                    <a:lnTo>
                      <a:pt x="9" y="341"/>
                    </a:lnTo>
                    <a:close/>
                    <a:moveTo>
                      <a:pt x="6" y="329"/>
                    </a:moveTo>
                    <a:lnTo>
                      <a:pt x="0" y="325"/>
                    </a:lnTo>
                    <a:lnTo>
                      <a:pt x="6" y="324"/>
                    </a:lnTo>
                    <a:lnTo>
                      <a:pt x="6" y="324"/>
                    </a:lnTo>
                    <a:lnTo>
                      <a:pt x="6" y="329"/>
                    </a:lnTo>
                    <a:lnTo>
                      <a:pt x="6" y="329"/>
                    </a:lnTo>
                    <a:lnTo>
                      <a:pt x="6" y="329"/>
                    </a:lnTo>
                    <a:lnTo>
                      <a:pt x="6" y="329"/>
                    </a:lnTo>
                    <a:close/>
                    <a:moveTo>
                      <a:pt x="2" y="331"/>
                    </a:moveTo>
                    <a:lnTo>
                      <a:pt x="6" y="331"/>
                    </a:lnTo>
                    <a:lnTo>
                      <a:pt x="6" y="332"/>
                    </a:lnTo>
                    <a:lnTo>
                      <a:pt x="2" y="331"/>
                    </a:lnTo>
                    <a:lnTo>
                      <a:pt x="2" y="331"/>
                    </a:lnTo>
                    <a:lnTo>
                      <a:pt x="2" y="331"/>
                    </a:lnTo>
                    <a:lnTo>
                      <a:pt x="2" y="331"/>
                    </a:lnTo>
                    <a:close/>
                    <a:moveTo>
                      <a:pt x="9" y="334"/>
                    </a:moveTo>
                    <a:lnTo>
                      <a:pt x="9" y="334"/>
                    </a:lnTo>
                    <a:lnTo>
                      <a:pt x="11" y="338"/>
                    </a:lnTo>
                    <a:lnTo>
                      <a:pt x="11" y="339"/>
                    </a:lnTo>
                    <a:lnTo>
                      <a:pt x="9" y="334"/>
                    </a:lnTo>
                    <a:lnTo>
                      <a:pt x="9" y="334"/>
                    </a:lnTo>
                    <a:lnTo>
                      <a:pt x="9" y="334"/>
                    </a:lnTo>
                    <a:lnTo>
                      <a:pt x="9" y="334"/>
                    </a:lnTo>
                    <a:close/>
                    <a:moveTo>
                      <a:pt x="6" y="338"/>
                    </a:moveTo>
                    <a:lnTo>
                      <a:pt x="0" y="334"/>
                    </a:lnTo>
                    <a:lnTo>
                      <a:pt x="6" y="334"/>
                    </a:lnTo>
                    <a:lnTo>
                      <a:pt x="6" y="338"/>
                    </a:lnTo>
                    <a:lnTo>
                      <a:pt x="6" y="338"/>
                    </a:lnTo>
                    <a:lnTo>
                      <a:pt x="6" y="338"/>
                    </a:lnTo>
                    <a:lnTo>
                      <a:pt x="6" y="338"/>
                    </a:lnTo>
                    <a:close/>
                    <a:moveTo>
                      <a:pt x="0" y="318"/>
                    </a:moveTo>
                    <a:lnTo>
                      <a:pt x="0" y="320"/>
                    </a:lnTo>
                    <a:lnTo>
                      <a:pt x="0" y="322"/>
                    </a:lnTo>
                    <a:lnTo>
                      <a:pt x="2" y="320"/>
                    </a:lnTo>
                    <a:lnTo>
                      <a:pt x="0" y="318"/>
                    </a:lnTo>
                    <a:lnTo>
                      <a:pt x="0" y="318"/>
                    </a:lnTo>
                    <a:lnTo>
                      <a:pt x="0" y="318"/>
                    </a:lnTo>
                    <a:lnTo>
                      <a:pt x="0" y="318"/>
                    </a:lnTo>
                    <a:close/>
                    <a:moveTo>
                      <a:pt x="0" y="294"/>
                    </a:moveTo>
                    <a:lnTo>
                      <a:pt x="6" y="296"/>
                    </a:lnTo>
                    <a:lnTo>
                      <a:pt x="0" y="298"/>
                    </a:lnTo>
                    <a:lnTo>
                      <a:pt x="0" y="294"/>
                    </a:lnTo>
                    <a:lnTo>
                      <a:pt x="0" y="294"/>
                    </a:lnTo>
                    <a:lnTo>
                      <a:pt x="0" y="294"/>
                    </a:lnTo>
                    <a:lnTo>
                      <a:pt x="0" y="294"/>
                    </a:lnTo>
                    <a:close/>
                    <a:moveTo>
                      <a:pt x="0" y="287"/>
                    </a:moveTo>
                    <a:lnTo>
                      <a:pt x="6" y="291"/>
                    </a:lnTo>
                    <a:lnTo>
                      <a:pt x="2" y="292"/>
                    </a:lnTo>
                    <a:lnTo>
                      <a:pt x="0" y="287"/>
                    </a:lnTo>
                    <a:lnTo>
                      <a:pt x="0" y="287"/>
                    </a:lnTo>
                    <a:lnTo>
                      <a:pt x="0" y="287"/>
                    </a:lnTo>
                    <a:lnTo>
                      <a:pt x="0" y="287"/>
                    </a:lnTo>
                    <a:close/>
                    <a:moveTo>
                      <a:pt x="11" y="280"/>
                    </a:moveTo>
                    <a:lnTo>
                      <a:pt x="13" y="284"/>
                    </a:lnTo>
                    <a:lnTo>
                      <a:pt x="9" y="284"/>
                    </a:lnTo>
                    <a:lnTo>
                      <a:pt x="11" y="280"/>
                    </a:lnTo>
                    <a:lnTo>
                      <a:pt x="11" y="280"/>
                    </a:lnTo>
                    <a:lnTo>
                      <a:pt x="11" y="280"/>
                    </a:lnTo>
                    <a:lnTo>
                      <a:pt x="11" y="280"/>
                    </a:lnTo>
                    <a:close/>
                    <a:moveTo>
                      <a:pt x="14" y="278"/>
                    </a:moveTo>
                    <a:lnTo>
                      <a:pt x="16" y="278"/>
                    </a:lnTo>
                    <a:lnTo>
                      <a:pt x="16" y="284"/>
                    </a:lnTo>
                    <a:lnTo>
                      <a:pt x="14" y="284"/>
                    </a:lnTo>
                    <a:lnTo>
                      <a:pt x="14" y="278"/>
                    </a:lnTo>
                    <a:lnTo>
                      <a:pt x="14" y="278"/>
                    </a:lnTo>
                    <a:lnTo>
                      <a:pt x="14" y="278"/>
                    </a:lnTo>
                    <a:lnTo>
                      <a:pt x="14" y="278"/>
                    </a:lnTo>
                    <a:close/>
                    <a:moveTo>
                      <a:pt x="46" y="258"/>
                    </a:moveTo>
                    <a:lnTo>
                      <a:pt x="46" y="258"/>
                    </a:lnTo>
                    <a:lnTo>
                      <a:pt x="47" y="256"/>
                    </a:lnTo>
                    <a:lnTo>
                      <a:pt x="47" y="258"/>
                    </a:lnTo>
                    <a:lnTo>
                      <a:pt x="47" y="259"/>
                    </a:lnTo>
                    <a:lnTo>
                      <a:pt x="46" y="258"/>
                    </a:lnTo>
                    <a:lnTo>
                      <a:pt x="46" y="258"/>
                    </a:lnTo>
                    <a:lnTo>
                      <a:pt x="46" y="258"/>
                    </a:lnTo>
                    <a:lnTo>
                      <a:pt x="46" y="258"/>
                    </a:lnTo>
                    <a:close/>
                    <a:moveTo>
                      <a:pt x="46" y="252"/>
                    </a:moveTo>
                    <a:lnTo>
                      <a:pt x="46" y="252"/>
                    </a:lnTo>
                    <a:lnTo>
                      <a:pt x="46" y="252"/>
                    </a:lnTo>
                    <a:lnTo>
                      <a:pt x="42" y="251"/>
                    </a:lnTo>
                    <a:lnTo>
                      <a:pt x="46" y="251"/>
                    </a:lnTo>
                    <a:lnTo>
                      <a:pt x="46" y="252"/>
                    </a:lnTo>
                    <a:lnTo>
                      <a:pt x="46" y="252"/>
                    </a:lnTo>
                    <a:lnTo>
                      <a:pt x="46" y="252"/>
                    </a:lnTo>
                    <a:lnTo>
                      <a:pt x="46" y="252"/>
                    </a:lnTo>
                    <a:close/>
                    <a:moveTo>
                      <a:pt x="47" y="245"/>
                    </a:moveTo>
                    <a:lnTo>
                      <a:pt x="54" y="240"/>
                    </a:lnTo>
                    <a:lnTo>
                      <a:pt x="56" y="242"/>
                    </a:lnTo>
                    <a:lnTo>
                      <a:pt x="53" y="245"/>
                    </a:lnTo>
                    <a:lnTo>
                      <a:pt x="47" y="245"/>
                    </a:lnTo>
                    <a:lnTo>
                      <a:pt x="47" y="245"/>
                    </a:lnTo>
                    <a:lnTo>
                      <a:pt x="47" y="245"/>
                    </a:lnTo>
                    <a:lnTo>
                      <a:pt x="47" y="245"/>
                    </a:lnTo>
                    <a:close/>
                    <a:moveTo>
                      <a:pt x="51" y="252"/>
                    </a:moveTo>
                    <a:lnTo>
                      <a:pt x="51" y="249"/>
                    </a:lnTo>
                    <a:lnTo>
                      <a:pt x="54" y="249"/>
                    </a:lnTo>
                    <a:lnTo>
                      <a:pt x="56" y="247"/>
                    </a:lnTo>
                    <a:lnTo>
                      <a:pt x="58" y="245"/>
                    </a:lnTo>
                    <a:lnTo>
                      <a:pt x="61" y="249"/>
                    </a:lnTo>
                    <a:lnTo>
                      <a:pt x="58" y="251"/>
                    </a:lnTo>
                    <a:lnTo>
                      <a:pt x="54" y="251"/>
                    </a:lnTo>
                    <a:lnTo>
                      <a:pt x="51" y="252"/>
                    </a:lnTo>
                    <a:lnTo>
                      <a:pt x="51" y="252"/>
                    </a:lnTo>
                    <a:lnTo>
                      <a:pt x="51" y="252"/>
                    </a:lnTo>
                    <a:lnTo>
                      <a:pt x="51" y="252"/>
                    </a:lnTo>
                    <a:lnTo>
                      <a:pt x="51" y="252"/>
                    </a:lnTo>
                    <a:close/>
                    <a:moveTo>
                      <a:pt x="92" y="202"/>
                    </a:moveTo>
                    <a:lnTo>
                      <a:pt x="96" y="202"/>
                    </a:lnTo>
                    <a:lnTo>
                      <a:pt x="98" y="198"/>
                    </a:lnTo>
                    <a:lnTo>
                      <a:pt x="96" y="205"/>
                    </a:lnTo>
                    <a:lnTo>
                      <a:pt x="92" y="202"/>
                    </a:lnTo>
                    <a:lnTo>
                      <a:pt x="92" y="202"/>
                    </a:lnTo>
                    <a:lnTo>
                      <a:pt x="92" y="202"/>
                    </a:lnTo>
                    <a:lnTo>
                      <a:pt x="92" y="202"/>
                    </a:lnTo>
                    <a:close/>
                    <a:moveTo>
                      <a:pt x="91" y="211"/>
                    </a:moveTo>
                    <a:lnTo>
                      <a:pt x="89" y="209"/>
                    </a:lnTo>
                    <a:lnTo>
                      <a:pt x="86" y="209"/>
                    </a:lnTo>
                    <a:lnTo>
                      <a:pt x="89" y="205"/>
                    </a:lnTo>
                    <a:lnTo>
                      <a:pt x="92" y="205"/>
                    </a:lnTo>
                    <a:lnTo>
                      <a:pt x="96" y="205"/>
                    </a:lnTo>
                    <a:lnTo>
                      <a:pt x="92" y="209"/>
                    </a:lnTo>
                    <a:lnTo>
                      <a:pt x="91" y="211"/>
                    </a:lnTo>
                    <a:lnTo>
                      <a:pt x="91" y="211"/>
                    </a:lnTo>
                    <a:lnTo>
                      <a:pt x="91" y="211"/>
                    </a:lnTo>
                    <a:lnTo>
                      <a:pt x="91" y="211"/>
                    </a:lnTo>
                    <a:close/>
                    <a:moveTo>
                      <a:pt x="98" y="183"/>
                    </a:moveTo>
                    <a:lnTo>
                      <a:pt x="101" y="183"/>
                    </a:lnTo>
                    <a:lnTo>
                      <a:pt x="101" y="186"/>
                    </a:lnTo>
                    <a:lnTo>
                      <a:pt x="98" y="188"/>
                    </a:lnTo>
                    <a:lnTo>
                      <a:pt x="98" y="185"/>
                    </a:lnTo>
                    <a:lnTo>
                      <a:pt x="98" y="183"/>
                    </a:lnTo>
                    <a:lnTo>
                      <a:pt x="98" y="183"/>
                    </a:lnTo>
                    <a:lnTo>
                      <a:pt x="98" y="183"/>
                    </a:lnTo>
                    <a:lnTo>
                      <a:pt x="98" y="183"/>
                    </a:lnTo>
                    <a:close/>
                    <a:moveTo>
                      <a:pt x="105" y="176"/>
                    </a:moveTo>
                    <a:lnTo>
                      <a:pt x="106" y="174"/>
                    </a:lnTo>
                    <a:lnTo>
                      <a:pt x="110" y="174"/>
                    </a:lnTo>
                    <a:lnTo>
                      <a:pt x="105" y="178"/>
                    </a:lnTo>
                    <a:lnTo>
                      <a:pt x="105" y="176"/>
                    </a:lnTo>
                    <a:lnTo>
                      <a:pt x="105" y="176"/>
                    </a:lnTo>
                    <a:lnTo>
                      <a:pt x="105" y="176"/>
                    </a:lnTo>
                    <a:lnTo>
                      <a:pt x="105" y="176"/>
                    </a:lnTo>
                    <a:close/>
                    <a:moveTo>
                      <a:pt x="103" y="171"/>
                    </a:moveTo>
                    <a:lnTo>
                      <a:pt x="105" y="167"/>
                    </a:lnTo>
                    <a:lnTo>
                      <a:pt x="106" y="171"/>
                    </a:lnTo>
                    <a:lnTo>
                      <a:pt x="103" y="174"/>
                    </a:lnTo>
                    <a:lnTo>
                      <a:pt x="103" y="171"/>
                    </a:lnTo>
                    <a:lnTo>
                      <a:pt x="103" y="171"/>
                    </a:lnTo>
                    <a:lnTo>
                      <a:pt x="103" y="171"/>
                    </a:lnTo>
                    <a:lnTo>
                      <a:pt x="103" y="171"/>
                    </a:lnTo>
                    <a:close/>
                    <a:moveTo>
                      <a:pt x="124" y="139"/>
                    </a:moveTo>
                    <a:lnTo>
                      <a:pt x="124" y="138"/>
                    </a:lnTo>
                    <a:lnTo>
                      <a:pt x="125" y="138"/>
                    </a:lnTo>
                    <a:lnTo>
                      <a:pt x="124" y="141"/>
                    </a:lnTo>
                    <a:lnTo>
                      <a:pt x="124" y="139"/>
                    </a:lnTo>
                    <a:lnTo>
                      <a:pt x="124" y="139"/>
                    </a:lnTo>
                    <a:lnTo>
                      <a:pt x="124" y="139"/>
                    </a:lnTo>
                    <a:lnTo>
                      <a:pt x="124" y="139"/>
                    </a:lnTo>
                    <a:close/>
                    <a:moveTo>
                      <a:pt x="103" y="120"/>
                    </a:moveTo>
                    <a:lnTo>
                      <a:pt x="105" y="124"/>
                    </a:lnTo>
                    <a:lnTo>
                      <a:pt x="103" y="125"/>
                    </a:lnTo>
                    <a:lnTo>
                      <a:pt x="101" y="124"/>
                    </a:lnTo>
                    <a:lnTo>
                      <a:pt x="103" y="120"/>
                    </a:lnTo>
                    <a:lnTo>
                      <a:pt x="103" y="120"/>
                    </a:lnTo>
                    <a:lnTo>
                      <a:pt x="103" y="120"/>
                    </a:lnTo>
                    <a:lnTo>
                      <a:pt x="103" y="120"/>
                    </a:lnTo>
                    <a:close/>
                    <a:moveTo>
                      <a:pt x="108" y="112"/>
                    </a:moveTo>
                    <a:lnTo>
                      <a:pt x="105" y="115"/>
                    </a:lnTo>
                    <a:lnTo>
                      <a:pt x="105" y="112"/>
                    </a:lnTo>
                    <a:lnTo>
                      <a:pt x="108" y="108"/>
                    </a:lnTo>
                    <a:lnTo>
                      <a:pt x="108" y="112"/>
                    </a:lnTo>
                    <a:lnTo>
                      <a:pt x="108" y="112"/>
                    </a:lnTo>
                    <a:lnTo>
                      <a:pt x="108" y="112"/>
                    </a:lnTo>
                    <a:lnTo>
                      <a:pt x="108" y="112"/>
                    </a:lnTo>
                    <a:close/>
                    <a:moveTo>
                      <a:pt x="112" y="112"/>
                    </a:moveTo>
                    <a:lnTo>
                      <a:pt x="110" y="108"/>
                    </a:lnTo>
                    <a:lnTo>
                      <a:pt x="112" y="106"/>
                    </a:lnTo>
                    <a:lnTo>
                      <a:pt x="113" y="108"/>
                    </a:lnTo>
                    <a:lnTo>
                      <a:pt x="112" y="112"/>
                    </a:lnTo>
                    <a:lnTo>
                      <a:pt x="112" y="112"/>
                    </a:lnTo>
                    <a:lnTo>
                      <a:pt x="112" y="112"/>
                    </a:lnTo>
                    <a:lnTo>
                      <a:pt x="112" y="112"/>
                    </a:lnTo>
                    <a:close/>
                    <a:moveTo>
                      <a:pt x="120" y="103"/>
                    </a:moveTo>
                    <a:lnTo>
                      <a:pt x="120" y="106"/>
                    </a:lnTo>
                    <a:lnTo>
                      <a:pt x="115" y="112"/>
                    </a:lnTo>
                    <a:lnTo>
                      <a:pt x="117" y="105"/>
                    </a:lnTo>
                    <a:lnTo>
                      <a:pt x="120" y="103"/>
                    </a:lnTo>
                    <a:lnTo>
                      <a:pt x="120" y="103"/>
                    </a:lnTo>
                    <a:lnTo>
                      <a:pt x="120" y="103"/>
                    </a:lnTo>
                    <a:lnTo>
                      <a:pt x="120" y="103"/>
                    </a:lnTo>
                    <a:close/>
                    <a:moveTo>
                      <a:pt x="125" y="96"/>
                    </a:moveTo>
                    <a:lnTo>
                      <a:pt x="129" y="92"/>
                    </a:lnTo>
                    <a:lnTo>
                      <a:pt x="131" y="96"/>
                    </a:lnTo>
                    <a:lnTo>
                      <a:pt x="125" y="96"/>
                    </a:lnTo>
                    <a:lnTo>
                      <a:pt x="125" y="96"/>
                    </a:lnTo>
                    <a:lnTo>
                      <a:pt x="125" y="96"/>
                    </a:lnTo>
                    <a:lnTo>
                      <a:pt x="125" y="96"/>
                    </a:lnTo>
                    <a:close/>
                    <a:moveTo>
                      <a:pt x="131" y="96"/>
                    </a:moveTo>
                    <a:lnTo>
                      <a:pt x="131" y="103"/>
                    </a:lnTo>
                    <a:lnTo>
                      <a:pt x="127" y="101"/>
                    </a:lnTo>
                    <a:lnTo>
                      <a:pt x="124" y="105"/>
                    </a:lnTo>
                    <a:lnTo>
                      <a:pt x="124" y="101"/>
                    </a:lnTo>
                    <a:lnTo>
                      <a:pt x="131" y="96"/>
                    </a:lnTo>
                    <a:lnTo>
                      <a:pt x="131" y="96"/>
                    </a:lnTo>
                    <a:lnTo>
                      <a:pt x="131" y="96"/>
                    </a:lnTo>
                    <a:lnTo>
                      <a:pt x="131" y="96"/>
                    </a:lnTo>
                    <a:close/>
                    <a:moveTo>
                      <a:pt x="132" y="80"/>
                    </a:moveTo>
                    <a:lnTo>
                      <a:pt x="134" y="84"/>
                    </a:lnTo>
                    <a:lnTo>
                      <a:pt x="134" y="89"/>
                    </a:lnTo>
                    <a:lnTo>
                      <a:pt x="129" y="92"/>
                    </a:lnTo>
                    <a:lnTo>
                      <a:pt x="127" y="89"/>
                    </a:lnTo>
                    <a:lnTo>
                      <a:pt x="132" y="87"/>
                    </a:lnTo>
                    <a:lnTo>
                      <a:pt x="129" y="87"/>
                    </a:lnTo>
                    <a:lnTo>
                      <a:pt x="125" y="89"/>
                    </a:lnTo>
                    <a:lnTo>
                      <a:pt x="124" y="89"/>
                    </a:lnTo>
                    <a:lnTo>
                      <a:pt x="125" y="84"/>
                    </a:lnTo>
                    <a:lnTo>
                      <a:pt x="129" y="84"/>
                    </a:lnTo>
                    <a:lnTo>
                      <a:pt x="131" y="82"/>
                    </a:lnTo>
                    <a:lnTo>
                      <a:pt x="131" y="80"/>
                    </a:lnTo>
                    <a:lnTo>
                      <a:pt x="132" y="80"/>
                    </a:lnTo>
                    <a:lnTo>
                      <a:pt x="132" y="80"/>
                    </a:lnTo>
                    <a:lnTo>
                      <a:pt x="132" y="80"/>
                    </a:lnTo>
                    <a:lnTo>
                      <a:pt x="132" y="80"/>
                    </a:lnTo>
                    <a:close/>
                    <a:moveTo>
                      <a:pt x="138" y="82"/>
                    </a:moveTo>
                    <a:lnTo>
                      <a:pt x="136" y="80"/>
                    </a:lnTo>
                    <a:lnTo>
                      <a:pt x="136" y="75"/>
                    </a:lnTo>
                    <a:lnTo>
                      <a:pt x="141" y="72"/>
                    </a:lnTo>
                    <a:lnTo>
                      <a:pt x="141" y="70"/>
                    </a:lnTo>
                    <a:lnTo>
                      <a:pt x="143" y="66"/>
                    </a:lnTo>
                    <a:lnTo>
                      <a:pt x="146" y="70"/>
                    </a:lnTo>
                    <a:lnTo>
                      <a:pt x="143" y="73"/>
                    </a:lnTo>
                    <a:lnTo>
                      <a:pt x="143" y="77"/>
                    </a:lnTo>
                    <a:lnTo>
                      <a:pt x="138" y="82"/>
                    </a:lnTo>
                    <a:lnTo>
                      <a:pt x="138" y="82"/>
                    </a:lnTo>
                    <a:lnTo>
                      <a:pt x="138" y="82"/>
                    </a:lnTo>
                    <a:lnTo>
                      <a:pt x="138" y="82"/>
                    </a:lnTo>
                    <a:close/>
                    <a:moveTo>
                      <a:pt x="148" y="84"/>
                    </a:moveTo>
                    <a:lnTo>
                      <a:pt x="152" y="89"/>
                    </a:lnTo>
                    <a:lnTo>
                      <a:pt x="146" y="96"/>
                    </a:lnTo>
                    <a:lnTo>
                      <a:pt x="143" y="96"/>
                    </a:lnTo>
                    <a:lnTo>
                      <a:pt x="141" y="99"/>
                    </a:lnTo>
                    <a:lnTo>
                      <a:pt x="139" y="98"/>
                    </a:lnTo>
                    <a:lnTo>
                      <a:pt x="139" y="96"/>
                    </a:lnTo>
                    <a:lnTo>
                      <a:pt x="136" y="101"/>
                    </a:lnTo>
                    <a:lnTo>
                      <a:pt x="134" y="101"/>
                    </a:lnTo>
                    <a:lnTo>
                      <a:pt x="134" y="96"/>
                    </a:lnTo>
                    <a:lnTo>
                      <a:pt x="136" y="96"/>
                    </a:lnTo>
                    <a:lnTo>
                      <a:pt x="136" y="92"/>
                    </a:lnTo>
                    <a:lnTo>
                      <a:pt x="138" y="89"/>
                    </a:lnTo>
                    <a:lnTo>
                      <a:pt x="138" y="87"/>
                    </a:lnTo>
                    <a:lnTo>
                      <a:pt x="143" y="80"/>
                    </a:lnTo>
                    <a:lnTo>
                      <a:pt x="139" y="89"/>
                    </a:lnTo>
                    <a:lnTo>
                      <a:pt x="141" y="92"/>
                    </a:lnTo>
                    <a:lnTo>
                      <a:pt x="143" y="89"/>
                    </a:lnTo>
                    <a:lnTo>
                      <a:pt x="148" y="89"/>
                    </a:lnTo>
                    <a:lnTo>
                      <a:pt x="146" y="84"/>
                    </a:lnTo>
                    <a:lnTo>
                      <a:pt x="146" y="82"/>
                    </a:lnTo>
                    <a:lnTo>
                      <a:pt x="148" y="84"/>
                    </a:lnTo>
                    <a:lnTo>
                      <a:pt x="148" y="84"/>
                    </a:lnTo>
                    <a:lnTo>
                      <a:pt x="148" y="84"/>
                    </a:lnTo>
                    <a:lnTo>
                      <a:pt x="148" y="84"/>
                    </a:lnTo>
                    <a:close/>
                    <a:moveTo>
                      <a:pt x="146" y="80"/>
                    </a:moveTo>
                    <a:lnTo>
                      <a:pt x="146" y="78"/>
                    </a:lnTo>
                    <a:lnTo>
                      <a:pt x="148" y="78"/>
                    </a:lnTo>
                    <a:lnTo>
                      <a:pt x="152" y="80"/>
                    </a:lnTo>
                    <a:lnTo>
                      <a:pt x="152" y="82"/>
                    </a:lnTo>
                    <a:lnTo>
                      <a:pt x="146" y="80"/>
                    </a:lnTo>
                    <a:lnTo>
                      <a:pt x="146" y="80"/>
                    </a:lnTo>
                    <a:lnTo>
                      <a:pt x="146" y="80"/>
                    </a:lnTo>
                    <a:lnTo>
                      <a:pt x="146" y="80"/>
                    </a:lnTo>
                    <a:close/>
                    <a:moveTo>
                      <a:pt x="157" y="84"/>
                    </a:moveTo>
                    <a:lnTo>
                      <a:pt x="159" y="82"/>
                    </a:lnTo>
                    <a:lnTo>
                      <a:pt x="160" y="84"/>
                    </a:lnTo>
                    <a:lnTo>
                      <a:pt x="157" y="84"/>
                    </a:lnTo>
                    <a:lnTo>
                      <a:pt x="157" y="84"/>
                    </a:lnTo>
                    <a:lnTo>
                      <a:pt x="157" y="84"/>
                    </a:lnTo>
                    <a:lnTo>
                      <a:pt x="157" y="84"/>
                    </a:lnTo>
                    <a:close/>
                    <a:moveTo>
                      <a:pt x="169" y="66"/>
                    </a:moveTo>
                    <a:lnTo>
                      <a:pt x="169" y="70"/>
                    </a:lnTo>
                    <a:lnTo>
                      <a:pt x="169" y="72"/>
                    </a:lnTo>
                    <a:lnTo>
                      <a:pt x="165" y="72"/>
                    </a:lnTo>
                    <a:lnTo>
                      <a:pt x="164" y="73"/>
                    </a:lnTo>
                    <a:lnTo>
                      <a:pt x="160" y="73"/>
                    </a:lnTo>
                    <a:lnTo>
                      <a:pt x="159" y="78"/>
                    </a:lnTo>
                    <a:lnTo>
                      <a:pt x="157" y="78"/>
                    </a:lnTo>
                    <a:lnTo>
                      <a:pt x="157" y="75"/>
                    </a:lnTo>
                    <a:lnTo>
                      <a:pt x="155" y="75"/>
                    </a:lnTo>
                    <a:lnTo>
                      <a:pt x="157" y="70"/>
                    </a:lnTo>
                    <a:lnTo>
                      <a:pt x="155" y="70"/>
                    </a:lnTo>
                    <a:lnTo>
                      <a:pt x="155" y="66"/>
                    </a:lnTo>
                    <a:lnTo>
                      <a:pt x="160" y="66"/>
                    </a:lnTo>
                    <a:lnTo>
                      <a:pt x="155" y="65"/>
                    </a:lnTo>
                    <a:lnTo>
                      <a:pt x="159" y="61"/>
                    </a:lnTo>
                    <a:lnTo>
                      <a:pt x="160" y="61"/>
                    </a:lnTo>
                    <a:lnTo>
                      <a:pt x="160" y="59"/>
                    </a:lnTo>
                    <a:lnTo>
                      <a:pt x="165" y="59"/>
                    </a:lnTo>
                    <a:lnTo>
                      <a:pt x="165" y="61"/>
                    </a:lnTo>
                    <a:lnTo>
                      <a:pt x="169" y="65"/>
                    </a:lnTo>
                    <a:lnTo>
                      <a:pt x="169" y="66"/>
                    </a:lnTo>
                    <a:lnTo>
                      <a:pt x="169" y="66"/>
                    </a:lnTo>
                    <a:lnTo>
                      <a:pt x="169" y="66"/>
                    </a:lnTo>
                    <a:lnTo>
                      <a:pt x="169" y="66"/>
                    </a:lnTo>
                    <a:close/>
                    <a:moveTo>
                      <a:pt x="169" y="58"/>
                    </a:moveTo>
                    <a:lnTo>
                      <a:pt x="174" y="58"/>
                    </a:lnTo>
                    <a:lnTo>
                      <a:pt x="174" y="54"/>
                    </a:lnTo>
                    <a:lnTo>
                      <a:pt x="178" y="54"/>
                    </a:lnTo>
                    <a:lnTo>
                      <a:pt x="179" y="51"/>
                    </a:lnTo>
                    <a:lnTo>
                      <a:pt x="181" y="54"/>
                    </a:lnTo>
                    <a:lnTo>
                      <a:pt x="179" y="58"/>
                    </a:lnTo>
                    <a:lnTo>
                      <a:pt x="179" y="61"/>
                    </a:lnTo>
                    <a:lnTo>
                      <a:pt x="174" y="61"/>
                    </a:lnTo>
                    <a:lnTo>
                      <a:pt x="172" y="61"/>
                    </a:lnTo>
                    <a:lnTo>
                      <a:pt x="169" y="58"/>
                    </a:lnTo>
                    <a:lnTo>
                      <a:pt x="169" y="58"/>
                    </a:lnTo>
                    <a:lnTo>
                      <a:pt x="169" y="58"/>
                    </a:lnTo>
                    <a:lnTo>
                      <a:pt x="169" y="58"/>
                    </a:lnTo>
                    <a:close/>
                    <a:moveTo>
                      <a:pt x="183" y="38"/>
                    </a:moveTo>
                    <a:lnTo>
                      <a:pt x="181" y="37"/>
                    </a:lnTo>
                    <a:lnTo>
                      <a:pt x="185" y="33"/>
                    </a:lnTo>
                    <a:lnTo>
                      <a:pt x="183" y="38"/>
                    </a:lnTo>
                    <a:lnTo>
                      <a:pt x="183" y="38"/>
                    </a:lnTo>
                    <a:lnTo>
                      <a:pt x="183" y="38"/>
                    </a:lnTo>
                    <a:lnTo>
                      <a:pt x="183" y="38"/>
                    </a:lnTo>
                    <a:close/>
                    <a:moveTo>
                      <a:pt x="178" y="44"/>
                    </a:moveTo>
                    <a:lnTo>
                      <a:pt x="178" y="42"/>
                    </a:lnTo>
                    <a:lnTo>
                      <a:pt x="181" y="38"/>
                    </a:lnTo>
                    <a:lnTo>
                      <a:pt x="179" y="42"/>
                    </a:lnTo>
                    <a:lnTo>
                      <a:pt x="179" y="42"/>
                    </a:lnTo>
                    <a:lnTo>
                      <a:pt x="178" y="44"/>
                    </a:lnTo>
                    <a:lnTo>
                      <a:pt x="178" y="44"/>
                    </a:lnTo>
                    <a:lnTo>
                      <a:pt x="178" y="44"/>
                    </a:lnTo>
                    <a:lnTo>
                      <a:pt x="178" y="44"/>
                    </a:lnTo>
                    <a:close/>
                    <a:moveTo>
                      <a:pt x="188" y="51"/>
                    </a:moveTo>
                    <a:lnTo>
                      <a:pt x="188" y="45"/>
                    </a:lnTo>
                    <a:lnTo>
                      <a:pt x="190" y="49"/>
                    </a:lnTo>
                    <a:lnTo>
                      <a:pt x="188" y="51"/>
                    </a:lnTo>
                    <a:lnTo>
                      <a:pt x="188" y="51"/>
                    </a:lnTo>
                    <a:lnTo>
                      <a:pt x="188" y="51"/>
                    </a:lnTo>
                    <a:lnTo>
                      <a:pt x="188" y="51"/>
                    </a:lnTo>
                    <a:close/>
                    <a:moveTo>
                      <a:pt x="186" y="49"/>
                    </a:moveTo>
                    <a:lnTo>
                      <a:pt x="185" y="51"/>
                    </a:lnTo>
                    <a:lnTo>
                      <a:pt x="183" y="51"/>
                    </a:lnTo>
                    <a:lnTo>
                      <a:pt x="178" y="47"/>
                    </a:lnTo>
                    <a:lnTo>
                      <a:pt x="183" y="42"/>
                    </a:lnTo>
                    <a:lnTo>
                      <a:pt x="185" y="44"/>
                    </a:lnTo>
                    <a:lnTo>
                      <a:pt x="188" y="44"/>
                    </a:lnTo>
                    <a:lnTo>
                      <a:pt x="188" y="44"/>
                    </a:lnTo>
                    <a:lnTo>
                      <a:pt x="186" y="47"/>
                    </a:lnTo>
                    <a:lnTo>
                      <a:pt x="186" y="49"/>
                    </a:lnTo>
                    <a:lnTo>
                      <a:pt x="186" y="49"/>
                    </a:lnTo>
                    <a:lnTo>
                      <a:pt x="186" y="49"/>
                    </a:lnTo>
                    <a:lnTo>
                      <a:pt x="186" y="49"/>
                    </a:lnTo>
                    <a:close/>
                    <a:moveTo>
                      <a:pt x="195" y="42"/>
                    </a:moveTo>
                    <a:lnTo>
                      <a:pt x="193" y="42"/>
                    </a:lnTo>
                    <a:lnTo>
                      <a:pt x="190" y="42"/>
                    </a:lnTo>
                    <a:lnTo>
                      <a:pt x="190" y="38"/>
                    </a:lnTo>
                    <a:lnTo>
                      <a:pt x="188" y="33"/>
                    </a:lnTo>
                    <a:lnTo>
                      <a:pt x="190" y="33"/>
                    </a:lnTo>
                    <a:lnTo>
                      <a:pt x="192" y="38"/>
                    </a:lnTo>
                    <a:lnTo>
                      <a:pt x="195" y="38"/>
                    </a:lnTo>
                    <a:lnTo>
                      <a:pt x="195" y="42"/>
                    </a:lnTo>
                    <a:lnTo>
                      <a:pt x="195" y="42"/>
                    </a:lnTo>
                    <a:lnTo>
                      <a:pt x="195" y="42"/>
                    </a:lnTo>
                    <a:lnTo>
                      <a:pt x="195" y="42"/>
                    </a:lnTo>
                    <a:close/>
                    <a:moveTo>
                      <a:pt x="204" y="47"/>
                    </a:moveTo>
                    <a:lnTo>
                      <a:pt x="202" y="44"/>
                    </a:lnTo>
                    <a:lnTo>
                      <a:pt x="200" y="42"/>
                    </a:lnTo>
                    <a:lnTo>
                      <a:pt x="200" y="38"/>
                    </a:lnTo>
                    <a:lnTo>
                      <a:pt x="200" y="33"/>
                    </a:lnTo>
                    <a:lnTo>
                      <a:pt x="205" y="38"/>
                    </a:lnTo>
                    <a:lnTo>
                      <a:pt x="204" y="42"/>
                    </a:lnTo>
                    <a:lnTo>
                      <a:pt x="205" y="44"/>
                    </a:lnTo>
                    <a:lnTo>
                      <a:pt x="204" y="47"/>
                    </a:lnTo>
                    <a:lnTo>
                      <a:pt x="204" y="47"/>
                    </a:lnTo>
                    <a:lnTo>
                      <a:pt x="204" y="47"/>
                    </a:lnTo>
                    <a:lnTo>
                      <a:pt x="204" y="47"/>
                    </a:lnTo>
                    <a:close/>
                    <a:moveTo>
                      <a:pt x="230" y="33"/>
                    </a:moveTo>
                    <a:lnTo>
                      <a:pt x="228" y="33"/>
                    </a:lnTo>
                    <a:lnTo>
                      <a:pt x="223" y="32"/>
                    </a:lnTo>
                    <a:lnTo>
                      <a:pt x="225" y="30"/>
                    </a:lnTo>
                    <a:lnTo>
                      <a:pt x="228" y="30"/>
                    </a:lnTo>
                    <a:lnTo>
                      <a:pt x="230" y="32"/>
                    </a:lnTo>
                    <a:lnTo>
                      <a:pt x="230" y="33"/>
                    </a:lnTo>
                    <a:lnTo>
                      <a:pt x="230" y="33"/>
                    </a:lnTo>
                    <a:lnTo>
                      <a:pt x="230" y="33"/>
                    </a:lnTo>
                    <a:lnTo>
                      <a:pt x="230" y="33"/>
                    </a:lnTo>
                    <a:close/>
                    <a:moveTo>
                      <a:pt x="233" y="32"/>
                    </a:moveTo>
                    <a:lnTo>
                      <a:pt x="230" y="26"/>
                    </a:lnTo>
                    <a:lnTo>
                      <a:pt x="237" y="21"/>
                    </a:lnTo>
                    <a:lnTo>
                      <a:pt x="237" y="25"/>
                    </a:lnTo>
                    <a:lnTo>
                      <a:pt x="235" y="28"/>
                    </a:lnTo>
                    <a:lnTo>
                      <a:pt x="233" y="32"/>
                    </a:lnTo>
                    <a:lnTo>
                      <a:pt x="233" y="32"/>
                    </a:lnTo>
                    <a:lnTo>
                      <a:pt x="233" y="32"/>
                    </a:lnTo>
                    <a:lnTo>
                      <a:pt x="233" y="32"/>
                    </a:lnTo>
                    <a:close/>
                    <a:moveTo>
                      <a:pt x="228" y="25"/>
                    </a:moveTo>
                    <a:lnTo>
                      <a:pt x="225" y="25"/>
                    </a:lnTo>
                    <a:lnTo>
                      <a:pt x="219" y="23"/>
                    </a:lnTo>
                    <a:lnTo>
                      <a:pt x="218" y="19"/>
                    </a:lnTo>
                    <a:lnTo>
                      <a:pt x="219" y="21"/>
                    </a:lnTo>
                    <a:lnTo>
                      <a:pt x="223" y="18"/>
                    </a:lnTo>
                    <a:lnTo>
                      <a:pt x="225" y="21"/>
                    </a:lnTo>
                    <a:lnTo>
                      <a:pt x="228" y="18"/>
                    </a:lnTo>
                    <a:lnTo>
                      <a:pt x="230" y="18"/>
                    </a:lnTo>
                    <a:lnTo>
                      <a:pt x="235" y="14"/>
                    </a:lnTo>
                    <a:lnTo>
                      <a:pt x="235" y="16"/>
                    </a:lnTo>
                    <a:lnTo>
                      <a:pt x="228" y="25"/>
                    </a:lnTo>
                    <a:lnTo>
                      <a:pt x="228" y="25"/>
                    </a:lnTo>
                    <a:lnTo>
                      <a:pt x="228" y="25"/>
                    </a:lnTo>
                    <a:lnTo>
                      <a:pt x="228" y="25"/>
                    </a:lnTo>
                    <a:close/>
                    <a:moveTo>
                      <a:pt x="237" y="18"/>
                    </a:moveTo>
                    <a:lnTo>
                      <a:pt x="237" y="18"/>
                    </a:lnTo>
                    <a:lnTo>
                      <a:pt x="242" y="16"/>
                    </a:lnTo>
                    <a:lnTo>
                      <a:pt x="247" y="18"/>
                    </a:lnTo>
                    <a:lnTo>
                      <a:pt x="245" y="21"/>
                    </a:lnTo>
                    <a:lnTo>
                      <a:pt x="240" y="23"/>
                    </a:lnTo>
                    <a:lnTo>
                      <a:pt x="240" y="19"/>
                    </a:lnTo>
                    <a:lnTo>
                      <a:pt x="237" y="18"/>
                    </a:lnTo>
                    <a:lnTo>
                      <a:pt x="237" y="18"/>
                    </a:lnTo>
                    <a:lnTo>
                      <a:pt x="237" y="18"/>
                    </a:lnTo>
                    <a:lnTo>
                      <a:pt x="237" y="18"/>
                    </a:lnTo>
                    <a:close/>
                    <a:moveTo>
                      <a:pt x="247" y="11"/>
                    </a:moveTo>
                    <a:lnTo>
                      <a:pt x="245" y="11"/>
                    </a:lnTo>
                    <a:lnTo>
                      <a:pt x="245" y="11"/>
                    </a:lnTo>
                    <a:lnTo>
                      <a:pt x="242" y="9"/>
                    </a:lnTo>
                    <a:lnTo>
                      <a:pt x="245" y="7"/>
                    </a:lnTo>
                    <a:lnTo>
                      <a:pt x="247" y="11"/>
                    </a:lnTo>
                    <a:lnTo>
                      <a:pt x="247" y="11"/>
                    </a:lnTo>
                    <a:lnTo>
                      <a:pt x="247" y="11"/>
                    </a:lnTo>
                    <a:lnTo>
                      <a:pt x="247" y="11"/>
                    </a:lnTo>
                    <a:close/>
                    <a:moveTo>
                      <a:pt x="254" y="2"/>
                    </a:moveTo>
                    <a:lnTo>
                      <a:pt x="251" y="2"/>
                    </a:lnTo>
                    <a:lnTo>
                      <a:pt x="252" y="2"/>
                    </a:lnTo>
                    <a:lnTo>
                      <a:pt x="254" y="2"/>
                    </a:lnTo>
                    <a:lnTo>
                      <a:pt x="254" y="2"/>
                    </a:lnTo>
                    <a:lnTo>
                      <a:pt x="254" y="2"/>
                    </a:lnTo>
                    <a:lnTo>
                      <a:pt x="254" y="2"/>
                    </a:lnTo>
                    <a:lnTo>
                      <a:pt x="254" y="2"/>
                    </a:lnTo>
                    <a:close/>
                    <a:moveTo>
                      <a:pt x="259" y="7"/>
                    </a:moveTo>
                    <a:lnTo>
                      <a:pt x="259" y="5"/>
                    </a:lnTo>
                    <a:lnTo>
                      <a:pt x="261" y="2"/>
                    </a:lnTo>
                    <a:lnTo>
                      <a:pt x="263" y="2"/>
                    </a:lnTo>
                    <a:lnTo>
                      <a:pt x="265" y="2"/>
                    </a:lnTo>
                    <a:lnTo>
                      <a:pt x="265" y="0"/>
                    </a:lnTo>
                    <a:lnTo>
                      <a:pt x="266" y="2"/>
                    </a:lnTo>
                    <a:lnTo>
                      <a:pt x="270" y="2"/>
                    </a:lnTo>
                    <a:lnTo>
                      <a:pt x="268" y="5"/>
                    </a:lnTo>
                    <a:lnTo>
                      <a:pt x="270" y="5"/>
                    </a:lnTo>
                    <a:lnTo>
                      <a:pt x="270" y="9"/>
                    </a:lnTo>
                    <a:lnTo>
                      <a:pt x="266" y="11"/>
                    </a:lnTo>
                    <a:lnTo>
                      <a:pt x="263" y="7"/>
                    </a:lnTo>
                    <a:lnTo>
                      <a:pt x="259" y="7"/>
                    </a:lnTo>
                    <a:lnTo>
                      <a:pt x="259" y="7"/>
                    </a:lnTo>
                    <a:lnTo>
                      <a:pt x="259" y="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4" name="Freeform 9">
                <a:extLst>
                  <a:ext uri="{FF2B5EF4-FFF2-40B4-BE49-F238E27FC236}">
                    <a16:creationId xmlns:a16="http://schemas.microsoft.com/office/drawing/2014/main" id="{4D6B3CA2-1B53-4E11-932D-34B49B18CCDD}"/>
                  </a:ext>
                </a:extLst>
              </p:cNvPr>
              <p:cNvSpPr>
                <a:spLocks noEditPoints="1"/>
              </p:cNvSpPr>
              <p:nvPr/>
            </p:nvSpPr>
            <p:spPr bwMode="auto">
              <a:xfrm>
                <a:off x="4711700" y="1963738"/>
                <a:ext cx="261938" cy="612775"/>
              </a:xfrm>
              <a:custGeom>
                <a:avLst/>
                <a:gdLst/>
                <a:ahLst/>
                <a:cxnLst>
                  <a:cxn ang="0">
                    <a:pos x="5" y="279"/>
                  </a:cxn>
                  <a:cxn ang="0">
                    <a:pos x="17" y="260"/>
                  </a:cxn>
                  <a:cxn ang="0">
                    <a:pos x="19" y="228"/>
                  </a:cxn>
                  <a:cxn ang="0">
                    <a:pos x="8" y="190"/>
                  </a:cxn>
                  <a:cxn ang="0">
                    <a:pos x="26" y="155"/>
                  </a:cxn>
                  <a:cxn ang="0">
                    <a:pos x="33" y="108"/>
                  </a:cxn>
                  <a:cxn ang="0">
                    <a:pos x="45" y="87"/>
                  </a:cxn>
                  <a:cxn ang="0">
                    <a:pos x="54" y="49"/>
                  </a:cxn>
                  <a:cxn ang="0">
                    <a:pos x="69" y="34"/>
                  </a:cxn>
                  <a:cxn ang="0">
                    <a:pos x="78" y="23"/>
                  </a:cxn>
                  <a:cxn ang="0">
                    <a:pos x="99" y="21"/>
                  </a:cxn>
                  <a:cxn ang="0">
                    <a:pos x="106" y="9"/>
                  </a:cxn>
                  <a:cxn ang="0">
                    <a:pos x="113" y="4"/>
                  </a:cxn>
                  <a:cxn ang="0">
                    <a:pos x="142" y="23"/>
                  </a:cxn>
                  <a:cxn ang="0">
                    <a:pos x="151" y="37"/>
                  </a:cxn>
                  <a:cxn ang="0">
                    <a:pos x="154" y="60"/>
                  </a:cxn>
                  <a:cxn ang="0">
                    <a:pos x="160" y="89"/>
                  </a:cxn>
                  <a:cxn ang="0">
                    <a:pos x="160" y="101"/>
                  </a:cxn>
                  <a:cxn ang="0">
                    <a:pos x="146" y="103"/>
                  </a:cxn>
                  <a:cxn ang="0">
                    <a:pos x="132" y="105"/>
                  </a:cxn>
                  <a:cxn ang="0">
                    <a:pos x="132" y="119"/>
                  </a:cxn>
                  <a:cxn ang="0">
                    <a:pos x="132" y="122"/>
                  </a:cxn>
                  <a:cxn ang="0">
                    <a:pos x="132" y="138"/>
                  </a:cxn>
                  <a:cxn ang="0">
                    <a:pos x="127" y="153"/>
                  </a:cxn>
                  <a:cxn ang="0">
                    <a:pos x="113" y="171"/>
                  </a:cxn>
                  <a:cxn ang="0">
                    <a:pos x="102" y="181"/>
                  </a:cxn>
                  <a:cxn ang="0">
                    <a:pos x="94" y="185"/>
                  </a:cxn>
                  <a:cxn ang="0">
                    <a:pos x="85" y="200"/>
                  </a:cxn>
                  <a:cxn ang="0">
                    <a:pos x="80" y="220"/>
                  </a:cxn>
                  <a:cxn ang="0">
                    <a:pos x="80" y="233"/>
                  </a:cxn>
                  <a:cxn ang="0">
                    <a:pos x="85" y="249"/>
                  </a:cxn>
                  <a:cxn ang="0">
                    <a:pos x="100" y="260"/>
                  </a:cxn>
                  <a:cxn ang="0">
                    <a:pos x="100" y="282"/>
                  </a:cxn>
                  <a:cxn ang="0">
                    <a:pos x="85" y="280"/>
                  </a:cxn>
                  <a:cxn ang="0">
                    <a:pos x="71" y="282"/>
                  </a:cxn>
                  <a:cxn ang="0">
                    <a:pos x="83" y="286"/>
                  </a:cxn>
                  <a:cxn ang="0">
                    <a:pos x="102" y="291"/>
                  </a:cxn>
                  <a:cxn ang="0">
                    <a:pos x="92" y="294"/>
                  </a:cxn>
                  <a:cxn ang="0">
                    <a:pos x="83" y="305"/>
                  </a:cxn>
                  <a:cxn ang="0">
                    <a:pos x="78" y="310"/>
                  </a:cxn>
                  <a:cxn ang="0">
                    <a:pos x="80" y="326"/>
                  </a:cxn>
                  <a:cxn ang="0">
                    <a:pos x="80" y="346"/>
                  </a:cxn>
                  <a:cxn ang="0">
                    <a:pos x="66" y="367"/>
                  </a:cxn>
                  <a:cxn ang="0">
                    <a:pos x="48" y="380"/>
                  </a:cxn>
                  <a:cxn ang="0">
                    <a:pos x="29" y="381"/>
                  </a:cxn>
                  <a:cxn ang="0">
                    <a:pos x="29" y="360"/>
                  </a:cxn>
                  <a:cxn ang="0">
                    <a:pos x="14" y="341"/>
                  </a:cxn>
                  <a:cxn ang="0">
                    <a:pos x="8" y="322"/>
                  </a:cxn>
                  <a:cxn ang="0">
                    <a:pos x="5" y="313"/>
                  </a:cxn>
                  <a:cxn ang="0">
                    <a:pos x="0" y="305"/>
                  </a:cxn>
                  <a:cxn ang="0">
                    <a:pos x="100" y="286"/>
                  </a:cxn>
                  <a:cxn ang="0">
                    <a:pos x="100" y="286"/>
                  </a:cxn>
                  <a:cxn ang="0">
                    <a:pos x="5" y="319"/>
                  </a:cxn>
                  <a:cxn ang="0">
                    <a:pos x="118" y="310"/>
                  </a:cxn>
                  <a:cxn ang="0">
                    <a:pos x="118" y="327"/>
                  </a:cxn>
                  <a:cxn ang="0">
                    <a:pos x="116" y="326"/>
                  </a:cxn>
                  <a:cxn ang="0">
                    <a:pos x="113" y="341"/>
                  </a:cxn>
                  <a:cxn ang="0">
                    <a:pos x="116" y="327"/>
                  </a:cxn>
                  <a:cxn ang="0">
                    <a:pos x="102" y="338"/>
                  </a:cxn>
                  <a:cxn ang="0">
                    <a:pos x="106" y="352"/>
                  </a:cxn>
                  <a:cxn ang="0">
                    <a:pos x="83" y="364"/>
                  </a:cxn>
                  <a:cxn ang="0">
                    <a:pos x="83" y="345"/>
                  </a:cxn>
                </a:cxnLst>
                <a:rect l="0" t="0" r="r" b="b"/>
                <a:pathLst>
                  <a:path w="165" h="386">
                    <a:moveTo>
                      <a:pt x="3" y="296"/>
                    </a:moveTo>
                    <a:lnTo>
                      <a:pt x="5" y="296"/>
                    </a:lnTo>
                    <a:lnTo>
                      <a:pt x="5" y="301"/>
                    </a:lnTo>
                    <a:lnTo>
                      <a:pt x="8" y="296"/>
                    </a:lnTo>
                    <a:lnTo>
                      <a:pt x="8" y="286"/>
                    </a:lnTo>
                    <a:lnTo>
                      <a:pt x="5" y="282"/>
                    </a:lnTo>
                    <a:lnTo>
                      <a:pt x="5" y="279"/>
                    </a:lnTo>
                    <a:lnTo>
                      <a:pt x="8" y="279"/>
                    </a:lnTo>
                    <a:lnTo>
                      <a:pt x="8" y="275"/>
                    </a:lnTo>
                    <a:lnTo>
                      <a:pt x="8" y="272"/>
                    </a:lnTo>
                    <a:lnTo>
                      <a:pt x="12" y="272"/>
                    </a:lnTo>
                    <a:lnTo>
                      <a:pt x="14" y="268"/>
                    </a:lnTo>
                    <a:lnTo>
                      <a:pt x="14" y="265"/>
                    </a:lnTo>
                    <a:lnTo>
                      <a:pt x="17" y="260"/>
                    </a:lnTo>
                    <a:lnTo>
                      <a:pt x="14" y="258"/>
                    </a:lnTo>
                    <a:lnTo>
                      <a:pt x="12" y="249"/>
                    </a:lnTo>
                    <a:lnTo>
                      <a:pt x="8" y="242"/>
                    </a:lnTo>
                    <a:lnTo>
                      <a:pt x="12" y="240"/>
                    </a:lnTo>
                    <a:lnTo>
                      <a:pt x="17" y="237"/>
                    </a:lnTo>
                    <a:lnTo>
                      <a:pt x="17" y="232"/>
                    </a:lnTo>
                    <a:lnTo>
                      <a:pt x="19" y="228"/>
                    </a:lnTo>
                    <a:lnTo>
                      <a:pt x="14" y="221"/>
                    </a:lnTo>
                    <a:lnTo>
                      <a:pt x="8" y="220"/>
                    </a:lnTo>
                    <a:lnTo>
                      <a:pt x="8" y="213"/>
                    </a:lnTo>
                    <a:lnTo>
                      <a:pt x="8" y="206"/>
                    </a:lnTo>
                    <a:lnTo>
                      <a:pt x="8" y="200"/>
                    </a:lnTo>
                    <a:lnTo>
                      <a:pt x="8" y="195"/>
                    </a:lnTo>
                    <a:lnTo>
                      <a:pt x="8" y="190"/>
                    </a:lnTo>
                    <a:lnTo>
                      <a:pt x="8" y="181"/>
                    </a:lnTo>
                    <a:lnTo>
                      <a:pt x="5" y="173"/>
                    </a:lnTo>
                    <a:lnTo>
                      <a:pt x="8" y="164"/>
                    </a:lnTo>
                    <a:lnTo>
                      <a:pt x="12" y="159"/>
                    </a:lnTo>
                    <a:lnTo>
                      <a:pt x="14" y="155"/>
                    </a:lnTo>
                    <a:lnTo>
                      <a:pt x="19" y="155"/>
                    </a:lnTo>
                    <a:lnTo>
                      <a:pt x="26" y="155"/>
                    </a:lnTo>
                    <a:lnTo>
                      <a:pt x="26" y="153"/>
                    </a:lnTo>
                    <a:lnTo>
                      <a:pt x="26" y="147"/>
                    </a:lnTo>
                    <a:lnTo>
                      <a:pt x="26" y="143"/>
                    </a:lnTo>
                    <a:lnTo>
                      <a:pt x="26" y="140"/>
                    </a:lnTo>
                    <a:lnTo>
                      <a:pt x="31" y="124"/>
                    </a:lnTo>
                    <a:lnTo>
                      <a:pt x="31" y="117"/>
                    </a:lnTo>
                    <a:lnTo>
                      <a:pt x="33" y="108"/>
                    </a:lnTo>
                    <a:lnTo>
                      <a:pt x="34" y="105"/>
                    </a:lnTo>
                    <a:lnTo>
                      <a:pt x="34" y="100"/>
                    </a:lnTo>
                    <a:lnTo>
                      <a:pt x="33" y="96"/>
                    </a:lnTo>
                    <a:lnTo>
                      <a:pt x="33" y="94"/>
                    </a:lnTo>
                    <a:lnTo>
                      <a:pt x="38" y="91"/>
                    </a:lnTo>
                    <a:lnTo>
                      <a:pt x="43" y="89"/>
                    </a:lnTo>
                    <a:lnTo>
                      <a:pt x="45" y="87"/>
                    </a:lnTo>
                    <a:lnTo>
                      <a:pt x="45" y="84"/>
                    </a:lnTo>
                    <a:lnTo>
                      <a:pt x="50" y="77"/>
                    </a:lnTo>
                    <a:lnTo>
                      <a:pt x="55" y="68"/>
                    </a:lnTo>
                    <a:lnTo>
                      <a:pt x="57" y="65"/>
                    </a:lnTo>
                    <a:lnTo>
                      <a:pt x="55" y="60"/>
                    </a:lnTo>
                    <a:lnTo>
                      <a:pt x="54" y="58"/>
                    </a:lnTo>
                    <a:lnTo>
                      <a:pt x="54" y="49"/>
                    </a:lnTo>
                    <a:lnTo>
                      <a:pt x="55" y="49"/>
                    </a:lnTo>
                    <a:lnTo>
                      <a:pt x="57" y="46"/>
                    </a:lnTo>
                    <a:lnTo>
                      <a:pt x="59" y="42"/>
                    </a:lnTo>
                    <a:lnTo>
                      <a:pt x="61" y="40"/>
                    </a:lnTo>
                    <a:lnTo>
                      <a:pt x="62" y="35"/>
                    </a:lnTo>
                    <a:lnTo>
                      <a:pt x="66" y="32"/>
                    </a:lnTo>
                    <a:lnTo>
                      <a:pt x="69" y="34"/>
                    </a:lnTo>
                    <a:lnTo>
                      <a:pt x="71" y="35"/>
                    </a:lnTo>
                    <a:lnTo>
                      <a:pt x="74" y="35"/>
                    </a:lnTo>
                    <a:lnTo>
                      <a:pt x="76" y="34"/>
                    </a:lnTo>
                    <a:lnTo>
                      <a:pt x="74" y="30"/>
                    </a:lnTo>
                    <a:lnTo>
                      <a:pt x="76" y="27"/>
                    </a:lnTo>
                    <a:lnTo>
                      <a:pt x="76" y="27"/>
                    </a:lnTo>
                    <a:lnTo>
                      <a:pt x="78" y="23"/>
                    </a:lnTo>
                    <a:lnTo>
                      <a:pt x="74" y="21"/>
                    </a:lnTo>
                    <a:lnTo>
                      <a:pt x="76" y="18"/>
                    </a:lnTo>
                    <a:lnTo>
                      <a:pt x="80" y="18"/>
                    </a:lnTo>
                    <a:lnTo>
                      <a:pt x="85" y="18"/>
                    </a:lnTo>
                    <a:lnTo>
                      <a:pt x="90" y="18"/>
                    </a:lnTo>
                    <a:lnTo>
                      <a:pt x="94" y="21"/>
                    </a:lnTo>
                    <a:lnTo>
                      <a:pt x="99" y="21"/>
                    </a:lnTo>
                    <a:lnTo>
                      <a:pt x="100" y="21"/>
                    </a:lnTo>
                    <a:lnTo>
                      <a:pt x="102" y="21"/>
                    </a:lnTo>
                    <a:lnTo>
                      <a:pt x="102" y="23"/>
                    </a:lnTo>
                    <a:lnTo>
                      <a:pt x="102" y="18"/>
                    </a:lnTo>
                    <a:lnTo>
                      <a:pt x="102" y="14"/>
                    </a:lnTo>
                    <a:lnTo>
                      <a:pt x="102" y="11"/>
                    </a:lnTo>
                    <a:lnTo>
                      <a:pt x="106" y="9"/>
                    </a:lnTo>
                    <a:lnTo>
                      <a:pt x="102" y="6"/>
                    </a:lnTo>
                    <a:lnTo>
                      <a:pt x="102" y="4"/>
                    </a:lnTo>
                    <a:lnTo>
                      <a:pt x="100" y="0"/>
                    </a:lnTo>
                    <a:lnTo>
                      <a:pt x="106" y="2"/>
                    </a:lnTo>
                    <a:lnTo>
                      <a:pt x="107" y="0"/>
                    </a:lnTo>
                    <a:lnTo>
                      <a:pt x="109" y="0"/>
                    </a:lnTo>
                    <a:lnTo>
                      <a:pt x="113" y="4"/>
                    </a:lnTo>
                    <a:lnTo>
                      <a:pt x="116" y="6"/>
                    </a:lnTo>
                    <a:lnTo>
                      <a:pt x="123" y="14"/>
                    </a:lnTo>
                    <a:lnTo>
                      <a:pt x="127" y="18"/>
                    </a:lnTo>
                    <a:lnTo>
                      <a:pt x="133" y="18"/>
                    </a:lnTo>
                    <a:lnTo>
                      <a:pt x="133" y="18"/>
                    </a:lnTo>
                    <a:lnTo>
                      <a:pt x="139" y="18"/>
                    </a:lnTo>
                    <a:lnTo>
                      <a:pt x="142" y="23"/>
                    </a:lnTo>
                    <a:lnTo>
                      <a:pt x="142" y="27"/>
                    </a:lnTo>
                    <a:lnTo>
                      <a:pt x="146" y="27"/>
                    </a:lnTo>
                    <a:lnTo>
                      <a:pt x="146" y="27"/>
                    </a:lnTo>
                    <a:lnTo>
                      <a:pt x="147" y="30"/>
                    </a:lnTo>
                    <a:lnTo>
                      <a:pt x="151" y="30"/>
                    </a:lnTo>
                    <a:lnTo>
                      <a:pt x="153" y="34"/>
                    </a:lnTo>
                    <a:lnTo>
                      <a:pt x="151" y="37"/>
                    </a:lnTo>
                    <a:lnTo>
                      <a:pt x="151" y="42"/>
                    </a:lnTo>
                    <a:lnTo>
                      <a:pt x="149" y="46"/>
                    </a:lnTo>
                    <a:lnTo>
                      <a:pt x="151" y="49"/>
                    </a:lnTo>
                    <a:lnTo>
                      <a:pt x="154" y="49"/>
                    </a:lnTo>
                    <a:lnTo>
                      <a:pt x="156" y="53"/>
                    </a:lnTo>
                    <a:lnTo>
                      <a:pt x="154" y="54"/>
                    </a:lnTo>
                    <a:lnTo>
                      <a:pt x="154" y="60"/>
                    </a:lnTo>
                    <a:lnTo>
                      <a:pt x="158" y="63"/>
                    </a:lnTo>
                    <a:lnTo>
                      <a:pt x="158" y="68"/>
                    </a:lnTo>
                    <a:lnTo>
                      <a:pt x="158" y="72"/>
                    </a:lnTo>
                    <a:lnTo>
                      <a:pt x="158" y="73"/>
                    </a:lnTo>
                    <a:lnTo>
                      <a:pt x="158" y="80"/>
                    </a:lnTo>
                    <a:lnTo>
                      <a:pt x="156" y="84"/>
                    </a:lnTo>
                    <a:lnTo>
                      <a:pt x="160" y="89"/>
                    </a:lnTo>
                    <a:lnTo>
                      <a:pt x="163" y="89"/>
                    </a:lnTo>
                    <a:lnTo>
                      <a:pt x="163" y="96"/>
                    </a:lnTo>
                    <a:lnTo>
                      <a:pt x="165" y="96"/>
                    </a:lnTo>
                    <a:lnTo>
                      <a:pt x="165" y="101"/>
                    </a:lnTo>
                    <a:lnTo>
                      <a:pt x="165" y="101"/>
                    </a:lnTo>
                    <a:lnTo>
                      <a:pt x="163" y="101"/>
                    </a:lnTo>
                    <a:lnTo>
                      <a:pt x="160" y="101"/>
                    </a:lnTo>
                    <a:lnTo>
                      <a:pt x="160" y="100"/>
                    </a:lnTo>
                    <a:lnTo>
                      <a:pt x="154" y="101"/>
                    </a:lnTo>
                    <a:lnTo>
                      <a:pt x="153" y="101"/>
                    </a:lnTo>
                    <a:lnTo>
                      <a:pt x="151" y="103"/>
                    </a:lnTo>
                    <a:lnTo>
                      <a:pt x="147" y="103"/>
                    </a:lnTo>
                    <a:lnTo>
                      <a:pt x="146" y="100"/>
                    </a:lnTo>
                    <a:lnTo>
                      <a:pt x="146" y="103"/>
                    </a:lnTo>
                    <a:lnTo>
                      <a:pt x="142" y="100"/>
                    </a:lnTo>
                    <a:lnTo>
                      <a:pt x="140" y="100"/>
                    </a:lnTo>
                    <a:lnTo>
                      <a:pt x="140" y="103"/>
                    </a:lnTo>
                    <a:lnTo>
                      <a:pt x="139" y="108"/>
                    </a:lnTo>
                    <a:lnTo>
                      <a:pt x="137" y="108"/>
                    </a:lnTo>
                    <a:lnTo>
                      <a:pt x="133" y="105"/>
                    </a:lnTo>
                    <a:lnTo>
                      <a:pt x="132" y="105"/>
                    </a:lnTo>
                    <a:lnTo>
                      <a:pt x="133" y="108"/>
                    </a:lnTo>
                    <a:lnTo>
                      <a:pt x="137" y="110"/>
                    </a:lnTo>
                    <a:lnTo>
                      <a:pt x="133" y="113"/>
                    </a:lnTo>
                    <a:lnTo>
                      <a:pt x="132" y="113"/>
                    </a:lnTo>
                    <a:lnTo>
                      <a:pt x="128" y="115"/>
                    </a:lnTo>
                    <a:lnTo>
                      <a:pt x="132" y="117"/>
                    </a:lnTo>
                    <a:lnTo>
                      <a:pt x="132" y="119"/>
                    </a:lnTo>
                    <a:lnTo>
                      <a:pt x="130" y="119"/>
                    </a:lnTo>
                    <a:lnTo>
                      <a:pt x="130" y="117"/>
                    </a:lnTo>
                    <a:lnTo>
                      <a:pt x="127" y="117"/>
                    </a:lnTo>
                    <a:lnTo>
                      <a:pt x="127" y="117"/>
                    </a:lnTo>
                    <a:lnTo>
                      <a:pt x="128" y="119"/>
                    </a:lnTo>
                    <a:lnTo>
                      <a:pt x="130" y="119"/>
                    </a:lnTo>
                    <a:lnTo>
                      <a:pt x="132" y="122"/>
                    </a:lnTo>
                    <a:lnTo>
                      <a:pt x="130" y="122"/>
                    </a:lnTo>
                    <a:lnTo>
                      <a:pt x="128" y="131"/>
                    </a:lnTo>
                    <a:lnTo>
                      <a:pt x="128" y="133"/>
                    </a:lnTo>
                    <a:lnTo>
                      <a:pt x="125" y="133"/>
                    </a:lnTo>
                    <a:lnTo>
                      <a:pt x="128" y="136"/>
                    </a:lnTo>
                    <a:lnTo>
                      <a:pt x="132" y="136"/>
                    </a:lnTo>
                    <a:lnTo>
                      <a:pt x="132" y="138"/>
                    </a:lnTo>
                    <a:lnTo>
                      <a:pt x="130" y="140"/>
                    </a:lnTo>
                    <a:lnTo>
                      <a:pt x="132" y="141"/>
                    </a:lnTo>
                    <a:lnTo>
                      <a:pt x="133" y="141"/>
                    </a:lnTo>
                    <a:lnTo>
                      <a:pt x="132" y="147"/>
                    </a:lnTo>
                    <a:lnTo>
                      <a:pt x="128" y="147"/>
                    </a:lnTo>
                    <a:lnTo>
                      <a:pt x="127" y="150"/>
                    </a:lnTo>
                    <a:lnTo>
                      <a:pt x="127" y="153"/>
                    </a:lnTo>
                    <a:lnTo>
                      <a:pt x="123" y="160"/>
                    </a:lnTo>
                    <a:lnTo>
                      <a:pt x="123" y="160"/>
                    </a:lnTo>
                    <a:lnTo>
                      <a:pt x="120" y="164"/>
                    </a:lnTo>
                    <a:lnTo>
                      <a:pt x="116" y="160"/>
                    </a:lnTo>
                    <a:lnTo>
                      <a:pt x="116" y="164"/>
                    </a:lnTo>
                    <a:lnTo>
                      <a:pt x="118" y="167"/>
                    </a:lnTo>
                    <a:lnTo>
                      <a:pt x="113" y="171"/>
                    </a:lnTo>
                    <a:lnTo>
                      <a:pt x="111" y="174"/>
                    </a:lnTo>
                    <a:lnTo>
                      <a:pt x="109" y="174"/>
                    </a:lnTo>
                    <a:lnTo>
                      <a:pt x="109" y="171"/>
                    </a:lnTo>
                    <a:lnTo>
                      <a:pt x="106" y="171"/>
                    </a:lnTo>
                    <a:lnTo>
                      <a:pt x="106" y="174"/>
                    </a:lnTo>
                    <a:lnTo>
                      <a:pt x="106" y="178"/>
                    </a:lnTo>
                    <a:lnTo>
                      <a:pt x="102" y="181"/>
                    </a:lnTo>
                    <a:lnTo>
                      <a:pt x="102" y="178"/>
                    </a:lnTo>
                    <a:lnTo>
                      <a:pt x="100" y="178"/>
                    </a:lnTo>
                    <a:lnTo>
                      <a:pt x="100" y="181"/>
                    </a:lnTo>
                    <a:lnTo>
                      <a:pt x="99" y="181"/>
                    </a:lnTo>
                    <a:lnTo>
                      <a:pt x="97" y="181"/>
                    </a:lnTo>
                    <a:lnTo>
                      <a:pt x="94" y="181"/>
                    </a:lnTo>
                    <a:lnTo>
                      <a:pt x="94" y="185"/>
                    </a:lnTo>
                    <a:lnTo>
                      <a:pt x="95" y="185"/>
                    </a:lnTo>
                    <a:lnTo>
                      <a:pt x="95" y="188"/>
                    </a:lnTo>
                    <a:lnTo>
                      <a:pt x="90" y="192"/>
                    </a:lnTo>
                    <a:lnTo>
                      <a:pt x="87" y="190"/>
                    </a:lnTo>
                    <a:lnTo>
                      <a:pt x="87" y="193"/>
                    </a:lnTo>
                    <a:lnTo>
                      <a:pt x="88" y="195"/>
                    </a:lnTo>
                    <a:lnTo>
                      <a:pt x="85" y="200"/>
                    </a:lnTo>
                    <a:lnTo>
                      <a:pt x="80" y="200"/>
                    </a:lnTo>
                    <a:lnTo>
                      <a:pt x="78" y="200"/>
                    </a:lnTo>
                    <a:lnTo>
                      <a:pt x="83" y="204"/>
                    </a:lnTo>
                    <a:lnTo>
                      <a:pt x="83" y="209"/>
                    </a:lnTo>
                    <a:lnTo>
                      <a:pt x="80" y="209"/>
                    </a:lnTo>
                    <a:lnTo>
                      <a:pt x="83" y="214"/>
                    </a:lnTo>
                    <a:lnTo>
                      <a:pt x="80" y="220"/>
                    </a:lnTo>
                    <a:lnTo>
                      <a:pt x="83" y="221"/>
                    </a:lnTo>
                    <a:lnTo>
                      <a:pt x="83" y="225"/>
                    </a:lnTo>
                    <a:lnTo>
                      <a:pt x="80" y="223"/>
                    </a:lnTo>
                    <a:lnTo>
                      <a:pt x="80" y="225"/>
                    </a:lnTo>
                    <a:lnTo>
                      <a:pt x="80" y="228"/>
                    </a:lnTo>
                    <a:lnTo>
                      <a:pt x="80" y="232"/>
                    </a:lnTo>
                    <a:lnTo>
                      <a:pt x="80" y="233"/>
                    </a:lnTo>
                    <a:lnTo>
                      <a:pt x="80" y="235"/>
                    </a:lnTo>
                    <a:lnTo>
                      <a:pt x="80" y="235"/>
                    </a:lnTo>
                    <a:lnTo>
                      <a:pt x="80" y="240"/>
                    </a:lnTo>
                    <a:lnTo>
                      <a:pt x="80" y="244"/>
                    </a:lnTo>
                    <a:lnTo>
                      <a:pt x="80" y="246"/>
                    </a:lnTo>
                    <a:lnTo>
                      <a:pt x="83" y="247"/>
                    </a:lnTo>
                    <a:lnTo>
                      <a:pt x="85" y="249"/>
                    </a:lnTo>
                    <a:lnTo>
                      <a:pt x="85" y="251"/>
                    </a:lnTo>
                    <a:lnTo>
                      <a:pt x="87" y="251"/>
                    </a:lnTo>
                    <a:lnTo>
                      <a:pt x="88" y="254"/>
                    </a:lnTo>
                    <a:lnTo>
                      <a:pt x="92" y="251"/>
                    </a:lnTo>
                    <a:lnTo>
                      <a:pt x="94" y="251"/>
                    </a:lnTo>
                    <a:lnTo>
                      <a:pt x="95" y="256"/>
                    </a:lnTo>
                    <a:lnTo>
                      <a:pt x="100" y="260"/>
                    </a:lnTo>
                    <a:lnTo>
                      <a:pt x="100" y="263"/>
                    </a:lnTo>
                    <a:lnTo>
                      <a:pt x="106" y="265"/>
                    </a:lnTo>
                    <a:lnTo>
                      <a:pt x="106" y="267"/>
                    </a:lnTo>
                    <a:lnTo>
                      <a:pt x="107" y="270"/>
                    </a:lnTo>
                    <a:lnTo>
                      <a:pt x="106" y="275"/>
                    </a:lnTo>
                    <a:lnTo>
                      <a:pt x="102" y="280"/>
                    </a:lnTo>
                    <a:lnTo>
                      <a:pt x="100" y="282"/>
                    </a:lnTo>
                    <a:lnTo>
                      <a:pt x="95" y="286"/>
                    </a:lnTo>
                    <a:lnTo>
                      <a:pt x="94" y="282"/>
                    </a:lnTo>
                    <a:lnTo>
                      <a:pt x="94" y="282"/>
                    </a:lnTo>
                    <a:lnTo>
                      <a:pt x="88" y="280"/>
                    </a:lnTo>
                    <a:lnTo>
                      <a:pt x="87" y="279"/>
                    </a:lnTo>
                    <a:lnTo>
                      <a:pt x="87" y="280"/>
                    </a:lnTo>
                    <a:lnTo>
                      <a:pt x="85" y="280"/>
                    </a:lnTo>
                    <a:lnTo>
                      <a:pt x="83" y="279"/>
                    </a:lnTo>
                    <a:lnTo>
                      <a:pt x="80" y="279"/>
                    </a:lnTo>
                    <a:lnTo>
                      <a:pt x="80" y="280"/>
                    </a:lnTo>
                    <a:lnTo>
                      <a:pt x="78" y="282"/>
                    </a:lnTo>
                    <a:lnTo>
                      <a:pt x="76" y="280"/>
                    </a:lnTo>
                    <a:lnTo>
                      <a:pt x="74" y="282"/>
                    </a:lnTo>
                    <a:lnTo>
                      <a:pt x="71" y="282"/>
                    </a:lnTo>
                    <a:lnTo>
                      <a:pt x="69" y="282"/>
                    </a:lnTo>
                    <a:lnTo>
                      <a:pt x="69" y="282"/>
                    </a:lnTo>
                    <a:lnTo>
                      <a:pt x="74" y="286"/>
                    </a:lnTo>
                    <a:lnTo>
                      <a:pt x="76" y="286"/>
                    </a:lnTo>
                    <a:lnTo>
                      <a:pt x="76" y="282"/>
                    </a:lnTo>
                    <a:lnTo>
                      <a:pt x="80" y="282"/>
                    </a:lnTo>
                    <a:lnTo>
                      <a:pt x="83" y="286"/>
                    </a:lnTo>
                    <a:lnTo>
                      <a:pt x="85" y="286"/>
                    </a:lnTo>
                    <a:lnTo>
                      <a:pt x="87" y="287"/>
                    </a:lnTo>
                    <a:lnTo>
                      <a:pt x="90" y="286"/>
                    </a:lnTo>
                    <a:lnTo>
                      <a:pt x="92" y="287"/>
                    </a:lnTo>
                    <a:lnTo>
                      <a:pt x="95" y="286"/>
                    </a:lnTo>
                    <a:lnTo>
                      <a:pt x="100" y="286"/>
                    </a:lnTo>
                    <a:lnTo>
                      <a:pt x="102" y="291"/>
                    </a:lnTo>
                    <a:lnTo>
                      <a:pt x="102" y="293"/>
                    </a:lnTo>
                    <a:lnTo>
                      <a:pt x="100" y="294"/>
                    </a:lnTo>
                    <a:lnTo>
                      <a:pt x="97" y="294"/>
                    </a:lnTo>
                    <a:lnTo>
                      <a:pt x="94" y="300"/>
                    </a:lnTo>
                    <a:lnTo>
                      <a:pt x="92" y="298"/>
                    </a:lnTo>
                    <a:lnTo>
                      <a:pt x="94" y="296"/>
                    </a:lnTo>
                    <a:lnTo>
                      <a:pt x="92" y="294"/>
                    </a:lnTo>
                    <a:lnTo>
                      <a:pt x="90" y="296"/>
                    </a:lnTo>
                    <a:lnTo>
                      <a:pt x="90" y="298"/>
                    </a:lnTo>
                    <a:lnTo>
                      <a:pt x="88" y="298"/>
                    </a:lnTo>
                    <a:lnTo>
                      <a:pt x="87" y="301"/>
                    </a:lnTo>
                    <a:lnTo>
                      <a:pt x="85" y="305"/>
                    </a:lnTo>
                    <a:lnTo>
                      <a:pt x="83" y="303"/>
                    </a:lnTo>
                    <a:lnTo>
                      <a:pt x="83" y="305"/>
                    </a:lnTo>
                    <a:lnTo>
                      <a:pt x="80" y="306"/>
                    </a:lnTo>
                    <a:lnTo>
                      <a:pt x="80" y="306"/>
                    </a:lnTo>
                    <a:lnTo>
                      <a:pt x="80" y="306"/>
                    </a:lnTo>
                    <a:lnTo>
                      <a:pt x="78" y="308"/>
                    </a:lnTo>
                    <a:lnTo>
                      <a:pt x="80" y="308"/>
                    </a:lnTo>
                    <a:lnTo>
                      <a:pt x="83" y="310"/>
                    </a:lnTo>
                    <a:lnTo>
                      <a:pt x="78" y="310"/>
                    </a:lnTo>
                    <a:lnTo>
                      <a:pt x="83" y="313"/>
                    </a:lnTo>
                    <a:lnTo>
                      <a:pt x="83" y="315"/>
                    </a:lnTo>
                    <a:lnTo>
                      <a:pt x="80" y="319"/>
                    </a:lnTo>
                    <a:lnTo>
                      <a:pt x="83" y="322"/>
                    </a:lnTo>
                    <a:lnTo>
                      <a:pt x="80" y="324"/>
                    </a:lnTo>
                    <a:lnTo>
                      <a:pt x="76" y="322"/>
                    </a:lnTo>
                    <a:lnTo>
                      <a:pt x="80" y="326"/>
                    </a:lnTo>
                    <a:lnTo>
                      <a:pt x="78" y="329"/>
                    </a:lnTo>
                    <a:lnTo>
                      <a:pt x="80" y="331"/>
                    </a:lnTo>
                    <a:lnTo>
                      <a:pt x="78" y="333"/>
                    </a:lnTo>
                    <a:lnTo>
                      <a:pt x="80" y="336"/>
                    </a:lnTo>
                    <a:lnTo>
                      <a:pt x="78" y="341"/>
                    </a:lnTo>
                    <a:lnTo>
                      <a:pt x="78" y="345"/>
                    </a:lnTo>
                    <a:lnTo>
                      <a:pt x="80" y="346"/>
                    </a:lnTo>
                    <a:lnTo>
                      <a:pt x="80" y="348"/>
                    </a:lnTo>
                    <a:lnTo>
                      <a:pt x="78" y="357"/>
                    </a:lnTo>
                    <a:lnTo>
                      <a:pt x="76" y="360"/>
                    </a:lnTo>
                    <a:lnTo>
                      <a:pt x="74" y="367"/>
                    </a:lnTo>
                    <a:lnTo>
                      <a:pt x="71" y="373"/>
                    </a:lnTo>
                    <a:lnTo>
                      <a:pt x="67" y="369"/>
                    </a:lnTo>
                    <a:lnTo>
                      <a:pt x="66" y="367"/>
                    </a:lnTo>
                    <a:lnTo>
                      <a:pt x="62" y="369"/>
                    </a:lnTo>
                    <a:lnTo>
                      <a:pt x="55" y="367"/>
                    </a:lnTo>
                    <a:lnTo>
                      <a:pt x="55" y="367"/>
                    </a:lnTo>
                    <a:lnTo>
                      <a:pt x="54" y="373"/>
                    </a:lnTo>
                    <a:lnTo>
                      <a:pt x="48" y="373"/>
                    </a:lnTo>
                    <a:lnTo>
                      <a:pt x="45" y="378"/>
                    </a:lnTo>
                    <a:lnTo>
                      <a:pt x="48" y="380"/>
                    </a:lnTo>
                    <a:lnTo>
                      <a:pt x="48" y="383"/>
                    </a:lnTo>
                    <a:lnTo>
                      <a:pt x="45" y="386"/>
                    </a:lnTo>
                    <a:lnTo>
                      <a:pt x="40" y="383"/>
                    </a:lnTo>
                    <a:lnTo>
                      <a:pt x="33" y="386"/>
                    </a:lnTo>
                    <a:lnTo>
                      <a:pt x="29" y="386"/>
                    </a:lnTo>
                    <a:lnTo>
                      <a:pt x="27" y="383"/>
                    </a:lnTo>
                    <a:lnTo>
                      <a:pt x="29" y="381"/>
                    </a:lnTo>
                    <a:lnTo>
                      <a:pt x="27" y="373"/>
                    </a:lnTo>
                    <a:lnTo>
                      <a:pt x="26" y="373"/>
                    </a:lnTo>
                    <a:lnTo>
                      <a:pt x="22" y="369"/>
                    </a:lnTo>
                    <a:lnTo>
                      <a:pt x="22" y="367"/>
                    </a:lnTo>
                    <a:lnTo>
                      <a:pt x="22" y="367"/>
                    </a:lnTo>
                    <a:lnTo>
                      <a:pt x="26" y="364"/>
                    </a:lnTo>
                    <a:lnTo>
                      <a:pt x="29" y="360"/>
                    </a:lnTo>
                    <a:lnTo>
                      <a:pt x="27" y="357"/>
                    </a:lnTo>
                    <a:lnTo>
                      <a:pt x="26" y="359"/>
                    </a:lnTo>
                    <a:lnTo>
                      <a:pt x="22" y="355"/>
                    </a:lnTo>
                    <a:lnTo>
                      <a:pt x="21" y="352"/>
                    </a:lnTo>
                    <a:lnTo>
                      <a:pt x="17" y="350"/>
                    </a:lnTo>
                    <a:lnTo>
                      <a:pt x="17" y="346"/>
                    </a:lnTo>
                    <a:lnTo>
                      <a:pt x="14" y="341"/>
                    </a:lnTo>
                    <a:lnTo>
                      <a:pt x="12" y="338"/>
                    </a:lnTo>
                    <a:lnTo>
                      <a:pt x="12" y="333"/>
                    </a:lnTo>
                    <a:lnTo>
                      <a:pt x="8" y="333"/>
                    </a:lnTo>
                    <a:lnTo>
                      <a:pt x="5" y="331"/>
                    </a:lnTo>
                    <a:lnTo>
                      <a:pt x="8" y="329"/>
                    </a:lnTo>
                    <a:lnTo>
                      <a:pt x="8" y="326"/>
                    </a:lnTo>
                    <a:lnTo>
                      <a:pt x="8" y="322"/>
                    </a:lnTo>
                    <a:lnTo>
                      <a:pt x="8" y="319"/>
                    </a:lnTo>
                    <a:lnTo>
                      <a:pt x="12" y="317"/>
                    </a:lnTo>
                    <a:lnTo>
                      <a:pt x="8" y="315"/>
                    </a:lnTo>
                    <a:lnTo>
                      <a:pt x="8" y="313"/>
                    </a:lnTo>
                    <a:lnTo>
                      <a:pt x="8" y="313"/>
                    </a:lnTo>
                    <a:lnTo>
                      <a:pt x="5" y="313"/>
                    </a:lnTo>
                    <a:lnTo>
                      <a:pt x="5" y="313"/>
                    </a:lnTo>
                    <a:lnTo>
                      <a:pt x="8" y="317"/>
                    </a:lnTo>
                    <a:lnTo>
                      <a:pt x="5" y="319"/>
                    </a:lnTo>
                    <a:lnTo>
                      <a:pt x="5" y="313"/>
                    </a:lnTo>
                    <a:lnTo>
                      <a:pt x="5" y="313"/>
                    </a:lnTo>
                    <a:lnTo>
                      <a:pt x="0" y="313"/>
                    </a:lnTo>
                    <a:lnTo>
                      <a:pt x="0" y="306"/>
                    </a:lnTo>
                    <a:lnTo>
                      <a:pt x="0" y="305"/>
                    </a:lnTo>
                    <a:lnTo>
                      <a:pt x="0" y="298"/>
                    </a:lnTo>
                    <a:lnTo>
                      <a:pt x="3" y="296"/>
                    </a:lnTo>
                    <a:lnTo>
                      <a:pt x="3" y="296"/>
                    </a:lnTo>
                    <a:lnTo>
                      <a:pt x="3" y="296"/>
                    </a:lnTo>
                    <a:lnTo>
                      <a:pt x="3" y="296"/>
                    </a:lnTo>
                    <a:lnTo>
                      <a:pt x="3" y="296"/>
                    </a:lnTo>
                    <a:close/>
                    <a:moveTo>
                      <a:pt x="100" y="286"/>
                    </a:moveTo>
                    <a:lnTo>
                      <a:pt x="102" y="291"/>
                    </a:lnTo>
                    <a:lnTo>
                      <a:pt x="102" y="291"/>
                    </a:lnTo>
                    <a:lnTo>
                      <a:pt x="106" y="286"/>
                    </a:lnTo>
                    <a:lnTo>
                      <a:pt x="107" y="282"/>
                    </a:lnTo>
                    <a:lnTo>
                      <a:pt x="107" y="280"/>
                    </a:lnTo>
                    <a:lnTo>
                      <a:pt x="102" y="280"/>
                    </a:lnTo>
                    <a:lnTo>
                      <a:pt x="100" y="286"/>
                    </a:lnTo>
                    <a:lnTo>
                      <a:pt x="100" y="286"/>
                    </a:lnTo>
                    <a:lnTo>
                      <a:pt x="100" y="286"/>
                    </a:lnTo>
                    <a:lnTo>
                      <a:pt x="100" y="286"/>
                    </a:lnTo>
                    <a:close/>
                    <a:moveTo>
                      <a:pt x="5" y="319"/>
                    </a:moveTo>
                    <a:lnTo>
                      <a:pt x="5" y="322"/>
                    </a:lnTo>
                    <a:lnTo>
                      <a:pt x="5" y="322"/>
                    </a:lnTo>
                    <a:lnTo>
                      <a:pt x="5" y="319"/>
                    </a:lnTo>
                    <a:lnTo>
                      <a:pt x="5" y="319"/>
                    </a:lnTo>
                    <a:lnTo>
                      <a:pt x="5" y="319"/>
                    </a:lnTo>
                    <a:lnTo>
                      <a:pt x="5" y="319"/>
                    </a:lnTo>
                    <a:lnTo>
                      <a:pt x="5" y="319"/>
                    </a:lnTo>
                    <a:close/>
                    <a:moveTo>
                      <a:pt x="114" y="310"/>
                    </a:moveTo>
                    <a:lnTo>
                      <a:pt x="116" y="313"/>
                    </a:lnTo>
                    <a:lnTo>
                      <a:pt x="118" y="310"/>
                    </a:lnTo>
                    <a:lnTo>
                      <a:pt x="116" y="308"/>
                    </a:lnTo>
                    <a:lnTo>
                      <a:pt x="114" y="310"/>
                    </a:lnTo>
                    <a:lnTo>
                      <a:pt x="114" y="310"/>
                    </a:lnTo>
                    <a:lnTo>
                      <a:pt x="114" y="310"/>
                    </a:lnTo>
                    <a:lnTo>
                      <a:pt x="114" y="310"/>
                    </a:lnTo>
                    <a:close/>
                    <a:moveTo>
                      <a:pt x="116" y="326"/>
                    </a:moveTo>
                    <a:lnTo>
                      <a:pt x="118" y="327"/>
                    </a:lnTo>
                    <a:lnTo>
                      <a:pt x="120" y="324"/>
                    </a:lnTo>
                    <a:lnTo>
                      <a:pt x="123" y="324"/>
                    </a:lnTo>
                    <a:lnTo>
                      <a:pt x="120" y="322"/>
                    </a:lnTo>
                    <a:lnTo>
                      <a:pt x="118" y="322"/>
                    </a:lnTo>
                    <a:lnTo>
                      <a:pt x="116" y="326"/>
                    </a:lnTo>
                    <a:lnTo>
                      <a:pt x="116" y="326"/>
                    </a:lnTo>
                    <a:lnTo>
                      <a:pt x="116" y="326"/>
                    </a:lnTo>
                    <a:lnTo>
                      <a:pt x="116" y="326"/>
                    </a:lnTo>
                    <a:close/>
                    <a:moveTo>
                      <a:pt x="106" y="352"/>
                    </a:moveTo>
                    <a:lnTo>
                      <a:pt x="107" y="350"/>
                    </a:lnTo>
                    <a:lnTo>
                      <a:pt x="109" y="348"/>
                    </a:lnTo>
                    <a:lnTo>
                      <a:pt x="107" y="346"/>
                    </a:lnTo>
                    <a:lnTo>
                      <a:pt x="107" y="345"/>
                    </a:lnTo>
                    <a:lnTo>
                      <a:pt x="113" y="341"/>
                    </a:lnTo>
                    <a:lnTo>
                      <a:pt x="113" y="341"/>
                    </a:lnTo>
                    <a:lnTo>
                      <a:pt x="116" y="336"/>
                    </a:lnTo>
                    <a:lnTo>
                      <a:pt x="114" y="336"/>
                    </a:lnTo>
                    <a:lnTo>
                      <a:pt x="113" y="333"/>
                    </a:lnTo>
                    <a:lnTo>
                      <a:pt x="114" y="331"/>
                    </a:lnTo>
                    <a:lnTo>
                      <a:pt x="114" y="329"/>
                    </a:lnTo>
                    <a:lnTo>
                      <a:pt x="116" y="327"/>
                    </a:lnTo>
                    <a:lnTo>
                      <a:pt x="114" y="326"/>
                    </a:lnTo>
                    <a:lnTo>
                      <a:pt x="113" y="327"/>
                    </a:lnTo>
                    <a:lnTo>
                      <a:pt x="107" y="327"/>
                    </a:lnTo>
                    <a:lnTo>
                      <a:pt x="106" y="331"/>
                    </a:lnTo>
                    <a:lnTo>
                      <a:pt x="106" y="333"/>
                    </a:lnTo>
                    <a:lnTo>
                      <a:pt x="102" y="336"/>
                    </a:lnTo>
                    <a:lnTo>
                      <a:pt x="102" y="338"/>
                    </a:lnTo>
                    <a:lnTo>
                      <a:pt x="102" y="341"/>
                    </a:lnTo>
                    <a:lnTo>
                      <a:pt x="106" y="345"/>
                    </a:lnTo>
                    <a:lnTo>
                      <a:pt x="106" y="345"/>
                    </a:lnTo>
                    <a:lnTo>
                      <a:pt x="106" y="346"/>
                    </a:lnTo>
                    <a:lnTo>
                      <a:pt x="106" y="350"/>
                    </a:lnTo>
                    <a:lnTo>
                      <a:pt x="106" y="352"/>
                    </a:lnTo>
                    <a:lnTo>
                      <a:pt x="106" y="352"/>
                    </a:lnTo>
                    <a:lnTo>
                      <a:pt x="106" y="352"/>
                    </a:lnTo>
                    <a:lnTo>
                      <a:pt x="106" y="352"/>
                    </a:lnTo>
                    <a:close/>
                    <a:moveTo>
                      <a:pt x="80" y="360"/>
                    </a:moveTo>
                    <a:lnTo>
                      <a:pt x="80" y="364"/>
                    </a:lnTo>
                    <a:lnTo>
                      <a:pt x="80" y="367"/>
                    </a:lnTo>
                    <a:lnTo>
                      <a:pt x="80" y="367"/>
                    </a:lnTo>
                    <a:lnTo>
                      <a:pt x="83" y="364"/>
                    </a:lnTo>
                    <a:lnTo>
                      <a:pt x="83" y="360"/>
                    </a:lnTo>
                    <a:lnTo>
                      <a:pt x="85" y="353"/>
                    </a:lnTo>
                    <a:lnTo>
                      <a:pt x="87" y="348"/>
                    </a:lnTo>
                    <a:lnTo>
                      <a:pt x="87" y="345"/>
                    </a:lnTo>
                    <a:lnTo>
                      <a:pt x="85" y="341"/>
                    </a:lnTo>
                    <a:lnTo>
                      <a:pt x="83" y="345"/>
                    </a:lnTo>
                    <a:lnTo>
                      <a:pt x="83" y="345"/>
                    </a:lnTo>
                    <a:lnTo>
                      <a:pt x="83" y="352"/>
                    </a:lnTo>
                    <a:lnTo>
                      <a:pt x="80" y="352"/>
                    </a:lnTo>
                    <a:lnTo>
                      <a:pt x="80" y="360"/>
                    </a:lnTo>
                    <a:lnTo>
                      <a:pt x="80" y="360"/>
                    </a:lnTo>
                    <a:lnTo>
                      <a:pt x="80" y="36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5" name="Freeform 10">
                <a:extLst>
                  <a:ext uri="{FF2B5EF4-FFF2-40B4-BE49-F238E27FC236}">
                    <a16:creationId xmlns:a16="http://schemas.microsoft.com/office/drawing/2014/main" id="{3B079C95-3AD3-45A4-841A-C983367F71EE}"/>
                  </a:ext>
                </a:extLst>
              </p:cNvPr>
              <p:cNvSpPr>
                <a:spLocks noEditPoints="1"/>
              </p:cNvSpPr>
              <p:nvPr/>
            </p:nvSpPr>
            <p:spPr bwMode="auto">
              <a:xfrm>
                <a:off x="4887913" y="1903413"/>
                <a:ext cx="269875" cy="485775"/>
              </a:xfrm>
              <a:custGeom>
                <a:avLst/>
                <a:gdLst/>
                <a:ahLst/>
                <a:cxnLst>
                  <a:cxn ang="0">
                    <a:pos x="155" y="256"/>
                  </a:cxn>
                  <a:cxn ang="0">
                    <a:pos x="158" y="209"/>
                  </a:cxn>
                  <a:cxn ang="0">
                    <a:pos x="146" y="174"/>
                  </a:cxn>
                  <a:cxn ang="0">
                    <a:pos x="141" y="153"/>
                  </a:cxn>
                  <a:cxn ang="0">
                    <a:pos x="135" y="118"/>
                  </a:cxn>
                  <a:cxn ang="0">
                    <a:pos x="130" y="77"/>
                  </a:cxn>
                  <a:cxn ang="0">
                    <a:pos x="111" y="59"/>
                  </a:cxn>
                  <a:cxn ang="0">
                    <a:pos x="108" y="35"/>
                  </a:cxn>
                  <a:cxn ang="0">
                    <a:pos x="111" y="11"/>
                  </a:cxn>
                  <a:cxn ang="0">
                    <a:pos x="83" y="0"/>
                  </a:cxn>
                  <a:cxn ang="0">
                    <a:pos x="69" y="7"/>
                  </a:cxn>
                  <a:cxn ang="0">
                    <a:pos x="66" y="32"/>
                  </a:cxn>
                  <a:cxn ang="0">
                    <a:pos x="57" y="42"/>
                  </a:cxn>
                  <a:cxn ang="0">
                    <a:pos x="35" y="49"/>
                  </a:cxn>
                  <a:cxn ang="0">
                    <a:pos x="9" y="28"/>
                  </a:cxn>
                  <a:cxn ang="0">
                    <a:pos x="0" y="35"/>
                  </a:cxn>
                  <a:cxn ang="0">
                    <a:pos x="24" y="54"/>
                  </a:cxn>
                  <a:cxn ang="0">
                    <a:pos x="36" y="63"/>
                  </a:cxn>
                  <a:cxn ang="0">
                    <a:pos x="42" y="82"/>
                  </a:cxn>
                  <a:cxn ang="0">
                    <a:pos x="50" y="99"/>
                  </a:cxn>
                  <a:cxn ang="0">
                    <a:pos x="50" y="125"/>
                  </a:cxn>
                  <a:cxn ang="0">
                    <a:pos x="61" y="138"/>
                  </a:cxn>
                  <a:cxn ang="0">
                    <a:pos x="75" y="155"/>
                  </a:cxn>
                  <a:cxn ang="0">
                    <a:pos x="78" y="167"/>
                  </a:cxn>
                  <a:cxn ang="0">
                    <a:pos x="61" y="178"/>
                  </a:cxn>
                  <a:cxn ang="0">
                    <a:pos x="50" y="186"/>
                  </a:cxn>
                  <a:cxn ang="0">
                    <a:pos x="50" y="202"/>
                  </a:cxn>
                  <a:cxn ang="0">
                    <a:pos x="38" y="204"/>
                  </a:cxn>
                  <a:cxn ang="0">
                    <a:pos x="35" y="216"/>
                  </a:cxn>
                  <a:cxn ang="0">
                    <a:pos x="26" y="218"/>
                  </a:cxn>
                  <a:cxn ang="0">
                    <a:pos x="24" y="231"/>
                  </a:cxn>
                  <a:cxn ang="0">
                    <a:pos x="28" y="244"/>
                  </a:cxn>
                  <a:cxn ang="0">
                    <a:pos x="35" y="261"/>
                  </a:cxn>
                  <a:cxn ang="0">
                    <a:pos x="31" y="284"/>
                  </a:cxn>
                  <a:cxn ang="0">
                    <a:pos x="42" y="289"/>
                  </a:cxn>
                  <a:cxn ang="0">
                    <a:pos x="54" y="292"/>
                  </a:cxn>
                  <a:cxn ang="0">
                    <a:pos x="61" y="306"/>
                  </a:cxn>
                  <a:cxn ang="0">
                    <a:pos x="73" y="303"/>
                  </a:cxn>
                  <a:cxn ang="0">
                    <a:pos x="95" y="292"/>
                  </a:cxn>
                  <a:cxn ang="0">
                    <a:pos x="101" y="291"/>
                  </a:cxn>
                  <a:cxn ang="0">
                    <a:pos x="108" y="291"/>
                  </a:cxn>
                  <a:cxn ang="0">
                    <a:pos x="120" y="287"/>
                  </a:cxn>
                  <a:cxn ang="0">
                    <a:pos x="130" y="284"/>
                  </a:cxn>
                  <a:cxn ang="0">
                    <a:pos x="135" y="284"/>
                  </a:cxn>
                  <a:cxn ang="0">
                    <a:pos x="69" y="155"/>
                  </a:cxn>
                  <a:cxn ang="0">
                    <a:pos x="73" y="160"/>
                  </a:cxn>
                  <a:cxn ang="0">
                    <a:pos x="22" y="209"/>
                  </a:cxn>
                  <a:cxn ang="0">
                    <a:pos x="26" y="211"/>
                  </a:cxn>
                  <a:cxn ang="0">
                    <a:pos x="21" y="211"/>
                  </a:cxn>
                  <a:cxn ang="0">
                    <a:pos x="56" y="303"/>
                  </a:cxn>
                  <a:cxn ang="0">
                    <a:pos x="52" y="298"/>
                  </a:cxn>
                  <a:cxn ang="0">
                    <a:pos x="52" y="298"/>
                  </a:cxn>
                  <a:cxn ang="0">
                    <a:pos x="45" y="296"/>
                  </a:cxn>
                  <a:cxn ang="0">
                    <a:pos x="42" y="292"/>
                  </a:cxn>
                  <a:cxn ang="0">
                    <a:pos x="31" y="289"/>
                  </a:cxn>
                  <a:cxn ang="0">
                    <a:pos x="31" y="289"/>
                  </a:cxn>
                  <a:cxn ang="0">
                    <a:pos x="10" y="289"/>
                  </a:cxn>
                  <a:cxn ang="0">
                    <a:pos x="16" y="299"/>
                  </a:cxn>
                  <a:cxn ang="0">
                    <a:pos x="10" y="298"/>
                  </a:cxn>
                </a:cxnLst>
                <a:rect l="0" t="0" r="r" b="b"/>
                <a:pathLst>
                  <a:path w="170" h="306">
                    <a:moveTo>
                      <a:pt x="135" y="284"/>
                    </a:moveTo>
                    <a:lnTo>
                      <a:pt x="134" y="278"/>
                    </a:lnTo>
                    <a:lnTo>
                      <a:pt x="142" y="273"/>
                    </a:lnTo>
                    <a:lnTo>
                      <a:pt x="146" y="270"/>
                    </a:lnTo>
                    <a:lnTo>
                      <a:pt x="151" y="261"/>
                    </a:lnTo>
                    <a:lnTo>
                      <a:pt x="155" y="256"/>
                    </a:lnTo>
                    <a:lnTo>
                      <a:pt x="160" y="247"/>
                    </a:lnTo>
                    <a:lnTo>
                      <a:pt x="167" y="237"/>
                    </a:lnTo>
                    <a:lnTo>
                      <a:pt x="170" y="223"/>
                    </a:lnTo>
                    <a:lnTo>
                      <a:pt x="170" y="218"/>
                    </a:lnTo>
                    <a:lnTo>
                      <a:pt x="163" y="209"/>
                    </a:lnTo>
                    <a:lnTo>
                      <a:pt x="158" y="209"/>
                    </a:lnTo>
                    <a:lnTo>
                      <a:pt x="151" y="197"/>
                    </a:lnTo>
                    <a:lnTo>
                      <a:pt x="151" y="191"/>
                    </a:lnTo>
                    <a:lnTo>
                      <a:pt x="155" y="186"/>
                    </a:lnTo>
                    <a:lnTo>
                      <a:pt x="155" y="181"/>
                    </a:lnTo>
                    <a:lnTo>
                      <a:pt x="151" y="178"/>
                    </a:lnTo>
                    <a:lnTo>
                      <a:pt x="146" y="174"/>
                    </a:lnTo>
                    <a:lnTo>
                      <a:pt x="146" y="169"/>
                    </a:lnTo>
                    <a:lnTo>
                      <a:pt x="148" y="167"/>
                    </a:lnTo>
                    <a:lnTo>
                      <a:pt x="146" y="164"/>
                    </a:lnTo>
                    <a:lnTo>
                      <a:pt x="142" y="162"/>
                    </a:lnTo>
                    <a:lnTo>
                      <a:pt x="141" y="160"/>
                    </a:lnTo>
                    <a:lnTo>
                      <a:pt x="141" y="153"/>
                    </a:lnTo>
                    <a:lnTo>
                      <a:pt x="142" y="150"/>
                    </a:lnTo>
                    <a:lnTo>
                      <a:pt x="141" y="150"/>
                    </a:lnTo>
                    <a:lnTo>
                      <a:pt x="141" y="146"/>
                    </a:lnTo>
                    <a:lnTo>
                      <a:pt x="141" y="136"/>
                    </a:lnTo>
                    <a:lnTo>
                      <a:pt x="142" y="136"/>
                    </a:lnTo>
                    <a:lnTo>
                      <a:pt x="135" y="118"/>
                    </a:lnTo>
                    <a:lnTo>
                      <a:pt x="128" y="105"/>
                    </a:lnTo>
                    <a:lnTo>
                      <a:pt x="127" y="99"/>
                    </a:lnTo>
                    <a:lnTo>
                      <a:pt x="123" y="94"/>
                    </a:lnTo>
                    <a:lnTo>
                      <a:pt x="125" y="85"/>
                    </a:lnTo>
                    <a:lnTo>
                      <a:pt x="128" y="82"/>
                    </a:lnTo>
                    <a:lnTo>
                      <a:pt x="130" y="77"/>
                    </a:lnTo>
                    <a:lnTo>
                      <a:pt x="128" y="75"/>
                    </a:lnTo>
                    <a:lnTo>
                      <a:pt x="120" y="70"/>
                    </a:lnTo>
                    <a:lnTo>
                      <a:pt x="120" y="66"/>
                    </a:lnTo>
                    <a:lnTo>
                      <a:pt x="118" y="63"/>
                    </a:lnTo>
                    <a:lnTo>
                      <a:pt x="113" y="59"/>
                    </a:lnTo>
                    <a:lnTo>
                      <a:pt x="111" y="59"/>
                    </a:lnTo>
                    <a:lnTo>
                      <a:pt x="108" y="51"/>
                    </a:lnTo>
                    <a:lnTo>
                      <a:pt x="104" y="49"/>
                    </a:lnTo>
                    <a:lnTo>
                      <a:pt x="106" y="42"/>
                    </a:lnTo>
                    <a:lnTo>
                      <a:pt x="108" y="38"/>
                    </a:lnTo>
                    <a:lnTo>
                      <a:pt x="104" y="37"/>
                    </a:lnTo>
                    <a:lnTo>
                      <a:pt x="108" y="35"/>
                    </a:lnTo>
                    <a:lnTo>
                      <a:pt x="111" y="33"/>
                    </a:lnTo>
                    <a:lnTo>
                      <a:pt x="111" y="26"/>
                    </a:lnTo>
                    <a:lnTo>
                      <a:pt x="115" y="23"/>
                    </a:lnTo>
                    <a:lnTo>
                      <a:pt x="115" y="18"/>
                    </a:lnTo>
                    <a:lnTo>
                      <a:pt x="111" y="14"/>
                    </a:lnTo>
                    <a:lnTo>
                      <a:pt x="111" y="11"/>
                    </a:lnTo>
                    <a:lnTo>
                      <a:pt x="104" y="11"/>
                    </a:lnTo>
                    <a:lnTo>
                      <a:pt x="101" y="9"/>
                    </a:lnTo>
                    <a:lnTo>
                      <a:pt x="97" y="7"/>
                    </a:lnTo>
                    <a:lnTo>
                      <a:pt x="95" y="4"/>
                    </a:lnTo>
                    <a:lnTo>
                      <a:pt x="92" y="0"/>
                    </a:lnTo>
                    <a:lnTo>
                      <a:pt x="83" y="0"/>
                    </a:lnTo>
                    <a:lnTo>
                      <a:pt x="82" y="4"/>
                    </a:lnTo>
                    <a:lnTo>
                      <a:pt x="82" y="4"/>
                    </a:lnTo>
                    <a:lnTo>
                      <a:pt x="78" y="4"/>
                    </a:lnTo>
                    <a:lnTo>
                      <a:pt x="73" y="4"/>
                    </a:lnTo>
                    <a:lnTo>
                      <a:pt x="69" y="5"/>
                    </a:lnTo>
                    <a:lnTo>
                      <a:pt x="69" y="7"/>
                    </a:lnTo>
                    <a:lnTo>
                      <a:pt x="69" y="11"/>
                    </a:lnTo>
                    <a:lnTo>
                      <a:pt x="66" y="12"/>
                    </a:lnTo>
                    <a:lnTo>
                      <a:pt x="69" y="16"/>
                    </a:lnTo>
                    <a:lnTo>
                      <a:pt x="66" y="18"/>
                    </a:lnTo>
                    <a:lnTo>
                      <a:pt x="66" y="28"/>
                    </a:lnTo>
                    <a:lnTo>
                      <a:pt x="66" y="32"/>
                    </a:lnTo>
                    <a:lnTo>
                      <a:pt x="69" y="35"/>
                    </a:lnTo>
                    <a:lnTo>
                      <a:pt x="66" y="37"/>
                    </a:lnTo>
                    <a:lnTo>
                      <a:pt x="66" y="38"/>
                    </a:lnTo>
                    <a:lnTo>
                      <a:pt x="61" y="38"/>
                    </a:lnTo>
                    <a:lnTo>
                      <a:pt x="59" y="42"/>
                    </a:lnTo>
                    <a:lnTo>
                      <a:pt x="57" y="42"/>
                    </a:lnTo>
                    <a:lnTo>
                      <a:pt x="54" y="47"/>
                    </a:lnTo>
                    <a:lnTo>
                      <a:pt x="50" y="45"/>
                    </a:lnTo>
                    <a:lnTo>
                      <a:pt x="45" y="42"/>
                    </a:lnTo>
                    <a:lnTo>
                      <a:pt x="42" y="42"/>
                    </a:lnTo>
                    <a:lnTo>
                      <a:pt x="38" y="44"/>
                    </a:lnTo>
                    <a:lnTo>
                      <a:pt x="35" y="49"/>
                    </a:lnTo>
                    <a:lnTo>
                      <a:pt x="28" y="49"/>
                    </a:lnTo>
                    <a:lnTo>
                      <a:pt x="22" y="45"/>
                    </a:lnTo>
                    <a:lnTo>
                      <a:pt x="19" y="42"/>
                    </a:lnTo>
                    <a:lnTo>
                      <a:pt x="19" y="38"/>
                    </a:lnTo>
                    <a:lnTo>
                      <a:pt x="10" y="32"/>
                    </a:lnTo>
                    <a:lnTo>
                      <a:pt x="9" y="28"/>
                    </a:lnTo>
                    <a:lnTo>
                      <a:pt x="5" y="28"/>
                    </a:lnTo>
                    <a:lnTo>
                      <a:pt x="3" y="32"/>
                    </a:lnTo>
                    <a:lnTo>
                      <a:pt x="2" y="33"/>
                    </a:lnTo>
                    <a:lnTo>
                      <a:pt x="3" y="35"/>
                    </a:lnTo>
                    <a:lnTo>
                      <a:pt x="2" y="37"/>
                    </a:lnTo>
                    <a:lnTo>
                      <a:pt x="0" y="35"/>
                    </a:lnTo>
                    <a:lnTo>
                      <a:pt x="0" y="37"/>
                    </a:lnTo>
                    <a:lnTo>
                      <a:pt x="3" y="40"/>
                    </a:lnTo>
                    <a:lnTo>
                      <a:pt x="7" y="42"/>
                    </a:lnTo>
                    <a:lnTo>
                      <a:pt x="14" y="51"/>
                    </a:lnTo>
                    <a:lnTo>
                      <a:pt x="19" y="54"/>
                    </a:lnTo>
                    <a:lnTo>
                      <a:pt x="24" y="54"/>
                    </a:lnTo>
                    <a:lnTo>
                      <a:pt x="26" y="54"/>
                    </a:lnTo>
                    <a:lnTo>
                      <a:pt x="29" y="54"/>
                    </a:lnTo>
                    <a:lnTo>
                      <a:pt x="33" y="59"/>
                    </a:lnTo>
                    <a:lnTo>
                      <a:pt x="35" y="63"/>
                    </a:lnTo>
                    <a:lnTo>
                      <a:pt x="36" y="63"/>
                    </a:lnTo>
                    <a:lnTo>
                      <a:pt x="36" y="63"/>
                    </a:lnTo>
                    <a:lnTo>
                      <a:pt x="38" y="66"/>
                    </a:lnTo>
                    <a:lnTo>
                      <a:pt x="42" y="66"/>
                    </a:lnTo>
                    <a:lnTo>
                      <a:pt x="43" y="70"/>
                    </a:lnTo>
                    <a:lnTo>
                      <a:pt x="42" y="73"/>
                    </a:lnTo>
                    <a:lnTo>
                      <a:pt x="42" y="78"/>
                    </a:lnTo>
                    <a:lnTo>
                      <a:pt x="42" y="82"/>
                    </a:lnTo>
                    <a:lnTo>
                      <a:pt x="42" y="85"/>
                    </a:lnTo>
                    <a:lnTo>
                      <a:pt x="45" y="85"/>
                    </a:lnTo>
                    <a:lnTo>
                      <a:pt x="47" y="91"/>
                    </a:lnTo>
                    <a:lnTo>
                      <a:pt x="45" y="91"/>
                    </a:lnTo>
                    <a:lnTo>
                      <a:pt x="45" y="96"/>
                    </a:lnTo>
                    <a:lnTo>
                      <a:pt x="50" y="99"/>
                    </a:lnTo>
                    <a:lnTo>
                      <a:pt x="50" y="106"/>
                    </a:lnTo>
                    <a:lnTo>
                      <a:pt x="50" y="108"/>
                    </a:lnTo>
                    <a:lnTo>
                      <a:pt x="50" y="110"/>
                    </a:lnTo>
                    <a:lnTo>
                      <a:pt x="50" y="118"/>
                    </a:lnTo>
                    <a:lnTo>
                      <a:pt x="47" y="120"/>
                    </a:lnTo>
                    <a:lnTo>
                      <a:pt x="50" y="125"/>
                    </a:lnTo>
                    <a:lnTo>
                      <a:pt x="54" y="125"/>
                    </a:lnTo>
                    <a:lnTo>
                      <a:pt x="56" y="132"/>
                    </a:lnTo>
                    <a:lnTo>
                      <a:pt x="57" y="134"/>
                    </a:lnTo>
                    <a:lnTo>
                      <a:pt x="57" y="138"/>
                    </a:lnTo>
                    <a:lnTo>
                      <a:pt x="59" y="138"/>
                    </a:lnTo>
                    <a:lnTo>
                      <a:pt x="61" y="138"/>
                    </a:lnTo>
                    <a:lnTo>
                      <a:pt x="66" y="141"/>
                    </a:lnTo>
                    <a:lnTo>
                      <a:pt x="73" y="141"/>
                    </a:lnTo>
                    <a:lnTo>
                      <a:pt x="76" y="146"/>
                    </a:lnTo>
                    <a:lnTo>
                      <a:pt x="73" y="150"/>
                    </a:lnTo>
                    <a:lnTo>
                      <a:pt x="75" y="150"/>
                    </a:lnTo>
                    <a:lnTo>
                      <a:pt x="75" y="155"/>
                    </a:lnTo>
                    <a:lnTo>
                      <a:pt x="75" y="157"/>
                    </a:lnTo>
                    <a:lnTo>
                      <a:pt x="80" y="162"/>
                    </a:lnTo>
                    <a:lnTo>
                      <a:pt x="75" y="160"/>
                    </a:lnTo>
                    <a:lnTo>
                      <a:pt x="75" y="162"/>
                    </a:lnTo>
                    <a:lnTo>
                      <a:pt x="78" y="165"/>
                    </a:lnTo>
                    <a:lnTo>
                      <a:pt x="78" y="167"/>
                    </a:lnTo>
                    <a:lnTo>
                      <a:pt x="73" y="165"/>
                    </a:lnTo>
                    <a:lnTo>
                      <a:pt x="69" y="165"/>
                    </a:lnTo>
                    <a:lnTo>
                      <a:pt x="66" y="167"/>
                    </a:lnTo>
                    <a:lnTo>
                      <a:pt x="66" y="169"/>
                    </a:lnTo>
                    <a:lnTo>
                      <a:pt x="61" y="172"/>
                    </a:lnTo>
                    <a:lnTo>
                      <a:pt x="61" y="178"/>
                    </a:lnTo>
                    <a:lnTo>
                      <a:pt x="61" y="178"/>
                    </a:lnTo>
                    <a:lnTo>
                      <a:pt x="56" y="183"/>
                    </a:lnTo>
                    <a:lnTo>
                      <a:pt x="54" y="188"/>
                    </a:lnTo>
                    <a:lnTo>
                      <a:pt x="54" y="188"/>
                    </a:lnTo>
                    <a:lnTo>
                      <a:pt x="52" y="186"/>
                    </a:lnTo>
                    <a:lnTo>
                      <a:pt x="50" y="186"/>
                    </a:lnTo>
                    <a:lnTo>
                      <a:pt x="52" y="190"/>
                    </a:lnTo>
                    <a:lnTo>
                      <a:pt x="50" y="193"/>
                    </a:lnTo>
                    <a:lnTo>
                      <a:pt x="47" y="193"/>
                    </a:lnTo>
                    <a:lnTo>
                      <a:pt x="45" y="197"/>
                    </a:lnTo>
                    <a:lnTo>
                      <a:pt x="45" y="200"/>
                    </a:lnTo>
                    <a:lnTo>
                      <a:pt x="50" y="202"/>
                    </a:lnTo>
                    <a:lnTo>
                      <a:pt x="43" y="200"/>
                    </a:lnTo>
                    <a:lnTo>
                      <a:pt x="43" y="200"/>
                    </a:lnTo>
                    <a:lnTo>
                      <a:pt x="42" y="200"/>
                    </a:lnTo>
                    <a:lnTo>
                      <a:pt x="38" y="204"/>
                    </a:lnTo>
                    <a:lnTo>
                      <a:pt x="42" y="205"/>
                    </a:lnTo>
                    <a:lnTo>
                      <a:pt x="38" y="204"/>
                    </a:lnTo>
                    <a:lnTo>
                      <a:pt x="38" y="205"/>
                    </a:lnTo>
                    <a:lnTo>
                      <a:pt x="38" y="209"/>
                    </a:lnTo>
                    <a:lnTo>
                      <a:pt x="38" y="209"/>
                    </a:lnTo>
                    <a:lnTo>
                      <a:pt x="38" y="212"/>
                    </a:lnTo>
                    <a:lnTo>
                      <a:pt x="36" y="214"/>
                    </a:lnTo>
                    <a:lnTo>
                      <a:pt x="35" y="216"/>
                    </a:lnTo>
                    <a:lnTo>
                      <a:pt x="33" y="214"/>
                    </a:lnTo>
                    <a:lnTo>
                      <a:pt x="31" y="214"/>
                    </a:lnTo>
                    <a:lnTo>
                      <a:pt x="29" y="212"/>
                    </a:lnTo>
                    <a:lnTo>
                      <a:pt x="28" y="214"/>
                    </a:lnTo>
                    <a:lnTo>
                      <a:pt x="28" y="216"/>
                    </a:lnTo>
                    <a:lnTo>
                      <a:pt x="26" y="218"/>
                    </a:lnTo>
                    <a:lnTo>
                      <a:pt x="28" y="219"/>
                    </a:lnTo>
                    <a:lnTo>
                      <a:pt x="26" y="225"/>
                    </a:lnTo>
                    <a:lnTo>
                      <a:pt x="24" y="225"/>
                    </a:lnTo>
                    <a:lnTo>
                      <a:pt x="22" y="228"/>
                    </a:lnTo>
                    <a:lnTo>
                      <a:pt x="24" y="231"/>
                    </a:lnTo>
                    <a:lnTo>
                      <a:pt x="24" y="231"/>
                    </a:lnTo>
                    <a:lnTo>
                      <a:pt x="24" y="237"/>
                    </a:lnTo>
                    <a:lnTo>
                      <a:pt x="24" y="237"/>
                    </a:lnTo>
                    <a:lnTo>
                      <a:pt x="26" y="237"/>
                    </a:lnTo>
                    <a:lnTo>
                      <a:pt x="28" y="238"/>
                    </a:lnTo>
                    <a:lnTo>
                      <a:pt x="28" y="242"/>
                    </a:lnTo>
                    <a:lnTo>
                      <a:pt x="28" y="244"/>
                    </a:lnTo>
                    <a:lnTo>
                      <a:pt x="28" y="247"/>
                    </a:lnTo>
                    <a:lnTo>
                      <a:pt x="28" y="247"/>
                    </a:lnTo>
                    <a:lnTo>
                      <a:pt x="31" y="254"/>
                    </a:lnTo>
                    <a:lnTo>
                      <a:pt x="33" y="256"/>
                    </a:lnTo>
                    <a:lnTo>
                      <a:pt x="31" y="259"/>
                    </a:lnTo>
                    <a:lnTo>
                      <a:pt x="35" y="261"/>
                    </a:lnTo>
                    <a:lnTo>
                      <a:pt x="31" y="263"/>
                    </a:lnTo>
                    <a:lnTo>
                      <a:pt x="33" y="268"/>
                    </a:lnTo>
                    <a:lnTo>
                      <a:pt x="31" y="270"/>
                    </a:lnTo>
                    <a:lnTo>
                      <a:pt x="31" y="277"/>
                    </a:lnTo>
                    <a:lnTo>
                      <a:pt x="33" y="278"/>
                    </a:lnTo>
                    <a:lnTo>
                      <a:pt x="31" y="284"/>
                    </a:lnTo>
                    <a:lnTo>
                      <a:pt x="31" y="287"/>
                    </a:lnTo>
                    <a:lnTo>
                      <a:pt x="33" y="287"/>
                    </a:lnTo>
                    <a:lnTo>
                      <a:pt x="36" y="287"/>
                    </a:lnTo>
                    <a:lnTo>
                      <a:pt x="38" y="287"/>
                    </a:lnTo>
                    <a:lnTo>
                      <a:pt x="38" y="284"/>
                    </a:lnTo>
                    <a:lnTo>
                      <a:pt x="42" y="289"/>
                    </a:lnTo>
                    <a:lnTo>
                      <a:pt x="45" y="289"/>
                    </a:lnTo>
                    <a:lnTo>
                      <a:pt x="47" y="291"/>
                    </a:lnTo>
                    <a:lnTo>
                      <a:pt x="52" y="289"/>
                    </a:lnTo>
                    <a:lnTo>
                      <a:pt x="54" y="291"/>
                    </a:lnTo>
                    <a:lnTo>
                      <a:pt x="52" y="292"/>
                    </a:lnTo>
                    <a:lnTo>
                      <a:pt x="54" y="292"/>
                    </a:lnTo>
                    <a:lnTo>
                      <a:pt x="59" y="291"/>
                    </a:lnTo>
                    <a:lnTo>
                      <a:pt x="59" y="292"/>
                    </a:lnTo>
                    <a:lnTo>
                      <a:pt x="57" y="296"/>
                    </a:lnTo>
                    <a:lnTo>
                      <a:pt x="61" y="303"/>
                    </a:lnTo>
                    <a:lnTo>
                      <a:pt x="61" y="305"/>
                    </a:lnTo>
                    <a:lnTo>
                      <a:pt x="61" y="306"/>
                    </a:lnTo>
                    <a:lnTo>
                      <a:pt x="61" y="306"/>
                    </a:lnTo>
                    <a:lnTo>
                      <a:pt x="64" y="303"/>
                    </a:lnTo>
                    <a:lnTo>
                      <a:pt x="66" y="303"/>
                    </a:lnTo>
                    <a:lnTo>
                      <a:pt x="66" y="305"/>
                    </a:lnTo>
                    <a:lnTo>
                      <a:pt x="69" y="303"/>
                    </a:lnTo>
                    <a:lnTo>
                      <a:pt x="73" y="303"/>
                    </a:lnTo>
                    <a:lnTo>
                      <a:pt x="76" y="299"/>
                    </a:lnTo>
                    <a:lnTo>
                      <a:pt x="80" y="299"/>
                    </a:lnTo>
                    <a:lnTo>
                      <a:pt x="87" y="296"/>
                    </a:lnTo>
                    <a:lnTo>
                      <a:pt x="87" y="292"/>
                    </a:lnTo>
                    <a:lnTo>
                      <a:pt x="92" y="296"/>
                    </a:lnTo>
                    <a:lnTo>
                      <a:pt x="95" y="292"/>
                    </a:lnTo>
                    <a:lnTo>
                      <a:pt x="97" y="289"/>
                    </a:lnTo>
                    <a:lnTo>
                      <a:pt x="97" y="291"/>
                    </a:lnTo>
                    <a:lnTo>
                      <a:pt x="95" y="292"/>
                    </a:lnTo>
                    <a:lnTo>
                      <a:pt x="97" y="296"/>
                    </a:lnTo>
                    <a:lnTo>
                      <a:pt x="101" y="289"/>
                    </a:lnTo>
                    <a:lnTo>
                      <a:pt x="101" y="291"/>
                    </a:lnTo>
                    <a:lnTo>
                      <a:pt x="101" y="287"/>
                    </a:lnTo>
                    <a:lnTo>
                      <a:pt x="101" y="287"/>
                    </a:lnTo>
                    <a:lnTo>
                      <a:pt x="102" y="289"/>
                    </a:lnTo>
                    <a:lnTo>
                      <a:pt x="104" y="289"/>
                    </a:lnTo>
                    <a:lnTo>
                      <a:pt x="106" y="287"/>
                    </a:lnTo>
                    <a:lnTo>
                      <a:pt x="108" y="291"/>
                    </a:lnTo>
                    <a:lnTo>
                      <a:pt x="109" y="289"/>
                    </a:lnTo>
                    <a:lnTo>
                      <a:pt x="109" y="287"/>
                    </a:lnTo>
                    <a:lnTo>
                      <a:pt x="113" y="287"/>
                    </a:lnTo>
                    <a:lnTo>
                      <a:pt x="113" y="289"/>
                    </a:lnTo>
                    <a:lnTo>
                      <a:pt x="115" y="287"/>
                    </a:lnTo>
                    <a:lnTo>
                      <a:pt x="120" y="287"/>
                    </a:lnTo>
                    <a:lnTo>
                      <a:pt x="123" y="289"/>
                    </a:lnTo>
                    <a:lnTo>
                      <a:pt x="127" y="287"/>
                    </a:lnTo>
                    <a:lnTo>
                      <a:pt x="127" y="287"/>
                    </a:lnTo>
                    <a:lnTo>
                      <a:pt x="125" y="284"/>
                    </a:lnTo>
                    <a:lnTo>
                      <a:pt x="127" y="284"/>
                    </a:lnTo>
                    <a:lnTo>
                      <a:pt x="130" y="284"/>
                    </a:lnTo>
                    <a:lnTo>
                      <a:pt x="130" y="287"/>
                    </a:lnTo>
                    <a:lnTo>
                      <a:pt x="134" y="287"/>
                    </a:lnTo>
                    <a:lnTo>
                      <a:pt x="134" y="287"/>
                    </a:lnTo>
                    <a:lnTo>
                      <a:pt x="135" y="284"/>
                    </a:lnTo>
                    <a:lnTo>
                      <a:pt x="135" y="284"/>
                    </a:lnTo>
                    <a:lnTo>
                      <a:pt x="135" y="284"/>
                    </a:lnTo>
                    <a:lnTo>
                      <a:pt x="135" y="284"/>
                    </a:lnTo>
                    <a:close/>
                    <a:moveTo>
                      <a:pt x="73" y="160"/>
                    </a:moveTo>
                    <a:lnTo>
                      <a:pt x="69" y="162"/>
                    </a:lnTo>
                    <a:lnTo>
                      <a:pt x="66" y="162"/>
                    </a:lnTo>
                    <a:lnTo>
                      <a:pt x="66" y="158"/>
                    </a:lnTo>
                    <a:lnTo>
                      <a:pt x="69" y="155"/>
                    </a:lnTo>
                    <a:lnTo>
                      <a:pt x="73" y="157"/>
                    </a:lnTo>
                    <a:lnTo>
                      <a:pt x="73" y="158"/>
                    </a:lnTo>
                    <a:lnTo>
                      <a:pt x="69" y="158"/>
                    </a:lnTo>
                    <a:lnTo>
                      <a:pt x="73" y="160"/>
                    </a:lnTo>
                    <a:lnTo>
                      <a:pt x="73" y="160"/>
                    </a:lnTo>
                    <a:lnTo>
                      <a:pt x="73" y="160"/>
                    </a:lnTo>
                    <a:lnTo>
                      <a:pt x="73" y="160"/>
                    </a:lnTo>
                    <a:close/>
                    <a:moveTo>
                      <a:pt x="22" y="209"/>
                    </a:moveTo>
                    <a:lnTo>
                      <a:pt x="24" y="205"/>
                    </a:lnTo>
                    <a:lnTo>
                      <a:pt x="26" y="209"/>
                    </a:lnTo>
                    <a:lnTo>
                      <a:pt x="24" y="209"/>
                    </a:lnTo>
                    <a:lnTo>
                      <a:pt x="22" y="209"/>
                    </a:lnTo>
                    <a:lnTo>
                      <a:pt x="22" y="209"/>
                    </a:lnTo>
                    <a:lnTo>
                      <a:pt x="22" y="209"/>
                    </a:lnTo>
                    <a:lnTo>
                      <a:pt x="22" y="209"/>
                    </a:lnTo>
                    <a:close/>
                    <a:moveTo>
                      <a:pt x="21" y="211"/>
                    </a:moveTo>
                    <a:lnTo>
                      <a:pt x="24" y="212"/>
                    </a:lnTo>
                    <a:lnTo>
                      <a:pt x="26" y="211"/>
                    </a:lnTo>
                    <a:lnTo>
                      <a:pt x="26" y="214"/>
                    </a:lnTo>
                    <a:lnTo>
                      <a:pt x="22" y="216"/>
                    </a:lnTo>
                    <a:lnTo>
                      <a:pt x="21" y="214"/>
                    </a:lnTo>
                    <a:lnTo>
                      <a:pt x="21" y="211"/>
                    </a:lnTo>
                    <a:lnTo>
                      <a:pt x="21" y="211"/>
                    </a:lnTo>
                    <a:lnTo>
                      <a:pt x="21" y="211"/>
                    </a:lnTo>
                    <a:lnTo>
                      <a:pt x="21" y="211"/>
                    </a:lnTo>
                    <a:close/>
                    <a:moveTo>
                      <a:pt x="57" y="301"/>
                    </a:moveTo>
                    <a:lnTo>
                      <a:pt x="57" y="305"/>
                    </a:lnTo>
                    <a:lnTo>
                      <a:pt x="56" y="306"/>
                    </a:lnTo>
                    <a:lnTo>
                      <a:pt x="54" y="305"/>
                    </a:lnTo>
                    <a:lnTo>
                      <a:pt x="56" y="303"/>
                    </a:lnTo>
                    <a:lnTo>
                      <a:pt x="57" y="301"/>
                    </a:lnTo>
                    <a:lnTo>
                      <a:pt x="57" y="301"/>
                    </a:lnTo>
                    <a:lnTo>
                      <a:pt x="57" y="301"/>
                    </a:lnTo>
                    <a:lnTo>
                      <a:pt x="57" y="301"/>
                    </a:lnTo>
                    <a:close/>
                    <a:moveTo>
                      <a:pt x="52" y="298"/>
                    </a:moveTo>
                    <a:lnTo>
                      <a:pt x="52" y="298"/>
                    </a:lnTo>
                    <a:lnTo>
                      <a:pt x="54" y="299"/>
                    </a:lnTo>
                    <a:lnTo>
                      <a:pt x="52" y="299"/>
                    </a:lnTo>
                    <a:lnTo>
                      <a:pt x="52" y="298"/>
                    </a:lnTo>
                    <a:lnTo>
                      <a:pt x="52" y="298"/>
                    </a:lnTo>
                    <a:lnTo>
                      <a:pt x="52" y="298"/>
                    </a:lnTo>
                    <a:lnTo>
                      <a:pt x="52" y="298"/>
                    </a:lnTo>
                    <a:close/>
                    <a:moveTo>
                      <a:pt x="45" y="296"/>
                    </a:moveTo>
                    <a:lnTo>
                      <a:pt x="50" y="292"/>
                    </a:lnTo>
                    <a:lnTo>
                      <a:pt x="50" y="296"/>
                    </a:lnTo>
                    <a:lnTo>
                      <a:pt x="47" y="298"/>
                    </a:lnTo>
                    <a:lnTo>
                      <a:pt x="45" y="296"/>
                    </a:lnTo>
                    <a:lnTo>
                      <a:pt x="45" y="296"/>
                    </a:lnTo>
                    <a:lnTo>
                      <a:pt x="45" y="296"/>
                    </a:lnTo>
                    <a:lnTo>
                      <a:pt x="45" y="296"/>
                    </a:lnTo>
                    <a:lnTo>
                      <a:pt x="45" y="296"/>
                    </a:lnTo>
                    <a:close/>
                    <a:moveTo>
                      <a:pt x="38" y="287"/>
                    </a:moveTo>
                    <a:lnTo>
                      <a:pt x="42" y="291"/>
                    </a:lnTo>
                    <a:lnTo>
                      <a:pt x="42" y="292"/>
                    </a:lnTo>
                    <a:lnTo>
                      <a:pt x="38" y="291"/>
                    </a:lnTo>
                    <a:lnTo>
                      <a:pt x="38" y="287"/>
                    </a:lnTo>
                    <a:lnTo>
                      <a:pt x="38" y="287"/>
                    </a:lnTo>
                    <a:lnTo>
                      <a:pt x="38" y="287"/>
                    </a:lnTo>
                    <a:lnTo>
                      <a:pt x="38" y="287"/>
                    </a:lnTo>
                    <a:close/>
                    <a:moveTo>
                      <a:pt x="31" y="289"/>
                    </a:moveTo>
                    <a:lnTo>
                      <a:pt x="35" y="289"/>
                    </a:lnTo>
                    <a:lnTo>
                      <a:pt x="33" y="291"/>
                    </a:lnTo>
                    <a:lnTo>
                      <a:pt x="33" y="291"/>
                    </a:lnTo>
                    <a:lnTo>
                      <a:pt x="31" y="289"/>
                    </a:lnTo>
                    <a:lnTo>
                      <a:pt x="31" y="289"/>
                    </a:lnTo>
                    <a:lnTo>
                      <a:pt x="31" y="289"/>
                    </a:lnTo>
                    <a:lnTo>
                      <a:pt x="31" y="289"/>
                    </a:lnTo>
                    <a:close/>
                    <a:moveTo>
                      <a:pt x="9" y="296"/>
                    </a:moveTo>
                    <a:lnTo>
                      <a:pt x="10" y="296"/>
                    </a:lnTo>
                    <a:lnTo>
                      <a:pt x="14" y="296"/>
                    </a:lnTo>
                    <a:lnTo>
                      <a:pt x="10" y="292"/>
                    </a:lnTo>
                    <a:lnTo>
                      <a:pt x="10" y="289"/>
                    </a:lnTo>
                    <a:lnTo>
                      <a:pt x="14" y="289"/>
                    </a:lnTo>
                    <a:lnTo>
                      <a:pt x="19" y="292"/>
                    </a:lnTo>
                    <a:lnTo>
                      <a:pt x="19" y="296"/>
                    </a:lnTo>
                    <a:lnTo>
                      <a:pt x="16" y="296"/>
                    </a:lnTo>
                    <a:lnTo>
                      <a:pt x="16" y="298"/>
                    </a:lnTo>
                    <a:lnTo>
                      <a:pt x="16" y="299"/>
                    </a:lnTo>
                    <a:lnTo>
                      <a:pt x="19" y="299"/>
                    </a:lnTo>
                    <a:lnTo>
                      <a:pt x="19" y="303"/>
                    </a:lnTo>
                    <a:lnTo>
                      <a:pt x="19" y="305"/>
                    </a:lnTo>
                    <a:lnTo>
                      <a:pt x="16" y="301"/>
                    </a:lnTo>
                    <a:lnTo>
                      <a:pt x="10" y="299"/>
                    </a:lnTo>
                    <a:lnTo>
                      <a:pt x="10" y="298"/>
                    </a:lnTo>
                    <a:lnTo>
                      <a:pt x="7" y="296"/>
                    </a:lnTo>
                    <a:lnTo>
                      <a:pt x="9" y="296"/>
                    </a:lnTo>
                    <a:lnTo>
                      <a:pt x="9" y="296"/>
                    </a:lnTo>
                    <a:lnTo>
                      <a:pt x="9" y="29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14" name="Groupe 218">
              <a:extLst>
                <a:ext uri="{FF2B5EF4-FFF2-40B4-BE49-F238E27FC236}">
                  <a16:creationId xmlns:a16="http://schemas.microsoft.com/office/drawing/2014/main" id="{448F5279-4DF9-401A-9CB3-649D0B13F8F1}"/>
                </a:ext>
              </a:extLst>
            </p:cNvPr>
            <p:cNvGrpSpPr/>
            <p:nvPr/>
          </p:nvGrpSpPr>
          <p:grpSpPr>
            <a:xfrm>
              <a:off x="4200525" y="2351088"/>
              <a:ext cx="996950" cy="882650"/>
              <a:chOff x="4200525" y="2351088"/>
              <a:chExt cx="996950" cy="882650"/>
            </a:xfrm>
            <a:grpFill/>
          </p:grpSpPr>
          <p:sp>
            <p:nvSpPr>
              <p:cNvPr id="1015" name="Freeform 12">
                <a:extLst>
                  <a:ext uri="{FF2B5EF4-FFF2-40B4-BE49-F238E27FC236}">
                    <a16:creationId xmlns:a16="http://schemas.microsoft.com/office/drawing/2014/main" id="{93479342-28FA-4DD0-A347-86F556BE940D}"/>
                  </a:ext>
                </a:extLst>
              </p:cNvPr>
              <p:cNvSpPr>
                <a:spLocks/>
              </p:cNvSpPr>
              <p:nvPr/>
            </p:nvSpPr>
            <p:spPr bwMode="auto">
              <a:xfrm>
                <a:off x="4956175" y="2830513"/>
                <a:ext cx="241300" cy="158750"/>
              </a:xfrm>
              <a:custGeom>
                <a:avLst/>
                <a:gdLst/>
                <a:ahLst/>
                <a:cxnLst>
                  <a:cxn ang="0">
                    <a:pos x="39" y="6"/>
                  </a:cxn>
                  <a:cxn ang="0">
                    <a:pos x="44" y="4"/>
                  </a:cxn>
                  <a:cxn ang="0">
                    <a:pos x="56" y="9"/>
                  </a:cxn>
                  <a:cxn ang="0">
                    <a:pos x="59" y="13"/>
                  </a:cxn>
                  <a:cxn ang="0">
                    <a:pos x="70" y="13"/>
                  </a:cxn>
                  <a:cxn ang="0">
                    <a:pos x="77" y="9"/>
                  </a:cxn>
                  <a:cxn ang="0">
                    <a:pos x="92" y="6"/>
                  </a:cxn>
                  <a:cxn ang="0">
                    <a:pos x="105" y="9"/>
                  </a:cxn>
                  <a:cxn ang="0">
                    <a:pos x="113" y="20"/>
                  </a:cxn>
                  <a:cxn ang="0">
                    <a:pos x="124" y="32"/>
                  </a:cxn>
                  <a:cxn ang="0">
                    <a:pos x="124" y="51"/>
                  </a:cxn>
                  <a:cxn ang="0">
                    <a:pos x="131" y="61"/>
                  </a:cxn>
                  <a:cxn ang="0">
                    <a:pos x="141" y="63"/>
                  </a:cxn>
                  <a:cxn ang="0">
                    <a:pos x="148" y="60"/>
                  </a:cxn>
                  <a:cxn ang="0">
                    <a:pos x="152" y="65"/>
                  </a:cxn>
                  <a:cxn ang="0">
                    <a:pos x="152" y="68"/>
                  </a:cxn>
                  <a:cxn ang="0">
                    <a:pos x="146" y="73"/>
                  </a:cxn>
                  <a:cxn ang="0">
                    <a:pos x="139" y="77"/>
                  </a:cxn>
                  <a:cxn ang="0">
                    <a:pos x="139" y="82"/>
                  </a:cxn>
                  <a:cxn ang="0">
                    <a:pos x="136" y="91"/>
                  </a:cxn>
                  <a:cxn ang="0">
                    <a:pos x="134" y="94"/>
                  </a:cxn>
                  <a:cxn ang="0">
                    <a:pos x="129" y="91"/>
                  </a:cxn>
                  <a:cxn ang="0">
                    <a:pos x="124" y="89"/>
                  </a:cxn>
                  <a:cxn ang="0">
                    <a:pos x="113" y="87"/>
                  </a:cxn>
                  <a:cxn ang="0">
                    <a:pos x="98" y="93"/>
                  </a:cxn>
                  <a:cxn ang="0">
                    <a:pos x="92" y="96"/>
                  </a:cxn>
                  <a:cxn ang="0">
                    <a:pos x="84" y="96"/>
                  </a:cxn>
                  <a:cxn ang="0">
                    <a:pos x="77" y="96"/>
                  </a:cxn>
                  <a:cxn ang="0">
                    <a:pos x="70" y="96"/>
                  </a:cxn>
                  <a:cxn ang="0">
                    <a:pos x="59" y="96"/>
                  </a:cxn>
                  <a:cxn ang="0">
                    <a:pos x="56" y="94"/>
                  </a:cxn>
                  <a:cxn ang="0">
                    <a:pos x="47" y="96"/>
                  </a:cxn>
                  <a:cxn ang="0">
                    <a:pos x="47" y="93"/>
                  </a:cxn>
                  <a:cxn ang="0">
                    <a:pos x="46" y="87"/>
                  </a:cxn>
                  <a:cxn ang="0">
                    <a:pos x="39" y="84"/>
                  </a:cxn>
                  <a:cxn ang="0">
                    <a:pos x="42" y="77"/>
                  </a:cxn>
                  <a:cxn ang="0">
                    <a:pos x="33" y="80"/>
                  </a:cxn>
                  <a:cxn ang="0">
                    <a:pos x="26" y="80"/>
                  </a:cxn>
                  <a:cxn ang="0">
                    <a:pos x="19" y="73"/>
                  </a:cxn>
                  <a:cxn ang="0">
                    <a:pos x="21" y="70"/>
                  </a:cxn>
                  <a:cxn ang="0">
                    <a:pos x="11" y="63"/>
                  </a:cxn>
                  <a:cxn ang="0">
                    <a:pos x="6" y="54"/>
                  </a:cxn>
                  <a:cxn ang="0">
                    <a:pos x="0" y="51"/>
                  </a:cxn>
                  <a:cxn ang="0">
                    <a:pos x="9" y="47"/>
                  </a:cxn>
                  <a:cxn ang="0">
                    <a:pos x="13" y="44"/>
                  </a:cxn>
                  <a:cxn ang="0">
                    <a:pos x="16" y="37"/>
                  </a:cxn>
                  <a:cxn ang="0">
                    <a:pos x="26" y="18"/>
                  </a:cxn>
                  <a:cxn ang="0">
                    <a:pos x="33" y="11"/>
                  </a:cxn>
                  <a:cxn ang="0">
                    <a:pos x="37" y="6"/>
                  </a:cxn>
                  <a:cxn ang="0">
                    <a:pos x="37" y="6"/>
                  </a:cxn>
                </a:cxnLst>
                <a:rect l="0" t="0" r="r" b="b"/>
                <a:pathLst>
                  <a:path w="152" h="100">
                    <a:moveTo>
                      <a:pt x="37" y="6"/>
                    </a:moveTo>
                    <a:lnTo>
                      <a:pt x="39" y="6"/>
                    </a:lnTo>
                    <a:lnTo>
                      <a:pt x="40" y="4"/>
                    </a:lnTo>
                    <a:lnTo>
                      <a:pt x="44" y="4"/>
                    </a:lnTo>
                    <a:lnTo>
                      <a:pt x="51" y="6"/>
                    </a:lnTo>
                    <a:lnTo>
                      <a:pt x="56" y="9"/>
                    </a:lnTo>
                    <a:lnTo>
                      <a:pt x="59" y="9"/>
                    </a:lnTo>
                    <a:lnTo>
                      <a:pt x="59" y="13"/>
                    </a:lnTo>
                    <a:lnTo>
                      <a:pt x="65" y="14"/>
                    </a:lnTo>
                    <a:lnTo>
                      <a:pt x="70" y="13"/>
                    </a:lnTo>
                    <a:lnTo>
                      <a:pt x="73" y="11"/>
                    </a:lnTo>
                    <a:lnTo>
                      <a:pt x="77" y="9"/>
                    </a:lnTo>
                    <a:lnTo>
                      <a:pt x="87" y="6"/>
                    </a:lnTo>
                    <a:lnTo>
                      <a:pt x="92" y="6"/>
                    </a:lnTo>
                    <a:lnTo>
                      <a:pt x="103" y="0"/>
                    </a:lnTo>
                    <a:lnTo>
                      <a:pt x="105" y="9"/>
                    </a:lnTo>
                    <a:lnTo>
                      <a:pt x="112" y="16"/>
                    </a:lnTo>
                    <a:lnTo>
                      <a:pt x="113" y="20"/>
                    </a:lnTo>
                    <a:lnTo>
                      <a:pt x="120" y="27"/>
                    </a:lnTo>
                    <a:lnTo>
                      <a:pt x="124" y="32"/>
                    </a:lnTo>
                    <a:lnTo>
                      <a:pt x="125" y="35"/>
                    </a:lnTo>
                    <a:lnTo>
                      <a:pt x="124" y="51"/>
                    </a:lnTo>
                    <a:lnTo>
                      <a:pt x="127" y="58"/>
                    </a:lnTo>
                    <a:lnTo>
                      <a:pt x="131" y="61"/>
                    </a:lnTo>
                    <a:lnTo>
                      <a:pt x="136" y="63"/>
                    </a:lnTo>
                    <a:lnTo>
                      <a:pt x="141" y="63"/>
                    </a:lnTo>
                    <a:lnTo>
                      <a:pt x="143" y="61"/>
                    </a:lnTo>
                    <a:lnTo>
                      <a:pt x="148" y="60"/>
                    </a:lnTo>
                    <a:lnTo>
                      <a:pt x="152" y="63"/>
                    </a:lnTo>
                    <a:lnTo>
                      <a:pt x="152" y="65"/>
                    </a:lnTo>
                    <a:lnTo>
                      <a:pt x="152" y="67"/>
                    </a:lnTo>
                    <a:lnTo>
                      <a:pt x="152" y="68"/>
                    </a:lnTo>
                    <a:lnTo>
                      <a:pt x="152" y="73"/>
                    </a:lnTo>
                    <a:lnTo>
                      <a:pt x="146" y="73"/>
                    </a:lnTo>
                    <a:lnTo>
                      <a:pt x="141" y="73"/>
                    </a:lnTo>
                    <a:lnTo>
                      <a:pt x="139" y="77"/>
                    </a:lnTo>
                    <a:lnTo>
                      <a:pt x="138" y="80"/>
                    </a:lnTo>
                    <a:lnTo>
                      <a:pt x="139" y="82"/>
                    </a:lnTo>
                    <a:lnTo>
                      <a:pt x="139" y="87"/>
                    </a:lnTo>
                    <a:lnTo>
                      <a:pt x="136" y="91"/>
                    </a:lnTo>
                    <a:lnTo>
                      <a:pt x="138" y="94"/>
                    </a:lnTo>
                    <a:lnTo>
                      <a:pt x="134" y="94"/>
                    </a:lnTo>
                    <a:lnTo>
                      <a:pt x="132" y="93"/>
                    </a:lnTo>
                    <a:lnTo>
                      <a:pt x="129" y="91"/>
                    </a:lnTo>
                    <a:lnTo>
                      <a:pt x="125" y="93"/>
                    </a:lnTo>
                    <a:lnTo>
                      <a:pt x="124" y="89"/>
                    </a:lnTo>
                    <a:lnTo>
                      <a:pt x="118" y="87"/>
                    </a:lnTo>
                    <a:lnTo>
                      <a:pt x="113" y="87"/>
                    </a:lnTo>
                    <a:lnTo>
                      <a:pt x="108" y="87"/>
                    </a:lnTo>
                    <a:lnTo>
                      <a:pt x="98" y="93"/>
                    </a:lnTo>
                    <a:lnTo>
                      <a:pt x="96" y="96"/>
                    </a:lnTo>
                    <a:lnTo>
                      <a:pt x="92" y="96"/>
                    </a:lnTo>
                    <a:lnTo>
                      <a:pt x="91" y="96"/>
                    </a:lnTo>
                    <a:lnTo>
                      <a:pt x="84" y="96"/>
                    </a:lnTo>
                    <a:lnTo>
                      <a:pt x="80" y="96"/>
                    </a:lnTo>
                    <a:lnTo>
                      <a:pt x="77" y="96"/>
                    </a:lnTo>
                    <a:lnTo>
                      <a:pt x="73" y="96"/>
                    </a:lnTo>
                    <a:lnTo>
                      <a:pt x="70" y="96"/>
                    </a:lnTo>
                    <a:lnTo>
                      <a:pt x="65" y="100"/>
                    </a:lnTo>
                    <a:lnTo>
                      <a:pt x="59" y="96"/>
                    </a:lnTo>
                    <a:lnTo>
                      <a:pt x="59" y="96"/>
                    </a:lnTo>
                    <a:lnTo>
                      <a:pt x="56" y="94"/>
                    </a:lnTo>
                    <a:lnTo>
                      <a:pt x="52" y="94"/>
                    </a:lnTo>
                    <a:lnTo>
                      <a:pt x="47" y="96"/>
                    </a:lnTo>
                    <a:lnTo>
                      <a:pt x="46" y="94"/>
                    </a:lnTo>
                    <a:lnTo>
                      <a:pt x="47" y="93"/>
                    </a:lnTo>
                    <a:lnTo>
                      <a:pt x="47" y="89"/>
                    </a:lnTo>
                    <a:lnTo>
                      <a:pt x="46" y="87"/>
                    </a:lnTo>
                    <a:lnTo>
                      <a:pt x="40" y="87"/>
                    </a:lnTo>
                    <a:lnTo>
                      <a:pt x="39" y="84"/>
                    </a:lnTo>
                    <a:lnTo>
                      <a:pt x="39" y="80"/>
                    </a:lnTo>
                    <a:lnTo>
                      <a:pt x="42" y="77"/>
                    </a:lnTo>
                    <a:lnTo>
                      <a:pt x="37" y="77"/>
                    </a:lnTo>
                    <a:lnTo>
                      <a:pt x="33" y="80"/>
                    </a:lnTo>
                    <a:lnTo>
                      <a:pt x="32" y="77"/>
                    </a:lnTo>
                    <a:lnTo>
                      <a:pt x="26" y="80"/>
                    </a:lnTo>
                    <a:lnTo>
                      <a:pt x="25" y="77"/>
                    </a:lnTo>
                    <a:lnTo>
                      <a:pt x="19" y="73"/>
                    </a:lnTo>
                    <a:lnTo>
                      <a:pt x="19" y="73"/>
                    </a:lnTo>
                    <a:lnTo>
                      <a:pt x="21" y="70"/>
                    </a:lnTo>
                    <a:lnTo>
                      <a:pt x="16" y="65"/>
                    </a:lnTo>
                    <a:lnTo>
                      <a:pt x="11" y="63"/>
                    </a:lnTo>
                    <a:lnTo>
                      <a:pt x="11" y="60"/>
                    </a:lnTo>
                    <a:lnTo>
                      <a:pt x="6" y="54"/>
                    </a:lnTo>
                    <a:lnTo>
                      <a:pt x="6" y="51"/>
                    </a:lnTo>
                    <a:lnTo>
                      <a:pt x="0" y="51"/>
                    </a:lnTo>
                    <a:lnTo>
                      <a:pt x="6" y="47"/>
                    </a:lnTo>
                    <a:lnTo>
                      <a:pt x="9" y="47"/>
                    </a:lnTo>
                    <a:lnTo>
                      <a:pt x="9" y="44"/>
                    </a:lnTo>
                    <a:lnTo>
                      <a:pt x="13" y="44"/>
                    </a:lnTo>
                    <a:lnTo>
                      <a:pt x="16" y="40"/>
                    </a:lnTo>
                    <a:lnTo>
                      <a:pt x="16" y="37"/>
                    </a:lnTo>
                    <a:lnTo>
                      <a:pt x="23" y="28"/>
                    </a:lnTo>
                    <a:lnTo>
                      <a:pt x="26" y="18"/>
                    </a:lnTo>
                    <a:lnTo>
                      <a:pt x="28" y="11"/>
                    </a:lnTo>
                    <a:lnTo>
                      <a:pt x="33" y="11"/>
                    </a:lnTo>
                    <a:lnTo>
                      <a:pt x="37" y="6"/>
                    </a:lnTo>
                    <a:lnTo>
                      <a:pt x="37" y="6"/>
                    </a:lnTo>
                    <a:lnTo>
                      <a:pt x="37" y="6"/>
                    </a:lnTo>
                    <a:lnTo>
                      <a:pt x="37" y="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6" name="Freeform 7">
                <a:extLst>
                  <a:ext uri="{FF2B5EF4-FFF2-40B4-BE49-F238E27FC236}">
                    <a16:creationId xmlns:a16="http://schemas.microsoft.com/office/drawing/2014/main" id="{75B96913-0906-49E7-BB83-E925E19AE0EF}"/>
                  </a:ext>
                </a:extLst>
              </p:cNvPr>
              <p:cNvSpPr>
                <a:spLocks noEditPoints="1"/>
              </p:cNvSpPr>
              <p:nvPr/>
            </p:nvSpPr>
            <p:spPr bwMode="auto">
              <a:xfrm>
                <a:off x="4633913" y="2482851"/>
                <a:ext cx="176213" cy="133350"/>
              </a:xfrm>
              <a:custGeom>
                <a:avLst/>
                <a:gdLst/>
                <a:ahLst/>
                <a:cxnLst>
                  <a:cxn ang="0">
                    <a:pos x="89" y="80"/>
                  </a:cxn>
                  <a:cxn ang="0">
                    <a:pos x="83" y="73"/>
                  </a:cxn>
                  <a:cxn ang="0">
                    <a:pos x="83" y="77"/>
                  </a:cxn>
                  <a:cxn ang="0">
                    <a:pos x="80" y="80"/>
                  </a:cxn>
                  <a:cxn ang="0">
                    <a:pos x="111" y="65"/>
                  </a:cxn>
                  <a:cxn ang="0">
                    <a:pos x="106" y="58"/>
                  </a:cxn>
                  <a:cxn ang="0">
                    <a:pos x="71" y="49"/>
                  </a:cxn>
                  <a:cxn ang="0">
                    <a:pos x="57" y="65"/>
                  </a:cxn>
                  <a:cxn ang="0">
                    <a:pos x="50" y="58"/>
                  </a:cxn>
                  <a:cxn ang="0">
                    <a:pos x="52" y="47"/>
                  </a:cxn>
                  <a:cxn ang="0">
                    <a:pos x="59" y="49"/>
                  </a:cxn>
                  <a:cxn ang="0">
                    <a:pos x="59" y="44"/>
                  </a:cxn>
                  <a:cxn ang="0">
                    <a:pos x="70" y="53"/>
                  </a:cxn>
                  <a:cxn ang="0">
                    <a:pos x="68" y="61"/>
                  </a:cxn>
                  <a:cxn ang="0">
                    <a:pos x="63" y="66"/>
                  </a:cxn>
                  <a:cxn ang="0">
                    <a:pos x="70" y="66"/>
                  </a:cxn>
                  <a:cxn ang="0">
                    <a:pos x="64" y="66"/>
                  </a:cxn>
                  <a:cxn ang="0">
                    <a:pos x="57" y="70"/>
                  </a:cxn>
                  <a:cxn ang="0">
                    <a:pos x="63" y="72"/>
                  </a:cxn>
                  <a:cxn ang="0">
                    <a:pos x="54" y="75"/>
                  </a:cxn>
                  <a:cxn ang="0">
                    <a:pos x="49" y="66"/>
                  </a:cxn>
                  <a:cxn ang="0">
                    <a:pos x="40" y="49"/>
                  </a:cxn>
                  <a:cxn ang="0">
                    <a:pos x="40" y="49"/>
                  </a:cxn>
                  <a:cxn ang="0">
                    <a:pos x="40" y="70"/>
                  </a:cxn>
                  <a:cxn ang="0">
                    <a:pos x="37" y="66"/>
                  </a:cxn>
                  <a:cxn ang="0">
                    <a:pos x="45" y="70"/>
                  </a:cxn>
                  <a:cxn ang="0">
                    <a:pos x="45" y="63"/>
                  </a:cxn>
                  <a:cxn ang="0">
                    <a:pos x="40" y="54"/>
                  </a:cxn>
                  <a:cxn ang="0">
                    <a:pos x="37" y="66"/>
                  </a:cxn>
                  <a:cxn ang="0">
                    <a:pos x="28" y="54"/>
                  </a:cxn>
                  <a:cxn ang="0">
                    <a:pos x="47" y="11"/>
                  </a:cxn>
                  <a:cxn ang="0">
                    <a:pos x="42" y="13"/>
                  </a:cxn>
                  <a:cxn ang="0">
                    <a:pos x="16" y="25"/>
                  </a:cxn>
                  <a:cxn ang="0">
                    <a:pos x="12" y="28"/>
                  </a:cxn>
                  <a:cxn ang="0">
                    <a:pos x="17" y="21"/>
                  </a:cxn>
                  <a:cxn ang="0">
                    <a:pos x="31" y="21"/>
                  </a:cxn>
                  <a:cxn ang="0">
                    <a:pos x="37" y="6"/>
                  </a:cxn>
                  <a:cxn ang="0">
                    <a:pos x="28" y="7"/>
                  </a:cxn>
                  <a:cxn ang="0">
                    <a:pos x="10" y="21"/>
                  </a:cxn>
                  <a:cxn ang="0">
                    <a:pos x="5" y="26"/>
                  </a:cxn>
                  <a:cxn ang="0">
                    <a:pos x="10" y="30"/>
                  </a:cxn>
                  <a:cxn ang="0">
                    <a:pos x="23" y="65"/>
                  </a:cxn>
                  <a:cxn ang="0">
                    <a:pos x="23" y="54"/>
                  </a:cxn>
                  <a:cxn ang="0">
                    <a:pos x="37" y="49"/>
                  </a:cxn>
                  <a:cxn ang="0">
                    <a:pos x="42" y="40"/>
                  </a:cxn>
                  <a:cxn ang="0">
                    <a:pos x="45" y="32"/>
                  </a:cxn>
                  <a:cxn ang="0">
                    <a:pos x="31" y="28"/>
                  </a:cxn>
                  <a:cxn ang="0">
                    <a:pos x="23" y="23"/>
                  </a:cxn>
                  <a:cxn ang="0">
                    <a:pos x="23" y="32"/>
                  </a:cxn>
                  <a:cxn ang="0">
                    <a:pos x="19" y="30"/>
                  </a:cxn>
                  <a:cxn ang="0">
                    <a:pos x="12" y="35"/>
                  </a:cxn>
                  <a:cxn ang="0">
                    <a:pos x="5" y="35"/>
                  </a:cxn>
                  <a:cxn ang="0">
                    <a:pos x="5" y="44"/>
                  </a:cxn>
                  <a:cxn ang="0">
                    <a:pos x="2" y="56"/>
                  </a:cxn>
                  <a:cxn ang="0">
                    <a:pos x="9" y="66"/>
                  </a:cxn>
                  <a:cxn ang="0">
                    <a:pos x="26" y="70"/>
                  </a:cxn>
                </a:cxnLst>
                <a:rect l="0" t="0" r="r" b="b"/>
                <a:pathLst>
                  <a:path w="111" h="84">
                    <a:moveTo>
                      <a:pt x="80" y="80"/>
                    </a:moveTo>
                    <a:lnTo>
                      <a:pt x="82" y="82"/>
                    </a:lnTo>
                    <a:lnTo>
                      <a:pt x="83" y="84"/>
                    </a:lnTo>
                    <a:lnTo>
                      <a:pt x="87" y="80"/>
                    </a:lnTo>
                    <a:lnTo>
                      <a:pt x="89" y="80"/>
                    </a:lnTo>
                    <a:lnTo>
                      <a:pt x="89" y="79"/>
                    </a:lnTo>
                    <a:lnTo>
                      <a:pt x="89" y="77"/>
                    </a:lnTo>
                    <a:lnTo>
                      <a:pt x="89" y="73"/>
                    </a:lnTo>
                    <a:lnTo>
                      <a:pt x="87" y="73"/>
                    </a:lnTo>
                    <a:lnTo>
                      <a:pt x="83" y="73"/>
                    </a:lnTo>
                    <a:lnTo>
                      <a:pt x="83" y="73"/>
                    </a:lnTo>
                    <a:lnTo>
                      <a:pt x="82" y="73"/>
                    </a:lnTo>
                    <a:lnTo>
                      <a:pt x="82" y="75"/>
                    </a:lnTo>
                    <a:lnTo>
                      <a:pt x="83" y="75"/>
                    </a:lnTo>
                    <a:lnTo>
                      <a:pt x="83" y="77"/>
                    </a:lnTo>
                    <a:lnTo>
                      <a:pt x="82" y="79"/>
                    </a:lnTo>
                    <a:lnTo>
                      <a:pt x="80" y="80"/>
                    </a:lnTo>
                    <a:lnTo>
                      <a:pt x="80" y="80"/>
                    </a:lnTo>
                    <a:lnTo>
                      <a:pt x="80" y="80"/>
                    </a:lnTo>
                    <a:lnTo>
                      <a:pt x="80" y="80"/>
                    </a:lnTo>
                    <a:close/>
                    <a:moveTo>
                      <a:pt x="106" y="58"/>
                    </a:moveTo>
                    <a:lnTo>
                      <a:pt x="106" y="61"/>
                    </a:lnTo>
                    <a:lnTo>
                      <a:pt x="106" y="65"/>
                    </a:lnTo>
                    <a:lnTo>
                      <a:pt x="111" y="66"/>
                    </a:lnTo>
                    <a:lnTo>
                      <a:pt x="111" y="65"/>
                    </a:lnTo>
                    <a:lnTo>
                      <a:pt x="108" y="59"/>
                    </a:lnTo>
                    <a:lnTo>
                      <a:pt x="106" y="58"/>
                    </a:lnTo>
                    <a:lnTo>
                      <a:pt x="106" y="58"/>
                    </a:lnTo>
                    <a:lnTo>
                      <a:pt x="106" y="58"/>
                    </a:lnTo>
                    <a:lnTo>
                      <a:pt x="106" y="58"/>
                    </a:lnTo>
                    <a:close/>
                    <a:moveTo>
                      <a:pt x="71" y="49"/>
                    </a:moveTo>
                    <a:lnTo>
                      <a:pt x="70" y="53"/>
                    </a:lnTo>
                    <a:lnTo>
                      <a:pt x="73" y="54"/>
                    </a:lnTo>
                    <a:lnTo>
                      <a:pt x="71" y="49"/>
                    </a:lnTo>
                    <a:lnTo>
                      <a:pt x="71" y="49"/>
                    </a:lnTo>
                    <a:lnTo>
                      <a:pt x="71" y="49"/>
                    </a:lnTo>
                    <a:lnTo>
                      <a:pt x="71" y="49"/>
                    </a:lnTo>
                    <a:close/>
                    <a:moveTo>
                      <a:pt x="63" y="66"/>
                    </a:moveTo>
                    <a:lnTo>
                      <a:pt x="59" y="66"/>
                    </a:lnTo>
                    <a:lnTo>
                      <a:pt x="57" y="65"/>
                    </a:lnTo>
                    <a:lnTo>
                      <a:pt x="59" y="63"/>
                    </a:lnTo>
                    <a:lnTo>
                      <a:pt x="59" y="61"/>
                    </a:lnTo>
                    <a:lnTo>
                      <a:pt x="54" y="61"/>
                    </a:lnTo>
                    <a:lnTo>
                      <a:pt x="52" y="61"/>
                    </a:lnTo>
                    <a:lnTo>
                      <a:pt x="50" y="58"/>
                    </a:lnTo>
                    <a:lnTo>
                      <a:pt x="50" y="54"/>
                    </a:lnTo>
                    <a:lnTo>
                      <a:pt x="49" y="53"/>
                    </a:lnTo>
                    <a:lnTo>
                      <a:pt x="49" y="49"/>
                    </a:lnTo>
                    <a:lnTo>
                      <a:pt x="50" y="49"/>
                    </a:lnTo>
                    <a:lnTo>
                      <a:pt x="52" y="47"/>
                    </a:lnTo>
                    <a:lnTo>
                      <a:pt x="54" y="46"/>
                    </a:lnTo>
                    <a:lnTo>
                      <a:pt x="56" y="49"/>
                    </a:lnTo>
                    <a:lnTo>
                      <a:pt x="56" y="49"/>
                    </a:lnTo>
                    <a:lnTo>
                      <a:pt x="59" y="53"/>
                    </a:lnTo>
                    <a:lnTo>
                      <a:pt x="59" y="49"/>
                    </a:lnTo>
                    <a:lnTo>
                      <a:pt x="63" y="53"/>
                    </a:lnTo>
                    <a:lnTo>
                      <a:pt x="63" y="49"/>
                    </a:lnTo>
                    <a:lnTo>
                      <a:pt x="59" y="49"/>
                    </a:lnTo>
                    <a:lnTo>
                      <a:pt x="57" y="47"/>
                    </a:lnTo>
                    <a:lnTo>
                      <a:pt x="59" y="44"/>
                    </a:lnTo>
                    <a:lnTo>
                      <a:pt x="64" y="42"/>
                    </a:lnTo>
                    <a:lnTo>
                      <a:pt x="68" y="42"/>
                    </a:lnTo>
                    <a:lnTo>
                      <a:pt x="70" y="46"/>
                    </a:lnTo>
                    <a:lnTo>
                      <a:pt x="70" y="49"/>
                    </a:lnTo>
                    <a:lnTo>
                      <a:pt x="70" y="53"/>
                    </a:lnTo>
                    <a:lnTo>
                      <a:pt x="64" y="54"/>
                    </a:lnTo>
                    <a:lnTo>
                      <a:pt x="64" y="54"/>
                    </a:lnTo>
                    <a:lnTo>
                      <a:pt x="68" y="58"/>
                    </a:lnTo>
                    <a:lnTo>
                      <a:pt x="70" y="59"/>
                    </a:lnTo>
                    <a:lnTo>
                      <a:pt x="68" y="61"/>
                    </a:lnTo>
                    <a:lnTo>
                      <a:pt x="63" y="63"/>
                    </a:lnTo>
                    <a:lnTo>
                      <a:pt x="64" y="65"/>
                    </a:lnTo>
                    <a:lnTo>
                      <a:pt x="63" y="66"/>
                    </a:lnTo>
                    <a:lnTo>
                      <a:pt x="63" y="66"/>
                    </a:lnTo>
                    <a:lnTo>
                      <a:pt x="63" y="66"/>
                    </a:lnTo>
                    <a:lnTo>
                      <a:pt x="63" y="66"/>
                    </a:lnTo>
                    <a:close/>
                    <a:moveTo>
                      <a:pt x="64" y="66"/>
                    </a:moveTo>
                    <a:lnTo>
                      <a:pt x="64" y="70"/>
                    </a:lnTo>
                    <a:lnTo>
                      <a:pt x="66" y="66"/>
                    </a:lnTo>
                    <a:lnTo>
                      <a:pt x="70" y="66"/>
                    </a:lnTo>
                    <a:lnTo>
                      <a:pt x="68" y="65"/>
                    </a:lnTo>
                    <a:lnTo>
                      <a:pt x="66" y="66"/>
                    </a:lnTo>
                    <a:lnTo>
                      <a:pt x="64" y="66"/>
                    </a:lnTo>
                    <a:lnTo>
                      <a:pt x="64" y="66"/>
                    </a:lnTo>
                    <a:lnTo>
                      <a:pt x="64" y="66"/>
                    </a:lnTo>
                    <a:lnTo>
                      <a:pt x="64" y="66"/>
                    </a:lnTo>
                    <a:close/>
                    <a:moveTo>
                      <a:pt x="50" y="66"/>
                    </a:moveTo>
                    <a:lnTo>
                      <a:pt x="54" y="70"/>
                    </a:lnTo>
                    <a:lnTo>
                      <a:pt x="56" y="70"/>
                    </a:lnTo>
                    <a:lnTo>
                      <a:pt x="57" y="70"/>
                    </a:lnTo>
                    <a:lnTo>
                      <a:pt x="59" y="66"/>
                    </a:lnTo>
                    <a:lnTo>
                      <a:pt x="63" y="66"/>
                    </a:lnTo>
                    <a:lnTo>
                      <a:pt x="63" y="66"/>
                    </a:lnTo>
                    <a:lnTo>
                      <a:pt x="64" y="70"/>
                    </a:lnTo>
                    <a:lnTo>
                      <a:pt x="63" y="72"/>
                    </a:lnTo>
                    <a:lnTo>
                      <a:pt x="63" y="75"/>
                    </a:lnTo>
                    <a:lnTo>
                      <a:pt x="61" y="75"/>
                    </a:lnTo>
                    <a:lnTo>
                      <a:pt x="61" y="72"/>
                    </a:lnTo>
                    <a:lnTo>
                      <a:pt x="59" y="73"/>
                    </a:lnTo>
                    <a:lnTo>
                      <a:pt x="54" y="75"/>
                    </a:lnTo>
                    <a:lnTo>
                      <a:pt x="49" y="73"/>
                    </a:lnTo>
                    <a:lnTo>
                      <a:pt x="47" y="72"/>
                    </a:lnTo>
                    <a:lnTo>
                      <a:pt x="49" y="70"/>
                    </a:lnTo>
                    <a:lnTo>
                      <a:pt x="47" y="70"/>
                    </a:lnTo>
                    <a:lnTo>
                      <a:pt x="49" y="66"/>
                    </a:lnTo>
                    <a:lnTo>
                      <a:pt x="50" y="66"/>
                    </a:lnTo>
                    <a:lnTo>
                      <a:pt x="50" y="66"/>
                    </a:lnTo>
                    <a:lnTo>
                      <a:pt x="50" y="66"/>
                    </a:lnTo>
                    <a:lnTo>
                      <a:pt x="50" y="66"/>
                    </a:lnTo>
                    <a:close/>
                    <a:moveTo>
                      <a:pt x="40" y="49"/>
                    </a:moveTo>
                    <a:lnTo>
                      <a:pt x="40" y="49"/>
                    </a:lnTo>
                    <a:lnTo>
                      <a:pt x="40" y="44"/>
                    </a:lnTo>
                    <a:lnTo>
                      <a:pt x="40" y="47"/>
                    </a:lnTo>
                    <a:lnTo>
                      <a:pt x="40" y="49"/>
                    </a:lnTo>
                    <a:lnTo>
                      <a:pt x="40" y="49"/>
                    </a:lnTo>
                    <a:lnTo>
                      <a:pt x="40" y="49"/>
                    </a:lnTo>
                    <a:lnTo>
                      <a:pt x="40" y="49"/>
                    </a:lnTo>
                    <a:lnTo>
                      <a:pt x="40" y="49"/>
                    </a:lnTo>
                    <a:close/>
                    <a:moveTo>
                      <a:pt x="37" y="66"/>
                    </a:moveTo>
                    <a:lnTo>
                      <a:pt x="40" y="70"/>
                    </a:lnTo>
                    <a:lnTo>
                      <a:pt x="40" y="70"/>
                    </a:lnTo>
                    <a:lnTo>
                      <a:pt x="37" y="66"/>
                    </a:lnTo>
                    <a:lnTo>
                      <a:pt x="37" y="66"/>
                    </a:lnTo>
                    <a:lnTo>
                      <a:pt x="37" y="66"/>
                    </a:lnTo>
                    <a:lnTo>
                      <a:pt x="37" y="66"/>
                    </a:lnTo>
                    <a:close/>
                    <a:moveTo>
                      <a:pt x="45" y="63"/>
                    </a:moveTo>
                    <a:lnTo>
                      <a:pt x="45" y="66"/>
                    </a:lnTo>
                    <a:lnTo>
                      <a:pt x="42" y="70"/>
                    </a:lnTo>
                    <a:lnTo>
                      <a:pt x="42" y="70"/>
                    </a:lnTo>
                    <a:lnTo>
                      <a:pt x="45" y="70"/>
                    </a:lnTo>
                    <a:lnTo>
                      <a:pt x="47" y="65"/>
                    </a:lnTo>
                    <a:lnTo>
                      <a:pt x="47" y="65"/>
                    </a:lnTo>
                    <a:lnTo>
                      <a:pt x="45" y="63"/>
                    </a:lnTo>
                    <a:lnTo>
                      <a:pt x="45" y="63"/>
                    </a:lnTo>
                    <a:lnTo>
                      <a:pt x="45" y="63"/>
                    </a:lnTo>
                    <a:lnTo>
                      <a:pt x="45" y="63"/>
                    </a:lnTo>
                    <a:close/>
                    <a:moveTo>
                      <a:pt x="28" y="54"/>
                    </a:moveTo>
                    <a:lnTo>
                      <a:pt x="35" y="53"/>
                    </a:lnTo>
                    <a:lnTo>
                      <a:pt x="37" y="54"/>
                    </a:lnTo>
                    <a:lnTo>
                      <a:pt x="40" y="54"/>
                    </a:lnTo>
                    <a:lnTo>
                      <a:pt x="42" y="59"/>
                    </a:lnTo>
                    <a:lnTo>
                      <a:pt x="45" y="63"/>
                    </a:lnTo>
                    <a:lnTo>
                      <a:pt x="40" y="66"/>
                    </a:lnTo>
                    <a:lnTo>
                      <a:pt x="37" y="66"/>
                    </a:lnTo>
                    <a:lnTo>
                      <a:pt x="37" y="66"/>
                    </a:lnTo>
                    <a:lnTo>
                      <a:pt x="31" y="65"/>
                    </a:lnTo>
                    <a:lnTo>
                      <a:pt x="28" y="61"/>
                    </a:lnTo>
                    <a:lnTo>
                      <a:pt x="28" y="58"/>
                    </a:lnTo>
                    <a:lnTo>
                      <a:pt x="28" y="54"/>
                    </a:lnTo>
                    <a:lnTo>
                      <a:pt x="28" y="54"/>
                    </a:lnTo>
                    <a:lnTo>
                      <a:pt x="28" y="54"/>
                    </a:lnTo>
                    <a:lnTo>
                      <a:pt x="28" y="54"/>
                    </a:lnTo>
                    <a:close/>
                    <a:moveTo>
                      <a:pt x="42" y="13"/>
                    </a:moveTo>
                    <a:lnTo>
                      <a:pt x="45" y="11"/>
                    </a:lnTo>
                    <a:lnTo>
                      <a:pt x="47" y="11"/>
                    </a:lnTo>
                    <a:lnTo>
                      <a:pt x="45" y="13"/>
                    </a:lnTo>
                    <a:lnTo>
                      <a:pt x="42" y="13"/>
                    </a:lnTo>
                    <a:lnTo>
                      <a:pt x="42" y="13"/>
                    </a:lnTo>
                    <a:lnTo>
                      <a:pt x="42" y="13"/>
                    </a:lnTo>
                    <a:lnTo>
                      <a:pt x="42" y="13"/>
                    </a:lnTo>
                    <a:close/>
                    <a:moveTo>
                      <a:pt x="12" y="28"/>
                    </a:moveTo>
                    <a:lnTo>
                      <a:pt x="10" y="25"/>
                    </a:lnTo>
                    <a:lnTo>
                      <a:pt x="14" y="23"/>
                    </a:lnTo>
                    <a:lnTo>
                      <a:pt x="17" y="23"/>
                    </a:lnTo>
                    <a:lnTo>
                      <a:pt x="16" y="25"/>
                    </a:lnTo>
                    <a:lnTo>
                      <a:pt x="14" y="28"/>
                    </a:lnTo>
                    <a:lnTo>
                      <a:pt x="12" y="28"/>
                    </a:lnTo>
                    <a:lnTo>
                      <a:pt x="12" y="28"/>
                    </a:lnTo>
                    <a:lnTo>
                      <a:pt x="12" y="28"/>
                    </a:lnTo>
                    <a:lnTo>
                      <a:pt x="12" y="28"/>
                    </a:lnTo>
                    <a:close/>
                    <a:moveTo>
                      <a:pt x="10" y="30"/>
                    </a:moveTo>
                    <a:lnTo>
                      <a:pt x="9" y="26"/>
                    </a:lnTo>
                    <a:lnTo>
                      <a:pt x="10" y="23"/>
                    </a:lnTo>
                    <a:lnTo>
                      <a:pt x="16" y="21"/>
                    </a:lnTo>
                    <a:lnTo>
                      <a:pt x="17" y="21"/>
                    </a:lnTo>
                    <a:lnTo>
                      <a:pt x="21" y="21"/>
                    </a:lnTo>
                    <a:lnTo>
                      <a:pt x="23" y="21"/>
                    </a:lnTo>
                    <a:lnTo>
                      <a:pt x="26" y="21"/>
                    </a:lnTo>
                    <a:lnTo>
                      <a:pt x="28" y="21"/>
                    </a:lnTo>
                    <a:lnTo>
                      <a:pt x="31" y="21"/>
                    </a:lnTo>
                    <a:lnTo>
                      <a:pt x="35" y="21"/>
                    </a:lnTo>
                    <a:lnTo>
                      <a:pt x="37" y="16"/>
                    </a:lnTo>
                    <a:lnTo>
                      <a:pt x="37" y="11"/>
                    </a:lnTo>
                    <a:lnTo>
                      <a:pt x="37" y="11"/>
                    </a:lnTo>
                    <a:lnTo>
                      <a:pt x="37" y="6"/>
                    </a:lnTo>
                    <a:lnTo>
                      <a:pt x="40" y="2"/>
                    </a:lnTo>
                    <a:lnTo>
                      <a:pt x="40" y="0"/>
                    </a:lnTo>
                    <a:lnTo>
                      <a:pt x="35" y="6"/>
                    </a:lnTo>
                    <a:lnTo>
                      <a:pt x="28" y="7"/>
                    </a:lnTo>
                    <a:lnTo>
                      <a:pt x="28" y="7"/>
                    </a:lnTo>
                    <a:lnTo>
                      <a:pt x="23" y="11"/>
                    </a:lnTo>
                    <a:lnTo>
                      <a:pt x="23" y="16"/>
                    </a:lnTo>
                    <a:lnTo>
                      <a:pt x="19" y="18"/>
                    </a:lnTo>
                    <a:lnTo>
                      <a:pt x="16" y="18"/>
                    </a:lnTo>
                    <a:lnTo>
                      <a:pt x="10" y="21"/>
                    </a:lnTo>
                    <a:lnTo>
                      <a:pt x="10" y="21"/>
                    </a:lnTo>
                    <a:lnTo>
                      <a:pt x="7" y="21"/>
                    </a:lnTo>
                    <a:lnTo>
                      <a:pt x="5" y="23"/>
                    </a:lnTo>
                    <a:lnTo>
                      <a:pt x="4" y="26"/>
                    </a:lnTo>
                    <a:lnTo>
                      <a:pt x="5" y="26"/>
                    </a:lnTo>
                    <a:lnTo>
                      <a:pt x="7" y="26"/>
                    </a:lnTo>
                    <a:lnTo>
                      <a:pt x="10" y="30"/>
                    </a:lnTo>
                    <a:lnTo>
                      <a:pt x="10" y="30"/>
                    </a:lnTo>
                    <a:lnTo>
                      <a:pt x="10" y="30"/>
                    </a:lnTo>
                    <a:lnTo>
                      <a:pt x="10" y="30"/>
                    </a:lnTo>
                    <a:close/>
                    <a:moveTo>
                      <a:pt x="26" y="70"/>
                    </a:moveTo>
                    <a:lnTo>
                      <a:pt x="26" y="70"/>
                    </a:lnTo>
                    <a:lnTo>
                      <a:pt x="26" y="66"/>
                    </a:lnTo>
                    <a:lnTo>
                      <a:pt x="23" y="65"/>
                    </a:lnTo>
                    <a:lnTo>
                      <a:pt x="23" y="65"/>
                    </a:lnTo>
                    <a:lnTo>
                      <a:pt x="23" y="63"/>
                    </a:lnTo>
                    <a:lnTo>
                      <a:pt x="23" y="61"/>
                    </a:lnTo>
                    <a:lnTo>
                      <a:pt x="26" y="58"/>
                    </a:lnTo>
                    <a:lnTo>
                      <a:pt x="23" y="58"/>
                    </a:lnTo>
                    <a:lnTo>
                      <a:pt x="23" y="54"/>
                    </a:lnTo>
                    <a:lnTo>
                      <a:pt x="31" y="53"/>
                    </a:lnTo>
                    <a:lnTo>
                      <a:pt x="28" y="53"/>
                    </a:lnTo>
                    <a:lnTo>
                      <a:pt x="31" y="49"/>
                    </a:lnTo>
                    <a:lnTo>
                      <a:pt x="31" y="49"/>
                    </a:lnTo>
                    <a:lnTo>
                      <a:pt x="37" y="49"/>
                    </a:lnTo>
                    <a:lnTo>
                      <a:pt x="37" y="44"/>
                    </a:lnTo>
                    <a:lnTo>
                      <a:pt x="35" y="40"/>
                    </a:lnTo>
                    <a:lnTo>
                      <a:pt x="37" y="39"/>
                    </a:lnTo>
                    <a:lnTo>
                      <a:pt x="40" y="39"/>
                    </a:lnTo>
                    <a:lnTo>
                      <a:pt x="42" y="40"/>
                    </a:lnTo>
                    <a:lnTo>
                      <a:pt x="42" y="39"/>
                    </a:lnTo>
                    <a:lnTo>
                      <a:pt x="45" y="40"/>
                    </a:lnTo>
                    <a:lnTo>
                      <a:pt x="45" y="39"/>
                    </a:lnTo>
                    <a:lnTo>
                      <a:pt x="45" y="35"/>
                    </a:lnTo>
                    <a:lnTo>
                      <a:pt x="45" y="32"/>
                    </a:lnTo>
                    <a:lnTo>
                      <a:pt x="42" y="35"/>
                    </a:lnTo>
                    <a:lnTo>
                      <a:pt x="37" y="35"/>
                    </a:lnTo>
                    <a:lnTo>
                      <a:pt x="37" y="32"/>
                    </a:lnTo>
                    <a:lnTo>
                      <a:pt x="35" y="30"/>
                    </a:lnTo>
                    <a:lnTo>
                      <a:pt x="31" y="28"/>
                    </a:lnTo>
                    <a:lnTo>
                      <a:pt x="35" y="26"/>
                    </a:lnTo>
                    <a:lnTo>
                      <a:pt x="35" y="23"/>
                    </a:lnTo>
                    <a:lnTo>
                      <a:pt x="31" y="21"/>
                    </a:lnTo>
                    <a:lnTo>
                      <a:pt x="26" y="21"/>
                    </a:lnTo>
                    <a:lnTo>
                      <a:pt x="23" y="23"/>
                    </a:lnTo>
                    <a:lnTo>
                      <a:pt x="19" y="21"/>
                    </a:lnTo>
                    <a:lnTo>
                      <a:pt x="19" y="23"/>
                    </a:lnTo>
                    <a:lnTo>
                      <a:pt x="21" y="28"/>
                    </a:lnTo>
                    <a:lnTo>
                      <a:pt x="21" y="28"/>
                    </a:lnTo>
                    <a:lnTo>
                      <a:pt x="23" y="32"/>
                    </a:lnTo>
                    <a:lnTo>
                      <a:pt x="23" y="32"/>
                    </a:lnTo>
                    <a:lnTo>
                      <a:pt x="21" y="32"/>
                    </a:lnTo>
                    <a:lnTo>
                      <a:pt x="17" y="32"/>
                    </a:lnTo>
                    <a:lnTo>
                      <a:pt x="17" y="32"/>
                    </a:lnTo>
                    <a:lnTo>
                      <a:pt x="19" y="30"/>
                    </a:lnTo>
                    <a:lnTo>
                      <a:pt x="17" y="26"/>
                    </a:lnTo>
                    <a:lnTo>
                      <a:pt x="16" y="26"/>
                    </a:lnTo>
                    <a:lnTo>
                      <a:pt x="14" y="30"/>
                    </a:lnTo>
                    <a:lnTo>
                      <a:pt x="16" y="32"/>
                    </a:lnTo>
                    <a:lnTo>
                      <a:pt x="12" y="35"/>
                    </a:lnTo>
                    <a:lnTo>
                      <a:pt x="9" y="32"/>
                    </a:lnTo>
                    <a:lnTo>
                      <a:pt x="7" y="32"/>
                    </a:lnTo>
                    <a:lnTo>
                      <a:pt x="4" y="32"/>
                    </a:lnTo>
                    <a:lnTo>
                      <a:pt x="2" y="32"/>
                    </a:lnTo>
                    <a:lnTo>
                      <a:pt x="5" y="35"/>
                    </a:lnTo>
                    <a:lnTo>
                      <a:pt x="5" y="39"/>
                    </a:lnTo>
                    <a:lnTo>
                      <a:pt x="4" y="39"/>
                    </a:lnTo>
                    <a:lnTo>
                      <a:pt x="2" y="39"/>
                    </a:lnTo>
                    <a:lnTo>
                      <a:pt x="2" y="42"/>
                    </a:lnTo>
                    <a:lnTo>
                      <a:pt x="5" y="44"/>
                    </a:lnTo>
                    <a:lnTo>
                      <a:pt x="5" y="47"/>
                    </a:lnTo>
                    <a:lnTo>
                      <a:pt x="7" y="49"/>
                    </a:lnTo>
                    <a:lnTo>
                      <a:pt x="2" y="49"/>
                    </a:lnTo>
                    <a:lnTo>
                      <a:pt x="0" y="54"/>
                    </a:lnTo>
                    <a:lnTo>
                      <a:pt x="2" y="56"/>
                    </a:lnTo>
                    <a:lnTo>
                      <a:pt x="5" y="54"/>
                    </a:lnTo>
                    <a:lnTo>
                      <a:pt x="9" y="59"/>
                    </a:lnTo>
                    <a:lnTo>
                      <a:pt x="10" y="65"/>
                    </a:lnTo>
                    <a:lnTo>
                      <a:pt x="9" y="65"/>
                    </a:lnTo>
                    <a:lnTo>
                      <a:pt x="9" y="66"/>
                    </a:lnTo>
                    <a:lnTo>
                      <a:pt x="14" y="66"/>
                    </a:lnTo>
                    <a:lnTo>
                      <a:pt x="21" y="70"/>
                    </a:lnTo>
                    <a:lnTo>
                      <a:pt x="23" y="70"/>
                    </a:lnTo>
                    <a:lnTo>
                      <a:pt x="26" y="70"/>
                    </a:lnTo>
                    <a:lnTo>
                      <a:pt x="26" y="70"/>
                    </a:lnTo>
                    <a:lnTo>
                      <a:pt x="26" y="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7" name="Freeform 11">
                <a:extLst>
                  <a:ext uri="{FF2B5EF4-FFF2-40B4-BE49-F238E27FC236}">
                    <a16:creationId xmlns:a16="http://schemas.microsoft.com/office/drawing/2014/main" id="{52644C25-6AD8-4159-92A9-6357D70A5ADE}"/>
                  </a:ext>
                </a:extLst>
              </p:cNvPr>
              <p:cNvSpPr>
                <a:spLocks/>
              </p:cNvSpPr>
              <p:nvPr/>
            </p:nvSpPr>
            <p:spPr bwMode="auto">
              <a:xfrm>
                <a:off x="4587875" y="2590801"/>
                <a:ext cx="230188" cy="273050"/>
              </a:xfrm>
              <a:custGeom>
                <a:avLst/>
                <a:gdLst/>
                <a:ahLst/>
                <a:cxnLst>
                  <a:cxn ang="0">
                    <a:pos x="52" y="4"/>
                  </a:cxn>
                  <a:cxn ang="0">
                    <a:pos x="60" y="11"/>
                  </a:cxn>
                  <a:cxn ang="0">
                    <a:pos x="64" y="18"/>
                  </a:cxn>
                  <a:cxn ang="0">
                    <a:pos x="71" y="14"/>
                  </a:cxn>
                  <a:cxn ang="0">
                    <a:pos x="79" y="16"/>
                  </a:cxn>
                  <a:cxn ang="0">
                    <a:pos x="72" y="23"/>
                  </a:cxn>
                  <a:cxn ang="0">
                    <a:pos x="81" y="26"/>
                  </a:cxn>
                  <a:cxn ang="0">
                    <a:pos x="95" y="19"/>
                  </a:cxn>
                  <a:cxn ang="0">
                    <a:pos x="100" y="12"/>
                  </a:cxn>
                  <a:cxn ang="0">
                    <a:pos x="100" y="16"/>
                  </a:cxn>
                  <a:cxn ang="0">
                    <a:pos x="107" y="16"/>
                  </a:cxn>
                  <a:cxn ang="0">
                    <a:pos x="118" y="23"/>
                  </a:cxn>
                  <a:cxn ang="0">
                    <a:pos x="126" y="28"/>
                  </a:cxn>
                  <a:cxn ang="0">
                    <a:pos x="135" y="40"/>
                  </a:cxn>
                  <a:cxn ang="0">
                    <a:pos x="135" y="56"/>
                  </a:cxn>
                  <a:cxn ang="0">
                    <a:pos x="139" y="68"/>
                  </a:cxn>
                  <a:cxn ang="0">
                    <a:pos x="144" y="82"/>
                  </a:cxn>
                  <a:cxn ang="0">
                    <a:pos x="139" y="92"/>
                  </a:cxn>
                  <a:cxn ang="0">
                    <a:pos x="126" y="96"/>
                  </a:cxn>
                  <a:cxn ang="0">
                    <a:pos x="112" y="103"/>
                  </a:cxn>
                  <a:cxn ang="0">
                    <a:pos x="99" y="106"/>
                  </a:cxn>
                  <a:cxn ang="0">
                    <a:pos x="105" y="118"/>
                  </a:cxn>
                  <a:cxn ang="0">
                    <a:pos x="116" y="131"/>
                  </a:cxn>
                  <a:cxn ang="0">
                    <a:pos x="126" y="150"/>
                  </a:cxn>
                  <a:cxn ang="0">
                    <a:pos x="112" y="158"/>
                  </a:cxn>
                  <a:cxn ang="0">
                    <a:pos x="116" y="169"/>
                  </a:cxn>
                  <a:cxn ang="0">
                    <a:pos x="100" y="167"/>
                  </a:cxn>
                  <a:cxn ang="0">
                    <a:pos x="88" y="169"/>
                  </a:cxn>
                  <a:cxn ang="0">
                    <a:pos x="76" y="169"/>
                  </a:cxn>
                  <a:cxn ang="0">
                    <a:pos x="64" y="169"/>
                  </a:cxn>
                  <a:cxn ang="0">
                    <a:pos x="53" y="167"/>
                  </a:cxn>
                  <a:cxn ang="0">
                    <a:pos x="48" y="164"/>
                  </a:cxn>
                  <a:cxn ang="0">
                    <a:pos x="39" y="167"/>
                  </a:cxn>
                  <a:cxn ang="0">
                    <a:pos x="31" y="165"/>
                  </a:cxn>
                  <a:cxn ang="0">
                    <a:pos x="33" y="150"/>
                  </a:cxn>
                  <a:cxn ang="0">
                    <a:pos x="34" y="136"/>
                  </a:cxn>
                  <a:cxn ang="0">
                    <a:pos x="20" y="134"/>
                  </a:cxn>
                  <a:cxn ang="0">
                    <a:pos x="12" y="131"/>
                  </a:cxn>
                  <a:cxn ang="0">
                    <a:pos x="6" y="122"/>
                  </a:cxn>
                  <a:cxn ang="0">
                    <a:pos x="5" y="108"/>
                  </a:cxn>
                  <a:cxn ang="0">
                    <a:pos x="1" y="94"/>
                  </a:cxn>
                  <a:cxn ang="0">
                    <a:pos x="1" y="80"/>
                  </a:cxn>
                  <a:cxn ang="0">
                    <a:pos x="13" y="73"/>
                  </a:cxn>
                  <a:cxn ang="0">
                    <a:pos x="17" y="63"/>
                  </a:cxn>
                  <a:cxn ang="0">
                    <a:pos x="12" y="59"/>
                  </a:cxn>
                  <a:cxn ang="0">
                    <a:pos x="20" y="51"/>
                  </a:cxn>
                  <a:cxn ang="0">
                    <a:pos x="22" y="44"/>
                  </a:cxn>
                  <a:cxn ang="0">
                    <a:pos x="17" y="37"/>
                  </a:cxn>
                  <a:cxn ang="0">
                    <a:pos x="31" y="35"/>
                  </a:cxn>
                  <a:cxn ang="0">
                    <a:pos x="34" y="37"/>
                  </a:cxn>
                  <a:cxn ang="0">
                    <a:pos x="38" y="40"/>
                  </a:cxn>
                  <a:cxn ang="0">
                    <a:pos x="39" y="31"/>
                  </a:cxn>
                  <a:cxn ang="0">
                    <a:pos x="52" y="28"/>
                  </a:cxn>
                  <a:cxn ang="0">
                    <a:pos x="52" y="28"/>
                  </a:cxn>
                  <a:cxn ang="0">
                    <a:pos x="48" y="21"/>
                  </a:cxn>
                  <a:cxn ang="0">
                    <a:pos x="39" y="12"/>
                  </a:cxn>
                  <a:cxn ang="0">
                    <a:pos x="43" y="5"/>
                  </a:cxn>
                  <a:cxn ang="0">
                    <a:pos x="39" y="0"/>
                  </a:cxn>
                </a:cxnLst>
                <a:rect l="0" t="0" r="r" b="b"/>
                <a:pathLst>
                  <a:path w="145" h="172">
                    <a:moveTo>
                      <a:pt x="39" y="0"/>
                    </a:moveTo>
                    <a:lnTo>
                      <a:pt x="43" y="0"/>
                    </a:lnTo>
                    <a:lnTo>
                      <a:pt x="52" y="4"/>
                    </a:lnTo>
                    <a:lnTo>
                      <a:pt x="52" y="4"/>
                    </a:lnTo>
                    <a:lnTo>
                      <a:pt x="55" y="4"/>
                    </a:lnTo>
                    <a:lnTo>
                      <a:pt x="59" y="5"/>
                    </a:lnTo>
                    <a:lnTo>
                      <a:pt x="62" y="5"/>
                    </a:lnTo>
                    <a:lnTo>
                      <a:pt x="60" y="11"/>
                    </a:lnTo>
                    <a:lnTo>
                      <a:pt x="59" y="12"/>
                    </a:lnTo>
                    <a:lnTo>
                      <a:pt x="59" y="14"/>
                    </a:lnTo>
                    <a:lnTo>
                      <a:pt x="62" y="16"/>
                    </a:lnTo>
                    <a:lnTo>
                      <a:pt x="64" y="18"/>
                    </a:lnTo>
                    <a:lnTo>
                      <a:pt x="66" y="16"/>
                    </a:lnTo>
                    <a:lnTo>
                      <a:pt x="67" y="14"/>
                    </a:lnTo>
                    <a:lnTo>
                      <a:pt x="69" y="12"/>
                    </a:lnTo>
                    <a:lnTo>
                      <a:pt x="71" y="14"/>
                    </a:lnTo>
                    <a:lnTo>
                      <a:pt x="74" y="18"/>
                    </a:lnTo>
                    <a:lnTo>
                      <a:pt x="76" y="18"/>
                    </a:lnTo>
                    <a:lnTo>
                      <a:pt x="76" y="14"/>
                    </a:lnTo>
                    <a:lnTo>
                      <a:pt x="79" y="16"/>
                    </a:lnTo>
                    <a:lnTo>
                      <a:pt x="79" y="19"/>
                    </a:lnTo>
                    <a:lnTo>
                      <a:pt x="76" y="21"/>
                    </a:lnTo>
                    <a:lnTo>
                      <a:pt x="76" y="21"/>
                    </a:lnTo>
                    <a:lnTo>
                      <a:pt x="72" y="23"/>
                    </a:lnTo>
                    <a:lnTo>
                      <a:pt x="76" y="25"/>
                    </a:lnTo>
                    <a:lnTo>
                      <a:pt x="76" y="25"/>
                    </a:lnTo>
                    <a:lnTo>
                      <a:pt x="81" y="25"/>
                    </a:lnTo>
                    <a:lnTo>
                      <a:pt x="81" y="26"/>
                    </a:lnTo>
                    <a:lnTo>
                      <a:pt x="85" y="26"/>
                    </a:lnTo>
                    <a:lnTo>
                      <a:pt x="88" y="23"/>
                    </a:lnTo>
                    <a:lnTo>
                      <a:pt x="90" y="19"/>
                    </a:lnTo>
                    <a:lnTo>
                      <a:pt x="95" y="19"/>
                    </a:lnTo>
                    <a:lnTo>
                      <a:pt x="95" y="18"/>
                    </a:lnTo>
                    <a:lnTo>
                      <a:pt x="99" y="16"/>
                    </a:lnTo>
                    <a:lnTo>
                      <a:pt x="99" y="14"/>
                    </a:lnTo>
                    <a:lnTo>
                      <a:pt x="100" y="12"/>
                    </a:lnTo>
                    <a:lnTo>
                      <a:pt x="105" y="12"/>
                    </a:lnTo>
                    <a:lnTo>
                      <a:pt x="102" y="14"/>
                    </a:lnTo>
                    <a:lnTo>
                      <a:pt x="100" y="16"/>
                    </a:lnTo>
                    <a:lnTo>
                      <a:pt x="100" y="16"/>
                    </a:lnTo>
                    <a:lnTo>
                      <a:pt x="99" y="18"/>
                    </a:lnTo>
                    <a:lnTo>
                      <a:pt x="99" y="19"/>
                    </a:lnTo>
                    <a:lnTo>
                      <a:pt x="102" y="16"/>
                    </a:lnTo>
                    <a:lnTo>
                      <a:pt x="107" y="16"/>
                    </a:lnTo>
                    <a:lnTo>
                      <a:pt x="109" y="16"/>
                    </a:lnTo>
                    <a:lnTo>
                      <a:pt x="109" y="18"/>
                    </a:lnTo>
                    <a:lnTo>
                      <a:pt x="112" y="18"/>
                    </a:lnTo>
                    <a:lnTo>
                      <a:pt x="118" y="23"/>
                    </a:lnTo>
                    <a:lnTo>
                      <a:pt x="121" y="21"/>
                    </a:lnTo>
                    <a:lnTo>
                      <a:pt x="123" y="25"/>
                    </a:lnTo>
                    <a:lnTo>
                      <a:pt x="123" y="28"/>
                    </a:lnTo>
                    <a:lnTo>
                      <a:pt x="126" y="28"/>
                    </a:lnTo>
                    <a:lnTo>
                      <a:pt x="126" y="28"/>
                    </a:lnTo>
                    <a:lnTo>
                      <a:pt x="132" y="31"/>
                    </a:lnTo>
                    <a:lnTo>
                      <a:pt x="135" y="31"/>
                    </a:lnTo>
                    <a:lnTo>
                      <a:pt x="135" y="40"/>
                    </a:lnTo>
                    <a:lnTo>
                      <a:pt x="135" y="44"/>
                    </a:lnTo>
                    <a:lnTo>
                      <a:pt x="128" y="47"/>
                    </a:lnTo>
                    <a:lnTo>
                      <a:pt x="128" y="49"/>
                    </a:lnTo>
                    <a:lnTo>
                      <a:pt x="135" y="56"/>
                    </a:lnTo>
                    <a:lnTo>
                      <a:pt x="135" y="59"/>
                    </a:lnTo>
                    <a:lnTo>
                      <a:pt x="137" y="63"/>
                    </a:lnTo>
                    <a:lnTo>
                      <a:pt x="137" y="63"/>
                    </a:lnTo>
                    <a:lnTo>
                      <a:pt x="139" y="68"/>
                    </a:lnTo>
                    <a:lnTo>
                      <a:pt x="137" y="70"/>
                    </a:lnTo>
                    <a:lnTo>
                      <a:pt x="140" y="78"/>
                    </a:lnTo>
                    <a:lnTo>
                      <a:pt x="142" y="80"/>
                    </a:lnTo>
                    <a:lnTo>
                      <a:pt x="144" y="82"/>
                    </a:lnTo>
                    <a:lnTo>
                      <a:pt x="145" y="91"/>
                    </a:lnTo>
                    <a:lnTo>
                      <a:pt x="144" y="92"/>
                    </a:lnTo>
                    <a:lnTo>
                      <a:pt x="140" y="92"/>
                    </a:lnTo>
                    <a:lnTo>
                      <a:pt x="139" y="92"/>
                    </a:lnTo>
                    <a:lnTo>
                      <a:pt x="132" y="92"/>
                    </a:lnTo>
                    <a:lnTo>
                      <a:pt x="132" y="96"/>
                    </a:lnTo>
                    <a:lnTo>
                      <a:pt x="132" y="98"/>
                    </a:lnTo>
                    <a:lnTo>
                      <a:pt x="126" y="96"/>
                    </a:lnTo>
                    <a:lnTo>
                      <a:pt x="123" y="96"/>
                    </a:lnTo>
                    <a:lnTo>
                      <a:pt x="121" y="99"/>
                    </a:lnTo>
                    <a:lnTo>
                      <a:pt x="116" y="99"/>
                    </a:lnTo>
                    <a:lnTo>
                      <a:pt x="112" y="103"/>
                    </a:lnTo>
                    <a:lnTo>
                      <a:pt x="111" y="105"/>
                    </a:lnTo>
                    <a:lnTo>
                      <a:pt x="104" y="110"/>
                    </a:lnTo>
                    <a:lnTo>
                      <a:pt x="100" y="108"/>
                    </a:lnTo>
                    <a:lnTo>
                      <a:pt x="99" y="106"/>
                    </a:lnTo>
                    <a:lnTo>
                      <a:pt x="97" y="108"/>
                    </a:lnTo>
                    <a:lnTo>
                      <a:pt x="97" y="110"/>
                    </a:lnTo>
                    <a:lnTo>
                      <a:pt x="102" y="113"/>
                    </a:lnTo>
                    <a:lnTo>
                      <a:pt x="105" y="118"/>
                    </a:lnTo>
                    <a:lnTo>
                      <a:pt x="105" y="122"/>
                    </a:lnTo>
                    <a:lnTo>
                      <a:pt x="107" y="125"/>
                    </a:lnTo>
                    <a:lnTo>
                      <a:pt x="111" y="127"/>
                    </a:lnTo>
                    <a:lnTo>
                      <a:pt x="116" y="131"/>
                    </a:lnTo>
                    <a:lnTo>
                      <a:pt x="118" y="134"/>
                    </a:lnTo>
                    <a:lnTo>
                      <a:pt x="126" y="141"/>
                    </a:lnTo>
                    <a:lnTo>
                      <a:pt x="126" y="145"/>
                    </a:lnTo>
                    <a:lnTo>
                      <a:pt x="126" y="150"/>
                    </a:lnTo>
                    <a:lnTo>
                      <a:pt x="123" y="150"/>
                    </a:lnTo>
                    <a:lnTo>
                      <a:pt x="121" y="151"/>
                    </a:lnTo>
                    <a:lnTo>
                      <a:pt x="118" y="153"/>
                    </a:lnTo>
                    <a:lnTo>
                      <a:pt x="112" y="158"/>
                    </a:lnTo>
                    <a:lnTo>
                      <a:pt x="112" y="160"/>
                    </a:lnTo>
                    <a:lnTo>
                      <a:pt x="118" y="164"/>
                    </a:lnTo>
                    <a:lnTo>
                      <a:pt x="118" y="167"/>
                    </a:lnTo>
                    <a:lnTo>
                      <a:pt x="116" y="169"/>
                    </a:lnTo>
                    <a:lnTo>
                      <a:pt x="112" y="165"/>
                    </a:lnTo>
                    <a:lnTo>
                      <a:pt x="107" y="167"/>
                    </a:lnTo>
                    <a:lnTo>
                      <a:pt x="104" y="165"/>
                    </a:lnTo>
                    <a:lnTo>
                      <a:pt x="100" y="167"/>
                    </a:lnTo>
                    <a:lnTo>
                      <a:pt x="95" y="169"/>
                    </a:lnTo>
                    <a:lnTo>
                      <a:pt x="93" y="169"/>
                    </a:lnTo>
                    <a:lnTo>
                      <a:pt x="90" y="169"/>
                    </a:lnTo>
                    <a:lnTo>
                      <a:pt x="88" y="169"/>
                    </a:lnTo>
                    <a:lnTo>
                      <a:pt x="85" y="169"/>
                    </a:lnTo>
                    <a:lnTo>
                      <a:pt x="79" y="169"/>
                    </a:lnTo>
                    <a:lnTo>
                      <a:pt x="74" y="169"/>
                    </a:lnTo>
                    <a:lnTo>
                      <a:pt x="76" y="169"/>
                    </a:lnTo>
                    <a:lnTo>
                      <a:pt x="74" y="172"/>
                    </a:lnTo>
                    <a:lnTo>
                      <a:pt x="69" y="172"/>
                    </a:lnTo>
                    <a:lnTo>
                      <a:pt x="67" y="169"/>
                    </a:lnTo>
                    <a:lnTo>
                      <a:pt x="64" y="169"/>
                    </a:lnTo>
                    <a:lnTo>
                      <a:pt x="62" y="169"/>
                    </a:lnTo>
                    <a:lnTo>
                      <a:pt x="60" y="169"/>
                    </a:lnTo>
                    <a:lnTo>
                      <a:pt x="59" y="169"/>
                    </a:lnTo>
                    <a:lnTo>
                      <a:pt x="53" y="167"/>
                    </a:lnTo>
                    <a:lnTo>
                      <a:pt x="52" y="165"/>
                    </a:lnTo>
                    <a:lnTo>
                      <a:pt x="52" y="167"/>
                    </a:lnTo>
                    <a:lnTo>
                      <a:pt x="48" y="167"/>
                    </a:lnTo>
                    <a:lnTo>
                      <a:pt x="48" y="164"/>
                    </a:lnTo>
                    <a:lnTo>
                      <a:pt x="43" y="165"/>
                    </a:lnTo>
                    <a:lnTo>
                      <a:pt x="43" y="167"/>
                    </a:lnTo>
                    <a:lnTo>
                      <a:pt x="43" y="169"/>
                    </a:lnTo>
                    <a:lnTo>
                      <a:pt x="39" y="167"/>
                    </a:lnTo>
                    <a:lnTo>
                      <a:pt x="34" y="169"/>
                    </a:lnTo>
                    <a:lnTo>
                      <a:pt x="33" y="169"/>
                    </a:lnTo>
                    <a:lnTo>
                      <a:pt x="33" y="169"/>
                    </a:lnTo>
                    <a:lnTo>
                      <a:pt x="31" y="165"/>
                    </a:lnTo>
                    <a:lnTo>
                      <a:pt x="27" y="164"/>
                    </a:lnTo>
                    <a:lnTo>
                      <a:pt x="27" y="158"/>
                    </a:lnTo>
                    <a:lnTo>
                      <a:pt x="29" y="151"/>
                    </a:lnTo>
                    <a:lnTo>
                      <a:pt x="33" y="150"/>
                    </a:lnTo>
                    <a:lnTo>
                      <a:pt x="33" y="146"/>
                    </a:lnTo>
                    <a:lnTo>
                      <a:pt x="34" y="141"/>
                    </a:lnTo>
                    <a:lnTo>
                      <a:pt x="38" y="138"/>
                    </a:lnTo>
                    <a:lnTo>
                      <a:pt x="34" y="136"/>
                    </a:lnTo>
                    <a:lnTo>
                      <a:pt x="31" y="136"/>
                    </a:lnTo>
                    <a:lnTo>
                      <a:pt x="27" y="134"/>
                    </a:lnTo>
                    <a:lnTo>
                      <a:pt x="24" y="136"/>
                    </a:lnTo>
                    <a:lnTo>
                      <a:pt x="20" y="134"/>
                    </a:lnTo>
                    <a:lnTo>
                      <a:pt x="19" y="134"/>
                    </a:lnTo>
                    <a:lnTo>
                      <a:pt x="15" y="136"/>
                    </a:lnTo>
                    <a:lnTo>
                      <a:pt x="12" y="132"/>
                    </a:lnTo>
                    <a:lnTo>
                      <a:pt x="12" y="131"/>
                    </a:lnTo>
                    <a:lnTo>
                      <a:pt x="10" y="129"/>
                    </a:lnTo>
                    <a:lnTo>
                      <a:pt x="10" y="129"/>
                    </a:lnTo>
                    <a:lnTo>
                      <a:pt x="10" y="122"/>
                    </a:lnTo>
                    <a:lnTo>
                      <a:pt x="6" y="122"/>
                    </a:lnTo>
                    <a:lnTo>
                      <a:pt x="6" y="118"/>
                    </a:lnTo>
                    <a:lnTo>
                      <a:pt x="1" y="113"/>
                    </a:lnTo>
                    <a:lnTo>
                      <a:pt x="1" y="113"/>
                    </a:lnTo>
                    <a:lnTo>
                      <a:pt x="5" y="108"/>
                    </a:lnTo>
                    <a:lnTo>
                      <a:pt x="1" y="105"/>
                    </a:lnTo>
                    <a:lnTo>
                      <a:pt x="1" y="103"/>
                    </a:lnTo>
                    <a:lnTo>
                      <a:pt x="0" y="98"/>
                    </a:lnTo>
                    <a:lnTo>
                      <a:pt x="1" y="94"/>
                    </a:lnTo>
                    <a:lnTo>
                      <a:pt x="0" y="94"/>
                    </a:lnTo>
                    <a:lnTo>
                      <a:pt x="1" y="91"/>
                    </a:lnTo>
                    <a:lnTo>
                      <a:pt x="1" y="85"/>
                    </a:lnTo>
                    <a:lnTo>
                      <a:pt x="1" y="80"/>
                    </a:lnTo>
                    <a:lnTo>
                      <a:pt x="5" y="77"/>
                    </a:lnTo>
                    <a:lnTo>
                      <a:pt x="6" y="73"/>
                    </a:lnTo>
                    <a:lnTo>
                      <a:pt x="10" y="73"/>
                    </a:lnTo>
                    <a:lnTo>
                      <a:pt x="13" y="73"/>
                    </a:lnTo>
                    <a:lnTo>
                      <a:pt x="17" y="71"/>
                    </a:lnTo>
                    <a:lnTo>
                      <a:pt x="15" y="68"/>
                    </a:lnTo>
                    <a:lnTo>
                      <a:pt x="17" y="68"/>
                    </a:lnTo>
                    <a:lnTo>
                      <a:pt x="17" y="63"/>
                    </a:lnTo>
                    <a:lnTo>
                      <a:pt x="19" y="63"/>
                    </a:lnTo>
                    <a:lnTo>
                      <a:pt x="17" y="59"/>
                    </a:lnTo>
                    <a:lnTo>
                      <a:pt x="12" y="59"/>
                    </a:lnTo>
                    <a:lnTo>
                      <a:pt x="12" y="59"/>
                    </a:lnTo>
                    <a:lnTo>
                      <a:pt x="13" y="56"/>
                    </a:lnTo>
                    <a:lnTo>
                      <a:pt x="17" y="58"/>
                    </a:lnTo>
                    <a:lnTo>
                      <a:pt x="20" y="56"/>
                    </a:lnTo>
                    <a:lnTo>
                      <a:pt x="20" y="51"/>
                    </a:lnTo>
                    <a:lnTo>
                      <a:pt x="20" y="49"/>
                    </a:lnTo>
                    <a:lnTo>
                      <a:pt x="22" y="45"/>
                    </a:lnTo>
                    <a:lnTo>
                      <a:pt x="22" y="45"/>
                    </a:lnTo>
                    <a:lnTo>
                      <a:pt x="22" y="44"/>
                    </a:lnTo>
                    <a:lnTo>
                      <a:pt x="22" y="44"/>
                    </a:lnTo>
                    <a:lnTo>
                      <a:pt x="22" y="40"/>
                    </a:lnTo>
                    <a:lnTo>
                      <a:pt x="19" y="40"/>
                    </a:lnTo>
                    <a:lnTo>
                      <a:pt x="17" y="37"/>
                    </a:lnTo>
                    <a:lnTo>
                      <a:pt x="17" y="35"/>
                    </a:lnTo>
                    <a:lnTo>
                      <a:pt x="26" y="31"/>
                    </a:lnTo>
                    <a:lnTo>
                      <a:pt x="27" y="31"/>
                    </a:lnTo>
                    <a:lnTo>
                      <a:pt x="31" y="35"/>
                    </a:lnTo>
                    <a:lnTo>
                      <a:pt x="31" y="37"/>
                    </a:lnTo>
                    <a:lnTo>
                      <a:pt x="34" y="40"/>
                    </a:lnTo>
                    <a:lnTo>
                      <a:pt x="34" y="40"/>
                    </a:lnTo>
                    <a:lnTo>
                      <a:pt x="34" y="37"/>
                    </a:lnTo>
                    <a:lnTo>
                      <a:pt x="34" y="35"/>
                    </a:lnTo>
                    <a:lnTo>
                      <a:pt x="34" y="31"/>
                    </a:lnTo>
                    <a:lnTo>
                      <a:pt x="39" y="37"/>
                    </a:lnTo>
                    <a:lnTo>
                      <a:pt x="38" y="40"/>
                    </a:lnTo>
                    <a:lnTo>
                      <a:pt x="43" y="44"/>
                    </a:lnTo>
                    <a:lnTo>
                      <a:pt x="39" y="40"/>
                    </a:lnTo>
                    <a:lnTo>
                      <a:pt x="39" y="37"/>
                    </a:lnTo>
                    <a:lnTo>
                      <a:pt x="39" y="31"/>
                    </a:lnTo>
                    <a:lnTo>
                      <a:pt x="43" y="28"/>
                    </a:lnTo>
                    <a:lnTo>
                      <a:pt x="43" y="28"/>
                    </a:lnTo>
                    <a:lnTo>
                      <a:pt x="48" y="31"/>
                    </a:lnTo>
                    <a:lnTo>
                      <a:pt x="52" y="28"/>
                    </a:lnTo>
                    <a:lnTo>
                      <a:pt x="55" y="35"/>
                    </a:lnTo>
                    <a:lnTo>
                      <a:pt x="64" y="37"/>
                    </a:lnTo>
                    <a:lnTo>
                      <a:pt x="57" y="31"/>
                    </a:lnTo>
                    <a:lnTo>
                      <a:pt x="52" y="28"/>
                    </a:lnTo>
                    <a:lnTo>
                      <a:pt x="48" y="28"/>
                    </a:lnTo>
                    <a:lnTo>
                      <a:pt x="43" y="26"/>
                    </a:lnTo>
                    <a:lnTo>
                      <a:pt x="43" y="23"/>
                    </a:lnTo>
                    <a:lnTo>
                      <a:pt x="48" y="21"/>
                    </a:lnTo>
                    <a:lnTo>
                      <a:pt x="43" y="19"/>
                    </a:lnTo>
                    <a:lnTo>
                      <a:pt x="43" y="16"/>
                    </a:lnTo>
                    <a:lnTo>
                      <a:pt x="39" y="16"/>
                    </a:lnTo>
                    <a:lnTo>
                      <a:pt x="39" y="12"/>
                    </a:lnTo>
                    <a:lnTo>
                      <a:pt x="43" y="12"/>
                    </a:lnTo>
                    <a:lnTo>
                      <a:pt x="48" y="12"/>
                    </a:lnTo>
                    <a:lnTo>
                      <a:pt x="43" y="9"/>
                    </a:lnTo>
                    <a:lnTo>
                      <a:pt x="43" y="5"/>
                    </a:lnTo>
                    <a:lnTo>
                      <a:pt x="43" y="5"/>
                    </a:lnTo>
                    <a:lnTo>
                      <a:pt x="39" y="5"/>
                    </a:lnTo>
                    <a:lnTo>
                      <a:pt x="39" y="0"/>
                    </a:lnTo>
                    <a:lnTo>
                      <a:pt x="39" y="0"/>
                    </a:lnTo>
                    <a:lnTo>
                      <a:pt x="39" y="0"/>
                    </a:lnTo>
                    <a:lnTo>
                      <a:pt x="39"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8" name="Freeform 14">
                <a:extLst>
                  <a:ext uri="{FF2B5EF4-FFF2-40B4-BE49-F238E27FC236}">
                    <a16:creationId xmlns:a16="http://schemas.microsoft.com/office/drawing/2014/main" id="{445A989D-6F50-4376-AE72-906FA40DBCCF}"/>
                  </a:ext>
                </a:extLst>
              </p:cNvPr>
              <p:cNvSpPr>
                <a:spLocks/>
              </p:cNvSpPr>
              <p:nvPr/>
            </p:nvSpPr>
            <p:spPr bwMode="auto">
              <a:xfrm>
                <a:off x="4857750" y="2825751"/>
                <a:ext cx="153988" cy="100013"/>
              </a:xfrm>
              <a:custGeom>
                <a:avLst/>
                <a:gdLst/>
                <a:ahLst/>
                <a:cxnLst>
                  <a:cxn ang="0">
                    <a:pos x="62" y="54"/>
                  </a:cxn>
                  <a:cxn ang="0">
                    <a:pos x="66" y="50"/>
                  </a:cxn>
                  <a:cxn ang="0">
                    <a:pos x="69" y="50"/>
                  </a:cxn>
                  <a:cxn ang="0">
                    <a:pos x="71" y="47"/>
                  </a:cxn>
                  <a:cxn ang="0">
                    <a:pos x="75" y="47"/>
                  </a:cxn>
                  <a:cxn ang="0">
                    <a:pos x="76" y="43"/>
                  </a:cxn>
                  <a:cxn ang="0">
                    <a:pos x="76" y="40"/>
                  </a:cxn>
                  <a:cxn ang="0">
                    <a:pos x="85" y="31"/>
                  </a:cxn>
                  <a:cxn ang="0">
                    <a:pos x="88" y="21"/>
                  </a:cxn>
                  <a:cxn ang="0">
                    <a:pos x="90" y="14"/>
                  </a:cxn>
                  <a:cxn ang="0">
                    <a:pos x="95" y="14"/>
                  </a:cxn>
                  <a:cxn ang="0">
                    <a:pos x="97" y="9"/>
                  </a:cxn>
                  <a:cxn ang="0">
                    <a:pos x="95" y="7"/>
                  </a:cxn>
                  <a:cxn ang="0">
                    <a:pos x="90" y="3"/>
                  </a:cxn>
                  <a:cxn ang="0">
                    <a:pos x="88" y="0"/>
                  </a:cxn>
                  <a:cxn ang="0">
                    <a:pos x="81" y="2"/>
                  </a:cxn>
                  <a:cxn ang="0">
                    <a:pos x="76" y="0"/>
                  </a:cxn>
                  <a:cxn ang="0">
                    <a:pos x="71" y="2"/>
                  </a:cxn>
                  <a:cxn ang="0">
                    <a:pos x="66" y="0"/>
                  </a:cxn>
                  <a:cxn ang="0">
                    <a:pos x="62" y="0"/>
                  </a:cxn>
                  <a:cxn ang="0">
                    <a:pos x="59" y="3"/>
                  </a:cxn>
                  <a:cxn ang="0">
                    <a:pos x="54" y="7"/>
                  </a:cxn>
                  <a:cxn ang="0">
                    <a:pos x="54" y="12"/>
                  </a:cxn>
                  <a:cxn ang="0">
                    <a:pos x="50" y="7"/>
                  </a:cxn>
                  <a:cxn ang="0">
                    <a:pos x="45" y="9"/>
                  </a:cxn>
                  <a:cxn ang="0">
                    <a:pos x="40" y="12"/>
                  </a:cxn>
                  <a:cxn ang="0">
                    <a:pos x="40" y="14"/>
                  </a:cxn>
                  <a:cxn ang="0">
                    <a:pos x="31" y="16"/>
                  </a:cxn>
                  <a:cxn ang="0">
                    <a:pos x="24" y="17"/>
                  </a:cxn>
                  <a:cxn ang="0">
                    <a:pos x="19" y="16"/>
                  </a:cxn>
                  <a:cxn ang="0">
                    <a:pos x="8" y="9"/>
                  </a:cxn>
                  <a:cxn ang="0">
                    <a:pos x="8" y="12"/>
                  </a:cxn>
                  <a:cxn ang="0">
                    <a:pos x="8" y="16"/>
                  </a:cxn>
                  <a:cxn ang="0">
                    <a:pos x="8" y="19"/>
                  </a:cxn>
                  <a:cxn ang="0">
                    <a:pos x="0" y="19"/>
                  </a:cxn>
                  <a:cxn ang="0">
                    <a:pos x="0" y="21"/>
                  </a:cxn>
                  <a:cxn ang="0">
                    <a:pos x="3" y="24"/>
                  </a:cxn>
                  <a:cxn ang="0">
                    <a:pos x="2" y="28"/>
                  </a:cxn>
                  <a:cxn ang="0">
                    <a:pos x="2" y="31"/>
                  </a:cxn>
                  <a:cxn ang="0">
                    <a:pos x="3" y="35"/>
                  </a:cxn>
                  <a:cxn ang="0">
                    <a:pos x="0" y="38"/>
                  </a:cxn>
                  <a:cxn ang="0">
                    <a:pos x="0" y="38"/>
                  </a:cxn>
                  <a:cxn ang="0">
                    <a:pos x="3" y="43"/>
                  </a:cxn>
                  <a:cxn ang="0">
                    <a:pos x="5" y="49"/>
                  </a:cxn>
                  <a:cxn ang="0">
                    <a:pos x="7" y="49"/>
                  </a:cxn>
                  <a:cxn ang="0">
                    <a:pos x="14" y="54"/>
                  </a:cxn>
                  <a:cxn ang="0">
                    <a:pos x="17" y="57"/>
                  </a:cxn>
                  <a:cxn ang="0">
                    <a:pos x="21" y="61"/>
                  </a:cxn>
                  <a:cxn ang="0">
                    <a:pos x="29" y="61"/>
                  </a:cxn>
                  <a:cxn ang="0">
                    <a:pos x="36" y="63"/>
                  </a:cxn>
                  <a:cxn ang="0">
                    <a:pos x="40" y="61"/>
                  </a:cxn>
                  <a:cxn ang="0">
                    <a:pos x="40" y="61"/>
                  </a:cxn>
                  <a:cxn ang="0">
                    <a:pos x="41" y="57"/>
                  </a:cxn>
                  <a:cxn ang="0">
                    <a:pos x="47" y="57"/>
                  </a:cxn>
                  <a:cxn ang="0">
                    <a:pos x="48" y="57"/>
                  </a:cxn>
                  <a:cxn ang="0">
                    <a:pos x="50" y="54"/>
                  </a:cxn>
                  <a:cxn ang="0">
                    <a:pos x="54" y="52"/>
                  </a:cxn>
                  <a:cxn ang="0">
                    <a:pos x="57" y="52"/>
                  </a:cxn>
                  <a:cxn ang="0">
                    <a:pos x="59" y="54"/>
                  </a:cxn>
                  <a:cxn ang="0">
                    <a:pos x="62" y="54"/>
                  </a:cxn>
                  <a:cxn ang="0">
                    <a:pos x="62" y="54"/>
                  </a:cxn>
                  <a:cxn ang="0">
                    <a:pos x="62" y="54"/>
                  </a:cxn>
                </a:cxnLst>
                <a:rect l="0" t="0" r="r" b="b"/>
                <a:pathLst>
                  <a:path w="97" h="63">
                    <a:moveTo>
                      <a:pt x="62" y="54"/>
                    </a:moveTo>
                    <a:lnTo>
                      <a:pt x="66" y="50"/>
                    </a:lnTo>
                    <a:lnTo>
                      <a:pt x="69" y="50"/>
                    </a:lnTo>
                    <a:lnTo>
                      <a:pt x="71" y="47"/>
                    </a:lnTo>
                    <a:lnTo>
                      <a:pt x="75" y="47"/>
                    </a:lnTo>
                    <a:lnTo>
                      <a:pt x="76" y="43"/>
                    </a:lnTo>
                    <a:lnTo>
                      <a:pt x="76" y="40"/>
                    </a:lnTo>
                    <a:lnTo>
                      <a:pt x="85" y="31"/>
                    </a:lnTo>
                    <a:lnTo>
                      <a:pt x="88" y="21"/>
                    </a:lnTo>
                    <a:lnTo>
                      <a:pt x="90" y="14"/>
                    </a:lnTo>
                    <a:lnTo>
                      <a:pt x="95" y="14"/>
                    </a:lnTo>
                    <a:lnTo>
                      <a:pt x="97" y="9"/>
                    </a:lnTo>
                    <a:lnTo>
                      <a:pt x="95" y="7"/>
                    </a:lnTo>
                    <a:lnTo>
                      <a:pt x="90" y="3"/>
                    </a:lnTo>
                    <a:lnTo>
                      <a:pt x="88" y="0"/>
                    </a:lnTo>
                    <a:lnTo>
                      <a:pt x="81" y="2"/>
                    </a:lnTo>
                    <a:lnTo>
                      <a:pt x="76" y="0"/>
                    </a:lnTo>
                    <a:lnTo>
                      <a:pt x="71" y="2"/>
                    </a:lnTo>
                    <a:lnTo>
                      <a:pt x="66" y="0"/>
                    </a:lnTo>
                    <a:lnTo>
                      <a:pt x="62" y="0"/>
                    </a:lnTo>
                    <a:lnTo>
                      <a:pt x="59" y="3"/>
                    </a:lnTo>
                    <a:lnTo>
                      <a:pt x="54" y="7"/>
                    </a:lnTo>
                    <a:lnTo>
                      <a:pt x="54" y="12"/>
                    </a:lnTo>
                    <a:lnTo>
                      <a:pt x="50" y="7"/>
                    </a:lnTo>
                    <a:lnTo>
                      <a:pt x="45" y="9"/>
                    </a:lnTo>
                    <a:lnTo>
                      <a:pt x="40" y="12"/>
                    </a:lnTo>
                    <a:lnTo>
                      <a:pt x="40" y="14"/>
                    </a:lnTo>
                    <a:lnTo>
                      <a:pt x="31" y="16"/>
                    </a:lnTo>
                    <a:lnTo>
                      <a:pt x="24" y="17"/>
                    </a:lnTo>
                    <a:lnTo>
                      <a:pt x="19" y="16"/>
                    </a:lnTo>
                    <a:lnTo>
                      <a:pt x="8" y="9"/>
                    </a:lnTo>
                    <a:lnTo>
                      <a:pt x="8" y="12"/>
                    </a:lnTo>
                    <a:lnTo>
                      <a:pt x="8" y="16"/>
                    </a:lnTo>
                    <a:lnTo>
                      <a:pt x="8" y="19"/>
                    </a:lnTo>
                    <a:lnTo>
                      <a:pt x="0" y="19"/>
                    </a:lnTo>
                    <a:lnTo>
                      <a:pt x="0" y="21"/>
                    </a:lnTo>
                    <a:lnTo>
                      <a:pt x="3" y="24"/>
                    </a:lnTo>
                    <a:lnTo>
                      <a:pt x="2" y="28"/>
                    </a:lnTo>
                    <a:lnTo>
                      <a:pt x="2" y="31"/>
                    </a:lnTo>
                    <a:lnTo>
                      <a:pt x="3" y="35"/>
                    </a:lnTo>
                    <a:lnTo>
                      <a:pt x="0" y="38"/>
                    </a:lnTo>
                    <a:lnTo>
                      <a:pt x="0" y="38"/>
                    </a:lnTo>
                    <a:lnTo>
                      <a:pt x="3" y="43"/>
                    </a:lnTo>
                    <a:lnTo>
                      <a:pt x="5" y="49"/>
                    </a:lnTo>
                    <a:lnTo>
                      <a:pt x="7" y="49"/>
                    </a:lnTo>
                    <a:lnTo>
                      <a:pt x="14" y="54"/>
                    </a:lnTo>
                    <a:lnTo>
                      <a:pt x="17" y="57"/>
                    </a:lnTo>
                    <a:lnTo>
                      <a:pt x="21" y="61"/>
                    </a:lnTo>
                    <a:lnTo>
                      <a:pt x="29" y="61"/>
                    </a:lnTo>
                    <a:lnTo>
                      <a:pt x="36" y="63"/>
                    </a:lnTo>
                    <a:lnTo>
                      <a:pt x="40" y="61"/>
                    </a:lnTo>
                    <a:lnTo>
                      <a:pt x="40" y="61"/>
                    </a:lnTo>
                    <a:lnTo>
                      <a:pt x="41" y="57"/>
                    </a:lnTo>
                    <a:lnTo>
                      <a:pt x="47" y="57"/>
                    </a:lnTo>
                    <a:lnTo>
                      <a:pt x="48" y="57"/>
                    </a:lnTo>
                    <a:lnTo>
                      <a:pt x="50" y="54"/>
                    </a:lnTo>
                    <a:lnTo>
                      <a:pt x="54" y="52"/>
                    </a:lnTo>
                    <a:lnTo>
                      <a:pt x="57" y="52"/>
                    </a:lnTo>
                    <a:lnTo>
                      <a:pt x="59" y="54"/>
                    </a:lnTo>
                    <a:lnTo>
                      <a:pt x="62" y="54"/>
                    </a:lnTo>
                    <a:lnTo>
                      <a:pt x="62" y="54"/>
                    </a:lnTo>
                    <a:lnTo>
                      <a:pt x="62" y="5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9" name="Freeform 15">
                <a:extLst>
                  <a:ext uri="{FF2B5EF4-FFF2-40B4-BE49-F238E27FC236}">
                    <a16:creationId xmlns:a16="http://schemas.microsoft.com/office/drawing/2014/main" id="{21811362-91D3-4C01-A345-627083F3A203}"/>
                  </a:ext>
                </a:extLst>
              </p:cNvPr>
              <p:cNvSpPr>
                <a:spLocks/>
              </p:cNvSpPr>
              <p:nvPr/>
            </p:nvSpPr>
            <p:spPr bwMode="auto">
              <a:xfrm>
                <a:off x="4873625" y="2792413"/>
                <a:ext cx="130175" cy="55563"/>
              </a:xfrm>
              <a:custGeom>
                <a:avLst/>
                <a:gdLst/>
                <a:ahLst/>
                <a:cxnLst>
                  <a:cxn ang="0">
                    <a:pos x="0" y="28"/>
                  </a:cxn>
                  <a:cxn ang="0">
                    <a:pos x="11" y="33"/>
                  </a:cxn>
                  <a:cxn ang="0">
                    <a:pos x="18" y="35"/>
                  </a:cxn>
                  <a:cxn ang="0">
                    <a:pos x="23" y="33"/>
                  </a:cxn>
                  <a:cxn ang="0">
                    <a:pos x="30" y="31"/>
                  </a:cxn>
                  <a:cxn ang="0">
                    <a:pos x="31" y="30"/>
                  </a:cxn>
                  <a:cxn ang="0">
                    <a:pos x="37" y="28"/>
                  </a:cxn>
                  <a:cxn ang="0">
                    <a:pos x="40" y="24"/>
                  </a:cxn>
                  <a:cxn ang="0">
                    <a:pos x="45" y="30"/>
                  </a:cxn>
                  <a:cxn ang="0">
                    <a:pos x="45" y="26"/>
                  </a:cxn>
                  <a:cxn ang="0">
                    <a:pos x="49" y="23"/>
                  </a:cxn>
                  <a:cxn ang="0">
                    <a:pos x="52" y="19"/>
                  </a:cxn>
                  <a:cxn ang="0">
                    <a:pos x="58" y="19"/>
                  </a:cxn>
                  <a:cxn ang="0">
                    <a:pos x="61" y="21"/>
                  </a:cxn>
                  <a:cxn ang="0">
                    <a:pos x="68" y="19"/>
                  </a:cxn>
                  <a:cxn ang="0">
                    <a:pos x="71" y="21"/>
                  </a:cxn>
                  <a:cxn ang="0">
                    <a:pos x="78" y="18"/>
                  </a:cxn>
                  <a:cxn ang="0">
                    <a:pos x="78" y="12"/>
                  </a:cxn>
                  <a:cxn ang="0">
                    <a:pos x="82" y="5"/>
                  </a:cxn>
                  <a:cxn ang="0">
                    <a:pos x="80" y="5"/>
                  </a:cxn>
                  <a:cxn ang="0">
                    <a:pos x="75" y="2"/>
                  </a:cxn>
                  <a:cxn ang="0">
                    <a:pos x="68" y="2"/>
                  </a:cxn>
                  <a:cxn ang="0">
                    <a:pos x="66" y="2"/>
                  </a:cxn>
                  <a:cxn ang="0">
                    <a:pos x="63" y="0"/>
                  </a:cxn>
                  <a:cxn ang="0">
                    <a:pos x="61" y="2"/>
                  </a:cxn>
                  <a:cxn ang="0">
                    <a:pos x="58" y="4"/>
                  </a:cxn>
                  <a:cxn ang="0">
                    <a:pos x="58" y="2"/>
                  </a:cxn>
                  <a:cxn ang="0">
                    <a:pos x="52" y="2"/>
                  </a:cxn>
                  <a:cxn ang="0">
                    <a:pos x="51" y="2"/>
                  </a:cxn>
                  <a:cxn ang="0">
                    <a:pos x="47" y="2"/>
                  </a:cxn>
                  <a:cxn ang="0">
                    <a:pos x="45" y="5"/>
                  </a:cxn>
                  <a:cxn ang="0">
                    <a:pos x="44" y="5"/>
                  </a:cxn>
                  <a:cxn ang="0">
                    <a:pos x="40" y="5"/>
                  </a:cxn>
                  <a:cxn ang="0">
                    <a:pos x="40" y="5"/>
                  </a:cxn>
                  <a:cxn ang="0">
                    <a:pos x="33" y="5"/>
                  </a:cxn>
                  <a:cxn ang="0">
                    <a:pos x="30" y="9"/>
                  </a:cxn>
                  <a:cxn ang="0">
                    <a:pos x="26" y="9"/>
                  </a:cxn>
                  <a:cxn ang="0">
                    <a:pos x="23" y="12"/>
                  </a:cxn>
                  <a:cxn ang="0">
                    <a:pos x="18" y="12"/>
                  </a:cxn>
                  <a:cxn ang="0">
                    <a:pos x="11" y="16"/>
                  </a:cxn>
                  <a:cxn ang="0">
                    <a:pos x="9" y="14"/>
                  </a:cxn>
                  <a:cxn ang="0">
                    <a:pos x="4" y="14"/>
                  </a:cxn>
                  <a:cxn ang="0">
                    <a:pos x="0" y="18"/>
                  </a:cxn>
                  <a:cxn ang="0">
                    <a:pos x="0" y="18"/>
                  </a:cxn>
                  <a:cxn ang="0">
                    <a:pos x="0" y="21"/>
                  </a:cxn>
                  <a:cxn ang="0">
                    <a:pos x="0" y="28"/>
                  </a:cxn>
                  <a:cxn ang="0">
                    <a:pos x="0" y="28"/>
                  </a:cxn>
                  <a:cxn ang="0">
                    <a:pos x="0" y="28"/>
                  </a:cxn>
                </a:cxnLst>
                <a:rect l="0" t="0" r="r" b="b"/>
                <a:pathLst>
                  <a:path w="82" h="35">
                    <a:moveTo>
                      <a:pt x="0" y="28"/>
                    </a:moveTo>
                    <a:lnTo>
                      <a:pt x="11" y="33"/>
                    </a:lnTo>
                    <a:lnTo>
                      <a:pt x="18" y="35"/>
                    </a:lnTo>
                    <a:lnTo>
                      <a:pt x="23" y="33"/>
                    </a:lnTo>
                    <a:lnTo>
                      <a:pt x="30" y="31"/>
                    </a:lnTo>
                    <a:lnTo>
                      <a:pt x="31" y="30"/>
                    </a:lnTo>
                    <a:lnTo>
                      <a:pt x="37" y="28"/>
                    </a:lnTo>
                    <a:lnTo>
                      <a:pt x="40" y="24"/>
                    </a:lnTo>
                    <a:lnTo>
                      <a:pt x="45" y="30"/>
                    </a:lnTo>
                    <a:lnTo>
                      <a:pt x="45" y="26"/>
                    </a:lnTo>
                    <a:lnTo>
                      <a:pt x="49" y="23"/>
                    </a:lnTo>
                    <a:lnTo>
                      <a:pt x="52" y="19"/>
                    </a:lnTo>
                    <a:lnTo>
                      <a:pt x="58" y="19"/>
                    </a:lnTo>
                    <a:lnTo>
                      <a:pt x="61" y="21"/>
                    </a:lnTo>
                    <a:lnTo>
                      <a:pt x="68" y="19"/>
                    </a:lnTo>
                    <a:lnTo>
                      <a:pt x="71" y="21"/>
                    </a:lnTo>
                    <a:lnTo>
                      <a:pt x="78" y="18"/>
                    </a:lnTo>
                    <a:lnTo>
                      <a:pt x="78" y="12"/>
                    </a:lnTo>
                    <a:lnTo>
                      <a:pt x="82" y="5"/>
                    </a:lnTo>
                    <a:lnTo>
                      <a:pt x="80" y="5"/>
                    </a:lnTo>
                    <a:lnTo>
                      <a:pt x="75" y="2"/>
                    </a:lnTo>
                    <a:lnTo>
                      <a:pt x="68" y="2"/>
                    </a:lnTo>
                    <a:lnTo>
                      <a:pt x="66" y="2"/>
                    </a:lnTo>
                    <a:lnTo>
                      <a:pt x="63" y="0"/>
                    </a:lnTo>
                    <a:lnTo>
                      <a:pt x="61" y="2"/>
                    </a:lnTo>
                    <a:lnTo>
                      <a:pt x="58" y="4"/>
                    </a:lnTo>
                    <a:lnTo>
                      <a:pt x="58" y="2"/>
                    </a:lnTo>
                    <a:lnTo>
                      <a:pt x="52" y="2"/>
                    </a:lnTo>
                    <a:lnTo>
                      <a:pt x="51" y="2"/>
                    </a:lnTo>
                    <a:lnTo>
                      <a:pt x="47" y="2"/>
                    </a:lnTo>
                    <a:lnTo>
                      <a:pt x="45" y="5"/>
                    </a:lnTo>
                    <a:lnTo>
                      <a:pt x="44" y="5"/>
                    </a:lnTo>
                    <a:lnTo>
                      <a:pt x="40" y="5"/>
                    </a:lnTo>
                    <a:lnTo>
                      <a:pt x="40" y="5"/>
                    </a:lnTo>
                    <a:lnTo>
                      <a:pt x="33" y="5"/>
                    </a:lnTo>
                    <a:lnTo>
                      <a:pt x="30" y="9"/>
                    </a:lnTo>
                    <a:lnTo>
                      <a:pt x="26" y="9"/>
                    </a:lnTo>
                    <a:lnTo>
                      <a:pt x="23" y="12"/>
                    </a:lnTo>
                    <a:lnTo>
                      <a:pt x="18" y="12"/>
                    </a:lnTo>
                    <a:lnTo>
                      <a:pt x="11" y="16"/>
                    </a:lnTo>
                    <a:lnTo>
                      <a:pt x="9" y="14"/>
                    </a:lnTo>
                    <a:lnTo>
                      <a:pt x="4" y="14"/>
                    </a:lnTo>
                    <a:lnTo>
                      <a:pt x="0" y="18"/>
                    </a:lnTo>
                    <a:lnTo>
                      <a:pt x="0" y="18"/>
                    </a:lnTo>
                    <a:lnTo>
                      <a:pt x="0" y="21"/>
                    </a:lnTo>
                    <a:lnTo>
                      <a:pt x="0" y="28"/>
                    </a:lnTo>
                    <a:lnTo>
                      <a:pt x="0" y="28"/>
                    </a:lnTo>
                    <a:lnTo>
                      <a:pt x="0"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0" name="Freeform 16">
                <a:extLst>
                  <a:ext uri="{FF2B5EF4-FFF2-40B4-BE49-F238E27FC236}">
                    <a16:creationId xmlns:a16="http://schemas.microsoft.com/office/drawing/2014/main" id="{1A63CD6B-1DBA-496B-B1FB-E18FF0B372F3}"/>
                  </a:ext>
                </a:extLst>
              </p:cNvPr>
              <p:cNvSpPr>
                <a:spLocks/>
              </p:cNvSpPr>
              <p:nvPr/>
            </p:nvSpPr>
            <p:spPr bwMode="auto">
              <a:xfrm>
                <a:off x="4686300" y="2809876"/>
                <a:ext cx="187325" cy="93663"/>
              </a:xfrm>
              <a:custGeom>
                <a:avLst/>
                <a:gdLst/>
                <a:ahLst/>
                <a:cxnLst>
                  <a:cxn ang="0">
                    <a:pos x="73" y="55"/>
                  </a:cxn>
                  <a:cxn ang="0">
                    <a:pos x="82" y="59"/>
                  </a:cxn>
                  <a:cxn ang="0">
                    <a:pos x="89" y="55"/>
                  </a:cxn>
                  <a:cxn ang="0">
                    <a:pos x="96" y="55"/>
                  </a:cxn>
                  <a:cxn ang="0">
                    <a:pos x="104" y="50"/>
                  </a:cxn>
                  <a:cxn ang="0">
                    <a:pos x="113" y="45"/>
                  </a:cxn>
                  <a:cxn ang="0">
                    <a:pos x="111" y="38"/>
                  </a:cxn>
                  <a:cxn ang="0">
                    <a:pos x="110" y="31"/>
                  </a:cxn>
                  <a:cxn ang="0">
                    <a:pos x="118" y="31"/>
                  </a:cxn>
                  <a:cxn ang="0">
                    <a:pos x="118" y="22"/>
                  </a:cxn>
                  <a:cxn ang="0">
                    <a:pos x="116" y="8"/>
                  </a:cxn>
                  <a:cxn ang="0">
                    <a:pos x="106" y="3"/>
                  </a:cxn>
                  <a:cxn ang="0">
                    <a:pos x="99" y="5"/>
                  </a:cxn>
                  <a:cxn ang="0">
                    <a:pos x="87" y="1"/>
                  </a:cxn>
                  <a:cxn ang="0">
                    <a:pos x="82" y="3"/>
                  </a:cxn>
                  <a:cxn ang="0">
                    <a:pos x="82" y="7"/>
                  </a:cxn>
                  <a:cxn ang="0">
                    <a:pos x="75" y="10"/>
                  </a:cxn>
                  <a:cxn ang="0">
                    <a:pos x="63" y="5"/>
                  </a:cxn>
                  <a:cxn ang="0">
                    <a:pos x="63" y="12"/>
                  </a:cxn>
                  <a:cxn ang="0">
                    <a:pos x="59" y="13"/>
                  </a:cxn>
                  <a:cxn ang="0">
                    <a:pos x="50" y="22"/>
                  </a:cxn>
                  <a:cxn ang="0">
                    <a:pos x="56" y="26"/>
                  </a:cxn>
                  <a:cxn ang="0">
                    <a:pos x="54" y="31"/>
                  </a:cxn>
                  <a:cxn ang="0">
                    <a:pos x="45" y="31"/>
                  </a:cxn>
                  <a:cxn ang="0">
                    <a:pos x="38" y="31"/>
                  </a:cxn>
                  <a:cxn ang="0">
                    <a:pos x="31" y="33"/>
                  </a:cxn>
                  <a:cxn ang="0">
                    <a:pos x="26" y="33"/>
                  </a:cxn>
                  <a:cxn ang="0">
                    <a:pos x="19" y="31"/>
                  </a:cxn>
                  <a:cxn ang="0">
                    <a:pos x="16" y="33"/>
                  </a:cxn>
                  <a:cxn ang="0">
                    <a:pos x="9" y="34"/>
                  </a:cxn>
                  <a:cxn ang="0">
                    <a:pos x="4" y="33"/>
                  </a:cxn>
                  <a:cxn ang="0">
                    <a:pos x="0" y="33"/>
                  </a:cxn>
                  <a:cxn ang="0">
                    <a:pos x="2" y="38"/>
                  </a:cxn>
                  <a:cxn ang="0">
                    <a:pos x="5" y="43"/>
                  </a:cxn>
                  <a:cxn ang="0">
                    <a:pos x="10" y="41"/>
                  </a:cxn>
                  <a:cxn ang="0">
                    <a:pos x="16" y="43"/>
                  </a:cxn>
                  <a:cxn ang="0">
                    <a:pos x="19" y="45"/>
                  </a:cxn>
                  <a:cxn ang="0">
                    <a:pos x="26" y="48"/>
                  </a:cxn>
                  <a:cxn ang="0">
                    <a:pos x="37" y="43"/>
                  </a:cxn>
                  <a:cxn ang="0">
                    <a:pos x="43" y="46"/>
                  </a:cxn>
                  <a:cxn ang="0">
                    <a:pos x="61" y="53"/>
                  </a:cxn>
                  <a:cxn ang="0">
                    <a:pos x="70" y="55"/>
                  </a:cxn>
                  <a:cxn ang="0">
                    <a:pos x="70" y="55"/>
                  </a:cxn>
                </a:cxnLst>
                <a:rect l="0" t="0" r="r" b="b"/>
                <a:pathLst>
                  <a:path w="118" h="59">
                    <a:moveTo>
                      <a:pt x="70" y="55"/>
                    </a:moveTo>
                    <a:lnTo>
                      <a:pt x="73" y="55"/>
                    </a:lnTo>
                    <a:lnTo>
                      <a:pt x="78" y="55"/>
                    </a:lnTo>
                    <a:lnTo>
                      <a:pt x="82" y="59"/>
                    </a:lnTo>
                    <a:lnTo>
                      <a:pt x="85" y="55"/>
                    </a:lnTo>
                    <a:lnTo>
                      <a:pt x="89" y="55"/>
                    </a:lnTo>
                    <a:lnTo>
                      <a:pt x="94" y="55"/>
                    </a:lnTo>
                    <a:lnTo>
                      <a:pt x="96" y="55"/>
                    </a:lnTo>
                    <a:lnTo>
                      <a:pt x="96" y="55"/>
                    </a:lnTo>
                    <a:lnTo>
                      <a:pt x="104" y="50"/>
                    </a:lnTo>
                    <a:lnTo>
                      <a:pt x="110" y="48"/>
                    </a:lnTo>
                    <a:lnTo>
                      <a:pt x="113" y="45"/>
                    </a:lnTo>
                    <a:lnTo>
                      <a:pt x="111" y="41"/>
                    </a:lnTo>
                    <a:lnTo>
                      <a:pt x="111" y="38"/>
                    </a:lnTo>
                    <a:lnTo>
                      <a:pt x="113" y="34"/>
                    </a:lnTo>
                    <a:lnTo>
                      <a:pt x="110" y="31"/>
                    </a:lnTo>
                    <a:lnTo>
                      <a:pt x="110" y="31"/>
                    </a:lnTo>
                    <a:lnTo>
                      <a:pt x="118" y="31"/>
                    </a:lnTo>
                    <a:lnTo>
                      <a:pt x="118" y="26"/>
                    </a:lnTo>
                    <a:lnTo>
                      <a:pt x="118" y="22"/>
                    </a:lnTo>
                    <a:lnTo>
                      <a:pt x="116" y="13"/>
                    </a:lnTo>
                    <a:lnTo>
                      <a:pt x="116" y="8"/>
                    </a:lnTo>
                    <a:lnTo>
                      <a:pt x="110" y="7"/>
                    </a:lnTo>
                    <a:lnTo>
                      <a:pt x="106" y="3"/>
                    </a:lnTo>
                    <a:lnTo>
                      <a:pt x="103" y="5"/>
                    </a:lnTo>
                    <a:lnTo>
                      <a:pt x="99" y="5"/>
                    </a:lnTo>
                    <a:lnTo>
                      <a:pt x="94" y="1"/>
                    </a:lnTo>
                    <a:lnTo>
                      <a:pt x="87" y="1"/>
                    </a:lnTo>
                    <a:lnTo>
                      <a:pt x="83" y="0"/>
                    </a:lnTo>
                    <a:lnTo>
                      <a:pt x="82" y="3"/>
                    </a:lnTo>
                    <a:lnTo>
                      <a:pt x="82" y="5"/>
                    </a:lnTo>
                    <a:lnTo>
                      <a:pt x="82" y="7"/>
                    </a:lnTo>
                    <a:lnTo>
                      <a:pt x="77" y="8"/>
                    </a:lnTo>
                    <a:lnTo>
                      <a:pt x="75" y="10"/>
                    </a:lnTo>
                    <a:lnTo>
                      <a:pt x="66" y="5"/>
                    </a:lnTo>
                    <a:lnTo>
                      <a:pt x="63" y="5"/>
                    </a:lnTo>
                    <a:lnTo>
                      <a:pt x="63" y="7"/>
                    </a:lnTo>
                    <a:lnTo>
                      <a:pt x="63" y="12"/>
                    </a:lnTo>
                    <a:lnTo>
                      <a:pt x="61" y="12"/>
                    </a:lnTo>
                    <a:lnTo>
                      <a:pt x="59" y="13"/>
                    </a:lnTo>
                    <a:lnTo>
                      <a:pt x="56" y="17"/>
                    </a:lnTo>
                    <a:lnTo>
                      <a:pt x="50" y="22"/>
                    </a:lnTo>
                    <a:lnTo>
                      <a:pt x="50" y="24"/>
                    </a:lnTo>
                    <a:lnTo>
                      <a:pt x="56" y="26"/>
                    </a:lnTo>
                    <a:lnTo>
                      <a:pt x="56" y="31"/>
                    </a:lnTo>
                    <a:lnTo>
                      <a:pt x="54" y="31"/>
                    </a:lnTo>
                    <a:lnTo>
                      <a:pt x="50" y="27"/>
                    </a:lnTo>
                    <a:lnTo>
                      <a:pt x="45" y="31"/>
                    </a:lnTo>
                    <a:lnTo>
                      <a:pt x="42" y="27"/>
                    </a:lnTo>
                    <a:lnTo>
                      <a:pt x="38" y="31"/>
                    </a:lnTo>
                    <a:lnTo>
                      <a:pt x="33" y="33"/>
                    </a:lnTo>
                    <a:lnTo>
                      <a:pt x="31" y="33"/>
                    </a:lnTo>
                    <a:lnTo>
                      <a:pt x="28" y="33"/>
                    </a:lnTo>
                    <a:lnTo>
                      <a:pt x="26" y="33"/>
                    </a:lnTo>
                    <a:lnTo>
                      <a:pt x="23" y="31"/>
                    </a:lnTo>
                    <a:lnTo>
                      <a:pt x="19" y="31"/>
                    </a:lnTo>
                    <a:lnTo>
                      <a:pt x="14" y="31"/>
                    </a:lnTo>
                    <a:lnTo>
                      <a:pt x="16" y="33"/>
                    </a:lnTo>
                    <a:lnTo>
                      <a:pt x="14" y="34"/>
                    </a:lnTo>
                    <a:lnTo>
                      <a:pt x="9" y="34"/>
                    </a:lnTo>
                    <a:lnTo>
                      <a:pt x="7" y="31"/>
                    </a:lnTo>
                    <a:lnTo>
                      <a:pt x="4" y="33"/>
                    </a:lnTo>
                    <a:lnTo>
                      <a:pt x="2" y="33"/>
                    </a:lnTo>
                    <a:lnTo>
                      <a:pt x="0" y="33"/>
                    </a:lnTo>
                    <a:lnTo>
                      <a:pt x="4" y="34"/>
                    </a:lnTo>
                    <a:lnTo>
                      <a:pt x="2" y="38"/>
                    </a:lnTo>
                    <a:lnTo>
                      <a:pt x="5" y="40"/>
                    </a:lnTo>
                    <a:lnTo>
                      <a:pt x="5" y="43"/>
                    </a:lnTo>
                    <a:lnTo>
                      <a:pt x="7" y="43"/>
                    </a:lnTo>
                    <a:lnTo>
                      <a:pt x="10" y="41"/>
                    </a:lnTo>
                    <a:lnTo>
                      <a:pt x="14" y="45"/>
                    </a:lnTo>
                    <a:lnTo>
                      <a:pt x="16" y="43"/>
                    </a:lnTo>
                    <a:lnTo>
                      <a:pt x="19" y="43"/>
                    </a:lnTo>
                    <a:lnTo>
                      <a:pt x="19" y="45"/>
                    </a:lnTo>
                    <a:lnTo>
                      <a:pt x="19" y="45"/>
                    </a:lnTo>
                    <a:lnTo>
                      <a:pt x="26" y="48"/>
                    </a:lnTo>
                    <a:lnTo>
                      <a:pt x="33" y="43"/>
                    </a:lnTo>
                    <a:lnTo>
                      <a:pt x="37" y="43"/>
                    </a:lnTo>
                    <a:lnTo>
                      <a:pt x="43" y="43"/>
                    </a:lnTo>
                    <a:lnTo>
                      <a:pt x="43" y="46"/>
                    </a:lnTo>
                    <a:lnTo>
                      <a:pt x="52" y="52"/>
                    </a:lnTo>
                    <a:lnTo>
                      <a:pt x="61" y="53"/>
                    </a:lnTo>
                    <a:lnTo>
                      <a:pt x="68" y="53"/>
                    </a:lnTo>
                    <a:lnTo>
                      <a:pt x="70" y="55"/>
                    </a:lnTo>
                    <a:lnTo>
                      <a:pt x="70" y="55"/>
                    </a:lnTo>
                    <a:lnTo>
                      <a:pt x="70" y="55"/>
                    </a:lnTo>
                    <a:lnTo>
                      <a:pt x="70" y="5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1" name="Freeform 17">
                <a:extLst>
                  <a:ext uri="{FF2B5EF4-FFF2-40B4-BE49-F238E27FC236}">
                    <a16:creationId xmlns:a16="http://schemas.microsoft.com/office/drawing/2014/main" id="{3652D3F3-CCCD-4212-A113-1796BFDC35BD}"/>
                  </a:ext>
                </a:extLst>
              </p:cNvPr>
              <p:cNvSpPr>
                <a:spLocks/>
              </p:cNvSpPr>
              <p:nvPr/>
            </p:nvSpPr>
            <p:spPr bwMode="auto">
              <a:xfrm>
                <a:off x="4787900" y="2590801"/>
                <a:ext cx="254000" cy="209550"/>
              </a:xfrm>
              <a:custGeom>
                <a:avLst/>
                <a:gdLst/>
                <a:ahLst/>
                <a:cxnLst>
                  <a:cxn ang="0">
                    <a:pos x="99" y="132"/>
                  </a:cxn>
                  <a:cxn ang="0">
                    <a:pos x="103" y="129"/>
                  </a:cxn>
                  <a:cxn ang="0">
                    <a:pos x="108" y="129"/>
                  </a:cxn>
                  <a:cxn ang="0">
                    <a:pos x="115" y="132"/>
                  </a:cxn>
                  <a:cxn ang="0">
                    <a:pos x="119" y="127"/>
                  </a:cxn>
                  <a:cxn ang="0">
                    <a:pos x="124" y="129"/>
                  </a:cxn>
                  <a:cxn ang="0">
                    <a:pos x="138" y="132"/>
                  </a:cxn>
                  <a:cxn ang="0">
                    <a:pos x="143" y="127"/>
                  </a:cxn>
                  <a:cxn ang="0">
                    <a:pos x="152" y="111"/>
                  </a:cxn>
                  <a:cxn ang="0">
                    <a:pos x="155" y="105"/>
                  </a:cxn>
                  <a:cxn ang="0">
                    <a:pos x="160" y="99"/>
                  </a:cxn>
                  <a:cxn ang="0">
                    <a:pos x="160" y="94"/>
                  </a:cxn>
                  <a:cxn ang="0">
                    <a:pos x="155" y="91"/>
                  </a:cxn>
                  <a:cxn ang="0">
                    <a:pos x="152" y="82"/>
                  </a:cxn>
                  <a:cxn ang="0">
                    <a:pos x="152" y="70"/>
                  </a:cxn>
                  <a:cxn ang="0">
                    <a:pos x="148" y="59"/>
                  </a:cxn>
                  <a:cxn ang="0">
                    <a:pos x="152" y="54"/>
                  </a:cxn>
                  <a:cxn ang="0">
                    <a:pos x="152" y="42"/>
                  </a:cxn>
                  <a:cxn ang="0">
                    <a:pos x="148" y="33"/>
                  </a:cxn>
                  <a:cxn ang="0">
                    <a:pos x="143" y="23"/>
                  </a:cxn>
                  <a:cxn ang="0">
                    <a:pos x="141" y="11"/>
                  </a:cxn>
                  <a:cxn ang="0">
                    <a:pos x="136" y="7"/>
                  </a:cxn>
                  <a:cxn ang="0">
                    <a:pos x="91" y="9"/>
                  </a:cxn>
                  <a:cxn ang="0">
                    <a:pos x="82" y="14"/>
                  </a:cxn>
                  <a:cxn ang="0">
                    <a:pos x="75" y="14"/>
                  </a:cxn>
                  <a:cxn ang="0">
                    <a:pos x="85" y="7"/>
                  </a:cxn>
                  <a:cxn ang="0">
                    <a:pos x="80" y="11"/>
                  </a:cxn>
                  <a:cxn ang="0">
                    <a:pos x="66" y="12"/>
                  </a:cxn>
                  <a:cxn ang="0">
                    <a:pos x="65" y="5"/>
                  </a:cxn>
                  <a:cxn ang="0">
                    <a:pos x="72" y="7"/>
                  </a:cxn>
                  <a:cxn ang="0">
                    <a:pos x="66" y="2"/>
                  </a:cxn>
                  <a:cxn ang="0">
                    <a:pos x="52" y="5"/>
                  </a:cxn>
                  <a:cxn ang="0">
                    <a:pos x="40" y="5"/>
                  </a:cxn>
                  <a:cxn ang="0">
                    <a:pos x="32" y="11"/>
                  </a:cxn>
                  <a:cxn ang="0">
                    <a:pos x="30" y="18"/>
                  </a:cxn>
                  <a:cxn ang="0">
                    <a:pos x="16" y="19"/>
                  </a:cxn>
                  <a:cxn ang="0">
                    <a:pos x="9" y="25"/>
                  </a:cxn>
                  <a:cxn ang="0">
                    <a:pos x="6" y="30"/>
                  </a:cxn>
                  <a:cxn ang="0">
                    <a:pos x="6" y="31"/>
                  </a:cxn>
                  <a:cxn ang="0">
                    <a:pos x="6" y="45"/>
                  </a:cxn>
                  <a:cxn ang="0">
                    <a:pos x="0" y="51"/>
                  </a:cxn>
                  <a:cxn ang="0">
                    <a:pos x="6" y="59"/>
                  </a:cxn>
                  <a:cxn ang="0">
                    <a:pos x="9" y="65"/>
                  </a:cxn>
                  <a:cxn ang="0">
                    <a:pos x="9" y="70"/>
                  </a:cxn>
                  <a:cxn ang="0">
                    <a:pos x="14" y="82"/>
                  </a:cxn>
                  <a:cxn ang="0">
                    <a:pos x="18" y="92"/>
                  </a:cxn>
                  <a:cxn ang="0">
                    <a:pos x="18" y="96"/>
                  </a:cxn>
                  <a:cxn ang="0">
                    <a:pos x="21" y="96"/>
                  </a:cxn>
                  <a:cxn ang="0">
                    <a:pos x="30" y="96"/>
                  </a:cxn>
                  <a:cxn ang="0">
                    <a:pos x="32" y="101"/>
                  </a:cxn>
                  <a:cxn ang="0">
                    <a:pos x="39" y="101"/>
                  </a:cxn>
                  <a:cxn ang="0">
                    <a:pos x="37" y="106"/>
                  </a:cxn>
                  <a:cxn ang="0">
                    <a:pos x="39" y="111"/>
                  </a:cxn>
                  <a:cxn ang="0">
                    <a:pos x="44" y="110"/>
                  </a:cxn>
                  <a:cxn ang="0">
                    <a:pos x="40" y="105"/>
                  </a:cxn>
                  <a:cxn ang="0">
                    <a:pos x="51" y="108"/>
                  </a:cxn>
                  <a:cxn ang="0">
                    <a:pos x="54" y="111"/>
                  </a:cxn>
                  <a:cxn ang="0">
                    <a:pos x="65" y="113"/>
                  </a:cxn>
                  <a:cxn ang="0">
                    <a:pos x="82" y="122"/>
                  </a:cxn>
                  <a:cxn ang="0">
                    <a:pos x="87" y="127"/>
                  </a:cxn>
                  <a:cxn ang="0">
                    <a:pos x="94" y="127"/>
                  </a:cxn>
                  <a:cxn ang="0">
                    <a:pos x="96" y="132"/>
                  </a:cxn>
                  <a:cxn ang="0">
                    <a:pos x="96" y="132"/>
                  </a:cxn>
                </a:cxnLst>
                <a:rect l="0" t="0" r="r" b="b"/>
                <a:pathLst>
                  <a:path w="160" h="132">
                    <a:moveTo>
                      <a:pt x="96" y="132"/>
                    </a:moveTo>
                    <a:lnTo>
                      <a:pt x="99" y="132"/>
                    </a:lnTo>
                    <a:lnTo>
                      <a:pt x="101" y="132"/>
                    </a:lnTo>
                    <a:lnTo>
                      <a:pt x="103" y="129"/>
                    </a:lnTo>
                    <a:lnTo>
                      <a:pt x="106" y="129"/>
                    </a:lnTo>
                    <a:lnTo>
                      <a:pt x="108" y="129"/>
                    </a:lnTo>
                    <a:lnTo>
                      <a:pt x="113" y="129"/>
                    </a:lnTo>
                    <a:lnTo>
                      <a:pt x="115" y="132"/>
                    </a:lnTo>
                    <a:lnTo>
                      <a:pt x="119" y="129"/>
                    </a:lnTo>
                    <a:lnTo>
                      <a:pt x="119" y="127"/>
                    </a:lnTo>
                    <a:lnTo>
                      <a:pt x="124" y="129"/>
                    </a:lnTo>
                    <a:lnTo>
                      <a:pt x="124" y="129"/>
                    </a:lnTo>
                    <a:lnTo>
                      <a:pt x="131" y="129"/>
                    </a:lnTo>
                    <a:lnTo>
                      <a:pt x="138" y="132"/>
                    </a:lnTo>
                    <a:lnTo>
                      <a:pt x="143" y="132"/>
                    </a:lnTo>
                    <a:lnTo>
                      <a:pt x="143" y="127"/>
                    </a:lnTo>
                    <a:lnTo>
                      <a:pt x="141" y="124"/>
                    </a:lnTo>
                    <a:lnTo>
                      <a:pt x="152" y="111"/>
                    </a:lnTo>
                    <a:lnTo>
                      <a:pt x="155" y="106"/>
                    </a:lnTo>
                    <a:lnTo>
                      <a:pt x="155" y="105"/>
                    </a:lnTo>
                    <a:lnTo>
                      <a:pt x="160" y="105"/>
                    </a:lnTo>
                    <a:lnTo>
                      <a:pt x="160" y="99"/>
                    </a:lnTo>
                    <a:lnTo>
                      <a:pt x="160" y="98"/>
                    </a:lnTo>
                    <a:lnTo>
                      <a:pt x="160" y="94"/>
                    </a:lnTo>
                    <a:lnTo>
                      <a:pt x="160" y="92"/>
                    </a:lnTo>
                    <a:lnTo>
                      <a:pt x="155" y="91"/>
                    </a:lnTo>
                    <a:lnTo>
                      <a:pt x="155" y="84"/>
                    </a:lnTo>
                    <a:lnTo>
                      <a:pt x="152" y="82"/>
                    </a:lnTo>
                    <a:lnTo>
                      <a:pt x="152" y="73"/>
                    </a:lnTo>
                    <a:lnTo>
                      <a:pt x="152" y="70"/>
                    </a:lnTo>
                    <a:lnTo>
                      <a:pt x="148" y="65"/>
                    </a:lnTo>
                    <a:lnTo>
                      <a:pt x="148" y="59"/>
                    </a:lnTo>
                    <a:lnTo>
                      <a:pt x="150" y="54"/>
                    </a:lnTo>
                    <a:lnTo>
                      <a:pt x="152" y="54"/>
                    </a:lnTo>
                    <a:lnTo>
                      <a:pt x="152" y="44"/>
                    </a:lnTo>
                    <a:lnTo>
                      <a:pt x="152" y="42"/>
                    </a:lnTo>
                    <a:lnTo>
                      <a:pt x="152" y="38"/>
                    </a:lnTo>
                    <a:lnTo>
                      <a:pt x="148" y="33"/>
                    </a:lnTo>
                    <a:lnTo>
                      <a:pt x="146" y="25"/>
                    </a:lnTo>
                    <a:lnTo>
                      <a:pt x="143" y="23"/>
                    </a:lnTo>
                    <a:lnTo>
                      <a:pt x="143" y="18"/>
                    </a:lnTo>
                    <a:lnTo>
                      <a:pt x="141" y="11"/>
                    </a:lnTo>
                    <a:lnTo>
                      <a:pt x="138" y="11"/>
                    </a:lnTo>
                    <a:lnTo>
                      <a:pt x="136" y="7"/>
                    </a:lnTo>
                    <a:lnTo>
                      <a:pt x="112" y="11"/>
                    </a:lnTo>
                    <a:lnTo>
                      <a:pt x="91" y="9"/>
                    </a:lnTo>
                    <a:lnTo>
                      <a:pt x="87" y="9"/>
                    </a:lnTo>
                    <a:lnTo>
                      <a:pt x="82" y="14"/>
                    </a:lnTo>
                    <a:lnTo>
                      <a:pt x="77" y="16"/>
                    </a:lnTo>
                    <a:lnTo>
                      <a:pt x="75" y="14"/>
                    </a:lnTo>
                    <a:lnTo>
                      <a:pt x="80" y="12"/>
                    </a:lnTo>
                    <a:lnTo>
                      <a:pt x="85" y="7"/>
                    </a:lnTo>
                    <a:lnTo>
                      <a:pt x="82" y="7"/>
                    </a:lnTo>
                    <a:lnTo>
                      <a:pt x="80" y="11"/>
                    </a:lnTo>
                    <a:lnTo>
                      <a:pt x="73" y="14"/>
                    </a:lnTo>
                    <a:lnTo>
                      <a:pt x="66" y="12"/>
                    </a:lnTo>
                    <a:lnTo>
                      <a:pt x="65" y="7"/>
                    </a:lnTo>
                    <a:lnTo>
                      <a:pt x="65" y="5"/>
                    </a:lnTo>
                    <a:lnTo>
                      <a:pt x="70" y="5"/>
                    </a:lnTo>
                    <a:lnTo>
                      <a:pt x="72" y="7"/>
                    </a:lnTo>
                    <a:lnTo>
                      <a:pt x="72" y="5"/>
                    </a:lnTo>
                    <a:lnTo>
                      <a:pt x="66" y="2"/>
                    </a:lnTo>
                    <a:lnTo>
                      <a:pt x="58" y="0"/>
                    </a:lnTo>
                    <a:lnTo>
                      <a:pt x="52" y="5"/>
                    </a:lnTo>
                    <a:lnTo>
                      <a:pt x="46" y="5"/>
                    </a:lnTo>
                    <a:lnTo>
                      <a:pt x="40" y="5"/>
                    </a:lnTo>
                    <a:lnTo>
                      <a:pt x="39" y="11"/>
                    </a:lnTo>
                    <a:lnTo>
                      <a:pt x="32" y="11"/>
                    </a:lnTo>
                    <a:lnTo>
                      <a:pt x="30" y="14"/>
                    </a:lnTo>
                    <a:lnTo>
                      <a:pt x="30" y="18"/>
                    </a:lnTo>
                    <a:lnTo>
                      <a:pt x="25" y="18"/>
                    </a:lnTo>
                    <a:lnTo>
                      <a:pt x="16" y="19"/>
                    </a:lnTo>
                    <a:lnTo>
                      <a:pt x="11" y="23"/>
                    </a:lnTo>
                    <a:lnTo>
                      <a:pt x="9" y="25"/>
                    </a:lnTo>
                    <a:lnTo>
                      <a:pt x="7" y="30"/>
                    </a:lnTo>
                    <a:lnTo>
                      <a:pt x="6" y="30"/>
                    </a:lnTo>
                    <a:lnTo>
                      <a:pt x="7" y="31"/>
                    </a:lnTo>
                    <a:lnTo>
                      <a:pt x="6" y="31"/>
                    </a:lnTo>
                    <a:lnTo>
                      <a:pt x="7" y="40"/>
                    </a:lnTo>
                    <a:lnTo>
                      <a:pt x="6" y="45"/>
                    </a:lnTo>
                    <a:lnTo>
                      <a:pt x="0" y="47"/>
                    </a:lnTo>
                    <a:lnTo>
                      <a:pt x="0" y="51"/>
                    </a:lnTo>
                    <a:lnTo>
                      <a:pt x="7" y="56"/>
                    </a:lnTo>
                    <a:lnTo>
                      <a:pt x="6" y="59"/>
                    </a:lnTo>
                    <a:lnTo>
                      <a:pt x="9" y="63"/>
                    </a:lnTo>
                    <a:lnTo>
                      <a:pt x="9" y="65"/>
                    </a:lnTo>
                    <a:lnTo>
                      <a:pt x="11" y="70"/>
                    </a:lnTo>
                    <a:lnTo>
                      <a:pt x="9" y="70"/>
                    </a:lnTo>
                    <a:lnTo>
                      <a:pt x="13" y="78"/>
                    </a:lnTo>
                    <a:lnTo>
                      <a:pt x="14" y="82"/>
                    </a:lnTo>
                    <a:lnTo>
                      <a:pt x="16" y="82"/>
                    </a:lnTo>
                    <a:lnTo>
                      <a:pt x="18" y="92"/>
                    </a:lnTo>
                    <a:lnTo>
                      <a:pt x="16" y="94"/>
                    </a:lnTo>
                    <a:lnTo>
                      <a:pt x="18" y="96"/>
                    </a:lnTo>
                    <a:lnTo>
                      <a:pt x="18" y="94"/>
                    </a:lnTo>
                    <a:lnTo>
                      <a:pt x="21" y="96"/>
                    </a:lnTo>
                    <a:lnTo>
                      <a:pt x="21" y="94"/>
                    </a:lnTo>
                    <a:lnTo>
                      <a:pt x="30" y="96"/>
                    </a:lnTo>
                    <a:lnTo>
                      <a:pt x="30" y="98"/>
                    </a:lnTo>
                    <a:lnTo>
                      <a:pt x="32" y="101"/>
                    </a:lnTo>
                    <a:lnTo>
                      <a:pt x="35" y="101"/>
                    </a:lnTo>
                    <a:lnTo>
                      <a:pt x="39" y="101"/>
                    </a:lnTo>
                    <a:lnTo>
                      <a:pt x="37" y="105"/>
                    </a:lnTo>
                    <a:lnTo>
                      <a:pt x="37" y="106"/>
                    </a:lnTo>
                    <a:lnTo>
                      <a:pt x="39" y="108"/>
                    </a:lnTo>
                    <a:lnTo>
                      <a:pt x="39" y="111"/>
                    </a:lnTo>
                    <a:lnTo>
                      <a:pt x="42" y="111"/>
                    </a:lnTo>
                    <a:lnTo>
                      <a:pt x="44" y="110"/>
                    </a:lnTo>
                    <a:lnTo>
                      <a:pt x="46" y="110"/>
                    </a:lnTo>
                    <a:lnTo>
                      <a:pt x="40" y="105"/>
                    </a:lnTo>
                    <a:lnTo>
                      <a:pt x="42" y="105"/>
                    </a:lnTo>
                    <a:lnTo>
                      <a:pt x="51" y="108"/>
                    </a:lnTo>
                    <a:lnTo>
                      <a:pt x="54" y="108"/>
                    </a:lnTo>
                    <a:lnTo>
                      <a:pt x="54" y="111"/>
                    </a:lnTo>
                    <a:lnTo>
                      <a:pt x="58" y="113"/>
                    </a:lnTo>
                    <a:lnTo>
                      <a:pt x="65" y="113"/>
                    </a:lnTo>
                    <a:lnTo>
                      <a:pt x="70" y="115"/>
                    </a:lnTo>
                    <a:lnTo>
                      <a:pt x="82" y="122"/>
                    </a:lnTo>
                    <a:lnTo>
                      <a:pt x="85" y="127"/>
                    </a:lnTo>
                    <a:lnTo>
                      <a:pt x="87" y="127"/>
                    </a:lnTo>
                    <a:lnTo>
                      <a:pt x="87" y="127"/>
                    </a:lnTo>
                    <a:lnTo>
                      <a:pt x="94" y="127"/>
                    </a:lnTo>
                    <a:lnTo>
                      <a:pt x="96" y="127"/>
                    </a:lnTo>
                    <a:lnTo>
                      <a:pt x="96" y="132"/>
                    </a:lnTo>
                    <a:lnTo>
                      <a:pt x="96" y="132"/>
                    </a:lnTo>
                    <a:lnTo>
                      <a:pt x="96" y="13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2" name="Freeform 18">
                <a:extLst>
                  <a:ext uri="{FF2B5EF4-FFF2-40B4-BE49-F238E27FC236}">
                    <a16:creationId xmlns:a16="http://schemas.microsoft.com/office/drawing/2014/main" id="{D30AB09A-5C93-43D8-88C9-651B8A30ACE3}"/>
                  </a:ext>
                </a:extLst>
              </p:cNvPr>
              <p:cNvSpPr>
                <a:spLocks/>
              </p:cNvSpPr>
              <p:nvPr/>
            </p:nvSpPr>
            <p:spPr bwMode="auto">
              <a:xfrm>
                <a:off x="4741863" y="2740026"/>
                <a:ext cx="201613" cy="85725"/>
              </a:xfrm>
              <a:custGeom>
                <a:avLst/>
                <a:gdLst/>
                <a:ahLst/>
                <a:cxnLst>
                  <a:cxn ang="0">
                    <a:pos x="47" y="2"/>
                  </a:cxn>
                  <a:cxn ang="0">
                    <a:pos x="50" y="2"/>
                  </a:cxn>
                  <a:cxn ang="0">
                    <a:pos x="61" y="2"/>
                  </a:cxn>
                  <a:cxn ang="0">
                    <a:pos x="62" y="7"/>
                  </a:cxn>
                  <a:cxn ang="0">
                    <a:pos x="69" y="9"/>
                  </a:cxn>
                  <a:cxn ang="0">
                    <a:pos x="68" y="12"/>
                  </a:cxn>
                  <a:cxn ang="0">
                    <a:pos x="69" y="17"/>
                  </a:cxn>
                  <a:cxn ang="0">
                    <a:pos x="75" y="16"/>
                  </a:cxn>
                  <a:cxn ang="0">
                    <a:pos x="71" y="12"/>
                  </a:cxn>
                  <a:cxn ang="0">
                    <a:pos x="80" y="16"/>
                  </a:cxn>
                  <a:cxn ang="0">
                    <a:pos x="85" y="17"/>
                  </a:cxn>
                  <a:cxn ang="0">
                    <a:pos x="95" y="19"/>
                  </a:cxn>
                  <a:cxn ang="0">
                    <a:pos x="111" y="28"/>
                  </a:cxn>
                  <a:cxn ang="0">
                    <a:pos x="116" y="35"/>
                  </a:cxn>
                  <a:cxn ang="0">
                    <a:pos x="123" y="33"/>
                  </a:cxn>
                  <a:cxn ang="0">
                    <a:pos x="127" y="38"/>
                  </a:cxn>
                  <a:cxn ang="0">
                    <a:pos x="116" y="42"/>
                  </a:cxn>
                  <a:cxn ang="0">
                    <a:pos x="108" y="47"/>
                  </a:cxn>
                  <a:cxn ang="0">
                    <a:pos x="94" y="51"/>
                  </a:cxn>
                  <a:cxn ang="0">
                    <a:pos x="87" y="49"/>
                  </a:cxn>
                  <a:cxn ang="0">
                    <a:pos x="75" y="51"/>
                  </a:cxn>
                  <a:cxn ang="0">
                    <a:pos x="69" y="49"/>
                  </a:cxn>
                  <a:cxn ang="0">
                    <a:pos x="59" y="45"/>
                  </a:cxn>
                  <a:cxn ang="0">
                    <a:pos x="48" y="44"/>
                  </a:cxn>
                  <a:cxn ang="0">
                    <a:pos x="47" y="49"/>
                  </a:cxn>
                  <a:cxn ang="0">
                    <a:pos x="42" y="52"/>
                  </a:cxn>
                  <a:cxn ang="0">
                    <a:pos x="31" y="49"/>
                  </a:cxn>
                  <a:cxn ang="0">
                    <a:pos x="29" y="49"/>
                  </a:cxn>
                  <a:cxn ang="0">
                    <a:pos x="19" y="38"/>
                  </a:cxn>
                  <a:cxn ang="0">
                    <a:pos x="10" y="33"/>
                  </a:cxn>
                  <a:cxn ang="0">
                    <a:pos x="7" y="26"/>
                  </a:cxn>
                  <a:cxn ang="0">
                    <a:pos x="0" y="17"/>
                  </a:cxn>
                  <a:cxn ang="0">
                    <a:pos x="2" y="12"/>
                  </a:cxn>
                  <a:cxn ang="0">
                    <a:pos x="7" y="16"/>
                  </a:cxn>
                  <a:cxn ang="0">
                    <a:pos x="14" y="11"/>
                  </a:cxn>
                  <a:cxn ang="0">
                    <a:pos x="22" y="7"/>
                  </a:cxn>
                  <a:cxn ang="0">
                    <a:pos x="29" y="4"/>
                  </a:cxn>
                  <a:cxn ang="0">
                    <a:pos x="35" y="4"/>
                  </a:cxn>
                  <a:cxn ang="0">
                    <a:pos x="42" y="0"/>
                  </a:cxn>
                  <a:cxn ang="0">
                    <a:pos x="47" y="0"/>
                  </a:cxn>
                  <a:cxn ang="0">
                    <a:pos x="47" y="0"/>
                  </a:cxn>
                </a:cxnLst>
                <a:rect l="0" t="0" r="r" b="b"/>
                <a:pathLst>
                  <a:path w="127" h="54">
                    <a:moveTo>
                      <a:pt x="47" y="0"/>
                    </a:moveTo>
                    <a:lnTo>
                      <a:pt x="47" y="2"/>
                    </a:lnTo>
                    <a:lnTo>
                      <a:pt x="48" y="0"/>
                    </a:lnTo>
                    <a:lnTo>
                      <a:pt x="50" y="2"/>
                    </a:lnTo>
                    <a:lnTo>
                      <a:pt x="52" y="0"/>
                    </a:lnTo>
                    <a:lnTo>
                      <a:pt x="61" y="2"/>
                    </a:lnTo>
                    <a:lnTo>
                      <a:pt x="61" y="4"/>
                    </a:lnTo>
                    <a:lnTo>
                      <a:pt x="62" y="7"/>
                    </a:lnTo>
                    <a:lnTo>
                      <a:pt x="66" y="7"/>
                    </a:lnTo>
                    <a:lnTo>
                      <a:pt x="69" y="9"/>
                    </a:lnTo>
                    <a:lnTo>
                      <a:pt x="68" y="12"/>
                    </a:lnTo>
                    <a:lnTo>
                      <a:pt x="68" y="12"/>
                    </a:lnTo>
                    <a:lnTo>
                      <a:pt x="69" y="16"/>
                    </a:lnTo>
                    <a:lnTo>
                      <a:pt x="69" y="17"/>
                    </a:lnTo>
                    <a:lnTo>
                      <a:pt x="71" y="17"/>
                    </a:lnTo>
                    <a:lnTo>
                      <a:pt x="75" y="16"/>
                    </a:lnTo>
                    <a:lnTo>
                      <a:pt x="75" y="16"/>
                    </a:lnTo>
                    <a:lnTo>
                      <a:pt x="71" y="12"/>
                    </a:lnTo>
                    <a:lnTo>
                      <a:pt x="71" y="12"/>
                    </a:lnTo>
                    <a:lnTo>
                      <a:pt x="80" y="16"/>
                    </a:lnTo>
                    <a:lnTo>
                      <a:pt x="85" y="16"/>
                    </a:lnTo>
                    <a:lnTo>
                      <a:pt x="85" y="17"/>
                    </a:lnTo>
                    <a:lnTo>
                      <a:pt x="88" y="19"/>
                    </a:lnTo>
                    <a:lnTo>
                      <a:pt x="95" y="19"/>
                    </a:lnTo>
                    <a:lnTo>
                      <a:pt x="101" y="21"/>
                    </a:lnTo>
                    <a:lnTo>
                      <a:pt x="111" y="28"/>
                    </a:lnTo>
                    <a:lnTo>
                      <a:pt x="116" y="35"/>
                    </a:lnTo>
                    <a:lnTo>
                      <a:pt x="116" y="35"/>
                    </a:lnTo>
                    <a:lnTo>
                      <a:pt x="118" y="33"/>
                    </a:lnTo>
                    <a:lnTo>
                      <a:pt x="123" y="33"/>
                    </a:lnTo>
                    <a:lnTo>
                      <a:pt x="127" y="35"/>
                    </a:lnTo>
                    <a:lnTo>
                      <a:pt x="127" y="38"/>
                    </a:lnTo>
                    <a:lnTo>
                      <a:pt x="118" y="38"/>
                    </a:lnTo>
                    <a:lnTo>
                      <a:pt x="116" y="42"/>
                    </a:lnTo>
                    <a:lnTo>
                      <a:pt x="111" y="42"/>
                    </a:lnTo>
                    <a:lnTo>
                      <a:pt x="108" y="47"/>
                    </a:lnTo>
                    <a:lnTo>
                      <a:pt x="101" y="47"/>
                    </a:lnTo>
                    <a:lnTo>
                      <a:pt x="94" y="51"/>
                    </a:lnTo>
                    <a:lnTo>
                      <a:pt x="92" y="49"/>
                    </a:lnTo>
                    <a:lnTo>
                      <a:pt x="87" y="49"/>
                    </a:lnTo>
                    <a:lnTo>
                      <a:pt x="83" y="52"/>
                    </a:lnTo>
                    <a:lnTo>
                      <a:pt x="75" y="51"/>
                    </a:lnTo>
                    <a:lnTo>
                      <a:pt x="71" y="47"/>
                    </a:lnTo>
                    <a:lnTo>
                      <a:pt x="69" y="49"/>
                    </a:lnTo>
                    <a:lnTo>
                      <a:pt x="64" y="49"/>
                    </a:lnTo>
                    <a:lnTo>
                      <a:pt x="59" y="45"/>
                    </a:lnTo>
                    <a:lnTo>
                      <a:pt x="52" y="45"/>
                    </a:lnTo>
                    <a:lnTo>
                      <a:pt x="48" y="44"/>
                    </a:lnTo>
                    <a:lnTo>
                      <a:pt x="47" y="47"/>
                    </a:lnTo>
                    <a:lnTo>
                      <a:pt x="47" y="49"/>
                    </a:lnTo>
                    <a:lnTo>
                      <a:pt x="47" y="51"/>
                    </a:lnTo>
                    <a:lnTo>
                      <a:pt x="42" y="52"/>
                    </a:lnTo>
                    <a:lnTo>
                      <a:pt x="38" y="54"/>
                    </a:lnTo>
                    <a:lnTo>
                      <a:pt x="31" y="49"/>
                    </a:lnTo>
                    <a:lnTo>
                      <a:pt x="28" y="49"/>
                    </a:lnTo>
                    <a:lnTo>
                      <a:pt x="29" y="49"/>
                    </a:lnTo>
                    <a:lnTo>
                      <a:pt x="21" y="40"/>
                    </a:lnTo>
                    <a:lnTo>
                      <a:pt x="19" y="38"/>
                    </a:lnTo>
                    <a:lnTo>
                      <a:pt x="14" y="35"/>
                    </a:lnTo>
                    <a:lnTo>
                      <a:pt x="10" y="33"/>
                    </a:lnTo>
                    <a:lnTo>
                      <a:pt x="7" y="30"/>
                    </a:lnTo>
                    <a:lnTo>
                      <a:pt x="7" y="26"/>
                    </a:lnTo>
                    <a:lnTo>
                      <a:pt x="5" y="19"/>
                    </a:lnTo>
                    <a:lnTo>
                      <a:pt x="0" y="17"/>
                    </a:lnTo>
                    <a:lnTo>
                      <a:pt x="0" y="16"/>
                    </a:lnTo>
                    <a:lnTo>
                      <a:pt x="2" y="12"/>
                    </a:lnTo>
                    <a:lnTo>
                      <a:pt x="2" y="16"/>
                    </a:lnTo>
                    <a:lnTo>
                      <a:pt x="7" y="16"/>
                    </a:lnTo>
                    <a:lnTo>
                      <a:pt x="14" y="12"/>
                    </a:lnTo>
                    <a:lnTo>
                      <a:pt x="14" y="11"/>
                    </a:lnTo>
                    <a:lnTo>
                      <a:pt x="19" y="7"/>
                    </a:lnTo>
                    <a:lnTo>
                      <a:pt x="22" y="7"/>
                    </a:lnTo>
                    <a:lnTo>
                      <a:pt x="24" y="4"/>
                    </a:lnTo>
                    <a:lnTo>
                      <a:pt x="29" y="4"/>
                    </a:lnTo>
                    <a:lnTo>
                      <a:pt x="33" y="5"/>
                    </a:lnTo>
                    <a:lnTo>
                      <a:pt x="35" y="4"/>
                    </a:lnTo>
                    <a:lnTo>
                      <a:pt x="35" y="0"/>
                    </a:lnTo>
                    <a:lnTo>
                      <a:pt x="42" y="0"/>
                    </a:lnTo>
                    <a:lnTo>
                      <a:pt x="43" y="0"/>
                    </a:lnTo>
                    <a:lnTo>
                      <a:pt x="47" y="0"/>
                    </a:lnTo>
                    <a:lnTo>
                      <a:pt x="47" y="0"/>
                    </a:lnTo>
                    <a:lnTo>
                      <a:pt x="47" y="0"/>
                    </a:lnTo>
                    <a:lnTo>
                      <a:pt x="47"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3" name="Freeform 19">
                <a:extLst>
                  <a:ext uri="{FF2B5EF4-FFF2-40B4-BE49-F238E27FC236}">
                    <a16:creationId xmlns:a16="http://schemas.microsoft.com/office/drawing/2014/main" id="{59A4ACF0-1894-49FA-BA4A-85883FFDC671}"/>
                  </a:ext>
                </a:extLst>
              </p:cNvPr>
              <p:cNvSpPr>
                <a:spLocks/>
              </p:cNvSpPr>
              <p:nvPr/>
            </p:nvSpPr>
            <p:spPr bwMode="auto">
              <a:xfrm>
                <a:off x="4595813" y="2847976"/>
                <a:ext cx="123825" cy="68263"/>
              </a:xfrm>
              <a:custGeom>
                <a:avLst/>
                <a:gdLst/>
                <a:ahLst/>
                <a:cxnLst>
                  <a:cxn ang="0">
                    <a:pos x="33" y="7"/>
                  </a:cxn>
                  <a:cxn ang="0">
                    <a:pos x="40" y="5"/>
                  </a:cxn>
                  <a:cxn ang="0">
                    <a:pos x="41" y="2"/>
                  </a:cxn>
                  <a:cxn ang="0">
                    <a:pos x="45" y="3"/>
                  </a:cxn>
                  <a:cxn ang="0">
                    <a:pos x="50" y="2"/>
                  </a:cxn>
                  <a:cxn ang="0">
                    <a:pos x="55" y="7"/>
                  </a:cxn>
                  <a:cxn ang="0">
                    <a:pos x="59" y="10"/>
                  </a:cxn>
                  <a:cxn ang="0">
                    <a:pos x="62" y="16"/>
                  </a:cxn>
                  <a:cxn ang="0">
                    <a:pos x="67" y="14"/>
                  </a:cxn>
                  <a:cxn ang="0">
                    <a:pos x="74" y="16"/>
                  </a:cxn>
                  <a:cxn ang="0">
                    <a:pos x="78" y="17"/>
                  </a:cxn>
                  <a:cxn ang="0">
                    <a:pos x="76" y="28"/>
                  </a:cxn>
                  <a:cxn ang="0">
                    <a:pos x="67" y="36"/>
                  </a:cxn>
                  <a:cxn ang="0">
                    <a:pos x="62" y="33"/>
                  </a:cxn>
                  <a:cxn ang="0">
                    <a:pos x="54" y="36"/>
                  </a:cxn>
                  <a:cxn ang="0">
                    <a:pos x="50" y="38"/>
                  </a:cxn>
                  <a:cxn ang="0">
                    <a:pos x="45" y="33"/>
                  </a:cxn>
                  <a:cxn ang="0">
                    <a:pos x="34" y="40"/>
                  </a:cxn>
                  <a:cxn ang="0">
                    <a:pos x="22" y="43"/>
                  </a:cxn>
                  <a:cxn ang="0">
                    <a:pos x="21" y="38"/>
                  </a:cxn>
                  <a:cxn ang="0">
                    <a:pos x="17" y="33"/>
                  </a:cxn>
                  <a:cxn ang="0">
                    <a:pos x="8" y="28"/>
                  </a:cxn>
                  <a:cxn ang="0">
                    <a:pos x="8" y="36"/>
                  </a:cxn>
                  <a:cxn ang="0">
                    <a:pos x="0" y="36"/>
                  </a:cxn>
                  <a:cxn ang="0">
                    <a:pos x="1" y="33"/>
                  </a:cxn>
                  <a:cxn ang="0">
                    <a:pos x="3" y="31"/>
                  </a:cxn>
                  <a:cxn ang="0">
                    <a:pos x="8" y="17"/>
                  </a:cxn>
                  <a:cxn ang="0">
                    <a:pos x="14" y="14"/>
                  </a:cxn>
                  <a:cxn ang="0">
                    <a:pos x="17" y="9"/>
                  </a:cxn>
                  <a:cxn ang="0">
                    <a:pos x="17" y="5"/>
                  </a:cxn>
                  <a:cxn ang="0">
                    <a:pos x="21" y="7"/>
                  </a:cxn>
                  <a:cxn ang="0">
                    <a:pos x="29" y="5"/>
                  </a:cxn>
                  <a:cxn ang="0">
                    <a:pos x="29" y="5"/>
                  </a:cxn>
                </a:cxnLst>
                <a:rect l="0" t="0" r="r" b="b"/>
                <a:pathLst>
                  <a:path w="78" h="43">
                    <a:moveTo>
                      <a:pt x="29" y="5"/>
                    </a:moveTo>
                    <a:lnTo>
                      <a:pt x="33" y="7"/>
                    </a:lnTo>
                    <a:lnTo>
                      <a:pt x="36" y="3"/>
                    </a:lnTo>
                    <a:lnTo>
                      <a:pt x="40" y="5"/>
                    </a:lnTo>
                    <a:lnTo>
                      <a:pt x="41" y="3"/>
                    </a:lnTo>
                    <a:lnTo>
                      <a:pt x="41" y="2"/>
                    </a:lnTo>
                    <a:lnTo>
                      <a:pt x="45" y="0"/>
                    </a:lnTo>
                    <a:lnTo>
                      <a:pt x="45" y="3"/>
                    </a:lnTo>
                    <a:lnTo>
                      <a:pt x="48" y="3"/>
                    </a:lnTo>
                    <a:lnTo>
                      <a:pt x="50" y="2"/>
                    </a:lnTo>
                    <a:lnTo>
                      <a:pt x="50" y="3"/>
                    </a:lnTo>
                    <a:lnTo>
                      <a:pt x="55" y="7"/>
                    </a:lnTo>
                    <a:lnTo>
                      <a:pt x="62" y="9"/>
                    </a:lnTo>
                    <a:lnTo>
                      <a:pt x="59" y="10"/>
                    </a:lnTo>
                    <a:lnTo>
                      <a:pt x="59" y="14"/>
                    </a:lnTo>
                    <a:lnTo>
                      <a:pt x="62" y="16"/>
                    </a:lnTo>
                    <a:lnTo>
                      <a:pt x="64" y="16"/>
                    </a:lnTo>
                    <a:lnTo>
                      <a:pt x="67" y="14"/>
                    </a:lnTo>
                    <a:lnTo>
                      <a:pt x="71" y="17"/>
                    </a:lnTo>
                    <a:lnTo>
                      <a:pt x="74" y="16"/>
                    </a:lnTo>
                    <a:lnTo>
                      <a:pt x="76" y="16"/>
                    </a:lnTo>
                    <a:lnTo>
                      <a:pt x="78" y="17"/>
                    </a:lnTo>
                    <a:lnTo>
                      <a:pt x="74" y="22"/>
                    </a:lnTo>
                    <a:lnTo>
                      <a:pt x="76" y="28"/>
                    </a:lnTo>
                    <a:lnTo>
                      <a:pt x="69" y="28"/>
                    </a:lnTo>
                    <a:lnTo>
                      <a:pt x="67" y="36"/>
                    </a:lnTo>
                    <a:lnTo>
                      <a:pt x="66" y="33"/>
                    </a:lnTo>
                    <a:lnTo>
                      <a:pt x="62" y="33"/>
                    </a:lnTo>
                    <a:lnTo>
                      <a:pt x="54" y="31"/>
                    </a:lnTo>
                    <a:lnTo>
                      <a:pt x="54" y="36"/>
                    </a:lnTo>
                    <a:lnTo>
                      <a:pt x="50" y="42"/>
                    </a:lnTo>
                    <a:lnTo>
                      <a:pt x="50" y="38"/>
                    </a:lnTo>
                    <a:lnTo>
                      <a:pt x="45" y="36"/>
                    </a:lnTo>
                    <a:lnTo>
                      <a:pt x="45" y="33"/>
                    </a:lnTo>
                    <a:lnTo>
                      <a:pt x="41" y="28"/>
                    </a:lnTo>
                    <a:lnTo>
                      <a:pt x="34" y="40"/>
                    </a:lnTo>
                    <a:lnTo>
                      <a:pt x="29" y="38"/>
                    </a:lnTo>
                    <a:lnTo>
                      <a:pt x="22" y="43"/>
                    </a:lnTo>
                    <a:lnTo>
                      <a:pt x="21" y="42"/>
                    </a:lnTo>
                    <a:lnTo>
                      <a:pt x="21" y="38"/>
                    </a:lnTo>
                    <a:lnTo>
                      <a:pt x="17" y="36"/>
                    </a:lnTo>
                    <a:lnTo>
                      <a:pt x="17" y="33"/>
                    </a:lnTo>
                    <a:lnTo>
                      <a:pt x="14" y="31"/>
                    </a:lnTo>
                    <a:lnTo>
                      <a:pt x="8" y="28"/>
                    </a:lnTo>
                    <a:lnTo>
                      <a:pt x="7" y="33"/>
                    </a:lnTo>
                    <a:lnTo>
                      <a:pt x="8" y="36"/>
                    </a:lnTo>
                    <a:lnTo>
                      <a:pt x="3" y="36"/>
                    </a:lnTo>
                    <a:lnTo>
                      <a:pt x="0" y="36"/>
                    </a:lnTo>
                    <a:lnTo>
                      <a:pt x="0" y="33"/>
                    </a:lnTo>
                    <a:lnTo>
                      <a:pt x="1" y="33"/>
                    </a:lnTo>
                    <a:lnTo>
                      <a:pt x="3" y="33"/>
                    </a:lnTo>
                    <a:lnTo>
                      <a:pt x="3" y="31"/>
                    </a:lnTo>
                    <a:lnTo>
                      <a:pt x="5" y="26"/>
                    </a:lnTo>
                    <a:lnTo>
                      <a:pt x="8" y="17"/>
                    </a:lnTo>
                    <a:lnTo>
                      <a:pt x="12" y="17"/>
                    </a:lnTo>
                    <a:lnTo>
                      <a:pt x="14" y="14"/>
                    </a:lnTo>
                    <a:lnTo>
                      <a:pt x="17" y="10"/>
                    </a:lnTo>
                    <a:lnTo>
                      <a:pt x="17" y="9"/>
                    </a:lnTo>
                    <a:lnTo>
                      <a:pt x="12" y="7"/>
                    </a:lnTo>
                    <a:lnTo>
                      <a:pt x="17" y="5"/>
                    </a:lnTo>
                    <a:lnTo>
                      <a:pt x="21" y="3"/>
                    </a:lnTo>
                    <a:lnTo>
                      <a:pt x="21" y="7"/>
                    </a:lnTo>
                    <a:lnTo>
                      <a:pt x="26" y="7"/>
                    </a:lnTo>
                    <a:lnTo>
                      <a:pt x="29" y="5"/>
                    </a:lnTo>
                    <a:lnTo>
                      <a:pt x="29" y="5"/>
                    </a:lnTo>
                    <a:lnTo>
                      <a:pt x="29" y="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4" name="Freeform 20">
                <a:extLst>
                  <a:ext uri="{FF2B5EF4-FFF2-40B4-BE49-F238E27FC236}">
                    <a16:creationId xmlns:a16="http://schemas.microsoft.com/office/drawing/2014/main" id="{E9E021EC-A712-4A09-97D8-D1A707DB788D}"/>
                  </a:ext>
                </a:extLst>
              </p:cNvPr>
              <p:cNvSpPr>
                <a:spLocks noEditPoints="1"/>
              </p:cNvSpPr>
              <p:nvPr/>
            </p:nvSpPr>
            <p:spPr bwMode="auto">
              <a:xfrm>
                <a:off x="4525963" y="2654301"/>
                <a:ext cx="100013" cy="85725"/>
              </a:xfrm>
              <a:custGeom>
                <a:avLst/>
                <a:gdLst/>
                <a:ahLst/>
                <a:cxnLst>
                  <a:cxn ang="0">
                    <a:pos x="40" y="51"/>
                  </a:cxn>
                  <a:cxn ang="0">
                    <a:pos x="40" y="40"/>
                  </a:cxn>
                  <a:cxn ang="0">
                    <a:pos x="45" y="33"/>
                  </a:cxn>
                  <a:cxn ang="0">
                    <a:pos x="54" y="33"/>
                  </a:cxn>
                  <a:cxn ang="0">
                    <a:pos x="56" y="28"/>
                  </a:cxn>
                  <a:cxn ang="0">
                    <a:pos x="56" y="23"/>
                  </a:cxn>
                  <a:cxn ang="0">
                    <a:pos x="56" y="19"/>
                  </a:cxn>
                  <a:cxn ang="0">
                    <a:pos x="52" y="19"/>
                  </a:cxn>
                  <a:cxn ang="0">
                    <a:pos x="56" y="18"/>
                  </a:cxn>
                  <a:cxn ang="0">
                    <a:pos x="61" y="11"/>
                  </a:cxn>
                  <a:cxn ang="0">
                    <a:pos x="63" y="5"/>
                  </a:cxn>
                  <a:cxn ang="0">
                    <a:pos x="63" y="5"/>
                  </a:cxn>
                  <a:cxn ang="0">
                    <a:pos x="56" y="2"/>
                  </a:cxn>
                  <a:cxn ang="0">
                    <a:pos x="47" y="0"/>
                  </a:cxn>
                  <a:cxn ang="0">
                    <a:pos x="40" y="2"/>
                  </a:cxn>
                  <a:cxn ang="0">
                    <a:pos x="33" y="2"/>
                  </a:cxn>
                  <a:cxn ang="0">
                    <a:pos x="23" y="11"/>
                  </a:cxn>
                  <a:cxn ang="0">
                    <a:pos x="18" y="11"/>
                  </a:cxn>
                  <a:cxn ang="0">
                    <a:pos x="16" y="18"/>
                  </a:cxn>
                  <a:cxn ang="0">
                    <a:pos x="16" y="25"/>
                  </a:cxn>
                  <a:cxn ang="0">
                    <a:pos x="12" y="30"/>
                  </a:cxn>
                  <a:cxn ang="0">
                    <a:pos x="9" y="33"/>
                  </a:cxn>
                  <a:cxn ang="0">
                    <a:pos x="18" y="37"/>
                  </a:cxn>
                  <a:cxn ang="0">
                    <a:pos x="12" y="40"/>
                  </a:cxn>
                  <a:cxn ang="0">
                    <a:pos x="12" y="42"/>
                  </a:cxn>
                  <a:cxn ang="0">
                    <a:pos x="16" y="44"/>
                  </a:cxn>
                  <a:cxn ang="0">
                    <a:pos x="9" y="40"/>
                  </a:cxn>
                  <a:cxn ang="0">
                    <a:pos x="2" y="40"/>
                  </a:cxn>
                  <a:cxn ang="0">
                    <a:pos x="7" y="42"/>
                  </a:cxn>
                  <a:cxn ang="0">
                    <a:pos x="9" y="45"/>
                  </a:cxn>
                  <a:cxn ang="0">
                    <a:pos x="9" y="45"/>
                  </a:cxn>
                  <a:cxn ang="0">
                    <a:pos x="4" y="44"/>
                  </a:cxn>
                  <a:cxn ang="0">
                    <a:pos x="0" y="44"/>
                  </a:cxn>
                  <a:cxn ang="0">
                    <a:pos x="4" y="47"/>
                  </a:cxn>
                  <a:cxn ang="0">
                    <a:pos x="9" y="51"/>
                  </a:cxn>
                  <a:cxn ang="0">
                    <a:pos x="12" y="47"/>
                  </a:cxn>
                  <a:cxn ang="0">
                    <a:pos x="18" y="45"/>
                  </a:cxn>
                  <a:cxn ang="0">
                    <a:pos x="23" y="44"/>
                  </a:cxn>
                  <a:cxn ang="0">
                    <a:pos x="28" y="45"/>
                  </a:cxn>
                  <a:cxn ang="0">
                    <a:pos x="35" y="47"/>
                  </a:cxn>
                  <a:cxn ang="0">
                    <a:pos x="37" y="51"/>
                  </a:cxn>
                  <a:cxn ang="0">
                    <a:pos x="39" y="54"/>
                  </a:cxn>
                  <a:cxn ang="0">
                    <a:pos x="39" y="54"/>
                  </a:cxn>
                  <a:cxn ang="0">
                    <a:pos x="9" y="37"/>
                  </a:cxn>
                  <a:cxn ang="0">
                    <a:pos x="9" y="40"/>
                  </a:cxn>
                  <a:cxn ang="0">
                    <a:pos x="4" y="40"/>
                  </a:cxn>
                  <a:cxn ang="0">
                    <a:pos x="4" y="40"/>
                  </a:cxn>
                  <a:cxn ang="0">
                    <a:pos x="7" y="37"/>
                  </a:cxn>
                  <a:cxn ang="0">
                    <a:pos x="12" y="37"/>
                  </a:cxn>
                  <a:cxn ang="0">
                    <a:pos x="9" y="37"/>
                  </a:cxn>
                  <a:cxn ang="0">
                    <a:pos x="9" y="37"/>
                  </a:cxn>
                  <a:cxn ang="0">
                    <a:pos x="7" y="37"/>
                  </a:cxn>
                </a:cxnLst>
                <a:rect l="0" t="0" r="r" b="b"/>
                <a:pathLst>
                  <a:path w="63" h="54">
                    <a:moveTo>
                      <a:pt x="39" y="54"/>
                    </a:moveTo>
                    <a:lnTo>
                      <a:pt x="40" y="51"/>
                    </a:lnTo>
                    <a:lnTo>
                      <a:pt x="42" y="44"/>
                    </a:lnTo>
                    <a:lnTo>
                      <a:pt x="40" y="40"/>
                    </a:lnTo>
                    <a:lnTo>
                      <a:pt x="44" y="37"/>
                    </a:lnTo>
                    <a:lnTo>
                      <a:pt x="45" y="33"/>
                    </a:lnTo>
                    <a:lnTo>
                      <a:pt x="51" y="33"/>
                    </a:lnTo>
                    <a:lnTo>
                      <a:pt x="54" y="33"/>
                    </a:lnTo>
                    <a:lnTo>
                      <a:pt x="56" y="31"/>
                    </a:lnTo>
                    <a:lnTo>
                      <a:pt x="56" y="28"/>
                    </a:lnTo>
                    <a:lnTo>
                      <a:pt x="56" y="28"/>
                    </a:lnTo>
                    <a:lnTo>
                      <a:pt x="56" y="23"/>
                    </a:lnTo>
                    <a:lnTo>
                      <a:pt x="59" y="23"/>
                    </a:lnTo>
                    <a:lnTo>
                      <a:pt x="56" y="19"/>
                    </a:lnTo>
                    <a:lnTo>
                      <a:pt x="52" y="19"/>
                    </a:lnTo>
                    <a:lnTo>
                      <a:pt x="52" y="19"/>
                    </a:lnTo>
                    <a:lnTo>
                      <a:pt x="54" y="16"/>
                    </a:lnTo>
                    <a:lnTo>
                      <a:pt x="56" y="18"/>
                    </a:lnTo>
                    <a:lnTo>
                      <a:pt x="61" y="16"/>
                    </a:lnTo>
                    <a:lnTo>
                      <a:pt x="61" y="11"/>
                    </a:lnTo>
                    <a:lnTo>
                      <a:pt x="61" y="9"/>
                    </a:lnTo>
                    <a:lnTo>
                      <a:pt x="63" y="5"/>
                    </a:lnTo>
                    <a:lnTo>
                      <a:pt x="63" y="5"/>
                    </a:lnTo>
                    <a:lnTo>
                      <a:pt x="63" y="5"/>
                    </a:lnTo>
                    <a:lnTo>
                      <a:pt x="59" y="5"/>
                    </a:lnTo>
                    <a:lnTo>
                      <a:pt x="56" y="2"/>
                    </a:lnTo>
                    <a:lnTo>
                      <a:pt x="52" y="0"/>
                    </a:lnTo>
                    <a:lnTo>
                      <a:pt x="47" y="0"/>
                    </a:lnTo>
                    <a:lnTo>
                      <a:pt x="44" y="2"/>
                    </a:lnTo>
                    <a:lnTo>
                      <a:pt x="40" y="2"/>
                    </a:lnTo>
                    <a:lnTo>
                      <a:pt x="39" y="2"/>
                    </a:lnTo>
                    <a:lnTo>
                      <a:pt x="33" y="2"/>
                    </a:lnTo>
                    <a:lnTo>
                      <a:pt x="30" y="5"/>
                    </a:lnTo>
                    <a:lnTo>
                      <a:pt x="23" y="11"/>
                    </a:lnTo>
                    <a:lnTo>
                      <a:pt x="21" y="9"/>
                    </a:lnTo>
                    <a:lnTo>
                      <a:pt x="18" y="11"/>
                    </a:lnTo>
                    <a:lnTo>
                      <a:pt x="18" y="14"/>
                    </a:lnTo>
                    <a:lnTo>
                      <a:pt x="16" y="18"/>
                    </a:lnTo>
                    <a:lnTo>
                      <a:pt x="18" y="19"/>
                    </a:lnTo>
                    <a:lnTo>
                      <a:pt x="16" y="25"/>
                    </a:lnTo>
                    <a:lnTo>
                      <a:pt x="12" y="26"/>
                    </a:lnTo>
                    <a:lnTo>
                      <a:pt x="12" y="30"/>
                    </a:lnTo>
                    <a:lnTo>
                      <a:pt x="9" y="31"/>
                    </a:lnTo>
                    <a:lnTo>
                      <a:pt x="9" y="33"/>
                    </a:lnTo>
                    <a:lnTo>
                      <a:pt x="12" y="37"/>
                    </a:lnTo>
                    <a:lnTo>
                      <a:pt x="18" y="37"/>
                    </a:lnTo>
                    <a:lnTo>
                      <a:pt x="12" y="37"/>
                    </a:lnTo>
                    <a:lnTo>
                      <a:pt x="12" y="40"/>
                    </a:lnTo>
                    <a:lnTo>
                      <a:pt x="9" y="40"/>
                    </a:lnTo>
                    <a:lnTo>
                      <a:pt x="12" y="42"/>
                    </a:lnTo>
                    <a:lnTo>
                      <a:pt x="16" y="42"/>
                    </a:lnTo>
                    <a:lnTo>
                      <a:pt x="16" y="44"/>
                    </a:lnTo>
                    <a:lnTo>
                      <a:pt x="12" y="44"/>
                    </a:lnTo>
                    <a:lnTo>
                      <a:pt x="9" y="40"/>
                    </a:lnTo>
                    <a:lnTo>
                      <a:pt x="4" y="40"/>
                    </a:lnTo>
                    <a:lnTo>
                      <a:pt x="2" y="40"/>
                    </a:lnTo>
                    <a:lnTo>
                      <a:pt x="4" y="42"/>
                    </a:lnTo>
                    <a:lnTo>
                      <a:pt x="7" y="42"/>
                    </a:lnTo>
                    <a:lnTo>
                      <a:pt x="9" y="45"/>
                    </a:lnTo>
                    <a:lnTo>
                      <a:pt x="9" y="45"/>
                    </a:lnTo>
                    <a:lnTo>
                      <a:pt x="12" y="47"/>
                    </a:lnTo>
                    <a:lnTo>
                      <a:pt x="9" y="45"/>
                    </a:lnTo>
                    <a:lnTo>
                      <a:pt x="9" y="45"/>
                    </a:lnTo>
                    <a:lnTo>
                      <a:pt x="4" y="44"/>
                    </a:lnTo>
                    <a:lnTo>
                      <a:pt x="0" y="44"/>
                    </a:lnTo>
                    <a:lnTo>
                      <a:pt x="0" y="44"/>
                    </a:lnTo>
                    <a:lnTo>
                      <a:pt x="2" y="45"/>
                    </a:lnTo>
                    <a:lnTo>
                      <a:pt x="4" y="47"/>
                    </a:lnTo>
                    <a:lnTo>
                      <a:pt x="7" y="47"/>
                    </a:lnTo>
                    <a:lnTo>
                      <a:pt x="9" y="51"/>
                    </a:lnTo>
                    <a:lnTo>
                      <a:pt x="9" y="47"/>
                    </a:lnTo>
                    <a:lnTo>
                      <a:pt x="12" y="47"/>
                    </a:lnTo>
                    <a:lnTo>
                      <a:pt x="12" y="45"/>
                    </a:lnTo>
                    <a:lnTo>
                      <a:pt x="18" y="45"/>
                    </a:lnTo>
                    <a:lnTo>
                      <a:pt x="18" y="44"/>
                    </a:lnTo>
                    <a:lnTo>
                      <a:pt x="23" y="44"/>
                    </a:lnTo>
                    <a:lnTo>
                      <a:pt x="26" y="45"/>
                    </a:lnTo>
                    <a:lnTo>
                      <a:pt x="28" y="45"/>
                    </a:lnTo>
                    <a:lnTo>
                      <a:pt x="30" y="47"/>
                    </a:lnTo>
                    <a:lnTo>
                      <a:pt x="35" y="47"/>
                    </a:lnTo>
                    <a:lnTo>
                      <a:pt x="37" y="51"/>
                    </a:lnTo>
                    <a:lnTo>
                      <a:pt x="37" y="51"/>
                    </a:lnTo>
                    <a:lnTo>
                      <a:pt x="39" y="54"/>
                    </a:lnTo>
                    <a:lnTo>
                      <a:pt x="39" y="54"/>
                    </a:lnTo>
                    <a:lnTo>
                      <a:pt x="39" y="54"/>
                    </a:lnTo>
                    <a:lnTo>
                      <a:pt x="39" y="54"/>
                    </a:lnTo>
                    <a:close/>
                    <a:moveTo>
                      <a:pt x="4" y="40"/>
                    </a:moveTo>
                    <a:lnTo>
                      <a:pt x="9" y="37"/>
                    </a:lnTo>
                    <a:lnTo>
                      <a:pt x="9" y="40"/>
                    </a:lnTo>
                    <a:lnTo>
                      <a:pt x="9" y="40"/>
                    </a:lnTo>
                    <a:lnTo>
                      <a:pt x="9" y="40"/>
                    </a:lnTo>
                    <a:lnTo>
                      <a:pt x="4" y="40"/>
                    </a:lnTo>
                    <a:lnTo>
                      <a:pt x="4" y="40"/>
                    </a:lnTo>
                    <a:lnTo>
                      <a:pt x="4" y="40"/>
                    </a:lnTo>
                    <a:lnTo>
                      <a:pt x="4" y="40"/>
                    </a:lnTo>
                    <a:close/>
                    <a:moveTo>
                      <a:pt x="7" y="37"/>
                    </a:moveTo>
                    <a:lnTo>
                      <a:pt x="9" y="37"/>
                    </a:lnTo>
                    <a:lnTo>
                      <a:pt x="12" y="37"/>
                    </a:lnTo>
                    <a:lnTo>
                      <a:pt x="12" y="37"/>
                    </a:lnTo>
                    <a:lnTo>
                      <a:pt x="9" y="37"/>
                    </a:lnTo>
                    <a:lnTo>
                      <a:pt x="9" y="37"/>
                    </a:lnTo>
                    <a:lnTo>
                      <a:pt x="9" y="37"/>
                    </a:lnTo>
                    <a:lnTo>
                      <a:pt x="7" y="37"/>
                    </a:lnTo>
                    <a:lnTo>
                      <a:pt x="7" y="37"/>
                    </a:lnTo>
                    <a:lnTo>
                      <a:pt x="7" y="3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5" name="Freeform 21">
                <a:extLst>
                  <a:ext uri="{FF2B5EF4-FFF2-40B4-BE49-F238E27FC236}">
                    <a16:creationId xmlns:a16="http://schemas.microsoft.com/office/drawing/2014/main" id="{8B4F9FD6-F9C6-4217-8DF1-C03BA2D1E07A}"/>
                  </a:ext>
                </a:extLst>
              </p:cNvPr>
              <p:cNvSpPr>
                <a:spLocks/>
              </p:cNvSpPr>
              <p:nvPr/>
            </p:nvSpPr>
            <p:spPr bwMode="auto">
              <a:xfrm>
                <a:off x="4518025" y="2724151"/>
                <a:ext cx="77788" cy="63500"/>
              </a:xfrm>
              <a:custGeom>
                <a:avLst/>
                <a:gdLst/>
                <a:ahLst/>
                <a:cxnLst>
                  <a:cxn ang="0">
                    <a:pos x="45" y="26"/>
                  </a:cxn>
                  <a:cxn ang="0">
                    <a:pos x="49" y="22"/>
                  </a:cxn>
                  <a:cxn ang="0">
                    <a:pos x="45" y="19"/>
                  </a:cxn>
                  <a:cxn ang="0">
                    <a:pos x="45" y="17"/>
                  </a:cxn>
                  <a:cxn ang="0">
                    <a:pos x="44" y="12"/>
                  </a:cxn>
                  <a:cxn ang="0">
                    <a:pos x="45" y="8"/>
                  </a:cxn>
                  <a:cxn ang="0">
                    <a:pos x="42" y="7"/>
                  </a:cxn>
                  <a:cxn ang="0">
                    <a:pos x="42" y="5"/>
                  </a:cxn>
                  <a:cxn ang="0">
                    <a:pos x="40" y="1"/>
                  </a:cxn>
                  <a:cxn ang="0">
                    <a:pos x="35" y="1"/>
                  </a:cxn>
                  <a:cxn ang="0">
                    <a:pos x="33" y="1"/>
                  </a:cxn>
                  <a:cxn ang="0">
                    <a:pos x="31" y="1"/>
                  </a:cxn>
                  <a:cxn ang="0">
                    <a:pos x="28" y="0"/>
                  </a:cxn>
                  <a:cxn ang="0">
                    <a:pos x="23" y="0"/>
                  </a:cxn>
                  <a:cxn ang="0">
                    <a:pos x="23" y="1"/>
                  </a:cxn>
                  <a:cxn ang="0">
                    <a:pos x="19" y="1"/>
                  </a:cxn>
                  <a:cxn ang="0">
                    <a:pos x="19" y="1"/>
                  </a:cxn>
                  <a:cxn ang="0">
                    <a:pos x="16" y="1"/>
                  </a:cxn>
                  <a:cxn ang="0">
                    <a:pos x="14" y="5"/>
                  </a:cxn>
                  <a:cxn ang="0">
                    <a:pos x="12" y="1"/>
                  </a:cxn>
                  <a:cxn ang="0">
                    <a:pos x="9" y="1"/>
                  </a:cxn>
                  <a:cxn ang="0">
                    <a:pos x="9" y="1"/>
                  </a:cxn>
                  <a:cxn ang="0">
                    <a:pos x="5" y="0"/>
                  </a:cxn>
                  <a:cxn ang="0">
                    <a:pos x="4" y="1"/>
                  </a:cxn>
                  <a:cxn ang="0">
                    <a:pos x="0" y="7"/>
                  </a:cxn>
                  <a:cxn ang="0">
                    <a:pos x="4" y="8"/>
                  </a:cxn>
                  <a:cxn ang="0">
                    <a:pos x="4" y="14"/>
                  </a:cxn>
                  <a:cxn ang="0">
                    <a:pos x="5" y="15"/>
                  </a:cxn>
                  <a:cxn ang="0">
                    <a:pos x="9" y="19"/>
                  </a:cxn>
                  <a:cxn ang="0">
                    <a:pos x="12" y="22"/>
                  </a:cxn>
                  <a:cxn ang="0">
                    <a:pos x="14" y="22"/>
                  </a:cxn>
                  <a:cxn ang="0">
                    <a:pos x="16" y="22"/>
                  </a:cxn>
                  <a:cxn ang="0">
                    <a:pos x="19" y="24"/>
                  </a:cxn>
                  <a:cxn ang="0">
                    <a:pos x="19" y="29"/>
                  </a:cxn>
                  <a:cxn ang="0">
                    <a:pos x="23" y="31"/>
                  </a:cxn>
                  <a:cxn ang="0">
                    <a:pos x="23" y="29"/>
                  </a:cxn>
                  <a:cxn ang="0">
                    <a:pos x="26" y="29"/>
                  </a:cxn>
                  <a:cxn ang="0">
                    <a:pos x="26" y="31"/>
                  </a:cxn>
                  <a:cxn ang="0">
                    <a:pos x="31" y="33"/>
                  </a:cxn>
                  <a:cxn ang="0">
                    <a:pos x="33" y="36"/>
                  </a:cxn>
                  <a:cxn ang="0">
                    <a:pos x="37" y="36"/>
                  </a:cxn>
                  <a:cxn ang="0">
                    <a:pos x="40" y="40"/>
                  </a:cxn>
                  <a:cxn ang="0">
                    <a:pos x="42" y="36"/>
                  </a:cxn>
                  <a:cxn ang="0">
                    <a:pos x="45" y="36"/>
                  </a:cxn>
                  <a:cxn ang="0">
                    <a:pos x="45" y="36"/>
                  </a:cxn>
                  <a:cxn ang="0">
                    <a:pos x="44" y="36"/>
                  </a:cxn>
                  <a:cxn ang="0">
                    <a:pos x="44" y="33"/>
                  </a:cxn>
                  <a:cxn ang="0">
                    <a:pos x="42" y="31"/>
                  </a:cxn>
                  <a:cxn ang="0">
                    <a:pos x="44" y="29"/>
                  </a:cxn>
                  <a:cxn ang="0">
                    <a:pos x="45" y="26"/>
                  </a:cxn>
                  <a:cxn ang="0">
                    <a:pos x="45" y="26"/>
                  </a:cxn>
                  <a:cxn ang="0">
                    <a:pos x="45" y="26"/>
                  </a:cxn>
                  <a:cxn ang="0">
                    <a:pos x="45" y="26"/>
                  </a:cxn>
                </a:cxnLst>
                <a:rect l="0" t="0" r="r" b="b"/>
                <a:pathLst>
                  <a:path w="49" h="40">
                    <a:moveTo>
                      <a:pt x="45" y="26"/>
                    </a:moveTo>
                    <a:lnTo>
                      <a:pt x="49" y="22"/>
                    </a:lnTo>
                    <a:lnTo>
                      <a:pt x="45" y="19"/>
                    </a:lnTo>
                    <a:lnTo>
                      <a:pt x="45" y="17"/>
                    </a:lnTo>
                    <a:lnTo>
                      <a:pt x="44" y="12"/>
                    </a:lnTo>
                    <a:lnTo>
                      <a:pt x="45" y="8"/>
                    </a:lnTo>
                    <a:lnTo>
                      <a:pt x="42" y="7"/>
                    </a:lnTo>
                    <a:lnTo>
                      <a:pt x="42" y="5"/>
                    </a:lnTo>
                    <a:lnTo>
                      <a:pt x="40" y="1"/>
                    </a:lnTo>
                    <a:lnTo>
                      <a:pt x="35" y="1"/>
                    </a:lnTo>
                    <a:lnTo>
                      <a:pt x="33" y="1"/>
                    </a:lnTo>
                    <a:lnTo>
                      <a:pt x="31" y="1"/>
                    </a:lnTo>
                    <a:lnTo>
                      <a:pt x="28" y="0"/>
                    </a:lnTo>
                    <a:lnTo>
                      <a:pt x="23" y="0"/>
                    </a:lnTo>
                    <a:lnTo>
                      <a:pt x="23" y="1"/>
                    </a:lnTo>
                    <a:lnTo>
                      <a:pt x="19" y="1"/>
                    </a:lnTo>
                    <a:lnTo>
                      <a:pt x="19" y="1"/>
                    </a:lnTo>
                    <a:lnTo>
                      <a:pt x="16" y="1"/>
                    </a:lnTo>
                    <a:lnTo>
                      <a:pt x="14" y="5"/>
                    </a:lnTo>
                    <a:lnTo>
                      <a:pt x="12" y="1"/>
                    </a:lnTo>
                    <a:lnTo>
                      <a:pt x="9" y="1"/>
                    </a:lnTo>
                    <a:lnTo>
                      <a:pt x="9" y="1"/>
                    </a:lnTo>
                    <a:lnTo>
                      <a:pt x="5" y="0"/>
                    </a:lnTo>
                    <a:lnTo>
                      <a:pt x="4" y="1"/>
                    </a:lnTo>
                    <a:lnTo>
                      <a:pt x="0" y="7"/>
                    </a:lnTo>
                    <a:lnTo>
                      <a:pt x="4" y="8"/>
                    </a:lnTo>
                    <a:lnTo>
                      <a:pt x="4" y="14"/>
                    </a:lnTo>
                    <a:lnTo>
                      <a:pt x="5" y="15"/>
                    </a:lnTo>
                    <a:lnTo>
                      <a:pt x="9" y="19"/>
                    </a:lnTo>
                    <a:lnTo>
                      <a:pt x="12" y="22"/>
                    </a:lnTo>
                    <a:lnTo>
                      <a:pt x="14" y="22"/>
                    </a:lnTo>
                    <a:lnTo>
                      <a:pt x="16" y="22"/>
                    </a:lnTo>
                    <a:lnTo>
                      <a:pt x="19" y="24"/>
                    </a:lnTo>
                    <a:lnTo>
                      <a:pt x="19" y="29"/>
                    </a:lnTo>
                    <a:lnTo>
                      <a:pt x="23" y="31"/>
                    </a:lnTo>
                    <a:lnTo>
                      <a:pt x="23" y="29"/>
                    </a:lnTo>
                    <a:lnTo>
                      <a:pt x="26" y="29"/>
                    </a:lnTo>
                    <a:lnTo>
                      <a:pt x="26" y="31"/>
                    </a:lnTo>
                    <a:lnTo>
                      <a:pt x="31" y="33"/>
                    </a:lnTo>
                    <a:lnTo>
                      <a:pt x="33" y="36"/>
                    </a:lnTo>
                    <a:lnTo>
                      <a:pt x="37" y="36"/>
                    </a:lnTo>
                    <a:lnTo>
                      <a:pt x="40" y="40"/>
                    </a:lnTo>
                    <a:lnTo>
                      <a:pt x="42" y="36"/>
                    </a:lnTo>
                    <a:lnTo>
                      <a:pt x="45" y="36"/>
                    </a:lnTo>
                    <a:lnTo>
                      <a:pt x="45" y="36"/>
                    </a:lnTo>
                    <a:lnTo>
                      <a:pt x="44" y="36"/>
                    </a:lnTo>
                    <a:lnTo>
                      <a:pt x="44" y="33"/>
                    </a:lnTo>
                    <a:lnTo>
                      <a:pt x="42" y="31"/>
                    </a:lnTo>
                    <a:lnTo>
                      <a:pt x="44" y="29"/>
                    </a:lnTo>
                    <a:lnTo>
                      <a:pt x="45" y="26"/>
                    </a:lnTo>
                    <a:lnTo>
                      <a:pt x="45" y="26"/>
                    </a:lnTo>
                    <a:lnTo>
                      <a:pt x="45" y="26"/>
                    </a:lnTo>
                    <a:lnTo>
                      <a:pt x="45" y="2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6" name="Freeform 22">
                <a:extLst>
                  <a:ext uri="{FF2B5EF4-FFF2-40B4-BE49-F238E27FC236}">
                    <a16:creationId xmlns:a16="http://schemas.microsoft.com/office/drawing/2014/main" id="{66D64E7E-969B-4CFC-A7AF-2F82796FF577}"/>
                  </a:ext>
                </a:extLst>
              </p:cNvPr>
              <p:cNvSpPr>
                <a:spLocks/>
              </p:cNvSpPr>
              <p:nvPr/>
            </p:nvSpPr>
            <p:spPr bwMode="auto">
              <a:xfrm>
                <a:off x="4587875" y="2770188"/>
                <a:ext cx="15875" cy="22225"/>
              </a:xfrm>
              <a:custGeom>
                <a:avLst/>
                <a:gdLst/>
                <a:ahLst/>
                <a:cxnLst>
                  <a:cxn ang="0">
                    <a:pos x="3" y="11"/>
                  </a:cxn>
                  <a:cxn ang="0">
                    <a:pos x="3" y="9"/>
                  </a:cxn>
                  <a:cxn ang="0">
                    <a:pos x="1" y="9"/>
                  </a:cxn>
                  <a:cxn ang="0">
                    <a:pos x="1" y="5"/>
                  </a:cxn>
                  <a:cxn ang="0">
                    <a:pos x="0" y="5"/>
                  </a:cxn>
                  <a:cxn ang="0">
                    <a:pos x="1" y="2"/>
                  </a:cxn>
                  <a:cxn ang="0">
                    <a:pos x="3" y="0"/>
                  </a:cxn>
                  <a:cxn ang="0">
                    <a:pos x="3" y="0"/>
                  </a:cxn>
                  <a:cxn ang="0">
                    <a:pos x="6" y="5"/>
                  </a:cxn>
                  <a:cxn ang="0">
                    <a:pos x="6" y="9"/>
                  </a:cxn>
                  <a:cxn ang="0">
                    <a:pos x="10" y="9"/>
                  </a:cxn>
                  <a:cxn ang="0">
                    <a:pos x="10" y="14"/>
                  </a:cxn>
                  <a:cxn ang="0">
                    <a:pos x="6" y="14"/>
                  </a:cxn>
                  <a:cxn ang="0">
                    <a:pos x="3" y="14"/>
                  </a:cxn>
                  <a:cxn ang="0">
                    <a:pos x="3" y="11"/>
                  </a:cxn>
                  <a:cxn ang="0">
                    <a:pos x="3" y="11"/>
                  </a:cxn>
                  <a:cxn ang="0">
                    <a:pos x="3" y="11"/>
                  </a:cxn>
                  <a:cxn ang="0">
                    <a:pos x="3" y="11"/>
                  </a:cxn>
                </a:cxnLst>
                <a:rect l="0" t="0" r="r" b="b"/>
                <a:pathLst>
                  <a:path w="10" h="14">
                    <a:moveTo>
                      <a:pt x="3" y="11"/>
                    </a:moveTo>
                    <a:lnTo>
                      <a:pt x="3" y="9"/>
                    </a:lnTo>
                    <a:lnTo>
                      <a:pt x="1" y="9"/>
                    </a:lnTo>
                    <a:lnTo>
                      <a:pt x="1" y="5"/>
                    </a:lnTo>
                    <a:lnTo>
                      <a:pt x="0" y="5"/>
                    </a:lnTo>
                    <a:lnTo>
                      <a:pt x="1" y="2"/>
                    </a:lnTo>
                    <a:lnTo>
                      <a:pt x="3" y="0"/>
                    </a:lnTo>
                    <a:lnTo>
                      <a:pt x="3" y="0"/>
                    </a:lnTo>
                    <a:lnTo>
                      <a:pt x="6" y="5"/>
                    </a:lnTo>
                    <a:lnTo>
                      <a:pt x="6" y="9"/>
                    </a:lnTo>
                    <a:lnTo>
                      <a:pt x="10" y="9"/>
                    </a:lnTo>
                    <a:lnTo>
                      <a:pt x="10" y="14"/>
                    </a:lnTo>
                    <a:lnTo>
                      <a:pt x="6" y="14"/>
                    </a:lnTo>
                    <a:lnTo>
                      <a:pt x="3" y="14"/>
                    </a:lnTo>
                    <a:lnTo>
                      <a:pt x="3" y="11"/>
                    </a:lnTo>
                    <a:lnTo>
                      <a:pt x="3" y="11"/>
                    </a:lnTo>
                    <a:lnTo>
                      <a:pt x="3" y="11"/>
                    </a:lnTo>
                    <a:lnTo>
                      <a:pt x="3" y="11"/>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7" name="Freeform 23">
                <a:extLst>
                  <a:ext uri="{FF2B5EF4-FFF2-40B4-BE49-F238E27FC236}">
                    <a16:creationId xmlns:a16="http://schemas.microsoft.com/office/drawing/2014/main" id="{9DF224B5-08A6-4A98-95A3-632B6086683C}"/>
                  </a:ext>
                </a:extLst>
              </p:cNvPr>
              <p:cNvSpPr>
                <a:spLocks/>
              </p:cNvSpPr>
              <p:nvPr/>
            </p:nvSpPr>
            <p:spPr bwMode="auto">
              <a:xfrm>
                <a:off x="4200525" y="2576513"/>
                <a:ext cx="107950" cy="138113"/>
              </a:xfrm>
              <a:custGeom>
                <a:avLst/>
                <a:gdLst/>
                <a:ahLst/>
                <a:cxnLst>
                  <a:cxn ang="0">
                    <a:pos x="28" y="84"/>
                  </a:cxn>
                  <a:cxn ang="0">
                    <a:pos x="33" y="80"/>
                  </a:cxn>
                  <a:cxn ang="0">
                    <a:pos x="38" y="79"/>
                  </a:cxn>
                  <a:cxn ang="0">
                    <a:pos x="52" y="74"/>
                  </a:cxn>
                  <a:cxn ang="0">
                    <a:pos x="56" y="72"/>
                  </a:cxn>
                  <a:cxn ang="0">
                    <a:pos x="59" y="70"/>
                  </a:cxn>
                  <a:cxn ang="0">
                    <a:pos x="65" y="63"/>
                  </a:cxn>
                  <a:cxn ang="0">
                    <a:pos x="66" y="49"/>
                  </a:cxn>
                  <a:cxn ang="0">
                    <a:pos x="66" y="42"/>
                  </a:cxn>
                  <a:cxn ang="0">
                    <a:pos x="63" y="35"/>
                  </a:cxn>
                  <a:cxn ang="0">
                    <a:pos x="63" y="30"/>
                  </a:cxn>
                  <a:cxn ang="0">
                    <a:pos x="52" y="21"/>
                  </a:cxn>
                  <a:cxn ang="0">
                    <a:pos x="47" y="28"/>
                  </a:cxn>
                  <a:cxn ang="0">
                    <a:pos x="47" y="14"/>
                  </a:cxn>
                  <a:cxn ang="0">
                    <a:pos x="52" y="7"/>
                  </a:cxn>
                  <a:cxn ang="0">
                    <a:pos x="56" y="4"/>
                  </a:cxn>
                  <a:cxn ang="0">
                    <a:pos x="52" y="0"/>
                  </a:cxn>
                  <a:cxn ang="0">
                    <a:pos x="45" y="9"/>
                  </a:cxn>
                  <a:cxn ang="0">
                    <a:pos x="45" y="4"/>
                  </a:cxn>
                  <a:cxn ang="0">
                    <a:pos x="42" y="4"/>
                  </a:cxn>
                  <a:cxn ang="0">
                    <a:pos x="37" y="6"/>
                  </a:cxn>
                  <a:cxn ang="0">
                    <a:pos x="37" y="11"/>
                  </a:cxn>
                  <a:cxn ang="0">
                    <a:pos x="33" y="13"/>
                  </a:cxn>
                  <a:cxn ang="0">
                    <a:pos x="33" y="18"/>
                  </a:cxn>
                  <a:cxn ang="0">
                    <a:pos x="38" y="18"/>
                  </a:cxn>
                  <a:cxn ang="0">
                    <a:pos x="33" y="23"/>
                  </a:cxn>
                  <a:cxn ang="0">
                    <a:pos x="23" y="27"/>
                  </a:cxn>
                  <a:cxn ang="0">
                    <a:pos x="14" y="23"/>
                  </a:cxn>
                  <a:cxn ang="0">
                    <a:pos x="11" y="25"/>
                  </a:cxn>
                  <a:cxn ang="0">
                    <a:pos x="14" y="30"/>
                  </a:cxn>
                  <a:cxn ang="0">
                    <a:pos x="5" y="30"/>
                  </a:cxn>
                  <a:cxn ang="0">
                    <a:pos x="16" y="35"/>
                  </a:cxn>
                  <a:cxn ang="0">
                    <a:pos x="14" y="39"/>
                  </a:cxn>
                  <a:cxn ang="0">
                    <a:pos x="5" y="42"/>
                  </a:cxn>
                  <a:cxn ang="0">
                    <a:pos x="9" y="44"/>
                  </a:cxn>
                  <a:cxn ang="0">
                    <a:pos x="25" y="47"/>
                  </a:cxn>
                  <a:cxn ang="0">
                    <a:pos x="16" y="54"/>
                  </a:cxn>
                  <a:cxn ang="0">
                    <a:pos x="9" y="63"/>
                  </a:cxn>
                  <a:cxn ang="0">
                    <a:pos x="16" y="61"/>
                  </a:cxn>
                  <a:cxn ang="0">
                    <a:pos x="23" y="60"/>
                  </a:cxn>
                  <a:cxn ang="0">
                    <a:pos x="14" y="63"/>
                  </a:cxn>
                  <a:cxn ang="0">
                    <a:pos x="9" y="67"/>
                  </a:cxn>
                  <a:cxn ang="0">
                    <a:pos x="9" y="70"/>
                  </a:cxn>
                  <a:cxn ang="0">
                    <a:pos x="2" y="70"/>
                  </a:cxn>
                  <a:cxn ang="0">
                    <a:pos x="9" y="72"/>
                  </a:cxn>
                  <a:cxn ang="0">
                    <a:pos x="2" y="79"/>
                  </a:cxn>
                  <a:cxn ang="0">
                    <a:pos x="14" y="79"/>
                  </a:cxn>
                  <a:cxn ang="0">
                    <a:pos x="9" y="84"/>
                  </a:cxn>
                  <a:cxn ang="0">
                    <a:pos x="9" y="84"/>
                  </a:cxn>
                  <a:cxn ang="0">
                    <a:pos x="14" y="87"/>
                  </a:cxn>
                  <a:cxn ang="0">
                    <a:pos x="16" y="87"/>
                  </a:cxn>
                </a:cxnLst>
                <a:rect l="0" t="0" r="r" b="b"/>
                <a:pathLst>
                  <a:path w="68" h="87">
                    <a:moveTo>
                      <a:pt x="16" y="87"/>
                    </a:moveTo>
                    <a:lnTo>
                      <a:pt x="23" y="87"/>
                    </a:lnTo>
                    <a:lnTo>
                      <a:pt x="28" y="84"/>
                    </a:lnTo>
                    <a:lnTo>
                      <a:pt x="33" y="80"/>
                    </a:lnTo>
                    <a:lnTo>
                      <a:pt x="32" y="79"/>
                    </a:lnTo>
                    <a:lnTo>
                      <a:pt x="33" y="80"/>
                    </a:lnTo>
                    <a:lnTo>
                      <a:pt x="33" y="80"/>
                    </a:lnTo>
                    <a:lnTo>
                      <a:pt x="37" y="80"/>
                    </a:lnTo>
                    <a:lnTo>
                      <a:pt x="38" y="79"/>
                    </a:lnTo>
                    <a:lnTo>
                      <a:pt x="42" y="79"/>
                    </a:lnTo>
                    <a:lnTo>
                      <a:pt x="42" y="75"/>
                    </a:lnTo>
                    <a:lnTo>
                      <a:pt x="52" y="74"/>
                    </a:lnTo>
                    <a:lnTo>
                      <a:pt x="54" y="72"/>
                    </a:lnTo>
                    <a:lnTo>
                      <a:pt x="54" y="74"/>
                    </a:lnTo>
                    <a:lnTo>
                      <a:pt x="56" y="72"/>
                    </a:lnTo>
                    <a:lnTo>
                      <a:pt x="59" y="74"/>
                    </a:lnTo>
                    <a:lnTo>
                      <a:pt x="63" y="74"/>
                    </a:lnTo>
                    <a:lnTo>
                      <a:pt x="59" y="70"/>
                    </a:lnTo>
                    <a:lnTo>
                      <a:pt x="61" y="67"/>
                    </a:lnTo>
                    <a:lnTo>
                      <a:pt x="65" y="65"/>
                    </a:lnTo>
                    <a:lnTo>
                      <a:pt x="65" y="63"/>
                    </a:lnTo>
                    <a:lnTo>
                      <a:pt x="66" y="60"/>
                    </a:lnTo>
                    <a:lnTo>
                      <a:pt x="68" y="56"/>
                    </a:lnTo>
                    <a:lnTo>
                      <a:pt x="66" y="49"/>
                    </a:lnTo>
                    <a:lnTo>
                      <a:pt x="65" y="47"/>
                    </a:lnTo>
                    <a:lnTo>
                      <a:pt x="66" y="46"/>
                    </a:lnTo>
                    <a:lnTo>
                      <a:pt x="66" y="42"/>
                    </a:lnTo>
                    <a:lnTo>
                      <a:pt x="65" y="39"/>
                    </a:lnTo>
                    <a:lnTo>
                      <a:pt x="65" y="35"/>
                    </a:lnTo>
                    <a:lnTo>
                      <a:pt x="63" y="35"/>
                    </a:lnTo>
                    <a:lnTo>
                      <a:pt x="65" y="32"/>
                    </a:lnTo>
                    <a:lnTo>
                      <a:pt x="66" y="32"/>
                    </a:lnTo>
                    <a:lnTo>
                      <a:pt x="63" y="30"/>
                    </a:lnTo>
                    <a:lnTo>
                      <a:pt x="59" y="30"/>
                    </a:lnTo>
                    <a:lnTo>
                      <a:pt x="56" y="23"/>
                    </a:lnTo>
                    <a:lnTo>
                      <a:pt x="52" y="21"/>
                    </a:lnTo>
                    <a:lnTo>
                      <a:pt x="51" y="23"/>
                    </a:lnTo>
                    <a:lnTo>
                      <a:pt x="47" y="27"/>
                    </a:lnTo>
                    <a:lnTo>
                      <a:pt x="47" y="28"/>
                    </a:lnTo>
                    <a:lnTo>
                      <a:pt x="38" y="21"/>
                    </a:lnTo>
                    <a:lnTo>
                      <a:pt x="44" y="14"/>
                    </a:lnTo>
                    <a:lnTo>
                      <a:pt x="47" y="14"/>
                    </a:lnTo>
                    <a:lnTo>
                      <a:pt x="47" y="11"/>
                    </a:lnTo>
                    <a:lnTo>
                      <a:pt x="51" y="9"/>
                    </a:lnTo>
                    <a:lnTo>
                      <a:pt x="52" y="7"/>
                    </a:lnTo>
                    <a:lnTo>
                      <a:pt x="51" y="7"/>
                    </a:lnTo>
                    <a:lnTo>
                      <a:pt x="54" y="6"/>
                    </a:lnTo>
                    <a:lnTo>
                      <a:pt x="56" y="4"/>
                    </a:lnTo>
                    <a:lnTo>
                      <a:pt x="52" y="0"/>
                    </a:lnTo>
                    <a:lnTo>
                      <a:pt x="51" y="0"/>
                    </a:lnTo>
                    <a:lnTo>
                      <a:pt x="52" y="0"/>
                    </a:lnTo>
                    <a:lnTo>
                      <a:pt x="47" y="0"/>
                    </a:lnTo>
                    <a:lnTo>
                      <a:pt x="47" y="6"/>
                    </a:lnTo>
                    <a:lnTo>
                      <a:pt x="45" y="9"/>
                    </a:lnTo>
                    <a:lnTo>
                      <a:pt x="47" y="7"/>
                    </a:lnTo>
                    <a:lnTo>
                      <a:pt x="47" y="6"/>
                    </a:lnTo>
                    <a:lnTo>
                      <a:pt x="45" y="4"/>
                    </a:lnTo>
                    <a:lnTo>
                      <a:pt x="44" y="4"/>
                    </a:lnTo>
                    <a:lnTo>
                      <a:pt x="45" y="4"/>
                    </a:lnTo>
                    <a:lnTo>
                      <a:pt x="42" y="4"/>
                    </a:lnTo>
                    <a:lnTo>
                      <a:pt x="40" y="4"/>
                    </a:lnTo>
                    <a:lnTo>
                      <a:pt x="37" y="4"/>
                    </a:lnTo>
                    <a:lnTo>
                      <a:pt x="37" y="6"/>
                    </a:lnTo>
                    <a:lnTo>
                      <a:pt x="37" y="7"/>
                    </a:lnTo>
                    <a:lnTo>
                      <a:pt x="33" y="9"/>
                    </a:lnTo>
                    <a:lnTo>
                      <a:pt x="37" y="11"/>
                    </a:lnTo>
                    <a:lnTo>
                      <a:pt x="37" y="13"/>
                    </a:lnTo>
                    <a:lnTo>
                      <a:pt x="33" y="13"/>
                    </a:lnTo>
                    <a:lnTo>
                      <a:pt x="33" y="13"/>
                    </a:lnTo>
                    <a:lnTo>
                      <a:pt x="32" y="14"/>
                    </a:lnTo>
                    <a:lnTo>
                      <a:pt x="32" y="18"/>
                    </a:lnTo>
                    <a:lnTo>
                      <a:pt x="33" y="18"/>
                    </a:lnTo>
                    <a:lnTo>
                      <a:pt x="33" y="18"/>
                    </a:lnTo>
                    <a:lnTo>
                      <a:pt x="37" y="18"/>
                    </a:lnTo>
                    <a:lnTo>
                      <a:pt x="38" y="18"/>
                    </a:lnTo>
                    <a:lnTo>
                      <a:pt x="37" y="20"/>
                    </a:lnTo>
                    <a:lnTo>
                      <a:pt x="32" y="21"/>
                    </a:lnTo>
                    <a:lnTo>
                      <a:pt x="33" y="23"/>
                    </a:lnTo>
                    <a:lnTo>
                      <a:pt x="28" y="25"/>
                    </a:lnTo>
                    <a:lnTo>
                      <a:pt x="25" y="23"/>
                    </a:lnTo>
                    <a:lnTo>
                      <a:pt x="23" y="27"/>
                    </a:lnTo>
                    <a:lnTo>
                      <a:pt x="21" y="23"/>
                    </a:lnTo>
                    <a:lnTo>
                      <a:pt x="14" y="21"/>
                    </a:lnTo>
                    <a:lnTo>
                      <a:pt x="14" y="23"/>
                    </a:lnTo>
                    <a:lnTo>
                      <a:pt x="9" y="21"/>
                    </a:lnTo>
                    <a:lnTo>
                      <a:pt x="9" y="27"/>
                    </a:lnTo>
                    <a:lnTo>
                      <a:pt x="11" y="25"/>
                    </a:lnTo>
                    <a:lnTo>
                      <a:pt x="11" y="27"/>
                    </a:lnTo>
                    <a:lnTo>
                      <a:pt x="14" y="28"/>
                    </a:lnTo>
                    <a:lnTo>
                      <a:pt x="14" y="30"/>
                    </a:lnTo>
                    <a:lnTo>
                      <a:pt x="11" y="32"/>
                    </a:lnTo>
                    <a:lnTo>
                      <a:pt x="11" y="30"/>
                    </a:lnTo>
                    <a:lnTo>
                      <a:pt x="5" y="30"/>
                    </a:lnTo>
                    <a:lnTo>
                      <a:pt x="11" y="32"/>
                    </a:lnTo>
                    <a:lnTo>
                      <a:pt x="14" y="32"/>
                    </a:lnTo>
                    <a:lnTo>
                      <a:pt x="16" y="35"/>
                    </a:lnTo>
                    <a:lnTo>
                      <a:pt x="11" y="35"/>
                    </a:lnTo>
                    <a:lnTo>
                      <a:pt x="11" y="37"/>
                    </a:lnTo>
                    <a:lnTo>
                      <a:pt x="14" y="39"/>
                    </a:lnTo>
                    <a:lnTo>
                      <a:pt x="9" y="39"/>
                    </a:lnTo>
                    <a:lnTo>
                      <a:pt x="9" y="40"/>
                    </a:lnTo>
                    <a:lnTo>
                      <a:pt x="5" y="42"/>
                    </a:lnTo>
                    <a:lnTo>
                      <a:pt x="9" y="44"/>
                    </a:lnTo>
                    <a:lnTo>
                      <a:pt x="11" y="42"/>
                    </a:lnTo>
                    <a:lnTo>
                      <a:pt x="9" y="44"/>
                    </a:lnTo>
                    <a:lnTo>
                      <a:pt x="14" y="44"/>
                    </a:lnTo>
                    <a:lnTo>
                      <a:pt x="14" y="47"/>
                    </a:lnTo>
                    <a:lnTo>
                      <a:pt x="25" y="47"/>
                    </a:lnTo>
                    <a:lnTo>
                      <a:pt x="21" y="49"/>
                    </a:lnTo>
                    <a:lnTo>
                      <a:pt x="19" y="49"/>
                    </a:lnTo>
                    <a:lnTo>
                      <a:pt x="16" y="54"/>
                    </a:lnTo>
                    <a:lnTo>
                      <a:pt x="18" y="54"/>
                    </a:lnTo>
                    <a:lnTo>
                      <a:pt x="14" y="58"/>
                    </a:lnTo>
                    <a:lnTo>
                      <a:pt x="9" y="63"/>
                    </a:lnTo>
                    <a:lnTo>
                      <a:pt x="11" y="63"/>
                    </a:lnTo>
                    <a:lnTo>
                      <a:pt x="14" y="60"/>
                    </a:lnTo>
                    <a:lnTo>
                      <a:pt x="16" y="61"/>
                    </a:lnTo>
                    <a:lnTo>
                      <a:pt x="21" y="61"/>
                    </a:lnTo>
                    <a:lnTo>
                      <a:pt x="23" y="60"/>
                    </a:lnTo>
                    <a:lnTo>
                      <a:pt x="23" y="60"/>
                    </a:lnTo>
                    <a:lnTo>
                      <a:pt x="25" y="61"/>
                    </a:lnTo>
                    <a:lnTo>
                      <a:pt x="19" y="63"/>
                    </a:lnTo>
                    <a:lnTo>
                      <a:pt x="14" y="63"/>
                    </a:lnTo>
                    <a:lnTo>
                      <a:pt x="14" y="65"/>
                    </a:lnTo>
                    <a:lnTo>
                      <a:pt x="9" y="67"/>
                    </a:lnTo>
                    <a:lnTo>
                      <a:pt x="9" y="67"/>
                    </a:lnTo>
                    <a:lnTo>
                      <a:pt x="9" y="70"/>
                    </a:lnTo>
                    <a:lnTo>
                      <a:pt x="11" y="70"/>
                    </a:lnTo>
                    <a:lnTo>
                      <a:pt x="9" y="70"/>
                    </a:lnTo>
                    <a:lnTo>
                      <a:pt x="5" y="67"/>
                    </a:lnTo>
                    <a:lnTo>
                      <a:pt x="5" y="70"/>
                    </a:lnTo>
                    <a:lnTo>
                      <a:pt x="2" y="70"/>
                    </a:lnTo>
                    <a:lnTo>
                      <a:pt x="0" y="70"/>
                    </a:lnTo>
                    <a:lnTo>
                      <a:pt x="0" y="72"/>
                    </a:lnTo>
                    <a:lnTo>
                      <a:pt x="9" y="72"/>
                    </a:lnTo>
                    <a:lnTo>
                      <a:pt x="5" y="74"/>
                    </a:lnTo>
                    <a:lnTo>
                      <a:pt x="2" y="75"/>
                    </a:lnTo>
                    <a:lnTo>
                      <a:pt x="2" y="79"/>
                    </a:lnTo>
                    <a:lnTo>
                      <a:pt x="2" y="79"/>
                    </a:lnTo>
                    <a:lnTo>
                      <a:pt x="5" y="80"/>
                    </a:lnTo>
                    <a:lnTo>
                      <a:pt x="14" y="79"/>
                    </a:lnTo>
                    <a:lnTo>
                      <a:pt x="5" y="80"/>
                    </a:lnTo>
                    <a:lnTo>
                      <a:pt x="2" y="84"/>
                    </a:lnTo>
                    <a:lnTo>
                      <a:pt x="9" y="84"/>
                    </a:lnTo>
                    <a:lnTo>
                      <a:pt x="14" y="80"/>
                    </a:lnTo>
                    <a:lnTo>
                      <a:pt x="14" y="84"/>
                    </a:lnTo>
                    <a:lnTo>
                      <a:pt x="9" y="84"/>
                    </a:lnTo>
                    <a:lnTo>
                      <a:pt x="11" y="84"/>
                    </a:lnTo>
                    <a:lnTo>
                      <a:pt x="9" y="87"/>
                    </a:lnTo>
                    <a:lnTo>
                      <a:pt x="14" y="87"/>
                    </a:lnTo>
                    <a:lnTo>
                      <a:pt x="16" y="87"/>
                    </a:lnTo>
                    <a:lnTo>
                      <a:pt x="16" y="87"/>
                    </a:lnTo>
                    <a:lnTo>
                      <a:pt x="16" y="8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8" name="Freeform 24">
                <a:extLst>
                  <a:ext uri="{FF2B5EF4-FFF2-40B4-BE49-F238E27FC236}">
                    <a16:creationId xmlns:a16="http://schemas.microsoft.com/office/drawing/2014/main" id="{3354840D-10AC-433E-A181-B99D7489C6A4}"/>
                  </a:ext>
                </a:extLst>
              </p:cNvPr>
              <p:cNvSpPr>
                <a:spLocks noEditPoints="1"/>
              </p:cNvSpPr>
              <p:nvPr/>
            </p:nvSpPr>
            <p:spPr bwMode="auto">
              <a:xfrm>
                <a:off x="4260850" y="2351088"/>
                <a:ext cx="231775" cy="436563"/>
              </a:xfrm>
              <a:custGeom>
                <a:avLst/>
                <a:gdLst/>
                <a:ahLst/>
                <a:cxnLst>
                  <a:cxn ang="0">
                    <a:pos x="9" y="153"/>
                  </a:cxn>
                  <a:cxn ang="0">
                    <a:pos x="39" y="160"/>
                  </a:cxn>
                  <a:cxn ang="0">
                    <a:pos x="28" y="176"/>
                  </a:cxn>
                  <a:cxn ang="0">
                    <a:pos x="106" y="5"/>
                  </a:cxn>
                  <a:cxn ang="0">
                    <a:pos x="98" y="12"/>
                  </a:cxn>
                  <a:cxn ang="0">
                    <a:pos x="103" y="10"/>
                  </a:cxn>
                  <a:cxn ang="0">
                    <a:pos x="103" y="14"/>
                  </a:cxn>
                  <a:cxn ang="0">
                    <a:pos x="136" y="235"/>
                  </a:cxn>
                  <a:cxn ang="0">
                    <a:pos x="103" y="259"/>
                  </a:cxn>
                  <a:cxn ang="0">
                    <a:pos x="44" y="130"/>
                  </a:cxn>
                  <a:cxn ang="0">
                    <a:pos x="20" y="116"/>
                  </a:cxn>
                  <a:cxn ang="0">
                    <a:pos x="32" y="106"/>
                  </a:cxn>
                  <a:cxn ang="0">
                    <a:pos x="27" y="102"/>
                  </a:cxn>
                  <a:cxn ang="0">
                    <a:pos x="70" y="56"/>
                  </a:cxn>
                  <a:cxn ang="0">
                    <a:pos x="66" y="59"/>
                  </a:cxn>
                  <a:cxn ang="0">
                    <a:pos x="23" y="76"/>
                  </a:cxn>
                  <a:cxn ang="0">
                    <a:pos x="20" y="80"/>
                  </a:cxn>
                  <a:cxn ang="0">
                    <a:pos x="18" y="89"/>
                  </a:cxn>
                  <a:cxn ang="0">
                    <a:pos x="18" y="92"/>
                  </a:cxn>
                  <a:cxn ang="0">
                    <a:pos x="13" y="102"/>
                  </a:cxn>
                  <a:cxn ang="0">
                    <a:pos x="16" y="101"/>
                  </a:cxn>
                  <a:cxn ang="0">
                    <a:pos x="28" y="92"/>
                  </a:cxn>
                  <a:cxn ang="0">
                    <a:pos x="32" y="102"/>
                  </a:cxn>
                  <a:cxn ang="0">
                    <a:pos x="30" y="120"/>
                  </a:cxn>
                  <a:cxn ang="0">
                    <a:pos x="32" y="134"/>
                  </a:cxn>
                  <a:cxn ang="0">
                    <a:pos x="40" y="142"/>
                  </a:cxn>
                  <a:cxn ang="0">
                    <a:pos x="56" y="189"/>
                  </a:cxn>
                  <a:cxn ang="0">
                    <a:pos x="51" y="176"/>
                  </a:cxn>
                  <a:cxn ang="0">
                    <a:pos x="49" y="262"/>
                  </a:cxn>
                  <a:cxn ang="0">
                    <a:pos x="66" y="261"/>
                  </a:cxn>
                  <a:cxn ang="0">
                    <a:pos x="100" y="256"/>
                  </a:cxn>
                  <a:cxn ang="0">
                    <a:pos x="129" y="250"/>
                  </a:cxn>
                  <a:cxn ang="0">
                    <a:pos x="136" y="238"/>
                  </a:cxn>
                  <a:cxn ang="0">
                    <a:pos x="134" y="229"/>
                  </a:cxn>
                  <a:cxn ang="0">
                    <a:pos x="141" y="222"/>
                  </a:cxn>
                  <a:cxn ang="0">
                    <a:pos x="120" y="203"/>
                  </a:cxn>
                  <a:cxn ang="0">
                    <a:pos x="110" y="181"/>
                  </a:cxn>
                  <a:cxn ang="0">
                    <a:pos x="113" y="170"/>
                  </a:cxn>
                  <a:cxn ang="0">
                    <a:pos x="84" y="130"/>
                  </a:cxn>
                  <a:cxn ang="0">
                    <a:pos x="72" y="125"/>
                  </a:cxn>
                  <a:cxn ang="0">
                    <a:pos x="79" y="111"/>
                  </a:cxn>
                  <a:cxn ang="0">
                    <a:pos x="77" y="87"/>
                  </a:cxn>
                  <a:cxn ang="0">
                    <a:pos x="60" y="87"/>
                  </a:cxn>
                  <a:cxn ang="0">
                    <a:pos x="72" y="64"/>
                  </a:cxn>
                  <a:cxn ang="0">
                    <a:pos x="49" y="66"/>
                  </a:cxn>
                  <a:cxn ang="0">
                    <a:pos x="44" y="83"/>
                  </a:cxn>
                  <a:cxn ang="0">
                    <a:pos x="40" y="92"/>
                  </a:cxn>
                  <a:cxn ang="0">
                    <a:pos x="39" y="97"/>
                  </a:cxn>
                  <a:cxn ang="0">
                    <a:pos x="33" y="109"/>
                  </a:cxn>
                  <a:cxn ang="0">
                    <a:pos x="44" y="111"/>
                  </a:cxn>
                  <a:cxn ang="0">
                    <a:pos x="37" y="137"/>
                  </a:cxn>
                  <a:cxn ang="0">
                    <a:pos x="40" y="127"/>
                  </a:cxn>
                  <a:cxn ang="0">
                    <a:pos x="47" y="134"/>
                  </a:cxn>
                  <a:cxn ang="0">
                    <a:pos x="54" y="160"/>
                  </a:cxn>
                  <a:cxn ang="0">
                    <a:pos x="68" y="170"/>
                  </a:cxn>
                  <a:cxn ang="0">
                    <a:pos x="80" y="191"/>
                  </a:cxn>
                  <a:cxn ang="0">
                    <a:pos x="54" y="202"/>
                  </a:cxn>
                  <a:cxn ang="0">
                    <a:pos x="56" y="219"/>
                  </a:cxn>
                  <a:cxn ang="0">
                    <a:pos x="46" y="235"/>
                  </a:cxn>
                  <a:cxn ang="0">
                    <a:pos x="66" y="238"/>
                  </a:cxn>
                  <a:cxn ang="0">
                    <a:pos x="68" y="243"/>
                  </a:cxn>
                  <a:cxn ang="0">
                    <a:pos x="40" y="266"/>
                  </a:cxn>
                </a:cxnLst>
                <a:rect l="0" t="0" r="r" b="b"/>
                <a:pathLst>
                  <a:path w="146" h="275">
                    <a:moveTo>
                      <a:pt x="28" y="176"/>
                    </a:moveTo>
                    <a:lnTo>
                      <a:pt x="27" y="174"/>
                    </a:lnTo>
                    <a:lnTo>
                      <a:pt x="23" y="174"/>
                    </a:lnTo>
                    <a:lnTo>
                      <a:pt x="20" y="167"/>
                    </a:lnTo>
                    <a:lnTo>
                      <a:pt x="14" y="165"/>
                    </a:lnTo>
                    <a:lnTo>
                      <a:pt x="13" y="167"/>
                    </a:lnTo>
                    <a:lnTo>
                      <a:pt x="11" y="170"/>
                    </a:lnTo>
                    <a:lnTo>
                      <a:pt x="9" y="170"/>
                    </a:lnTo>
                    <a:lnTo>
                      <a:pt x="0" y="165"/>
                    </a:lnTo>
                    <a:lnTo>
                      <a:pt x="6" y="156"/>
                    </a:lnTo>
                    <a:lnTo>
                      <a:pt x="9" y="156"/>
                    </a:lnTo>
                    <a:lnTo>
                      <a:pt x="9" y="153"/>
                    </a:lnTo>
                    <a:lnTo>
                      <a:pt x="13" y="151"/>
                    </a:lnTo>
                    <a:lnTo>
                      <a:pt x="14" y="151"/>
                    </a:lnTo>
                    <a:lnTo>
                      <a:pt x="18" y="151"/>
                    </a:lnTo>
                    <a:lnTo>
                      <a:pt x="18" y="148"/>
                    </a:lnTo>
                    <a:lnTo>
                      <a:pt x="20" y="148"/>
                    </a:lnTo>
                    <a:lnTo>
                      <a:pt x="23" y="148"/>
                    </a:lnTo>
                    <a:lnTo>
                      <a:pt x="28" y="148"/>
                    </a:lnTo>
                    <a:lnTo>
                      <a:pt x="30" y="148"/>
                    </a:lnTo>
                    <a:lnTo>
                      <a:pt x="30" y="151"/>
                    </a:lnTo>
                    <a:lnTo>
                      <a:pt x="35" y="158"/>
                    </a:lnTo>
                    <a:lnTo>
                      <a:pt x="33" y="160"/>
                    </a:lnTo>
                    <a:lnTo>
                      <a:pt x="39" y="160"/>
                    </a:lnTo>
                    <a:lnTo>
                      <a:pt x="39" y="169"/>
                    </a:lnTo>
                    <a:lnTo>
                      <a:pt x="37" y="162"/>
                    </a:lnTo>
                    <a:lnTo>
                      <a:pt x="35" y="162"/>
                    </a:lnTo>
                    <a:lnTo>
                      <a:pt x="37" y="165"/>
                    </a:lnTo>
                    <a:lnTo>
                      <a:pt x="35" y="167"/>
                    </a:lnTo>
                    <a:lnTo>
                      <a:pt x="39" y="169"/>
                    </a:lnTo>
                    <a:lnTo>
                      <a:pt x="37" y="170"/>
                    </a:lnTo>
                    <a:lnTo>
                      <a:pt x="33" y="170"/>
                    </a:lnTo>
                    <a:lnTo>
                      <a:pt x="33" y="170"/>
                    </a:lnTo>
                    <a:lnTo>
                      <a:pt x="30" y="176"/>
                    </a:lnTo>
                    <a:lnTo>
                      <a:pt x="28" y="174"/>
                    </a:lnTo>
                    <a:lnTo>
                      <a:pt x="28" y="176"/>
                    </a:lnTo>
                    <a:lnTo>
                      <a:pt x="28" y="176"/>
                    </a:lnTo>
                    <a:lnTo>
                      <a:pt x="28" y="176"/>
                    </a:lnTo>
                    <a:lnTo>
                      <a:pt x="28" y="176"/>
                    </a:lnTo>
                    <a:lnTo>
                      <a:pt x="28" y="176"/>
                    </a:lnTo>
                    <a:close/>
                    <a:moveTo>
                      <a:pt x="100" y="24"/>
                    </a:moveTo>
                    <a:lnTo>
                      <a:pt x="101" y="23"/>
                    </a:lnTo>
                    <a:lnTo>
                      <a:pt x="101" y="24"/>
                    </a:lnTo>
                    <a:lnTo>
                      <a:pt x="100" y="24"/>
                    </a:lnTo>
                    <a:lnTo>
                      <a:pt x="100" y="24"/>
                    </a:lnTo>
                    <a:lnTo>
                      <a:pt x="100" y="24"/>
                    </a:lnTo>
                    <a:lnTo>
                      <a:pt x="100" y="24"/>
                    </a:lnTo>
                    <a:close/>
                    <a:moveTo>
                      <a:pt x="106" y="5"/>
                    </a:moveTo>
                    <a:lnTo>
                      <a:pt x="103" y="3"/>
                    </a:lnTo>
                    <a:lnTo>
                      <a:pt x="106" y="0"/>
                    </a:lnTo>
                    <a:lnTo>
                      <a:pt x="106" y="5"/>
                    </a:lnTo>
                    <a:lnTo>
                      <a:pt x="106" y="5"/>
                    </a:lnTo>
                    <a:lnTo>
                      <a:pt x="106" y="5"/>
                    </a:lnTo>
                    <a:lnTo>
                      <a:pt x="106" y="5"/>
                    </a:lnTo>
                    <a:close/>
                    <a:moveTo>
                      <a:pt x="98" y="12"/>
                    </a:moveTo>
                    <a:lnTo>
                      <a:pt x="98" y="9"/>
                    </a:lnTo>
                    <a:lnTo>
                      <a:pt x="96" y="9"/>
                    </a:lnTo>
                    <a:lnTo>
                      <a:pt x="96" y="12"/>
                    </a:lnTo>
                    <a:lnTo>
                      <a:pt x="96" y="12"/>
                    </a:lnTo>
                    <a:lnTo>
                      <a:pt x="98" y="12"/>
                    </a:lnTo>
                    <a:lnTo>
                      <a:pt x="98" y="12"/>
                    </a:lnTo>
                    <a:lnTo>
                      <a:pt x="98" y="12"/>
                    </a:lnTo>
                    <a:lnTo>
                      <a:pt x="98" y="12"/>
                    </a:lnTo>
                    <a:close/>
                    <a:moveTo>
                      <a:pt x="103" y="10"/>
                    </a:moveTo>
                    <a:lnTo>
                      <a:pt x="100" y="9"/>
                    </a:lnTo>
                    <a:lnTo>
                      <a:pt x="101" y="7"/>
                    </a:lnTo>
                    <a:lnTo>
                      <a:pt x="101" y="3"/>
                    </a:lnTo>
                    <a:lnTo>
                      <a:pt x="103" y="5"/>
                    </a:lnTo>
                    <a:lnTo>
                      <a:pt x="103" y="9"/>
                    </a:lnTo>
                    <a:lnTo>
                      <a:pt x="103" y="10"/>
                    </a:lnTo>
                    <a:lnTo>
                      <a:pt x="103" y="10"/>
                    </a:lnTo>
                    <a:lnTo>
                      <a:pt x="103" y="10"/>
                    </a:lnTo>
                    <a:lnTo>
                      <a:pt x="103" y="10"/>
                    </a:lnTo>
                    <a:close/>
                    <a:moveTo>
                      <a:pt x="101" y="21"/>
                    </a:moveTo>
                    <a:lnTo>
                      <a:pt x="100" y="19"/>
                    </a:lnTo>
                    <a:lnTo>
                      <a:pt x="94" y="17"/>
                    </a:lnTo>
                    <a:lnTo>
                      <a:pt x="93" y="16"/>
                    </a:lnTo>
                    <a:lnTo>
                      <a:pt x="96" y="16"/>
                    </a:lnTo>
                    <a:lnTo>
                      <a:pt x="100" y="16"/>
                    </a:lnTo>
                    <a:lnTo>
                      <a:pt x="100" y="14"/>
                    </a:lnTo>
                    <a:lnTo>
                      <a:pt x="100" y="12"/>
                    </a:lnTo>
                    <a:lnTo>
                      <a:pt x="100" y="12"/>
                    </a:lnTo>
                    <a:lnTo>
                      <a:pt x="101" y="12"/>
                    </a:lnTo>
                    <a:lnTo>
                      <a:pt x="103" y="14"/>
                    </a:lnTo>
                    <a:lnTo>
                      <a:pt x="103" y="16"/>
                    </a:lnTo>
                    <a:lnTo>
                      <a:pt x="103" y="17"/>
                    </a:lnTo>
                    <a:lnTo>
                      <a:pt x="101" y="19"/>
                    </a:lnTo>
                    <a:lnTo>
                      <a:pt x="103" y="23"/>
                    </a:lnTo>
                    <a:lnTo>
                      <a:pt x="101" y="21"/>
                    </a:lnTo>
                    <a:lnTo>
                      <a:pt x="101" y="21"/>
                    </a:lnTo>
                    <a:lnTo>
                      <a:pt x="101" y="21"/>
                    </a:lnTo>
                    <a:lnTo>
                      <a:pt x="101" y="21"/>
                    </a:lnTo>
                    <a:close/>
                    <a:moveTo>
                      <a:pt x="133" y="238"/>
                    </a:moveTo>
                    <a:lnTo>
                      <a:pt x="134" y="238"/>
                    </a:lnTo>
                    <a:lnTo>
                      <a:pt x="136" y="238"/>
                    </a:lnTo>
                    <a:lnTo>
                      <a:pt x="136" y="235"/>
                    </a:lnTo>
                    <a:lnTo>
                      <a:pt x="134" y="235"/>
                    </a:lnTo>
                    <a:lnTo>
                      <a:pt x="133" y="238"/>
                    </a:lnTo>
                    <a:lnTo>
                      <a:pt x="133" y="238"/>
                    </a:lnTo>
                    <a:lnTo>
                      <a:pt x="133" y="238"/>
                    </a:lnTo>
                    <a:lnTo>
                      <a:pt x="133" y="238"/>
                    </a:lnTo>
                    <a:close/>
                    <a:moveTo>
                      <a:pt x="98" y="256"/>
                    </a:moveTo>
                    <a:lnTo>
                      <a:pt x="103" y="254"/>
                    </a:lnTo>
                    <a:lnTo>
                      <a:pt x="103" y="256"/>
                    </a:lnTo>
                    <a:lnTo>
                      <a:pt x="106" y="256"/>
                    </a:lnTo>
                    <a:lnTo>
                      <a:pt x="106" y="257"/>
                    </a:lnTo>
                    <a:lnTo>
                      <a:pt x="106" y="259"/>
                    </a:lnTo>
                    <a:lnTo>
                      <a:pt x="103" y="259"/>
                    </a:lnTo>
                    <a:lnTo>
                      <a:pt x="101" y="257"/>
                    </a:lnTo>
                    <a:lnTo>
                      <a:pt x="98" y="256"/>
                    </a:lnTo>
                    <a:lnTo>
                      <a:pt x="98" y="256"/>
                    </a:lnTo>
                    <a:lnTo>
                      <a:pt x="98" y="256"/>
                    </a:lnTo>
                    <a:lnTo>
                      <a:pt x="98" y="256"/>
                    </a:lnTo>
                    <a:close/>
                    <a:moveTo>
                      <a:pt x="44" y="130"/>
                    </a:moveTo>
                    <a:lnTo>
                      <a:pt x="44" y="134"/>
                    </a:lnTo>
                    <a:lnTo>
                      <a:pt x="44" y="136"/>
                    </a:lnTo>
                    <a:lnTo>
                      <a:pt x="44" y="132"/>
                    </a:lnTo>
                    <a:lnTo>
                      <a:pt x="44" y="130"/>
                    </a:lnTo>
                    <a:lnTo>
                      <a:pt x="44" y="130"/>
                    </a:lnTo>
                    <a:lnTo>
                      <a:pt x="44" y="130"/>
                    </a:lnTo>
                    <a:lnTo>
                      <a:pt x="44" y="130"/>
                    </a:lnTo>
                    <a:close/>
                    <a:moveTo>
                      <a:pt x="28" y="129"/>
                    </a:moveTo>
                    <a:lnTo>
                      <a:pt x="28" y="125"/>
                    </a:lnTo>
                    <a:lnTo>
                      <a:pt x="30" y="127"/>
                    </a:lnTo>
                    <a:lnTo>
                      <a:pt x="28" y="129"/>
                    </a:lnTo>
                    <a:lnTo>
                      <a:pt x="28" y="129"/>
                    </a:lnTo>
                    <a:lnTo>
                      <a:pt x="28" y="129"/>
                    </a:lnTo>
                    <a:lnTo>
                      <a:pt x="28" y="129"/>
                    </a:lnTo>
                    <a:close/>
                    <a:moveTo>
                      <a:pt x="20" y="116"/>
                    </a:moveTo>
                    <a:lnTo>
                      <a:pt x="20" y="115"/>
                    </a:lnTo>
                    <a:lnTo>
                      <a:pt x="23" y="115"/>
                    </a:lnTo>
                    <a:lnTo>
                      <a:pt x="20" y="116"/>
                    </a:lnTo>
                    <a:lnTo>
                      <a:pt x="20" y="116"/>
                    </a:lnTo>
                    <a:lnTo>
                      <a:pt x="20" y="116"/>
                    </a:lnTo>
                    <a:lnTo>
                      <a:pt x="20" y="116"/>
                    </a:lnTo>
                    <a:close/>
                    <a:moveTo>
                      <a:pt x="23" y="115"/>
                    </a:moveTo>
                    <a:lnTo>
                      <a:pt x="27" y="111"/>
                    </a:lnTo>
                    <a:lnTo>
                      <a:pt x="27" y="111"/>
                    </a:lnTo>
                    <a:lnTo>
                      <a:pt x="23" y="115"/>
                    </a:lnTo>
                    <a:lnTo>
                      <a:pt x="23" y="115"/>
                    </a:lnTo>
                    <a:lnTo>
                      <a:pt x="23" y="115"/>
                    </a:lnTo>
                    <a:lnTo>
                      <a:pt x="23" y="115"/>
                    </a:lnTo>
                    <a:close/>
                    <a:moveTo>
                      <a:pt x="30" y="108"/>
                    </a:moveTo>
                    <a:lnTo>
                      <a:pt x="32" y="106"/>
                    </a:lnTo>
                    <a:lnTo>
                      <a:pt x="30" y="106"/>
                    </a:lnTo>
                    <a:lnTo>
                      <a:pt x="30" y="108"/>
                    </a:lnTo>
                    <a:lnTo>
                      <a:pt x="30" y="108"/>
                    </a:lnTo>
                    <a:lnTo>
                      <a:pt x="30" y="108"/>
                    </a:lnTo>
                    <a:lnTo>
                      <a:pt x="30" y="108"/>
                    </a:lnTo>
                    <a:close/>
                    <a:moveTo>
                      <a:pt x="27" y="102"/>
                    </a:moveTo>
                    <a:lnTo>
                      <a:pt x="28" y="106"/>
                    </a:lnTo>
                    <a:lnTo>
                      <a:pt x="28" y="104"/>
                    </a:lnTo>
                    <a:lnTo>
                      <a:pt x="28" y="102"/>
                    </a:lnTo>
                    <a:lnTo>
                      <a:pt x="27" y="102"/>
                    </a:lnTo>
                    <a:lnTo>
                      <a:pt x="27" y="102"/>
                    </a:lnTo>
                    <a:lnTo>
                      <a:pt x="27" y="102"/>
                    </a:lnTo>
                    <a:lnTo>
                      <a:pt x="27" y="102"/>
                    </a:lnTo>
                    <a:close/>
                    <a:moveTo>
                      <a:pt x="70" y="52"/>
                    </a:moveTo>
                    <a:lnTo>
                      <a:pt x="72" y="52"/>
                    </a:lnTo>
                    <a:lnTo>
                      <a:pt x="72" y="52"/>
                    </a:lnTo>
                    <a:lnTo>
                      <a:pt x="70" y="52"/>
                    </a:lnTo>
                    <a:lnTo>
                      <a:pt x="70" y="52"/>
                    </a:lnTo>
                    <a:lnTo>
                      <a:pt x="70" y="52"/>
                    </a:lnTo>
                    <a:lnTo>
                      <a:pt x="70" y="52"/>
                    </a:lnTo>
                    <a:close/>
                    <a:moveTo>
                      <a:pt x="66" y="52"/>
                    </a:moveTo>
                    <a:lnTo>
                      <a:pt x="68" y="52"/>
                    </a:lnTo>
                    <a:lnTo>
                      <a:pt x="72" y="56"/>
                    </a:lnTo>
                    <a:lnTo>
                      <a:pt x="70" y="56"/>
                    </a:lnTo>
                    <a:lnTo>
                      <a:pt x="73" y="56"/>
                    </a:lnTo>
                    <a:lnTo>
                      <a:pt x="73" y="59"/>
                    </a:lnTo>
                    <a:lnTo>
                      <a:pt x="72" y="59"/>
                    </a:lnTo>
                    <a:lnTo>
                      <a:pt x="68" y="59"/>
                    </a:lnTo>
                    <a:lnTo>
                      <a:pt x="68" y="56"/>
                    </a:lnTo>
                    <a:lnTo>
                      <a:pt x="66" y="59"/>
                    </a:lnTo>
                    <a:lnTo>
                      <a:pt x="66" y="56"/>
                    </a:lnTo>
                    <a:lnTo>
                      <a:pt x="66" y="52"/>
                    </a:lnTo>
                    <a:lnTo>
                      <a:pt x="66" y="52"/>
                    </a:lnTo>
                    <a:lnTo>
                      <a:pt x="66" y="52"/>
                    </a:lnTo>
                    <a:lnTo>
                      <a:pt x="66" y="52"/>
                    </a:lnTo>
                    <a:close/>
                    <a:moveTo>
                      <a:pt x="66" y="59"/>
                    </a:moveTo>
                    <a:lnTo>
                      <a:pt x="68" y="61"/>
                    </a:lnTo>
                    <a:lnTo>
                      <a:pt x="68" y="59"/>
                    </a:lnTo>
                    <a:lnTo>
                      <a:pt x="68" y="59"/>
                    </a:lnTo>
                    <a:lnTo>
                      <a:pt x="66" y="59"/>
                    </a:lnTo>
                    <a:lnTo>
                      <a:pt x="66" y="59"/>
                    </a:lnTo>
                    <a:lnTo>
                      <a:pt x="66" y="59"/>
                    </a:lnTo>
                    <a:lnTo>
                      <a:pt x="66" y="59"/>
                    </a:lnTo>
                    <a:close/>
                    <a:moveTo>
                      <a:pt x="20" y="80"/>
                    </a:moveTo>
                    <a:lnTo>
                      <a:pt x="21" y="78"/>
                    </a:lnTo>
                    <a:lnTo>
                      <a:pt x="20" y="76"/>
                    </a:lnTo>
                    <a:lnTo>
                      <a:pt x="21" y="75"/>
                    </a:lnTo>
                    <a:lnTo>
                      <a:pt x="23" y="76"/>
                    </a:lnTo>
                    <a:lnTo>
                      <a:pt x="23" y="73"/>
                    </a:lnTo>
                    <a:lnTo>
                      <a:pt x="30" y="68"/>
                    </a:lnTo>
                    <a:lnTo>
                      <a:pt x="30" y="71"/>
                    </a:lnTo>
                    <a:lnTo>
                      <a:pt x="28" y="75"/>
                    </a:lnTo>
                    <a:lnTo>
                      <a:pt x="27" y="78"/>
                    </a:lnTo>
                    <a:lnTo>
                      <a:pt x="28" y="78"/>
                    </a:lnTo>
                    <a:lnTo>
                      <a:pt x="27" y="82"/>
                    </a:lnTo>
                    <a:lnTo>
                      <a:pt x="23" y="80"/>
                    </a:lnTo>
                    <a:lnTo>
                      <a:pt x="21" y="82"/>
                    </a:lnTo>
                    <a:lnTo>
                      <a:pt x="20" y="80"/>
                    </a:lnTo>
                    <a:lnTo>
                      <a:pt x="20" y="80"/>
                    </a:lnTo>
                    <a:lnTo>
                      <a:pt x="20" y="80"/>
                    </a:lnTo>
                    <a:lnTo>
                      <a:pt x="20" y="80"/>
                    </a:lnTo>
                    <a:close/>
                    <a:moveTo>
                      <a:pt x="20" y="83"/>
                    </a:moveTo>
                    <a:lnTo>
                      <a:pt x="21" y="87"/>
                    </a:lnTo>
                    <a:lnTo>
                      <a:pt x="23" y="83"/>
                    </a:lnTo>
                    <a:lnTo>
                      <a:pt x="23" y="82"/>
                    </a:lnTo>
                    <a:lnTo>
                      <a:pt x="21" y="83"/>
                    </a:lnTo>
                    <a:lnTo>
                      <a:pt x="20" y="83"/>
                    </a:lnTo>
                    <a:lnTo>
                      <a:pt x="20" y="83"/>
                    </a:lnTo>
                    <a:lnTo>
                      <a:pt x="20" y="83"/>
                    </a:lnTo>
                    <a:lnTo>
                      <a:pt x="20" y="83"/>
                    </a:lnTo>
                    <a:lnTo>
                      <a:pt x="20" y="83"/>
                    </a:lnTo>
                    <a:close/>
                    <a:moveTo>
                      <a:pt x="18" y="89"/>
                    </a:moveTo>
                    <a:lnTo>
                      <a:pt x="14" y="92"/>
                    </a:lnTo>
                    <a:lnTo>
                      <a:pt x="13" y="87"/>
                    </a:lnTo>
                    <a:lnTo>
                      <a:pt x="14" y="87"/>
                    </a:lnTo>
                    <a:lnTo>
                      <a:pt x="18" y="87"/>
                    </a:lnTo>
                    <a:lnTo>
                      <a:pt x="18" y="89"/>
                    </a:lnTo>
                    <a:lnTo>
                      <a:pt x="18" y="89"/>
                    </a:lnTo>
                    <a:lnTo>
                      <a:pt x="18" y="89"/>
                    </a:lnTo>
                    <a:lnTo>
                      <a:pt x="18" y="89"/>
                    </a:lnTo>
                    <a:close/>
                    <a:moveTo>
                      <a:pt x="16" y="94"/>
                    </a:moveTo>
                    <a:lnTo>
                      <a:pt x="14" y="92"/>
                    </a:lnTo>
                    <a:lnTo>
                      <a:pt x="14" y="92"/>
                    </a:lnTo>
                    <a:lnTo>
                      <a:pt x="18" y="92"/>
                    </a:lnTo>
                    <a:lnTo>
                      <a:pt x="16" y="94"/>
                    </a:lnTo>
                    <a:lnTo>
                      <a:pt x="16" y="94"/>
                    </a:lnTo>
                    <a:lnTo>
                      <a:pt x="16" y="94"/>
                    </a:lnTo>
                    <a:lnTo>
                      <a:pt x="16" y="94"/>
                    </a:lnTo>
                    <a:close/>
                    <a:moveTo>
                      <a:pt x="13" y="102"/>
                    </a:moveTo>
                    <a:lnTo>
                      <a:pt x="14" y="104"/>
                    </a:lnTo>
                    <a:lnTo>
                      <a:pt x="11" y="106"/>
                    </a:lnTo>
                    <a:lnTo>
                      <a:pt x="11" y="104"/>
                    </a:lnTo>
                    <a:lnTo>
                      <a:pt x="13" y="102"/>
                    </a:lnTo>
                    <a:lnTo>
                      <a:pt x="13" y="102"/>
                    </a:lnTo>
                    <a:lnTo>
                      <a:pt x="13" y="102"/>
                    </a:lnTo>
                    <a:lnTo>
                      <a:pt x="13" y="102"/>
                    </a:lnTo>
                    <a:close/>
                    <a:moveTo>
                      <a:pt x="16" y="101"/>
                    </a:moveTo>
                    <a:lnTo>
                      <a:pt x="16" y="97"/>
                    </a:lnTo>
                    <a:lnTo>
                      <a:pt x="16" y="96"/>
                    </a:lnTo>
                    <a:lnTo>
                      <a:pt x="16" y="94"/>
                    </a:lnTo>
                    <a:lnTo>
                      <a:pt x="14" y="94"/>
                    </a:lnTo>
                    <a:lnTo>
                      <a:pt x="14" y="96"/>
                    </a:lnTo>
                    <a:lnTo>
                      <a:pt x="13" y="97"/>
                    </a:lnTo>
                    <a:lnTo>
                      <a:pt x="14" y="101"/>
                    </a:lnTo>
                    <a:lnTo>
                      <a:pt x="16" y="101"/>
                    </a:lnTo>
                    <a:lnTo>
                      <a:pt x="16" y="101"/>
                    </a:lnTo>
                    <a:lnTo>
                      <a:pt x="16" y="101"/>
                    </a:lnTo>
                    <a:lnTo>
                      <a:pt x="16" y="101"/>
                    </a:lnTo>
                    <a:close/>
                    <a:moveTo>
                      <a:pt x="32" y="102"/>
                    </a:moveTo>
                    <a:lnTo>
                      <a:pt x="32" y="99"/>
                    </a:lnTo>
                    <a:lnTo>
                      <a:pt x="28" y="99"/>
                    </a:lnTo>
                    <a:lnTo>
                      <a:pt x="27" y="96"/>
                    </a:lnTo>
                    <a:lnTo>
                      <a:pt x="27" y="94"/>
                    </a:lnTo>
                    <a:lnTo>
                      <a:pt x="27" y="94"/>
                    </a:lnTo>
                    <a:lnTo>
                      <a:pt x="27" y="96"/>
                    </a:lnTo>
                    <a:lnTo>
                      <a:pt x="23" y="92"/>
                    </a:lnTo>
                    <a:lnTo>
                      <a:pt x="23" y="92"/>
                    </a:lnTo>
                    <a:lnTo>
                      <a:pt x="23" y="92"/>
                    </a:lnTo>
                    <a:lnTo>
                      <a:pt x="23" y="89"/>
                    </a:lnTo>
                    <a:lnTo>
                      <a:pt x="28" y="92"/>
                    </a:lnTo>
                    <a:lnTo>
                      <a:pt x="27" y="87"/>
                    </a:lnTo>
                    <a:lnTo>
                      <a:pt x="28" y="87"/>
                    </a:lnTo>
                    <a:lnTo>
                      <a:pt x="30" y="92"/>
                    </a:lnTo>
                    <a:lnTo>
                      <a:pt x="30" y="96"/>
                    </a:lnTo>
                    <a:lnTo>
                      <a:pt x="33" y="97"/>
                    </a:lnTo>
                    <a:lnTo>
                      <a:pt x="35" y="97"/>
                    </a:lnTo>
                    <a:lnTo>
                      <a:pt x="37" y="97"/>
                    </a:lnTo>
                    <a:lnTo>
                      <a:pt x="35" y="99"/>
                    </a:lnTo>
                    <a:lnTo>
                      <a:pt x="33" y="102"/>
                    </a:lnTo>
                    <a:lnTo>
                      <a:pt x="32" y="102"/>
                    </a:lnTo>
                    <a:lnTo>
                      <a:pt x="32" y="102"/>
                    </a:lnTo>
                    <a:lnTo>
                      <a:pt x="32" y="102"/>
                    </a:lnTo>
                    <a:lnTo>
                      <a:pt x="32" y="102"/>
                    </a:lnTo>
                    <a:close/>
                    <a:moveTo>
                      <a:pt x="27" y="120"/>
                    </a:moveTo>
                    <a:lnTo>
                      <a:pt x="33" y="120"/>
                    </a:lnTo>
                    <a:lnTo>
                      <a:pt x="33" y="120"/>
                    </a:lnTo>
                    <a:lnTo>
                      <a:pt x="37" y="120"/>
                    </a:lnTo>
                    <a:lnTo>
                      <a:pt x="35" y="115"/>
                    </a:lnTo>
                    <a:lnTo>
                      <a:pt x="33" y="115"/>
                    </a:lnTo>
                    <a:lnTo>
                      <a:pt x="30" y="111"/>
                    </a:lnTo>
                    <a:lnTo>
                      <a:pt x="27" y="115"/>
                    </a:lnTo>
                    <a:lnTo>
                      <a:pt x="32" y="116"/>
                    </a:lnTo>
                    <a:lnTo>
                      <a:pt x="28" y="116"/>
                    </a:lnTo>
                    <a:lnTo>
                      <a:pt x="30" y="120"/>
                    </a:lnTo>
                    <a:lnTo>
                      <a:pt x="27" y="120"/>
                    </a:lnTo>
                    <a:lnTo>
                      <a:pt x="27" y="120"/>
                    </a:lnTo>
                    <a:lnTo>
                      <a:pt x="27" y="120"/>
                    </a:lnTo>
                    <a:lnTo>
                      <a:pt x="27" y="120"/>
                    </a:lnTo>
                    <a:close/>
                    <a:moveTo>
                      <a:pt x="32" y="134"/>
                    </a:moveTo>
                    <a:lnTo>
                      <a:pt x="30" y="130"/>
                    </a:lnTo>
                    <a:lnTo>
                      <a:pt x="37" y="123"/>
                    </a:lnTo>
                    <a:lnTo>
                      <a:pt x="33" y="130"/>
                    </a:lnTo>
                    <a:lnTo>
                      <a:pt x="32" y="134"/>
                    </a:lnTo>
                    <a:lnTo>
                      <a:pt x="32" y="134"/>
                    </a:lnTo>
                    <a:lnTo>
                      <a:pt x="32" y="134"/>
                    </a:lnTo>
                    <a:lnTo>
                      <a:pt x="32" y="134"/>
                    </a:lnTo>
                    <a:close/>
                    <a:moveTo>
                      <a:pt x="27" y="137"/>
                    </a:moveTo>
                    <a:lnTo>
                      <a:pt x="30" y="136"/>
                    </a:lnTo>
                    <a:lnTo>
                      <a:pt x="30" y="130"/>
                    </a:lnTo>
                    <a:lnTo>
                      <a:pt x="27" y="132"/>
                    </a:lnTo>
                    <a:lnTo>
                      <a:pt x="27" y="137"/>
                    </a:lnTo>
                    <a:lnTo>
                      <a:pt x="28" y="134"/>
                    </a:lnTo>
                    <a:lnTo>
                      <a:pt x="27" y="137"/>
                    </a:lnTo>
                    <a:lnTo>
                      <a:pt x="27" y="137"/>
                    </a:lnTo>
                    <a:lnTo>
                      <a:pt x="27" y="137"/>
                    </a:lnTo>
                    <a:lnTo>
                      <a:pt x="27" y="137"/>
                    </a:lnTo>
                    <a:close/>
                    <a:moveTo>
                      <a:pt x="40" y="137"/>
                    </a:moveTo>
                    <a:lnTo>
                      <a:pt x="40" y="142"/>
                    </a:lnTo>
                    <a:lnTo>
                      <a:pt x="44" y="142"/>
                    </a:lnTo>
                    <a:lnTo>
                      <a:pt x="44" y="139"/>
                    </a:lnTo>
                    <a:lnTo>
                      <a:pt x="44" y="136"/>
                    </a:lnTo>
                    <a:lnTo>
                      <a:pt x="40" y="137"/>
                    </a:lnTo>
                    <a:lnTo>
                      <a:pt x="40" y="137"/>
                    </a:lnTo>
                    <a:lnTo>
                      <a:pt x="40" y="137"/>
                    </a:lnTo>
                    <a:lnTo>
                      <a:pt x="40" y="137"/>
                    </a:lnTo>
                    <a:close/>
                    <a:moveTo>
                      <a:pt x="51" y="193"/>
                    </a:moveTo>
                    <a:lnTo>
                      <a:pt x="56" y="196"/>
                    </a:lnTo>
                    <a:lnTo>
                      <a:pt x="60" y="193"/>
                    </a:lnTo>
                    <a:lnTo>
                      <a:pt x="56" y="193"/>
                    </a:lnTo>
                    <a:lnTo>
                      <a:pt x="56" y="189"/>
                    </a:lnTo>
                    <a:lnTo>
                      <a:pt x="51" y="191"/>
                    </a:lnTo>
                    <a:lnTo>
                      <a:pt x="51" y="191"/>
                    </a:lnTo>
                    <a:lnTo>
                      <a:pt x="51" y="193"/>
                    </a:lnTo>
                    <a:lnTo>
                      <a:pt x="51" y="193"/>
                    </a:lnTo>
                    <a:lnTo>
                      <a:pt x="51" y="193"/>
                    </a:lnTo>
                    <a:lnTo>
                      <a:pt x="51" y="193"/>
                    </a:lnTo>
                    <a:close/>
                    <a:moveTo>
                      <a:pt x="47" y="176"/>
                    </a:moveTo>
                    <a:lnTo>
                      <a:pt x="49" y="170"/>
                    </a:lnTo>
                    <a:lnTo>
                      <a:pt x="54" y="167"/>
                    </a:lnTo>
                    <a:lnTo>
                      <a:pt x="54" y="169"/>
                    </a:lnTo>
                    <a:lnTo>
                      <a:pt x="54" y="170"/>
                    </a:lnTo>
                    <a:lnTo>
                      <a:pt x="51" y="176"/>
                    </a:lnTo>
                    <a:lnTo>
                      <a:pt x="47" y="176"/>
                    </a:lnTo>
                    <a:lnTo>
                      <a:pt x="47" y="176"/>
                    </a:lnTo>
                    <a:lnTo>
                      <a:pt x="47" y="176"/>
                    </a:lnTo>
                    <a:lnTo>
                      <a:pt x="47" y="176"/>
                    </a:lnTo>
                    <a:close/>
                    <a:moveTo>
                      <a:pt x="40" y="275"/>
                    </a:moveTo>
                    <a:lnTo>
                      <a:pt x="44" y="271"/>
                    </a:lnTo>
                    <a:lnTo>
                      <a:pt x="44" y="271"/>
                    </a:lnTo>
                    <a:lnTo>
                      <a:pt x="44" y="268"/>
                    </a:lnTo>
                    <a:lnTo>
                      <a:pt x="44" y="268"/>
                    </a:lnTo>
                    <a:lnTo>
                      <a:pt x="46" y="266"/>
                    </a:lnTo>
                    <a:lnTo>
                      <a:pt x="47" y="266"/>
                    </a:lnTo>
                    <a:lnTo>
                      <a:pt x="49" y="262"/>
                    </a:lnTo>
                    <a:lnTo>
                      <a:pt x="53" y="266"/>
                    </a:lnTo>
                    <a:lnTo>
                      <a:pt x="54" y="262"/>
                    </a:lnTo>
                    <a:lnTo>
                      <a:pt x="58" y="262"/>
                    </a:lnTo>
                    <a:lnTo>
                      <a:pt x="58" y="262"/>
                    </a:lnTo>
                    <a:lnTo>
                      <a:pt x="60" y="266"/>
                    </a:lnTo>
                    <a:lnTo>
                      <a:pt x="61" y="266"/>
                    </a:lnTo>
                    <a:lnTo>
                      <a:pt x="63" y="266"/>
                    </a:lnTo>
                    <a:lnTo>
                      <a:pt x="66" y="266"/>
                    </a:lnTo>
                    <a:lnTo>
                      <a:pt x="66" y="266"/>
                    </a:lnTo>
                    <a:lnTo>
                      <a:pt x="66" y="266"/>
                    </a:lnTo>
                    <a:lnTo>
                      <a:pt x="68" y="262"/>
                    </a:lnTo>
                    <a:lnTo>
                      <a:pt x="66" y="261"/>
                    </a:lnTo>
                    <a:lnTo>
                      <a:pt x="70" y="259"/>
                    </a:lnTo>
                    <a:lnTo>
                      <a:pt x="72" y="257"/>
                    </a:lnTo>
                    <a:lnTo>
                      <a:pt x="72" y="257"/>
                    </a:lnTo>
                    <a:lnTo>
                      <a:pt x="79" y="256"/>
                    </a:lnTo>
                    <a:lnTo>
                      <a:pt x="80" y="256"/>
                    </a:lnTo>
                    <a:lnTo>
                      <a:pt x="84" y="259"/>
                    </a:lnTo>
                    <a:lnTo>
                      <a:pt x="86" y="257"/>
                    </a:lnTo>
                    <a:lnTo>
                      <a:pt x="89" y="257"/>
                    </a:lnTo>
                    <a:lnTo>
                      <a:pt x="91" y="259"/>
                    </a:lnTo>
                    <a:lnTo>
                      <a:pt x="93" y="256"/>
                    </a:lnTo>
                    <a:lnTo>
                      <a:pt x="96" y="254"/>
                    </a:lnTo>
                    <a:lnTo>
                      <a:pt x="100" y="256"/>
                    </a:lnTo>
                    <a:lnTo>
                      <a:pt x="103" y="252"/>
                    </a:lnTo>
                    <a:lnTo>
                      <a:pt x="106" y="252"/>
                    </a:lnTo>
                    <a:lnTo>
                      <a:pt x="106" y="252"/>
                    </a:lnTo>
                    <a:lnTo>
                      <a:pt x="106" y="252"/>
                    </a:lnTo>
                    <a:lnTo>
                      <a:pt x="108" y="252"/>
                    </a:lnTo>
                    <a:lnTo>
                      <a:pt x="110" y="254"/>
                    </a:lnTo>
                    <a:lnTo>
                      <a:pt x="113" y="252"/>
                    </a:lnTo>
                    <a:lnTo>
                      <a:pt x="119" y="252"/>
                    </a:lnTo>
                    <a:lnTo>
                      <a:pt x="120" y="252"/>
                    </a:lnTo>
                    <a:lnTo>
                      <a:pt x="126" y="252"/>
                    </a:lnTo>
                    <a:lnTo>
                      <a:pt x="126" y="252"/>
                    </a:lnTo>
                    <a:lnTo>
                      <a:pt x="129" y="250"/>
                    </a:lnTo>
                    <a:lnTo>
                      <a:pt x="131" y="250"/>
                    </a:lnTo>
                    <a:lnTo>
                      <a:pt x="134" y="247"/>
                    </a:lnTo>
                    <a:lnTo>
                      <a:pt x="136" y="247"/>
                    </a:lnTo>
                    <a:lnTo>
                      <a:pt x="138" y="249"/>
                    </a:lnTo>
                    <a:lnTo>
                      <a:pt x="138" y="245"/>
                    </a:lnTo>
                    <a:lnTo>
                      <a:pt x="141" y="243"/>
                    </a:lnTo>
                    <a:lnTo>
                      <a:pt x="143" y="243"/>
                    </a:lnTo>
                    <a:lnTo>
                      <a:pt x="143" y="240"/>
                    </a:lnTo>
                    <a:lnTo>
                      <a:pt x="143" y="238"/>
                    </a:lnTo>
                    <a:lnTo>
                      <a:pt x="143" y="238"/>
                    </a:lnTo>
                    <a:lnTo>
                      <a:pt x="139" y="238"/>
                    </a:lnTo>
                    <a:lnTo>
                      <a:pt x="136" y="238"/>
                    </a:lnTo>
                    <a:lnTo>
                      <a:pt x="134" y="238"/>
                    </a:lnTo>
                    <a:lnTo>
                      <a:pt x="131" y="238"/>
                    </a:lnTo>
                    <a:lnTo>
                      <a:pt x="131" y="238"/>
                    </a:lnTo>
                    <a:lnTo>
                      <a:pt x="131" y="235"/>
                    </a:lnTo>
                    <a:lnTo>
                      <a:pt x="133" y="235"/>
                    </a:lnTo>
                    <a:lnTo>
                      <a:pt x="133" y="235"/>
                    </a:lnTo>
                    <a:lnTo>
                      <a:pt x="129" y="235"/>
                    </a:lnTo>
                    <a:lnTo>
                      <a:pt x="129" y="235"/>
                    </a:lnTo>
                    <a:lnTo>
                      <a:pt x="131" y="233"/>
                    </a:lnTo>
                    <a:lnTo>
                      <a:pt x="133" y="235"/>
                    </a:lnTo>
                    <a:lnTo>
                      <a:pt x="136" y="233"/>
                    </a:lnTo>
                    <a:lnTo>
                      <a:pt x="134" y="229"/>
                    </a:lnTo>
                    <a:lnTo>
                      <a:pt x="133" y="229"/>
                    </a:lnTo>
                    <a:lnTo>
                      <a:pt x="134" y="226"/>
                    </a:lnTo>
                    <a:lnTo>
                      <a:pt x="136" y="226"/>
                    </a:lnTo>
                    <a:lnTo>
                      <a:pt x="138" y="226"/>
                    </a:lnTo>
                    <a:lnTo>
                      <a:pt x="139" y="226"/>
                    </a:lnTo>
                    <a:lnTo>
                      <a:pt x="141" y="224"/>
                    </a:lnTo>
                    <a:lnTo>
                      <a:pt x="139" y="224"/>
                    </a:lnTo>
                    <a:lnTo>
                      <a:pt x="141" y="224"/>
                    </a:lnTo>
                    <a:lnTo>
                      <a:pt x="138" y="222"/>
                    </a:lnTo>
                    <a:lnTo>
                      <a:pt x="139" y="221"/>
                    </a:lnTo>
                    <a:lnTo>
                      <a:pt x="141" y="221"/>
                    </a:lnTo>
                    <a:lnTo>
                      <a:pt x="141" y="222"/>
                    </a:lnTo>
                    <a:lnTo>
                      <a:pt x="143" y="221"/>
                    </a:lnTo>
                    <a:lnTo>
                      <a:pt x="143" y="219"/>
                    </a:lnTo>
                    <a:lnTo>
                      <a:pt x="146" y="216"/>
                    </a:lnTo>
                    <a:lnTo>
                      <a:pt x="146" y="210"/>
                    </a:lnTo>
                    <a:lnTo>
                      <a:pt x="146" y="207"/>
                    </a:lnTo>
                    <a:lnTo>
                      <a:pt x="143" y="203"/>
                    </a:lnTo>
                    <a:lnTo>
                      <a:pt x="139" y="198"/>
                    </a:lnTo>
                    <a:lnTo>
                      <a:pt x="131" y="198"/>
                    </a:lnTo>
                    <a:lnTo>
                      <a:pt x="126" y="198"/>
                    </a:lnTo>
                    <a:lnTo>
                      <a:pt x="126" y="203"/>
                    </a:lnTo>
                    <a:lnTo>
                      <a:pt x="126" y="203"/>
                    </a:lnTo>
                    <a:lnTo>
                      <a:pt x="120" y="203"/>
                    </a:lnTo>
                    <a:lnTo>
                      <a:pt x="119" y="202"/>
                    </a:lnTo>
                    <a:lnTo>
                      <a:pt x="126" y="196"/>
                    </a:lnTo>
                    <a:lnTo>
                      <a:pt x="126" y="193"/>
                    </a:lnTo>
                    <a:lnTo>
                      <a:pt x="120" y="188"/>
                    </a:lnTo>
                    <a:lnTo>
                      <a:pt x="119" y="188"/>
                    </a:lnTo>
                    <a:lnTo>
                      <a:pt x="115" y="184"/>
                    </a:lnTo>
                    <a:lnTo>
                      <a:pt x="113" y="181"/>
                    </a:lnTo>
                    <a:lnTo>
                      <a:pt x="112" y="182"/>
                    </a:lnTo>
                    <a:lnTo>
                      <a:pt x="110" y="182"/>
                    </a:lnTo>
                    <a:lnTo>
                      <a:pt x="108" y="181"/>
                    </a:lnTo>
                    <a:lnTo>
                      <a:pt x="106" y="181"/>
                    </a:lnTo>
                    <a:lnTo>
                      <a:pt x="110" y="181"/>
                    </a:lnTo>
                    <a:lnTo>
                      <a:pt x="112" y="181"/>
                    </a:lnTo>
                    <a:lnTo>
                      <a:pt x="113" y="181"/>
                    </a:lnTo>
                    <a:lnTo>
                      <a:pt x="115" y="181"/>
                    </a:lnTo>
                    <a:lnTo>
                      <a:pt x="117" y="182"/>
                    </a:lnTo>
                    <a:lnTo>
                      <a:pt x="119" y="182"/>
                    </a:lnTo>
                    <a:lnTo>
                      <a:pt x="120" y="182"/>
                    </a:lnTo>
                    <a:lnTo>
                      <a:pt x="115" y="179"/>
                    </a:lnTo>
                    <a:lnTo>
                      <a:pt x="113" y="176"/>
                    </a:lnTo>
                    <a:lnTo>
                      <a:pt x="115" y="174"/>
                    </a:lnTo>
                    <a:lnTo>
                      <a:pt x="117" y="174"/>
                    </a:lnTo>
                    <a:lnTo>
                      <a:pt x="113" y="170"/>
                    </a:lnTo>
                    <a:lnTo>
                      <a:pt x="113" y="170"/>
                    </a:lnTo>
                    <a:lnTo>
                      <a:pt x="112" y="170"/>
                    </a:lnTo>
                    <a:lnTo>
                      <a:pt x="108" y="165"/>
                    </a:lnTo>
                    <a:lnTo>
                      <a:pt x="106" y="162"/>
                    </a:lnTo>
                    <a:lnTo>
                      <a:pt x="100" y="162"/>
                    </a:lnTo>
                    <a:lnTo>
                      <a:pt x="100" y="158"/>
                    </a:lnTo>
                    <a:lnTo>
                      <a:pt x="98" y="158"/>
                    </a:lnTo>
                    <a:lnTo>
                      <a:pt x="96" y="151"/>
                    </a:lnTo>
                    <a:lnTo>
                      <a:pt x="94" y="148"/>
                    </a:lnTo>
                    <a:lnTo>
                      <a:pt x="93" y="139"/>
                    </a:lnTo>
                    <a:lnTo>
                      <a:pt x="91" y="137"/>
                    </a:lnTo>
                    <a:lnTo>
                      <a:pt x="89" y="137"/>
                    </a:lnTo>
                    <a:lnTo>
                      <a:pt x="84" y="130"/>
                    </a:lnTo>
                    <a:lnTo>
                      <a:pt x="84" y="130"/>
                    </a:lnTo>
                    <a:lnTo>
                      <a:pt x="80" y="129"/>
                    </a:lnTo>
                    <a:lnTo>
                      <a:pt x="77" y="127"/>
                    </a:lnTo>
                    <a:lnTo>
                      <a:pt x="75" y="127"/>
                    </a:lnTo>
                    <a:lnTo>
                      <a:pt x="72" y="130"/>
                    </a:lnTo>
                    <a:lnTo>
                      <a:pt x="68" y="129"/>
                    </a:lnTo>
                    <a:lnTo>
                      <a:pt x="66" y="129"/>
                    </a:lnTo>
                    <a:lnTo>
                      <a:pt x="63" y="127"/>
                    </a:lnTo>
                    <a:lnTo>
                      <a:pt x="63" y="125"/>
                    </a:lnTo>
                    <a:lnTo>
                      <a:pt x="63" y="127"/>
                    </a:lnTo>
                    <a:lnTo>
                      <a:pt x="68" y="127"/>
                    </a:lnTo>
                    <a:lnTo>
                      <a:pt x="72" y="125"/>
                    </a:lnTo>
                    <a:lnTo>
                      <a:pt x="72" y="123"/>
                    </a:lnTo>
                    <a:lnTo>
                      <a:pt x="75" y="123"/>
                    </a:lnTo>
                    <a:lnTo>
                      <a:pt x="79" y="123"/>
                    </a:lnTo>
                    <a:lnTo>
                      <a:pt x="75" y="120"/>
                    </a:lnTo>
                    <a:lnTo>
                      <a:pt x="75" y="120"/>
                    </a:lnTo>
                    <a:lnTo>
                      <a:pt x="73" y="116"/>
                    </a:lnTo>
                    <a:lnTo>
                      <a:pt x="70" y="120"/>
                    </a:lnTo>
                    <a:lnTo>
                      <a:pt x="68" y="120"/>
                    </a:lnTo>
                    <a:lnTo>
                      <a:pt x="72" y="115"/>
                    </a:lnTo>
                    <a:lnTo>
                      <a:pt x="77" y="116"/>
                    </a:lnTo>
                    <a:lnTo>
                      <a:pt x="79" y="115"/>
                    </a:lnTo>
                    <a:lnTo>
                      <a:pt x="79" y="111"/>
                    </a:lnTo>
                    <a:lnTo>
                      <a:pt x="80" y="111"/>
                    </a:lnTo>
                    <a:lnTo>
                      <a:pt x="84" y="108"/>
                    </a:lnTo>
                    <a:lnTo>
                      <a:pt x="84" y="106"/>
                    </a:lnTo>
                    <a:lnTo>
                      <a:pt x="84" y="104"/>
                    </a:lnTo>
                    <a:lnTo>
                      <a:pt x="84" y="101"/>
                    </a:lnTo>
                    <a:lnTo>
                      <a:pt x="84" y="99"/>
                    </a:lnTo>
                    <a:lnTo>
                      <a:pt x="86" y="96"/>
                    </a:lnTo>
                    <a:lnTo>
                      <a:pt x="89" y="92"/>
                    </a:lnTo>
                    <a:lnTo>
                      <a:pt x="89" y="92"/>
                    </a:lnTo>
                    <a:lnTo>
                      <a:pt x="84" y="87"/>
                    </a:lnTo>
                    <a:lnTo>
                      <a:pt x="84" y="87"/>
                    </a:lnTo>
                    <a:lnTo>
                      <a:pt x="77" y="87"/>
                    </a:lnTo>
                    <a:lnTo>
                      <a:pt x="73" y="87"/>
                    </a:lnTo>
                    <a:lnTo>
                      <a:pt x="72" y="87"/>
                    </a:lnTo>
                    <a:lnTo>
                      <a:pt x="70" y="87"/>
                    </a:lnTo>
                    <a:lnTo>
                      <a:pt x="66" y="87"/>
                    </a:lnTo>
                    <a:lnTo>
                      <a:pt x="66" y="87"/>
                    </a:lnTo>
                    <a:lnTo>
                      <a:pt x="66" y="87"/>
                    </a:lnTo>
                    <a:lnTo>
                      <a:pt x="63" y="89"/>
                    </a:lnTo>
                    <a:lnTo>
                      <a:pt x="61" y="92"/>
                    </a:lnTo>
                    <a:lnTo>
                      <a:pt x="60" y="92"/>
                    </a:lnTo>
                    <a:lnTo>
                      <a:pt x="58" y="92"/>
                    </a:lnTo>
                    <a:lnTo>
                      <a:pt x="58" y="92"/>
                    </a:lnTo>
                    <a:lnTo>
                      <a:pt x="60" y="87"/>
                    </a:lnTo>
                    <a:lnTo>
                      <a:pt x="63" y="83"/>
                    </a:lnTo>
                    <a:lnTo>
                      <a:pt x="61" y="83"/>
                    </a:lnTo>
                    <a:lnTo>
                      <a:pt x="58" y="83"/>
                    </a:lnTo>
                    <a:lnTo>
                      <a:pt x="60" y="83"/>
                    </a:lnTo>
                    <a:lnTo>
                      <a:pt x="60" y="82"/>
                    </a:lnTo>
                    <a:lnTo>
                      <a:pt x="66" y="76"/>
                    </a:lnTo>
                    <a:lnTo>
                      <a:pt x="68" y="73"/>
                    </a:lnTo>
                    <a:lnTo>
                      <a:pt x="70" y="73"/>
                    </a:lnTo>
                    <a:lnTo>
                      <a:pt x="72" y="69"/>
                    </a:lnTo>
                    <a:lnTo>
                      <a:pt x="70" y="68"/>
                    </a:lnTo>
                    <a:lnTo>
                      <a:pt x="72" y="66"/>
                    </a:lnTo>
                    <a:lnTo>
                      <a:pt x="72" y="64"/>
                    </a:lnTo>
                    <a:lnTo>
                      <a:pt x="68" y="64"/>
                    </a:lnTo>
                    <a:lnTo>
                      <a:pt x="66" y="66"/>
                    </a:lnTo>
                    <a:lnTo>
                      <a:pt x="63" y="64"/>
                    </a:lnTo>
                    <a:lnTo>
                      <a:pt x="61" y="66"/>
                    </a:lnTo>
                    <a:lnTo>
                      <a:pt x="60" y="66"/>
                    </a:lnTo>
                    <a:lnTo>
                      <a:pt x="56" y="68"/>
                    </a:lnTo>
                    <a:lnTo>
                      <a:pt x="54" y="68"/>
                    </a:lnTo>
                    <a:lnTo>
                      <a:pt x="53" y="69"/>
                    </a:lnTo>
                    <a:lnTo>
                      <a:pt x="53" y="68"/>
                    </a:lnTo>
                    <a:lnTo>
                      <a:pt x="53" y="66"/>
                    </a:lnTo>
                    <a:lnTo>
                      <a:pt x="49" y="69"/>
                    </a:lnTo>
                    <a:lnTo>
                      <a:pt x="49" y="66"/>
                    </a:lnTo>
                    <a:lnTo>
                      <a:pt x="46" y="64"/>
                    </a:lnTo>
                    <a:lnTo>
                      <a:pt x="46" y="68"/>
                    </a:lnTo>
                    <a:lnTo>
                      <a:pt x="44" y="68"/>
                    </a:lnTo>
                    <a:lnTo>
                      <a:pt x="44" y="71"/>
                    </a:lnTo>
                    <a:lnTo>
                      <a:pt x="44" y="71"/>
                    </a:lnTo>
                    <a:lnTo>
                      <a:pt x="44" y="73"/>
                    </a:lnTo>
                    <a:lnTo>
                      <a:pt x="40" y="75"/>
                    </a:lnTo>
                    <a:lnTo>
                      <a:pt x="44" y="76"/>
                    </a:lnTo>
                    <a:lnTo>
                      <a:pt x="40" y="80"/>
                    </a:lnTo>
                    <a:lnTo>
                      <a:pt x="40" y="80"/>
                    </a:lnTo>
                    <a:lnTo>
                      <a:pt x="44" y="82"/>
                    </a:lnTo>
                    <a:lnTo>
                      <a:pt x="44" y="83"/>
                    </a:lnTo>
                    <a:lnTo>
                      <a:pt x="40" y="83"/>
                    </a:lnTo>
                    <a:lnTo>
                      <a:pt x="40" y="83"/>
                    </a:lnTo>
                    <a:lnTo>
                      <a:pt x="39" y="82"/>
                    </a:lnTo>
                    <a:lnTo>
                      <a:pt x="39" y="83"/>
                    </a:lnTo>
                    <a:lnTo>
                      <a:pt x="39" y="83"/>
                    </a:lnTo>
                    <a:lnTo>
                      <a:pt x="39" y="87"/>
                    </a:lnTo>
                    <a:lnTo>
                      <a:pt x="37" y="83"/>
                    </a:lnTo>
                    <a:lnTo>
                      <a:pt x="35" y="87"/>
                    </a:lnTo>
                    <a:lnTo>
                      <a:pt x="37" y="87"/>
                    </a:lnTo>
                    <a:lnTo>
                      <a:pt x="35" y="89"/>
                    </a:lnTo>
                    <a:lnTo>
                      <a:pt x="37" y="92"/>
                    </a:lnTo>
                    <a:lnTo>
                      <a:pt x="40" y="92"/>
                    </a:lnTo>
                    <a:lnTo>
                      <a:pt x="37" y="92"/>
                    </a:lnTo>
                    <a:lnTo>
                      <a:pt x="35" y="92"/>
                    </a:lnTo>
                    <a:lnTo>
                      <a:pt x="35" y="94"/>
                    </a:lnTo>
                    <a:lnTo>
                      <a:pt x="35" y="96"/>
                    </a:lnTo>
                    <a:lnTo>
                      <a:pt x="40" y="94"/>
                    </a:lnTo>
                    <a:lnTo>
                      <a:pt x="37" y="96"/>
                    </a:lnTo>
                    <a:lnTo>
                      <a:pt x="37" y="97"/>
                    </a:lnTo>
                    <a:lnTo>
                      <a:pt x="37" y="97"/>
                    </a:lnTo>
                    <a:lnTo>
                      <a:pt x="40" y="96"/>
                    </a:lnTo>
                    <a:lnTo>
                      <a:pt x="40" y="97"/>
                    </a:lnTo>
                    <a:lnTo>
                      <a:pt x="40" y="99"/>
                    </a:lnTo>
                    <a:lnTo>
                      <a:pt x="39" y="97"/>
                    </a:lnTo>
                    <a:lnTo>
                      <a:pt x="39" y="97"/>
                    </a:lnTo>
                    <a:lnTo>
                      <a:pt x="37" y="101"/>
                    </a:lnTo>
                    <a:lnTo>
                      <a:pt x="39" y="101"/>
                    </a:lnTo>
                    <a:lnTo>
                      <a:pt x="37" y="101"/>
                    </a:lnTo>
                    <a:lnTo>
                      <a:pt x="35" y="102"/>
                    </a:lnTo>
                    <a:lnTo>
                      <a:pt x="37" y="104"/>
                    </a:lnTo>
                    <a:lnTo>
                      <a:pt x="39" y="104"/>
                    </a:lnTo>
                    <a:lnTo>
                      <a:pt x="35" y="104"/>
                    </a:lnTo>
                    <a:lnTo>
                      <a:pt x="33" y="106"/>
                    </a:lnTo>
                    <a:lnTo>
                      <a:pt x="35" y="108"/>
                    </a:lnTo>
                    <a:lnTo>
                      <a:pt x="35" y="108"/>
                    </a:lnTo>
                    <a:lnTo>
                      <a:pt x="33" y="109"/>
                    </a:lnTo>
                    <a:lnTo>
                      <a:pt x="30" y="109"/>
                    </a:lnTo>
                    <a:lnTo>
                      <a:pt x="28" y="111"/>
                    </a:lnTo>
                    <a:lnTo>
                      <a:pt x="30" y="111"/>
                    </a:lnTo>
                    <a:lnTo>
                      <a:pt x="33" y="111"/>
                    </a:lnTo>
                    <a:lnTo>
                      <a:pt x="35" y="111"/>
                    </a:lnTo>
                    <a:lnTo>
                      <a:pt x="33" y="111"/>
                    </a:lnTo>
                    <a:lnTo>
                      <a:pt x="32" y="111"/>
                    </a:lnTo>
                    <a:lnTo>
                      <a:pt x="35" y="115"/>
                    </a:lnTo>
                    <a:lnTo>
                      <a:pt x="35" y="115"/>
                    </a:lnTo>
                    <a:lnTo>
                      <a:pt x="37" y="115"/>
                    </a:lnTo>
                    <a:lnTo>
                      <a:pt x="44" y="109"/>
                    </a:lnTo>
                    <a:lnTo>
                      <a:pt x="44" y="111"/>
                    </a:lnTo>
                    <a:lnTo>
                      <a:pt x="44" y="111"/>
                    </a:lnTo>
                    <a:lnTo>
                      <a:pt x="40" y="111"/>
                    </a:lnTo>
                    <a:lnTo>
                      <a:pt x="40" y="115"/>
                    </a:lnTo>
                    <a:lnTo>
                      <a:pt x="40" y="116"/>
                    </a:lnTo>
                    <a:lnTo>
                      <a:pt x="39" y="123"/>
                    </a:lnTo>
                    <a:lnTo>
                      <a:pt x="39" y="123"/>
                    </a:lnTo>
                    <a:lnTo>
                      <a:pt x="37" y="127"/>
                    </a:lnTo>
                    <a:lnTo>
                      <a:pt x="39" y="130"/>
                    </a:lnTo>
                    <a:lnTo>
                      <a:pt x="37" y="132"/>
                    </a:lnTo>
                    <a:lnTo>
                      <a:pt x="37" y="134"/>
                    </a:lnTo>
                    <a:lnTo>
                      <a:pt x="39" y="134"/>
                    </a:lnTo>
                    <a:lnTo>
                      <a:pt x="37" y="137"/>
                    </a:lnTo>
                    <a:lnTo>
                      <a:pt x="37" y="142"/>
                    </a:lnTo>
                    <a:lnTo>
                      <a:pt x="35" y="142"/>
                    </a:lnTo>
                    <a:lnTo>
                      <a:pt x="35" y="142"/>
                    </a:lnTo>
                    <a:lnTo>
                      <a:pt x="39" y="142"/>
                    </a:lnTo>
                    <a:lnTo>
                      <a:pt x="37" y="142"/>
                    </a:lnTo>
                    <a:lnTo>
                      <a:pt x="39" y="139"/>
                    </a:lnTo>
                    <a:lnTo>
                      <a:pt x="39" y="136"/>
                    </a:lnTo>
                    <a:lnTo>
                      <a:pt x="40" y="134"/>
                    </a:lnTo>
                    <a:lnTo>
                      <a:pt x="40" y="127"/>
                    </a:lnTo>
                    <a:lnTo>
                      <a:pt x="40" y="127"/>
                    </a:lnTo>
                    <a:lnTo>
                      <a:pt x="44" y="123"/>
                    </a:lnTo>
                    <a:lnTo>
                      <a:pt x="40" y="127"/>
                    </a:lnTo>
                    <a:lnTo>
                      <a:pt x="40" y="130"/>
                    </a:lnTo>
                    <a:lnTo>
                      <a:pt x="44" y="132"/>
                    </a:lnTo>
                    <a:lnTo>
                      <a:pt x="44" y="129"/>
                    </a:lnTo>
                    <a:lnTo>
                      <a:pt x="44" y="127"/>
                    </a:lnTo>
                    <a:lnTo>
                      <a:pt x="46" y="130"/>
                    </a:lnTo>
                    <a:lnTo>
                      <a:pt x="47" y="127"/>
                    </a:lnTo>
                    <a:lnTo>
                      <a:pt x="47" y="123"/>
                    </a:lnTo>
                    <a:lnTo>
                      <a:pt x="47" y="123"/>
                    </a:lnTo>
                    <a:lnTo>
                      <a:pt x="47" y="127"/>
                    </a:lnTo>
                    <a:lnTo>
                      <a:pt x="51" y="130"/>
                    </a:lnTo>
                    <a:lnTo>
                      <a:pt x="47" y="129"/>
                    </a:lnTo>
                    <a:lnTo>
                      <a:pt x="47" y="134"/>
                    </a:lnTo>
                    <a:lnTo>
                      <a:pt x="47" y="137"/>
                    </a:lnTo>
                    <a:lnTo>
                      <a:pt x="49" y="137"/>
                    </a:lnTo>
                    <a:lnTo>
                      <a:pt x="51" y="139"/>
                    </a:lnTo>
                    <a:lnTo>
                      <a:pt x="47" y="142"/>
                    </a:lnTo>
                    <a:lnTo>
                      <a:pt x="46" y="151"/>
                    </a:lnTo>
                    <a:lnTo>
                      <a:pt x="46" y="153"/>
                    </a:lnTo>
                    <a:lnTo>
                      <a:pt x="44" y="151"/>
                    </a:lnTo>
                    <a:lnTo>
                      <a:pt x="44" y="156"/>
                    </a:lnTo>
                    <a:lnTo>
                      <a:pt x="47" y="160"/>
                    </a:lnTo>
                    <a:lnTo>
                      <a:pt x="46" y="156"/>
                    </a:lnTo>
                    <a:lnTo>
                      <a:pt x="47" y="155"/>
                    </a:lnTo>
                    <a:lnTo>
                      <a:pt x="54" y="160"/>
                    </a:lnTo>
                    <a:lnTo>
                      <a:pt x="54" y="156"/>
                    </a:lnTo>
                    <a:lnTo>
                      <a:pt x="53" y="155"/>
                    </a:lnTo>
                    <a:lnTo>
                      <a:pt x="54" y="153"/>
                    </a:lnTo>
                    <a:lnTo>
                      <a:pt x="58" y="156"/>
                    </a:lnTo>
                    <a:lnTo>
                      <a:pt x="63" y="156"/>
                    </a:lnTo>
                    <a:lnTo>
                      <a:pt x="63" y="155"/>
                    </a:lnTo>
                    <a:lnTo>
                      <a:pt x="63" y="155"/>
                    </a:lnTo>
                    <a:lnTo>
                      <a:pt x="66" y="151"/>
                    </a:lnTo>
                    <a:lnTo>
                      <a:pt x="73" y="153"/>
                    </a:lnTo>
                    <a:lnTo>
                      <a:pt x="68" y="153"/>
                    </a:lnTo>
                    <a:lnTo>
                      <a:pt x="66" y="163"/>
                    </a:lnTo>
                    <a:lnTo>
                      <a:pt x="68" y="170"/>
                    </a:lnTo>
                    <a:lnTo>
                      <a:pt x="70" y="170"/>
                    </a:lnTo>
                    <a:lnTo>
                      <a:pt x="70" y="176"/>
                    </a:lnTo>
                    <a:lnTo>
                      <a:pt x="73" y="170"/>
                    </a:lnTo>
                    <a:lnTo>
                      <a:pt x="77" y="170"/>
                    </a:lnTo>
                    <a:lnTo>
                      <a:pt x="75" y="176"/>
                    </a:lnTo>
                    <a:lnTo>
                      <a:pt x="77" y="176"/>
                    </a:lnTo>
                    <a:lnTo>
                      <a:pt x="73" y="179"/>
                    </a:lnTo>
                    <a:lnTo>
                      <a:pt x="75" y="182"/>
                    </a:lnTo>
                    <a:lnTo>
                      <a:pt x="73" y="188"/>
                    </a:lnTo>
                    <a:lnTo>
                      <a:pt x="75" y="189"/>
                    </a:lnTo>
                    <a:lnTo>
                      <a:pt x="77" y="191"/>
                    </a:lnTo>
                    <a:lnTo>
                      <a:pt x="80" y="191"/>
                    </a:lnTo>
                    <a:lnTo>
                      <a:pt x="79" y="193"/>
                    </a:lnTo>
                    <a:lnTo>
                      <a:pt x="75" y="193"/>
                    </a:lnTo>
                    <a:lnTo>
                      <a:pt x="73" y="189"/>
                    </a:lnTo>
                    <a:lnTo>
                      <a:pt x="72" y="191"/>
                    </a:lnTo>
                    <a:lnTo>
                      <a:pt x="73" y="195"/>
                    </a:lnTo>
                    <a:lnTo>
                      <a:pt x="75" y="195"/>
                    </a:lnTo>
                    <a:lnTo>
                      <a:pt x="72" y="195"/>
                    </a:lnTo>
                    <a:lnTo>
                      <a:pt x="70" y="193"/>
                    </a:lnTo>
                    <a:lnTo>
                      <a:pt x="66" y="195"/>
                    </a:lnTo>
                    <a:lnTo>
                      <a:pt x="63" y="193"/>
                    </a:lnTo>
                    <a:lnTo>
                      <a:pt x="58" y="196"/>
                    </a:lnTo>
                    <a:lnTo>
                      <a:pt x="54" y="202"/>
                    </a:lnTo>
                    <a:lnTo>
                      <a:pt x="51" y="203"/>
                    </a:lnTo>
                    <a:lnTo>
                      <a:pt x="47" y="207"/>
                    </a:lnTo>
                    <a:lnTo>
                      <a:pt x="51" y="203"/>
                    </a:lnTo>
                    <a:lnTo>
                      <a:pt x="53" y="207"/>
                    </a:lnTo>
                    <a:lnTo>
                      <a:pt x="53" y="203"/>
                    </a:lnTo>
                    <a:lnTo>
                      <a:pt x="60" y="203"/>
                    </a:lnTo>
                    <a:lnTo>
                      <a:pt x="58" y="207"/>
                    </a:lnTo>
                    <a:lnTo>
                      <a:pt x="61" y="207"/>
                    </a:lnTo>
                    <a:lnTo>
                      <a:pt x="58" y="210"/>
                    </a:lnTo>
                    <a:lnTo>
                      <a:pt x="60" y="210"/>
                    </a:lnTo>
                    <a:lnTo>
                      <a:pt x="61" y="212"/>
                    </a:lnTo>
                    <a:lnTo>
                      <a:pt x="56" y="219"/>
                    </a:lnTo>
                    <a:lnTo>
                      <a:pt x="54" y="219"/>
                    </a:lnTo>
                    <a:lnTo>
                      <a:pt x="51" y="222"/>
                    </a:lnTo>
                    <a:lnTo>
                      <a:pt x="49" y="222"/>
                    </a:lnTo>
                    <a:lnTo>
                      <a:pt x="46" y="224"/>
                    </a:lnTo>
                    <a:lnTo>
                      <a:pt x="44" y="224"/>
                    </a:lnTo>
                    <a:lnTo>
                      <a:pt x="40" y="226"/>
                    </a:lnTo>
                    <a:lnTo>
                      <a:pt x="44" y="226"/>
                    </a:lnTo>
                    <a:lnTo>
                      <a:pt x="44" y="229"/>
                    </a:lnTo>
                    <a:lnTo>
                      <a:pt x="40" y="231"/>
                    </a:lnTo>
                    <a:lnTo>
                      <a:pt x="44" y="233"/>
                    </a:lnTo>
                    <a:lnTo>
                      <a:pt x="44" y="233"/>
                    </a:lnTo>
                    <a:lnTo>
                      <a:pt x="46" y="235"/>
                    </a:lnTo>
                    <a:lnTo>
                      <a:pt x="47" y="233"/>
                    </a:lnTo>
                    <a:lnTo>
                      <a:pt x="51" y="231"/>
                    </a:lnTo>
                    <a:lnTo>
                      <a:pt x="56" y="229"/>
                    </a:lnTo>
                    <a:lnTo>
                      <a:pt x="56" y="233"/>
                    </a:lnTo>
                    <a:lnTo>
                      <a:pt x="60" y="233"/>
                    </a:lnTo>
                    <a:lnTo>
                      <a:pt x="56" y="235"/>
                    </a:lnTo>
                    <a:lnTo>
                      <a:pt x="56" y="235"/>
                    </a:lnTo>
                    <a:lnTo>
                      <a:pt x="61" y="235"/>
                    </a:lnTo>
                    <a:lnTo>
                      <a:pt x="61" y="235"/>
                    </a:lnTo>
                    <a:lnTo>
                      <a:pt x="63" y="235"/>
                    </a:lnTo>
                    <a:lnTo>
                      <a:pt x="66" y="235"/>
                    </a:lnTo>
                    <a:lnTo>
                      <a:pt x="66" y="238"/>
                    </a:lnTo>
                    <a:lnTo>
                      <a:pt x="73" y="238"/>
                    </a:lnTo>
                    <a:lnTo>
                      <a:pt x="73" y="238"/>
                    </a:lnTo>
                    <a:lnTo>
                      <a:pt x="77" y="235"/>
                    </a:lnTo>
                    <a:lnTo>
                      <a:pt x="80" y="235"/>
                    </a:lnTo>
                    <a:lnTo>
                      <a:pt x="80" y="233"/>
                    </a:lnTo>
                    <a:lnTo>
                      <a:pt x="84" y="231"/>
                    </a:lnTo>
                    <a:lnTo>
                      <a:pt x="80" y="235"/>
                    </a:lnTo>
                    <a:lnTo>
                      <a:pt x="77" y="238"/>
                    </a:lnTo>
                    <a:lnTo>
                      <a:pt x="77" y="243"/>
                    </a:lnTo>
                    <a:lnTo>
                      <a:pt x="73" y="243"/>
                    </a:lnTo>
                    <a:lnTo>
                      <a:pt x="72" y="245"/>
                    </a:lnTo>
                    <a:lnTo>
                      <a:pt x="68" y="243"/>
                    </a:lnTo>
                    <a:lnTo>
                      <a:pt x="63" y="243"/>
                    </a:lnTo>
                    <a:lnTo>
                      <a:pt x="58" y="243"/>
                    </a:lnTo>
                    <a:lnTo>
                      <a:pt x="58" y="247"/>
                    </a:lnTo>
                    <a:lnTo>
                      <a:pt x="54" y="249"/>
                    </a:lnTo>
                    <a:lnTo>
                      <a:pt x="53" y="249"/>
                    </a:lnTo>
                    <a:lnTo>
                      <a:pt x="51" y="256"/>
                    </a:lnTo>
                    <a:lnTo>
                      <a:pt x="49" y="257"/>
                    </a:lnTo>
                    <a:lnTo>
                      <a:pt x="47" y="259"/>
                    </a:lnTo>
                    <a:lnTo>
                      <a:pt x="44" y="261"/>
                    </a:lnTo>
                    <a:lnTo>
                      <a:pt x="44" y="262"/>
                    </a:lnTo>
                    <a:lnTo>
                      <a:pt x="44" y="262"/>
                    </a:lnTo>
                    <a:lnTo>
                      <a:pt x="40" y="266"/>
                    </a:lnTo>
                    <a:lnTo>
                      <a:pt x="39" y="266"/>
                    </a:lnTo>
                    <a:lnTo>
                      <a:pt x="37" y="266"/>
                    </a:lnTo>
                    <a:lnTo>
                      <a:pt x="33" y="268"/>
                    </a:lnTo>
                    <a:lnTo>
                      <a:pt x="33" y="271"/>
                    </a:lnTo>
                    <a:lnTo>
                      <a:pt x="37" y="271"/>
                    </a:lnTo>
                    <a:lnTo>
                      <a:pt x="37" y="271"/>
                    </a:lnTo>
                    <a:lnTo>
                      <a:pt x="40" y="271"/>
                    </a:lnTo>
                    <a:lnTo>
                      <a:pt x="40" y="275"/>
                    </a:lnTo>
                    <a:lnTo>
                      <a:pt x="40" y="275"/>
                    </a:lnTo>
                    <a:lnTo>
                      <a:pt x="40" y="27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9" name="Freeform 25">
                <a:extLst>
                  <a:ext uri="{FF2B5EF4-FFF2-40B4-BE49-F238E27FC236}">
                    <a16:creationId xmlns:a16="http://schemas.microsoft.com/office/drawing/2014/main" id="{5092B713-6C5F-49DA-A0D7-1B0CB97BAFBC}"/>
                  </a:ext>
                </a:extLst>
              </p:cNvPr>
              <p:cNvSpPr>
                <a:spLocks noEditPoints="1"/>
              </p:cNvSpPr>
              <p:nvPr/>
            </p:nvSpPr>
            <p:spPr bwMode="auto">
              <a:xfrm>
                <a:off x="4338638" y="2740026"/>
                <a:ext cx="355600" cy="325438"/>
              </a:xfrm>
              <a:custGeom>
                <a:avLst/>
                <a:gdLst/>
                <a:ahLst/>
                <a:cxnLst>
                  <a:cxn ang="0">
                    <a:pos x="176" y="101"/>
                  </a:cxn>
                  <a:cxn ang="0">
                    <a:pos x="162" y="106"/>
                  </a:cxn>
                  <a:cxn ang="0">
                    <a:pos x="167" y="96"/>
                  </a:cxn>
                  <a:cxn ang="0">
                    <a:pos x="179" y="78"/>
                  </a:cxn>
                  <a:cxn ang="0">
                    <a:pos x="188" y="77"/>
                  </a:cxn>
                  <a:cxn ang="0">
                    <a:pos x="188" y="57"/>
                  </a:cxn>
                  <a:cxn ang="0">
                    <a:pos x="193" y="42"/>
                  </a:cxn>
                  <a:cxn ang="0">
                    <a:pos x="179" y="40"/>
                  </a:cxn>
                  <a:cxn ang="0">
                    <a:pos x="167" y="35"/>
                  </a:cxn>
                  <a:cxn ang="0">
                    <a:pos x="151" y="31"/>
                  </a:cxn>
                  <a:cxn ang="0">
                    <a:pos x="139" y="23"/>
                  </a:cxn>
                  <a:cxn ang="0">
                    <a:pos x="129" y="16"/>
                  </a:cxn>
                  <a:cxn ang="0">
                    <a:pos x="118" y="2"/>
                  </a:cxn>
                  <a:cxn ang="0">
                    <a:pos x="101" y="5"/>
                  </a:cxn>
                  <a:cxn ang="0">
                    <a:pos x="96" y="24"/>
                  </a:cxn>
                  <a:cxn ang="0">
                    <a:pos x="77" y="31"/>
                  </a:cxn>
                  <a:cxn ang="0">
                    <a:pos x="64" y="38"/>
                  </a:cxn>
                  <a:cxn ang="0">
                    <a:pos x="56" y="31"/>
                  </a:cxn>
                  <a:cxn ang="0">
                    <a:pos x="47" y="35"/>
                  </a:cxn>
                  <a:cxn ang="0">
                    <a:pos x="51" y="47"/>
                  </a:cxn>
                  <a:cxn ang="0">
                    <a:pos x="42" y="52"/>
                  </a:cxn>
                  <a:cxn ang="0">
                    <a:pos x="24" y="47"/>
                  </a:cxn>
                  <a:cxn ang="0">
                    <a:pos x="14" y="52"/>
                  </a:cxn>
                  <a:cxn ang="0">
                    <a:pos x="2" y="57"/>
                  </a:cxn>
                  <a:cxn ang="0">
                    <a:pos x="2" y="61"/>
                  </a:cxn>
                  <a:cxn ang="0">
                    <a:pos x="5" y="64"/>
                  </a:cxn>
                  <a:cxn ang="0">
                    <a:pos x="9" y="71"/>
                  </a:cxn>
                  <a:cxn ang="0">
                    <a:pos x="23" y="75"/>
                  </a:cxn>
                  <a:cxn ang="0">
                    <a:pos x="31" y="77"/>
                  </a:cxn>
                  <a:cxn ang="0">
                    <a:pos x="37" y="84"/>
                  </a:cxn>
                  <a:cxn ang="0">
                    <a:pos x="45" y="84"/>
                  </a:cxn>
                  <a:cxn ang="0">
                    <a:pos x="42" y="92"/>
                  </a:cxn>
                  <a:cxn ang="0">
                    <a:pos x="56" y="103"/>
                  </a:cxn>
                  <a:cxn ang="0">
                    <a:pos x="56" y="115"/>
                  </a:cxn>
                  <a:cxn ang="0">
                    <a:pos x="61" y="122"/>
                  </a:cxn>
                  <a:cxn ang="0">
                    <a:pos x="59" y="137"/>
                  </a:cxn>
                  <a:cxn ang="0">
                    <a:pos x="52" y="164"/>
                  </a:cxn>
                  <a:cxn ang="0">
                    <a:pos x="59" y="172"/>
                  </a:cxn>
                  <a:cxn ang="0">
                    <a:pos x="82" y="179"/>
                  </a:cxn>
                  <a:cxn ang="0">
                    <a:pos x="101" y="179"/>
                  </a:cxn>
                  <a:cxn ang="0">
                    <a:pos x="123" y="183"/>
                  </a:cxn>
                  <a:cxn ang="0">
                    <a:pos x="132" y="160"/>
                  </a:cxn>
                  <a:cxn ang="0">
                    <a:pos x="148" y="164"/>
                  </a:cxn>
                  <a:cxn ang="0">
                    <a:pos x="174" y="170"/>
                  </a:cxn>
                  <a:cxn ang="0">
                    <a:pos x="190" y="157"/>
                  </a:cxn>
                  <a:cxn ang="0">
                    <a:pos x="179" y="134"/>
                  </a:cxn>
                  <a:cxn ang="0">
                    <a:pos x="179" y="117"/>
                  </a:cxn>
                  <a:cxn ang="0">
                    <a:pos x="183" y="111"/>
                  </a:cxn>
                  <a:cxn ang="0">
                    <a:pos x="212" y="200"/>
                  </a:cxn>
                  <a:cxn ang="0">
                    <a:pos x="210" y="195"/>
                  </a:cxn>
                  <a:cxn ang="0">
                    <a:pos x="207" y="186"/>
                  </a:cxn>
                  <a:cxn ang="0">
                    <a:pos x="216" y="179"/>
                  </a:cxn>
                  <a:cxn ang="0">
                    <a:pos x="219" y="172"/>
                  </a:cxn>
                  <a:cxn ang="0">
                    <a:pos x="224" y="186"/>
                  </a:cxn>
                  <a:cxn ang="0">
                    <a:pos x="217" y="205"/>
                  </a:cxn>
                </a:cxnLst>
                <a:rect l="0" t="0" r="r" b="b"/>
                <a:pathLst>
                  <a:path w="224" h="205">
                    <a:moveTo>
                      <a:pt x="183" y="111"/>
                    </a:moveTo>
                    <a:lnTo>
                      <a:pt x="183" y="108"/>
                    </a:lnTo>
                    <a:lnTo>
                      <a:pt x="179" y="106"/>
                    </a:lnTo>
                    <a:lnTo>
                      <a:pt x="179" y="103"/>
                    </a:lnTo>
                    <a:lnTo>
                      <a:pt x="176" y="101"/>
                    </a:lnTo>
                    <a:lnTo>
                      <a:pt x="170" y="99"/>
                    </a:lnTo>
                    <a:lnTo>
                      <a:pt x="169" y="103"/>
                    </a:lnTo>
                    <a:lnTo>
                      <a:pt x="170" y="106"/>
                    </a:lnTo>
                    <a:lnTo>
                      <a:pt x="165" y="106"/>
                    </a:lnTo>
                    <a:lnTo>
                      <a:pt x="162" y="106"/>
                    </a:lnTo>
                    <a:lnTo>
                      <a:pt x="162" y="103"/>
                    </a:lnTo>
                    <a:lnTo>
                      <a:pt x="163" y="103"/>
                    </a:lnTo>
                    <a:lnTo>
                      <a:pt x="165" y="103"/>
                    </a:lnTo>
                    <a:lnTo>
                      <a:pt x="165" y="101"/>
                    </a:lnTo>
                    <a:lnTo>
                      <a:pt x="167" y="96"/>
                    </a:lnTo>
                    <a:lnTo>
                      <a:pt x="172" y="89"/>
                    </a:lnTo>
                    <a:lnTo>
                      <a:pt x="174" y="89"/>
                    </a:lnTo>
                    <a:lnTo>
                      <a:pt x="176" y="84"/>
                    </a:lnTo>
                    <a:lnTo>
                      <a:pt x="179" y="80"/>
                    </a:lnTo>
                    <a:lnTo>
                      <a:pt x="179" y="78"/>
                    </a:lnTo>
                    <a:lnTo>
                      <a:pt x="176" y="77"/>
                    </a:lnTo>
                    <a:lnTo>
                      <a:pt x="179" y="75"/>
                    </a:lnTo>
                    <a:lnTo>
                      <a:pt x="183" y="73"/>
                    </a:lnTo>
                    <a:lnTo>
                      <a:pt x="184" y="77"/>
                    </a:lnTo>
                    <a:lnTo>
                      <a:pt x="188" y="77"/>
                    </a:lnTo>
                    <a:lnTo>
                      <a:pt x="191" y="75"/>
                    </a:lnTo>
                    <a:lnTo>
                      <a:pt x="190" y="71"/>
                    </a:lnTo>
                    <a:lnTo>
                      <a:pt x="188" y="70"/>
                    </a:lnTo>
                    <a:lnTo>
                      <a:pt x="188" y="64"/>
                    </a:lnTo>
                    <a:lnTo>
                      <a:pt x="188" y="57"/>
                    </a:lnTo>
                    <a:lnTo>
                      <a:pt x="191" y="57"/>
                    </a:lnTo>
                    <a:lnTo>
                      <a:pt x="191" y="54"/>
                    </a:lnTo>
                    <a:lnTo>
                      <a:pt x="193" y="49"/>
                    </a:lnTo>
                    <a:lnTo>
                      <a:pt x="196" y="45"/>
                    </a:lnTo>
                    <a:lnTo>
                      <a:pt x="193" y="42"/>
                    </a:lnTo>
                    <a:lnTo>
                      <a:pt x="190" y="42"/>
                    </a:lnTo>
                    <a:lnTo>
                      <a:pt x="188" y="40"/>
                    </a:lnTo>
                    <a:lnTo>
                      <a:pt x="184" y="42"/>
                    </a:lnTo>
                    <a:lnTo>
                      <a:pt x="179" y="40"/>
                    </a:lnTo>
                    <a:lnTo>
                      <a:pt x="179" y="40"/>
                    </a:lnTo>
                    <a:lnTo>
                      <a:pt x="176" y="42"/>
                    </a:lnTo>
                    <a:lnTo>
                      <a:pt x="172" y="38"/>
                    </a:lnTo>
                    <a:lnTo>
                      <a:pt x="172" y="38"/>
                    </a:lnTo>
                    <a:lnTo>
                      <a:pt x="169" y="35"/>
                    </a:lnTo>
                    <a:lnTo>
                      <a:pt x="167" y="35"/>
                    </a:lnTo>
                    <a:lnTo>
                      <a:pt x="162" y="35"/>
                    </a:lnTo>
                    <a:lnTo>
                      <a:pt x="160" y="31"/>
                    </a:lnTo>
                    <a:lnTo>
                      <a:pt x="157" y="31"/>
                    </a:lnTo>
                    <a:lnTo>
                      <a:pt x="157" y="33"/>
                    </a:lnTo>
                    <a:lnTo>
                      <a:pt x="151" y="31"/>
                    </a:lnTo>
                    <a:lnTo>
                      <a:pt x="148" y="31"/>
                    </a:lnTo>
                    <a:lnTo>
                      <a:pt x="146" y="26"/>
                    </a:lnTo>
                    <a:lnTo>
                      <a:pt x="143" y="24"/>
                    </a:lnTo>
                    <a:lnTo>
                      <a:pt x="143" y="23"/>
                    </a:lnTo>
                    <a:lnTo>
                      <a:pt x="139" y="23"/>
                    </a:lnTo>
                    <a:lnTo>
                      <a:pt x="137" y="24"/>
                    </a:lnTo>
                    <a:lnTo>
                      <a:pt x="134" y="23"/>
                    </a:lnTo>
                    <a:lnTo>
                      <a:pt x="134" y="17"/>
                    </a:lnTo>
                    <a:lnTo>
                      <a:pt x="130" y="16"/>
                    </a:lnTo>
                    <a:lnTo>
                      <a:pt x="129" y="16"/>
                    </a:lnTo>
                    <a:lnTo>
                      <a:pt x="127" y="16"/>
                    </a:lnTo>
                    <a:lnTo>
                      <a:pt x="123" y="12"/>
                    </a:lnTo>
                    <a:lnTo>
                      <a:pt x="120" y="9"/>
                    </a:lnTo>
                    <a:lnTo>
                      <a:pt x="118" y="7"/>
                    </a:lnTo>
                    <a:lnTo>
                      <a:pt x="118" y="2"/>
                    </a:lnTo>
                    <a:lnTo>
                      <a:pt x="115" y="0"/>
                    </a:lnTo>
                    <a:lnTo>
                      <a:pt x="115" y="0"/>
                    </a:lnTo>
                    <a:lnTo>
                      <a:pt x="108" y="4"/>
                    </a:lnTo>
                    <a:lnTo>
                      <a:pt x="106" y="2"/>
                    </a:lnTo>
                    <a:lnTo>
                      <a:pt x="101" y="5"/>
                    </a:lnTo>
                    <a:lnTo>
                      <a:pt x="101" y="9"/>
                    </a:lnTo>
                    <a:lnTo>
                      <a:pt x="101" y="12"/>
                    </a:lnTo>
                    <a:lnTo>
                      <a:pt x="101" y="17"/>
                    </a:lnTo>
                    <a:lnTo>
                      <a:pt x="96" y="23"/>
                    </a:lnTo>
                    <a:lnTo>
                      <a:pt x="96" y="24"/>
                    </a:lnTo>
                    <a:lnTo>
                      <a:pt x="89" y="26"/>
                    </a:lnTo>
                    <a:lnTo>
                      <a:pt x="89" y="26"/>
                    </a:lnTo>
                    <a:lnTo>
                      <a:pt x="84" y="26"/>
                    </a:lnTo>
                    <a:lnTo>
                      <a:pt x="78" y="30"/>
                    </a:lnTo>
                    <a:lnTo>
                      <a:pt x="77" y="31"/>
                    </a:lnTo>
                    <a:lnTo>
                      <a:pt x="77" y="35"/>
                    </a:lnTo>
                    <a:lnTo>
                      <a:pt x="80" y="35"/>
                    </a:lnTo>
                    <a:lnTo>
                      <a:pt x="77" y="38"/>
                    </a:lnTo>
                    <a:lnTo>
                      <a:pt x="71" y="38"/>
                    </a:lnTo>
                    <a:lnTo>
                      <a:pt x="64" y="38"/>
                    </a:lnTo>
                    <a:lnTo>
                      <a:pt x="61" y="35"/>
                    </a:lnTo>
                    <a:lnTo>
                      <a:pt x="59" y="38"/>
                    </a:lnTo>
                    <a:lnTo>
                      <a:pt x="59" y="35"/>
                    </a:lnTo>
                    <a:lnTo>
                      <a:pt x="56" y="35"/>
                    </a:lnTo>
                    <a:lnTo>
                      <a:pt x="56" y="31"/>
                    </a:lnTo>
                    <a:lnTo>
                      <a:pt x="54" y="30"/>
                    </a:lnTo>
                    <a:lnTo>
                      <a:pt x="52" y="31"/>
                    </a:lnTo>
                    <a:lnTo>
                      <a:pt x="47" y="31"/>
                    </a:lnTo>
                    <a:lnTo>
                      <a:pt x="45" y="30"/>
                    </a:lnTo>
                    <a:lnTo>
                      <a:pt x="47" y="35"/>
                    </a:lnTo>
                    <a:lnTo>
                      <a:pt x="45" y="35"/>
                    </a:lnTo>
                    <a:lnTo>
                      <a:pt x="52" y="40"/>
                    </a:lnTo>
                    <a:lnTo>
                      <a:pt x="51" y="42"/>
                    </a:lnTo>
                    <a:lnTo>
                      <a:pt x="52" y="45"/>
                    </a:lnTo>
                    <a:lnTo>
                      <a:pt x="51" y="47"/>
                    </a:lnTo>
                    <a:lnTo>
                      <a:pt x="52" y="51"/>
                    </a:lnTo>
                    <a:lnTo>
                      <a:pt x="54" y="52"/>
                    </a:lnTo>
                    <a:lnTo>
                      <a:pt x="47" y="52"/>
                    </a:lnTo>
                    <a:lnTo>
                      <a:pt x="44" y="52"/>
                    </a:lnTo>
                    <a:lnTo>
                      <a:pt x="42" y="52"/>
                    </a:lnTo>
                    <a:lnTo>
                      <a:pt x="38" y="54"/>
                    </a:lnTo>
                    <a:lnTo>
                      <a:pt x="37" y="52"/>
                    </a:lnTo>
                    <a:lnTo>
                      <a:pt x="33" y="56"/>
                    </a:lnTo>
                    <a:lnTo>
                      <a:pt x="28" y="49"/>
                    </a:lnTo>
                    <a:lnTo>
                      <a:pt x="24" y="47"/>
                    </a:lnTo>
                    <a:lnTo>
                      <a:pt x="23" y="49"/>
                    </a:lnTo>
                    <a:lnTo>
                      <a:pt x="19" y="52"/>
                    </a:lnTo>
                    <a:lnTo>
                      <a:pt x="17" y="51"/>
                    </a:lnTo>
                    <a:lnTo>
                      <a:pt x="16" y="52"/>
                    </a:lnTo>
                    <a:lnTo>
                      <a:pt x="14" y="52"/>
                    </a:lnTo>
                    <a:lnTo>
                      <a:pt x="11" y="52"/>
                    </a:lnTo>
                    <a:lnTo>
                      <a:pt x="9" y="54"/>
                    </a:lnTo>
                    <a:lnTo>
                      <a:pt x="2" y="54"/>
                    </a:lnTo>
                    <a:lnTo>
                      <a:pt x="0" y="57"/>
                    </a:lnTo>
                    <a:lnTo>
                      <a:pt x="2" y="57"/>
                    </a:lnTo>
                    <a:lnTo>
                      <a:pt x="4" y="57"/>
                    </a:lnTo>
                    <a:lnTo>
                      <a:pt x="9" y="57"/>
                    </a:lnTo>
                    <a:lnTo>
                      <a:pt x="9" y="61"/>
                    </a:lnTo>
                    <a:lnTo>
                      <a:pt x="5" y="61"/>
                    </a:lnTo>
                    <a:lnTo>
                      <a:pt x="2" y="61"/>
                    </a:lnTo>
                    <a:lnTo>
                      <a:pt x="4" y="63"/>
                    </a:lnTo>
                    <a:lnTo>
                      <a:pt x="5" y="61"/>
                    </a:lnTo>
                    <a:lnTo>
                      <a:pt x="9" y="61"/>
                    </a:lnTo>
                    <a:lnTo>
                      <a:pt x="9" y="63"/>
                    </a:lnTo>
                    <a:lnTo>
                      <a:pt x="5" y="64"/>
                    </a:lnTo>
                    <a:lnTo>
                      <a:pt x="2" y="64"/>
                    </a:lnTo>
                    <a:lnTo>
                      <a:pt x="2" y="66"/>
                    </a:lnTo>
                    <a:lnTo>
                      <a:pt x="5" y="66"/>
                    </a:lnTo>
                    <a:lnTo>
                      <a:pt x="9" y="70"/>
                    </a:lnTo>
                    <a:lnTo>
                      <a:pt x="9" y="71"/>
                    </a:lnTo>
                    <a:lnTo>
                      <a:pt x="11" y="70"/>
                    </a:lnTo>
                    <a:lnTo>
                      <a:pt x="12" y="70"/>
                    </a:lnTo>
                    <a:lnTo>
                      <a:pt x="16" y="70"/>
                    </a:lnTo>
                    <a:lnTo>
                      <a:pt x="21" y="71"/>
                    </a:lnTo>
                    <a:lnTo>
                      <a:pt x="23" y="75"/>
                    </a:lnTo>
                    <a:lnTo>
                      <a:pt x="24" y="75"/>
                    </a:lnTo>
                    <a:lnTo>
                      <a:pt x="28" y="77"/>
                    </a:lnTo>
                    <a:lnTo>
                      <a:pt x="31" y="75"/>
                    </a:lnTo>
                    <a:lnTo>
                      <a:pt x="31" y="75"/>
                    </a:lnTo>
                    <a:lnTo>
                      <a:pt x="31" y="77"/>
                    </a:lnTo>
                    <a:lnTo>
                      <a:pt x="31" y="78"/>
                    </a:lnTo>
                    <a:lnTo>
                      <a:pt x="37" y="77"/>
                    </a:lnTo>
                    <a:lnTo>
                      <a:pt x="37" y="78"/>
                    </a:lnTo>
                    <a:lnTo>
                      <a:pt x="37" y="80"/>
                    </a:lnTo>
                    <a:lnTo>
                      <a:pt x="37" y="84"/>
                    </a:lnTo>
                    <a:lnTo>
                      <a:pt x="38" y="84"/>
                    </a:lnTo>
                    <a:lnTo>
                      <a:pt x="42" y="80"/>
                    </a:lnTo>
                    <a:lnTo>
                      <a:pt x="47" y="80"/>
                    </a:lnTo>
                    <a:lnTo>
                      <a:pt x="49" y="84"/>
                    </a:lnTo>
                    <a:lnTo>
                      <a:pt x="45" y="84"/>
                    </a:lnTo>
                    <a:lnTo>
                      <a:pt x="42" y="84"/>
                    </a:lnTo>
                    <a:lnTo>
                      <a:pt x="40" y="85"/>
                    </a:lnTo>
                    <a:lnTo>
                      <a:pt x="42" y="85"/>
                    </a:lnTo>
                    <a:lnTo>
                      <a:pt x="44" y="89"/>
                    </a:lnTo>
                    <a:lnTo>
                      <a:pt x="42" y="92"/>
                    </a:lnTo>
                    <a:lnTo>
                      <a:pt x="42" y="96"/>
                    </a:lnTo>
                    <a:lnTo>
                      <a:pt x="45" y="96"/>
                    </a:lnTo>
                    <a:lnTo>
                      <a:pt x="49" y="101"/>
                    </a:lnTo>
                    <a:lnTo>
                      <a:pt x="54" y="101"/>
                    </a:lnTo>
                    <a:lnTo>
                      <a:pt x="56" y="103"/>
                    </a:lnTo>
                    <a:lnTo>
                      <a:pt x="56" y="106"/>
                    </a:lnTo>
                    <a:lnTo>
                      <a:pt x="59" y="108"/>
                    </a:lnTo>
                    <a:lnTo>
                      <a:pt x="56" y="111"/>
                    </a:lnTo>
                    <a:lnTo>
                      <a:pt x="56" y="111"/>
                    </a:lnTo>
                    <a:lnTo>
                      <a:pt x="56" y="115"/>
                    </a:lnTo>
                    <a:lnTo>
                      <a:pt x="59" y="117"/>
                    </a:lnTo>
                    <a:lnTo>
                      <a:pt x="64" y="120"/>
                    </a:lnTo>
                    <a:lnTo>
                      <a:pt x="68" y="130"/>
                    </a:lnTo>
                    <a:lnTo>
                      <a:pt x="64" y="125"/>
                    </a:lnTo>
                    <a:lnTo>
                      <a:pt x="61" y="122"/>
                    </a:lnTo>
                    <a:lnTo>
                      <a:pt x="59" y="120"/>
                    </a:lnTo>
                    <a:lnTo>
                      <a:pt x="56" y="122"/>
                    </a:lnTo>
                    <a:lnTo>
                      <a:pt x="56" y="130"/>
                    </a:lnTo>
                    <a:lnTo>
                      <a:pt x="56" y="137"/>
                    </a:lnTo>
                    <a:lnTo>
                      <a:pt x="59" y="137"/>
                    </a:lnTo>
                    <a:lnTo>
                      <a:pt x="56" y="139"/>
                    </a:lnTo>
                    <a:lnTo>
                      <a:pt x="56" y="151"/>
                    </a:lnTo>
                    <a:lnTo>
                      <a:pt x="52" y="160"/>
                    </a:lnTo>
                    <a:lnTo>
                      <a:pt x="49" y="162"/>
                    </a:lnTo>
                    <a:lnTo>
                      <a:pt x="52" y="164"/>
                    </a:lnTo>
                    <a:lnTo>
                      <a:pt x="52" y="165"/>
                    </a:lnTo>
                    <a:lnTo>
                      <a:pt x="54" y="165"/>
                    </a:lnTo>
                    <a:lnTo>
                      <a:pt x="54" y="169"/>
                    </a:lnTo>
                    <a:lnTo>
                      <a:pt x="54" y="172"/>
                    </a:lnTo>
                    <a:lnTo>
                      <a:pt x="59" y="172"/>
                    </a:lnTo>
                    <a:lnTo>
                      <a:pt x="64" y="174"/>
                    </a:lnTo>
                    <a:lnTo>
                      <a:pt x="68" y="177"/>
                    </a:lnTo>
                    <a:lnTo>
                      <a:pt x="73" y="176"/>
                    </a:lnTo>
                    <a:lnTo>
                      <a:pt x="77" y="179"/>
                    </a:lnTo>
                    <a:lnTo>
                      <a:pt x="82" y="179"/>
                    </a:lnTo>
                    <a:lnTo>
                      <a:pt x="84" y="183"/>
                    </a:lnTo>
                    <a:lnTo>
                      <a:pt x="87" y="179"/>
                    </a:lnTo>
                    <a:lnTo>
                      <a:pt x="96" y="177"/>
                    </a:lnTo>
                    <a:lnTo>
                      <a:pt x="97" y="179"/>
                    </a:lnTo>
                    <a:lnTo>
                      <a:pt x="101" y="179"/>
                    </a:lnTo>
                    <a:lnTo>
                      <a:pt x="106" y="183"/>
                    </a:lnTo>
                    <a:lnTo>
                      <a:pt x="115" y="179"/>
                    </a:lnTo>
                    <a:lnTo>
                      <a:pt x="120" y="183"/>
                    </a:lnTo>
                    <a:lnTo>
                      <a:pt x="123" y="184"/>
                    </a:lnTo>
                    <a:lnTo>
                      <a:pt x="123" y="183"/>
                    </a:lnTo>
                    <a:lnTo>
                      <a:pt x="120" y="179"/>
                    </a:lnTo>
                    <a:lnTo>
                      <a:pt x="123" y="172"/>
                    </a:lnTo>
                    <a:lnTo>
                      <a:pt x="123" y="170"/>
                    </a:lnTo>
                    <a:lnTo>
                      <a:pt x="127" y="165"/>
                    </a:lnTo>
                    <a:lnTo>
                      <a:pt x="132" y="160"/>
                    </a:lnTo>
                    <a:lnTo>
                      <a:pt x="134" y="160"/>
                    </a:lnTo>
                    <a:lnTo>
                      <a:pt x="137" y="160"/>
                    </a:lnTo>
                    <a:lnTo>
                      <a:pt x="141" y="162"/>
                    </a:lnTo>
                    <a:lnTo>
                      <a:pt x="146" y="164"/>
                    </a:lnTo>
                    <a:lnTo>
                      <a:pt x="148" y="164"/>
                    </a:lnTo>
                    <a:lnTo>
                      <a:pt x="151" y="162"/>
                    </a:lnTo>
                    <a:lnTo>
                      <a:pt x="151" y="162"/>
                    </a:lnTo>
                    <a:lnTo>
                      <a:pt x="163" y="169"/>
                    </a:lnTo>
                    <a:lnTo>
                      <a:pt x="165" y="170"/>
                    </a:lnTo>
                    <a:lnTo>
                      <a:pt x="174" y="170"/>
                    </a:lnTo>
                    <a:lnTo>
                      <a:pt x="176" y="169"/>
                    </a:lnTo>
                    <a:lnTo>
                      <a:pt x="176" y="167"/>
                    </a:lnTo>
                    <a:lnTo>
                      <a:pt x="179" y="162"/>
                    </a:lnTo>
                    <a:lnTo>
                      <a:pt x="190" y="157"/>
                    </a:lnTo>
                    <a:lnTo>
                      <a:pt x="190" y="157"/>
                    </a:lnTo>
                    <a:lnTo>
                      <a:pt x="190" y="151"/>
                    </a:lnTo>
                    <a:lnTo>
                      <a:pt x="191" y="146"/>
                    </a:lnTo>
                    <a:lnTo>
                      <a:pt x="188" y="146"/>
                    </a:lnTo>
                    <a:lnTo>
                      <a:pt x="183" y="143"/>
                    </a:lnTo>
                    <a:lnTo>
                      <a:pt x="179" y="134"/>
                    </a:lnTo>
                    <a:lnTo>
                      <a:pt x="176" y="130"/>
                    </a:lnTo>
                    <a:lnTo>
                      <a:pt x="179" y="125"/>
                    </a:lnTo>
                    <a:lnTo>
                      <a:pt x="183" y="125"/>
                    </a:lnTo>
                    <a:lnTo>
                      <a:pt x="184" y="120"/>
                    </a:lnTo>
                    <a:lnTo>
                      <a:pt x="179" y="117"/>
                    </a:lnTo>
                    <a:lnTo>
                      <a:pt x="179" y="115"/>
                    </a:lnTo>
                    <a:lnTo>
                      <a:pt x="183" y="111"/>
                    </a:lnTo>
                    <a:lnTo>
                      <a:pt x="183" y="111"/>
                    </a:lnTo>
                    <a:lnTo>
                      <a:pt x="183" y="111"/>
                    </a:lnTo>
                    <a:lnTo>
                      <a:pt x="183" y="111"/>
                    </a:lnTo>
                    <a:lnTo>
                      <a:pt x="183" y="111"/>
                    </a:lnTo>
                    <a:close/>
                    <a:moveTo>
                      <a:pt x="217" y="205"/>
                    </a:moveTo>
                    <a:lnTo>
                      <a:pt x="212" y="202"/>
                    </a:lnTo>
                    <a:lnTo>
                      <a:pt x="212" y="202"/>
                    </a:lnTo>
                    <a:lnTo>
                      <a:pt x="212" y="200"/>
                    </a:lnTo>
                    <a:lnTo>
                      <a:pt x="216" y="200"/>
                    </a:lnTo>
                    <a:lnTo>
                      <a:pt x="212" y="198"/>
                    </a:lnTo>
                    <a:lnTo>
                      <a:pt x="212" y="198"/>
                    </a:lnTo>
                    <a:lnTo>
                      <a:pt x="212" y="197"/>
                    </a:lnTo>
                    <a:lnTo>
                      <a:pt x="210" y="195"/>
                    </a:lnTo>
                    <a:lnTo>
                      <a:pt x="207" y="193"/>
                    </a:lnTo>
                    <a:lnTo>
                      <a:pt x="210" y="191"/>
                    </a:lnTo>
                    <a:lnTo>
                      <a:pt x="210" y="191"/>
                    </a:lnTo>
                    <a:lnTo>
                      <a:pt x="207" y="190"/>
                    </a:lnTo>
                    <a:lnTo>
                      <a:pt x="207" y="186"/>
                    </a:lnTo>
                    <a:lnTo>
                      <a:pt x="207" y="186"/>
                    </a:lnTo>
                    <a:lnTo>
                      <a:pt x="210" y="184"/>
                    </a:lnTo>
                    <a:lnTo>
                      <a:pt x="207" y="183"/>
                    </a:lnTo>
                    <a:lnTo>
                      <a:pt x="210" y="179"/>
                    </a:lnTo>
                    <a:lnTo>
                      <a:pt x="216" y="179"/>
                    </a:lnTo>
                    <a:lnTo>
                      <a:pt x="216" y="176"/>
                    </a:lnTo>
                    <a:lnTo>
                      <a:pt x="219" y="179"/>
                    </a:lnTo>
                    <a:lnTo>
                      <a:pt x="221" y="179"/>
                    </a:lnTo>
                    <a:lnTo>
                      <a:pt x="221" y="176"/>
                    </a:lnTo>
                    <a:lnTo>
                      <a:pt x="219" y="172"/>
                    </a:lnTo>
                    <a:lnTo>
                      <a:pt x="221" y="170"/>
                    </a:lnTo>
                    <a:lnTo>
                      <a:pt x="224" y="170"/>
                    </a:lnTo>
                    <a:lnTo>
                      <a:pt x="224" y="176"/>
                    </a:lnTo>
                    <a:lnTo>
                      <a:pt x="224" y="179"/>
                    </a:lnTo>
                    <a:lnTo>
                      <a:pt x="224" y="186"/>
                    </a:lnTo>
                    <a:lnTo>
                      <a:pt x="224" y="193"/>
                    </a:lnTo>
                    <a:lnTo>
                      <a:pt x="224" y="198"/>
                    </a:lnTo>
                    <a:lnTo>
                      <a:pt x="221" y="202"/>
                    </a:lnTo>
                    <a:lnTo>
                      <a:pt x="217" y="205"/>
                    </a:lnTo>
                    <a:lnTo>
                      <a:pt x="217" y="205"/>
                    </a:lnTo>
                    <a:lnTo>
                      <a:pt x="217" y="20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0" name="Freeform 26">
                <a:extLst>
                  <a:ext uri="{FF2B5EF4-FFF2-40B4-BE49-F238E27FC236}">
                    <a16:creationId xmlns:a16="http://schemas.microsoft.com/office/drawing/2014/main" id="{13CB0A1B-9534-4CE8-96C6-88CE9F99A30C}"/>
                  </a:ext>
                </a:extLst>
              </p:cNvPr>
              <p:cNvSpPr>
                <a:spLocks noEditPoints="1"/>
              </p:cNvSpPr>
              <p:nvPr/>
            </p:nvSpPr>
            <p:spPr bwMode="auto">
              <a:xfrm>
                <a:off x="4618038" y="2873376"/>
                <a:ext cx="307975" cy="347663"/>
              </a:xfrm>
              <a:custGeom>
                <a:avLst/>
                <a:gdLst/>
                <a:ahLst/>
                <a:cxnLst>
                  <a:cxn ang="0">
                    <a:pos x="7" y="57"/>
                  </a:cxn>
                  <a:cxn ang="0">
                    <a:pos x="7" y="34"/>
                  </a:cxn>
                  <a:cxn ang="0">
                    <a:pos x="15" y="22"/>
                  </a:cxn>
                  <a:cxn ang="0">
                    <a:pos x="34" y="22"/>
                  </a:cxn>
                  <a:cxn ang="0">
                    <a:pos x="52" y="15"/>
                  </a:cxn>
                  <a:cxn ang="0">
                    <a:pos x="62" y="1"/>
                  </a:cxn>
                  <a:cxn ang="0">
                    <a:pos x="86" y="3"/>
                  </a:cxn>
                  <a:cxn ang="0">
                    <a:pos x="109" y="17"/>
                  </a:cxn>
                  <a:cxn ang="0">
                    <a:pos x="104" y="29"/>
                  </a:cxn>
                  <a:cxn ang="0">
                    <a:pos x="88" y="38"/>
                  </a:cxn>
                  <a:cxn ang="0">
                    <a:pos x="90" y="53"/>
                  </a:cxn>
                  <a:cxn ang="0">
                    <a:pos x="107" y="71"/>
                  </a:cxn>
                  <a:cxn ang="0">
                    <a:pos x="121" y="93"/>
                  </a:cxn>
                  <a:cxn ang="0">
                    <a:pos x="139" y="106"/>
                  </a:cxn>
                  <a:cxn ang="0">
                    <a:pos x="156" y="109"/>
                  </a:cxn>
                  <a:cxn ang="0">
                    <a:pos x="156" y="120"/>
                  </a:cxn>
                  <a:cxn ang="0">
                    <a:pos x="189" y="137"/>
                  </a:cxn>
                  <a:cxn ang="0">
                    <a:pos x="194" y="149"/>
                  </a:cxn>
                  <a:cxn ang="0">
                    <a:pos x="186" y="146"/>
                  </a:cxn>
                  <a:cxn ang="0">
                    <a:pos x="173" y="139"/>
                  </a:cxn>
                  <a:cxn ang="0">
                    <a:pos x="166" y="147"/>
                  </a:cxn>
                  <a:cxn ang="0">
                    <a:pos x="166" y="156"/>
                  </a:cxn>
                  <a:cxn ang="0">
                    <a:pos x="172" y="172"/>
                  </a:cxn>
                  <a:cxn ang="0">
                    <a:pos x="161" y="191"/>
                  </a:cxn>
                  <a:cxn ang="0">
                    <a:pos x="151" y="186"/>
                  </a:cxn>
                  <a:cxn ang="0">
                    <a:pos x="156" y="177"/>
                  </a:cxn>
                  <a:cxn ang="0">
                    <a:pos x="156" y="161"/>
                  </a:cxn>
                  <a:cxn ang="0">
                    <a:pos x="147" y="149"/>
                  </a:cxn>
                  <a:cxn ang="0">
                    <a:pos x="139" y="140"/>
                  </a:cxn>
                  <a:cxn ang="0">
                    <a:pos x="130" y="132"/>
                  </a:cxn>
                  <a:cxn ang="0">
                    <a:pos x="116" y="125"/>
                  </a:cxn>
                  <a:cxn ang="0">
                    <a:pos x="104" y="120"/>
                  </a:cxn>
                  <a:cxn ang="0">
                    <a:pos x="85" y="102"/>
                  </a:cxn>
                  <a:cxn ang="0">
                    <a:pos x="67" y="85"/>
                  </a:cxn>
                  <a:cxn ang="0">
                    <a:pos x="57" y="69"/>
                  </a:cxn>
                  <a:cxn ang="0">
                    <a:pos x="47" y="59"/>
                  </a:cxn>
                  <a:cxn ang="0">
                    <a:pos x="14" y="69"/>
                  </a:cxn>
                  <a:cxn ang="0">
                    <a:pos x="29" y="126"/>
                  </a:cxn>
                  <a:cxn ang="0">
                    <a:pos x="26" y="125"/>
                  </a:cxn>
                  <a:cxn ang="0">
                    <a:pos x="71" y="99"/>
                  </a:cxn>
                  <a:cxn ang="0">
                    <a:pos x="71" y="99"/>
                  </a:cxn>
                  <a:cxn ang="0">
                    <a:pos x="60" y="90"/>
                  </a:cxn>
                  <a:cxn ang="0">
                    <a:pos x="57" y="90"/>
                  </a:cxn>
                  <a:cxn ang="0">
                    <a:pos x="36" y="172"/>
                  </a:cxn>
                  <a:cxn ang="0">
                    <a:pos x="47" y="166"/>
                  </a:cxn>
                  <a:cxn ang="0">
                    <a:pos x="52" y="156"/>
                  </a:cxn>
                  <a:cxn ang="0">
                    <a:pos x="52" y="135"/>
                  </a:cxn>
                  <a:cxn ang="0">
                    <a:pos x="41" y="125"/>
                  </a:cxn>
                  <a:cxn ang="0">
                    <a:pos x="26" y="132"/>
                  </a:cxn>
                  <a:cxn ang="0">
                    <a:pos x="31" y="147"/>
                  </a:cxn>
                  <a:cxn ang="0">
                    <a:pos x="31" y="154"/>
                  </a:cxn>
                  <a:cxn ang="0">
                    <a:pos x="36" y="172"/>
                  </a:cxn>
                  <a:cxn ang="0">
                    <a:pos x="146" y="212"/>
                  </a:cxn>
                  <a:cxn ang="0">
                    <a:pos x="149" y="189"/>
                  </a:cxn>
                  <a:cxn ang="0">
                    <a:pos x="133" y="191"/>
                  </a:cxn>
                  <a:cxn ang="0">
                    <a:pos x="107" y="189"/>
                  </a:cxn>
                  <a:cxn ang="0">
                    <a:pos x="104" y="201"/>
                  </a:cxn>
                  <a:cxn ang="0">
                    <a:pos x="128" y="212"/>
                  </a:cxn>
                  <a:cxn ang="0">
                    <a:pos x="144" y="219"/>
                  </a:cxn>
                </a:cxnLst>
                <a:rect l="0" t="0" r="r" b="b"/>
                <a:pathLst>
                  <a:path w="194" h="219">
                    <a:moveTo>
                      <a:pt x="14" y="69"/>
                    </a:moveTo>
                    <a:lnTo>
                      <a:pt x="14" y="66"/>
                    </a:lnTo>
                    <a:lnTo>
                      <a:pt x="15" y="60"/>
                    </a:lnTo>
                    <a:lnTo>
                      <a:pt x="10" y="60"/>
                    </a:lnTo>
                    <a:lnTo>
                      <a:pt x="7" y="57"/>
                    </a:lnTo>
                    <a:lnTo>
                      <a:pt x="3" y="46"/>
                    </a:lnTo>
                    <a:lnTo>
                      <a:pt x="0" y="43"/>
                    </a:lnTo>
                    <a:lnTo>
                      <a:pt x="3" y="40"/>
                    </a:lnTo>
                    <a:lnTo>
                      <a:pt x="7" y="40"/>
                    </a:lnTo>
                    <a:lnTo>
                      <a:pt x="7" y="34"/>
                    </a:lnTo>
                    <a:lnTo>
                      <a:pt x="3" y="31"/>
                    </a:lnTo>
                    <a:lnTo>
                      <a:pt x="3" y="27"/>
                    </a:lnTo>
                    <a:lnTo>
                      <a:pt x="7" y="26"/>
                    </a:lnTo>
                    <a:lnTo>
                      <a:pt x="8" y="27"/>
                    </a:lnTo>
                    <a:lnTo>
                      <a:pt x="15" y="22"/>
                    </a:lnTo>
                    <a:lnTo>
                      <a:pt x="20" y="24"/>
                    </a:lnTo>
                    <a:lnTo>
                      <a:pt x="26" y="12"/>
                    </a:lnTo>
                    <a:lnTo>
                      <a:pt x="29" y="15"/>
                    </a:lnTo>
                    <a:lnTo>
                      <a:pt x="29" y="19"/>
                    </a:lnTo>
                    <a:lnTo>
                      <a:pt x="34" y="22"/>
                    </a:lnTo>
                    <a:lnTo>
                      <a:pt x="36" y="26"/>
                    </a:lnTo>
                    <a:lnTo>
                      <a:pt x="40" y="19"/>
                    </a:lnTo>
                    <a:lnTo>
                      <a:pt x="40" y="15"/>
                    </a:lnTo>
                    <a:lnTo>
                      <a:pt x="48" y="17"/>
                    </a:lnTo>
                    <a:lnTo>
                      <a:pt x="52" y="15"/>
                    </a:lnTo>
                    <a:lnTo>
                      <a:pt x="53" y="19"/>
                    </a:lnTo>
                    <a:lnTo>
                      <a:pt x="53" y="12"/>
                    </a:lnTo>
                    <a:lnTo>
                      <a:pt x="60" y="10"/>
                    </a:lnTo>
                    <a:lnTo>
                      <a:pt x="59" y="6"/>
                    </a:lnTo>
                    <a:lnTo>
                      <a:pt x="62" y="1"/>
                    </a:lnTo>
                    <a:lnTo>
                      <a:pt x="69" y="5"/>
                    </a:lnTo>
                    <a:lnTo>
                      <a:pt x="76" y="0"/>
                    </a:lnTo>
                    <a:lnTo>
                      <a:pt x="81" y="0"/>
                    </a:lnTo>
                    <a:lnTo>
                      <a:pt x="86" y="0"/>
                    </a:lnTo>
                    <a:lnTo>
                      <a:pt x="86" y="3"/>
                    </a:lnTo>
                    <a:lnTo>
                      <a:pt x="95" y="6"/>
                    </a:lnTo>
                    <a:lnTo>
                      <a:pt x="104" y="10"/>
                    </a:lnTo>
                    <a:lnTo>
                      <a:pt x="113" y="10"/>
                    </a:lnTo>
                    <a:lnTo>
                      <a:pt x="113" y="10"/>
                    </a:lnTo>
                    <a:lnTo>
                      <a:pt x="109" y="17"/>
                    </a:lnTo>
                    <a:lnTo>
                      <a:pt x="109" y="19"/>
                    </a:lnTo>
                    <a:lnTo>
                      <a:pt x="107" y="24"/>
                    </a:lnTo>
                    <a:lnTo>
                      <a:pt x="109" y="29"/>
                    </a:lnTo>
                    <a:lnTo>
                      <a:pt x="104" y="29"/>
                    </a:lnTo>
                    <a:lnTo>
                      <a:pt x="104" y="29"/>
                    </a:lnTo>
                    <a:lnTo>
                      <a:pt x="100" y="33"/>
                    </a:lnTo>
                    <a:lnTo>
                      <a:pt x="97" y="33"/>
                    </a:lnTo>
                    <a:lnTo>
                      <a:pt x="93" y="34"/>
                    </a:lnTo>
                    <a:lnTo>
                      <a:pt x="90" y="34"/>
                    </a:lnTo>
                    <a:lnTo>
                      <a:pt x="88" y="38"/>
                    </a:lnTo>
                    <a:lnTo>
                      <a:pt x="90" y="43"/>
                    </a:lnTo>
                    <a:lnTo>
                      <a:pt x="92" y="45"/>
                    </a:lnTo>
                    <a:lnTo>
                      <a:pt x="90" y="48"/>
                    </a:lnTo>
                    <a:lnTo>
                      <a:pt x="88" y="50"/>
                    </a:lnTo>
                    <a:lnTo>
                      <a:pt x="90" y="53"/>
                    </a:lnTo>
                    <a:lnTo>
                      <a:pt x="90" y="59"/>
                    </a:lnTo>
                    <a:lnTo>
                      <a:pt x="92" y="62"/>
                    </a:lnTo>
                    <a:lnTo>
                      <a:pt x="100" y="66"/>
                    </a:lnTo>
                    <a:lnTo>
                      <a:pt x="104" y="67"/>
                    </a:lnTo>
                    <a:lnTo>
                      <a:pt x="107" y="71"/>
                    </a:lnTo>
                    <a:lnTo>
                      <a:pt x="118" y="81"/>
                    </a:lnTo>
                    <a:lnTo>
                      <a:pt x="118" y="85"/>
                    </a:lnTo>
                    <a:lnTo>
                      <a:pt x="120" y="85"/>
                    </a:lnTo>
                    <a:lnTo>
                      <a:pt x="120" y="90"/>
                    </a:lnTo>
                    <a:lnTo>
                      <a:pt x="121" y="93"/>
                    </a:lnTo>
                    <a:lnTo>
                      <a:pt x="125" y="97"/>
                    </a:lnTo>
                    <a:lnTo>
                      <a:pt x="126" y="99"/>
                    </a:lnTo>
                    <a:lnTo>
                      <a:pt x="133" y="104"/>
                    </a:lnTo>
                    <a:lnTo>
                      <a:pt x="135" y="106"/>
                    </a:lnTo>
                    <a:lnTo>
                      <a:pt x="139" y="106"/>
                    </a:lnTo>
                    <a:lnTo>
                      <a:pt x="139" y="107"/>
                    </a:lnTo>
                    <a:lnTo>
                      <a:pt x="146" y="107"/>
                    </a:lnTo>
                    <a:lnTo>
                      <a:pt x="149" y="109"/>
                    </a:lnTo>
                    <a:lnTo>
                      <a:pt x="153" y="107"/>
                    </a:lnTo>
                    <a:lnTo>
                      <a:pt x="156" y="109"/>
                    </a:lnTo>
                    <a:lnTo>
                      <a:pt x="156" y="113"/>
                    </a:lnTo>
                    <a:lnTo>
                      <a:pt x="151" y="116"/>
                    </a:lnTo>
                    <a:lnTo>
                      <a:pt x="151" y="116"/>
                    </a:lnTo>
                    <a:lnTo>
                      <a:pt x="153" y="120"/>
                    </a:lnTo>
                    <a:lnTo>
                      <a:pt x="156" y="120"/>
                    </a:lnTo>
                    <a:lnTo>
                      <a:pt x="163" y="121"/>
                    </a:lnTo>
                    <a:lnTo>
                      <a:pt x="177" y="128"/>
                    </a:lnTo>
                    <a:lnTo>
                      <a:pt x="182" y="132"/>
                    </a:lnTo>
                    <a:lnTo>
                      <a:pt x="186" y="135"/>
                    </a:lnTo>
                    <a:lnTo>
                      <a:pt x="189" y="137"/>
                    </a:lnTo>
                    <a:lnTo>
                      <a:pt x="194" y="139"/>
                    </a:lnTo>
                    <a:lnTo>
                      <a:pt x="194" y="142"/>
                    </a:lnTo>
                    <a:lnTo>
                      <a:pt x="194" y="146"/>
                    </a:lnTo>
                    <a:lnTo>
                      <a:pt x="194" y="149"/>
                    </a:lnTo>
                    <a:lnTo>
                      <a:pt x="194" y="149"/>
                    </a:lnTo>
                    <a:lnTo>
                      <a:pt x="191" y="153"/>
                    </a:lnTo>
                    <a:lnTo>
                      <a:pt x="191" y="153"/>
                    </a:lnTo>
                    <a:lnTo>
                      <a:pt x="189" y="153"/>
                    </a:lnTo>
                    <a:lnTo>
                      <a:pt x="186" y="149"/>
                    </a:lnTo>
                    <a:lnTo>
                      <a:pt x="186" y="146"/>
                    </a:lnTo>
                    <a:lnTo>
                      <a:pt x="186" y="142"/>
                    </a:lnTo>
                    <a:lnTo>
                      <a:pt x="184" y="142"/>
                    </a:lnTo>
                    <a:lnTo>
                      <a:pt x="179" y="142"/>
                    </a:lnTo>
                    <a:lnTo>
                      <a:pt x="177" y="140"/>
                    </a:lnTo>
                    <a:lnTo>
                      <a:pt x="173" y="139"/>
                    </a:lnTo>
                    <a:lnTo>
                      <a:pt x="172" y="139"/>
                    </a:lnTo>
                    <a:lnTo>
                      <a:pt x="170" y="139"/>
                    </a:lnTo>
                    <a:lnTo>
                      <a:pt x="168" y="144"/>
                    </a:lnTo>
                    <a:lnTo>
                      <a:pt x="166" y="146"/>
                    </a:lnTo>
                    <a:lnTo>
                      <a:pt x="166" y="147"/>
                    </a:lnTo>
                    <a:lnTo>
                      <a:pt x="166" y="149"/>
                    </a:lnTo>
                    <a:lnTo>
                      <a:pt x="163" y="153"/>
                    </a:lnTo>
                    <a:lnTo>
                      <a:pt x="163" y="154"/>
                    </a:lnTo>
                    <a:lnTo>
                      <a:pt x="166" y="156"/>
                    </a:lnTo>
                    <a:lnTo>
                      <a:pt x="166" y="156"/>
                    </a:lnTo>
                    <a:lnTo>
                      <a:pt x="172" y="161"/>
                    </a:lnTo>
                    <a:lnTo>
                      <a:pt x="173" y="163"/>
                    </a:lnTo>
                    <a:lnTo>
                      <a:pt x="173" y="168"/>
                    </a:lnTo>
                    <a:lnTo>
                      <a:pt x="173" y="170"/>
                    </a:lnTo>
                    <a:lnTo>
                      <a:pt x="172" y="172"/>
                    </a:lnTo>
                    <a:lnTo>
                      <a:pt x="170" y="172"/>
                    </a:lnTo>
                    <a:lnTo>
                      <a:pt x="166" y="175"/>
                    </a:lnTo>
                    <a:lnTo>
                      <a:pt x="166" y="184"/>
                    </a:lnTo>
                    <a:lnTo>
                      <a:pt x="163" y="186"/>
                    </a:lnTo>
                    <a:lnTo>
                      <a:pt x="161" y="191"/>
                    </a:lnTo>
                    <a:lnTo>
                      <a:pt x="158" y="194"/>
                    </a:lnTo>
                    <a:lnTo>
                      <a:pt x="154" y="194"/>
                    </a:lnTo>
                    <a:lnTo>
                      <a:pt x="151" y="191"/>
                    </a:lnTo>
                    <a:lnTo>
                      <a:pt x="151" y="189"/>
                    </a:lnTo>
                    <a:lnTo>
                      <a:pt x="151" y="186"/>
                    </a:lnTo>
                    <a:lnTo>
                      <a:pt x="153" y="186"/>
                    </a:lnTo>
                    <a:lnTo>
                      <a:pt x="156" y="184"/>
                    </a:lnTo>
                    <a:lnTo>
                      <a:pt x="156" y="180"/>
                    </a:lnTo>
                    <a:lnTo>
                      <a:pt x="156" y="177"/>
                    </a:lnTo>
                    <a:lnTo>
                      <a:pt x="156" y="177"/>
                    </a:lnTo>
                    <a:lnTo>
                      <a:pt x="158" y="177"/>
                    </a:lnTo>
                    <a:lnTo>
                      <a:pt x="158" y="172"/>
                    </a:lnTo>
                    <a:lnTo>
                      <a:pt x="158" y="170"/>
                    </a:lnTo>
                    <a:lnTo>
                      <a:pt x="158" y="168"/>
                    </a:lnTo>
                    <a:lnTo>
                      <a:pt x="156" y="161"/>
                    </a:lnTo>
                    <a:lnTo>
                      <a:pt x="154" y="161"/>
                    </a:lnTo>
                    <a:lnTo>
                      <a:pt x="154" y="153"/>
                    </a:lnTo>
                    <a:lnTo>
                      <a:pt x="153" y="149"/>
                    </a:lnTo>
                    <a:lnTo>
                      <a:pt x="149" y="147"/>
                    </a:lnTo>
                    <a:lnTo>
                      <a:pt x="147" y="149"/>
                    </a:lnTo>
                    <a:lnTo>
                      <a:pt x="144" y="147"/>
                    </a:lnTo>
                    <a:lnTo>
                      <a:pt x="140" y="144"/>
                    </a:lnTo>
                    <a:lnTo>
                      <a:pt x="139" y="144"/>
                    </a:lnTo>
                    <a:lnTo>
                      <a:pt x="135" y="142"/>
                    </a:lnTo>
                    <a:lnTo>
                      <a:pt x="139" y="140"/>
                    </a:lnTo>
                    <a:lnTo>
                      <a:pt x="139" y="137"/>
                    </a:lnTo>
                    <a:lnTo>
                      <a:pt x="135" y="135"/>
                    </a:lnTo>
                    <a:lnTo>
                      <a:pt x="133" y="133"/>
                    </a:lnTo>
                    <a:lnTo>
                      <a:pt x="130" y="135"/>
                    </a:lnTo>
                    <a:lnTo>
                      <a:pt x="130" y="132"/>
                    </a:lnTo>
                    <a:lnTo>
                      <a:pt x="126" y="130"/>
                    </a:lnTo>
                    <a:lnTo>
                      <a:pt x="125" y="132"/>
                    </a:lnTo>
                    <a:lnTo>
                      <a:pt x="123" y="130"/>
                    </a:lnTo>
                    <a:lnTo>
                      <a:pt x="118" y="125"/>
                    </a:lnTo>
                    <a:lnTo>
                      <a:pt x="116" y="125"/>
                    </a:lnTo>
                    <a:lnTo>
                      <a:pt x="113" y="121"/>
                    </a:lnTo>
                    <a:lnTo>
                      <a:pt x="109" y="125"/>
                    </a:lnTo>
                    <a:lnTo>
                      <a:pt x="107" y="125"/>
                    </a:lnTo>
                    <a:lnTo>
                      <a:pt x="107" y="121"/>
                    </a:lnTo>
                    <a:lnTo>
                      <a:pt x="104" y="120"/>
                    </a:lnTo>
                    <a:lnTo>
                      <a:pt x="100" y="120"/>
                    </a:lnTo>
                    <a:lnTo>
                      <a:pt x="93" y="114"/>
                    </a:lnTo>
                    <a:lnTo>
                      <a:pt x="86" y="104"/>
                    </a:lnTo>
                    <a:lnTo>
                      <a:pt x="85" y="104"/>
                    </a:lnTo>
                    <a:lnTo>
                      <a:pt x="85" y="102"/>
                    </a:lnTo>
                    <a:lnTo>
                      <a:pt x="81" y="97"/>
                    </a:lnTo>
                    <a:lnTo>
                      <a:pt x="76" y="97"/>
                    </a:lnTo>
                    <a:lnTo>
                      <a:pt x="76" y="93"/>
                    </a:lnTo>
                    <a:lnTo>
                      <a:pt x="71" y="90"/>
                    </a:lnTo>
                    <a:lnTo>
                      <a:pt x="67" y="85"/>
                    </a:lnTo>
                    <a:lnTo>
                      <a:pt x="64" y="85"/>
                    </a:lnTo>
                    <a:lnTo>
                      <a:pt x="64" y="80"/>
                    </a:lnTo>
                    <a:lnTo>
                      <a:pt x="60" y="78"/>
                    </a:lnTo>
                    <a:lnTo>
                      <a:pt x="60" y="74"/>
                    </a:lnTo>
                    <a:lnTo>
                      <a:pt x="57" y="69"/>
                    </a:lnTo>
                    <a:lnTo>
                      <a:pt x="57" y="66"/>
                    </a:lnTo>
                    <a:lnTo>
                      <a:pt x="57" y="66"/>
                    </a:lnTo>
                    <a:lnTo>
                      <a:pt x="53" y="62"/>
                    </a:lnTo>
                    <a:lnTo>
                      <a:pt x="50" y="62"/>
                    </a:lnTo>
                    <a:lnTo>
                      <a:pt x="47" y="59"/>
                    </a:lnTo>
                    <a:lnTo>
                      <a:pt x="34" y="57"/>
                    </a:lnTo>
                    <a:lnTo>
                      <a:pt x="26" y="62"/>
                    </a:lnTo>
                    <a:lnTo>
                      <a:pt x="26" y="62"/>
                    </a:lnTo>
                    <a:lnTo>
                      <a:pt x="22" y="67"/>
                    </a:lnTo>
                    <a:lnTo>
                      <a:pt x="14" y="69"/>
                    </a:lnTo>
                    <a:lnTo>
                      <a:pt x="14" y="69"/>
                    </a:lnTo>
                    <a:lnTo>
                      <a:pt x="14" y="69"/>
                    </a:lnTo>
                    <a:lnTo>
                      <a:pt x="14" y="69"/>
                    </a:lnTo>
                    <a:close/>
                    <a:moveTo>
                      <a:pt x="26" y="126"/>
                    </a:moveTo>
                    <a:lnTo>
                      <a:pt x="29" y="126"/>
                    </a:lnTo>
                    <a:lnTo>
                      <a:pt x="29" y="125"/>
                    </a:lnTo>
                    <a:lnTo>
                      <a:pt x="29" y="125"/>
                    </a:lnTo>
                    <a:lnTo>
                      <a:pt x="29" y="121"/>
                    </a:lnTo>
                    <a:lnTo>
                      <a:pt x="29" y="125"/>
                    </a:lnTo>
                    <a:lnTo>
                      <a:pt x="26" y="125"/>
                    </a:lnTo>
                    <a:lnTo>
                      <a:pt x="26" y="126"/>
                    </a:lnTo>
                    <a:lnTo>
                      <a:pt x="26" y="126"/>
                    </a:lnTo>
                    <a:lnTo>
                      <a:pt x="26" y="126"/>
                    </a:lnTo>
                    <a:lnTo>
                      <a:pt x="26" y="126"/>
                    </a:lnTo>
                    <a:close/>
                    <a:moveTo>
                      <a:pt x="71" y="99"/>
                    </a:moveTo>
                    <a:lnTo>
                      <a:pt x="73" y="99"/>
                    </a:lnTo>
                    <a:lnTo>
                      <a:pt x="73" y="97"/>
                    </a:lnTo>
                    <a:lnTo>
                      <a:pt x="71" y="99"/>
                    </a:lnTo>
                    <a:lnTo>
                      <a:pt x="71" y="99"/>
                    </a:lnTo>
                    <a:lnTo>
                      <a:pt x="71" y="99"/>
                    </a:lnTo>
                    <a:lnTo>
                      <a:pt x="71" y="99"/>
                    </a:lnTo>
                    <a:close/>
                    <a:moveTo>
                      <a:pt x="57" y="90"/>
                    </a:moveTo>
                    <a:lnTo>
                      <a:pt x="57" y="92"/>
                    </a:lnTo>
                    <a:lnTo>
                      <a:pt x="57" y="92"/>
                    </a:lnTo>
                    <a:lnTo>
                      <a:pt x="60" y="90"/>
                    </a:lnTo>
                    <a:lnTo>
                      <a:pt x="62" y="90"/>
                    </a:lnTo>
                    <a:lnTo>
                      <a:pt x="62" y="88"/>
                    </a:lnTo>
                    <a:lnTo>
                      <a:pt x="60" y="85"/>
                    </a:lnTo>
                    <a:lnTo>
                      <a:pt x="60" y="88"/>
                    </a:lnTo>
                    <a:lnTo>
                      <a:pt x="57" y="90"/>
                    </a:lnTo>
                    <a:lnTo>
                      <a:pt x="57" y="90"/>
                    </a:lnTo>
                    <a:lnTo>
                      <a:pt x="57" y="90"/>
                    </a:lnTo>
                    <a:lnTo>
                      <a:pt x="57" y="90"/>
                    </a:lnTo>
                    <a:close/>
                    <a:moveTo>
                      <a:pt x="36" y="172"/>
                    </a:moveTo>
                    <a:lnTo>
                      <a:pt x="36" y="172"/>
                    </a:lnTo>
                    <a:lnTo>
                      <a:pt x="38" y="172"/>
                    </a:lnTo>
                    <a:lnTo>
                      <a:pt x="41" y="172"/>
                    </a:lnTo>
                    <a:lnTo>
                      <a:pt x="41" y="168"/>
                    </a:lnTo>
                    <a:lnTo>
                      <a:pt x="43" y="166"/>
                    </a:lnTo>
                    <a:lnTo>
                      <a:pt x="47" y="166"/>
                    </a:lnTo>
                    <a:lnTo>
                      <a:pt x="48" y="168"/>
                    </a:lnTo>
                    <a:lnTo>
                      <a:pt x="50" y="168"/>
                    </a:lnTo>
                    <a:lnTo>
                      <a:pt x="52" y="165"/>
                    </a:lnTo>
                    <a:lnTo>
                      <a:pt x="52" y="161"/>
                    </a:lnTo>
                    <a:lnTo>
                      <a:pt x="52" y="156"/>
                    </a:lnTo>
                    <a:lnTo>
                      <a:pt x="52" y="149"/>
                    </a:lnTo>
                    <a:lnTo>
                      <a:pt x="53" y="144"/>
                    </a:lnTo>
                    <a:lnTo>
                      <a:pt x="48" y="140"/>
                    </a:lnTo>
                    <a:lnTo>
                      <a:pt x="52" y="139"/>
                    </a:lnTo>
                    <a:lnTo>
                      <a:pt x="52" y="135"/>
                    </a:lnTo>
                    <a:lnTo>
                      <a:pt x="52" y="132"/>
                    </a:lnTo>
                    <a:lnTo>
                      <a:pt x="50" y="128"/>
                    </a:lnTo>
                    <a:lnTo>
                      <a:pt x="47" y="125"/>
                    </a:lnTo>
                    <a:lnTo>
                      <a:pt x="45" y="125"/>
                    </a:lnTo>
                    <a:lnTo>
                      <a:pt x="41" y="125"/>
                    </a:lnTo>
                    <a:lnTo>
                      <a:pt x="40" y="125"/>
                    </a:lnTo>
                    <a:lnTo>
                      <a:pt x="34" y="130"/>
                    </a:lnTo>
                    <a:lnTo>
                      <a:pt x="29" y="130"/>
                    </a:lnTo>
                    <a:lnTo>
                      <a:pt x="26" y="128"/>
                    </a:lnTo>
                    <a:lnTo>
                      <a:pt x="26" y="132"/>
                    </a:lnTo>
                    <a:lnTo>
                      <a:pt x="26" y="135"/>
                    </a:lnTo>
                    <a:lnTo>
                      <a:pt x="29" y="137"/>
                    </a:lnTo>
                    <a:lnTo>
                      <a:pt x="29" y="140"/>
                    </a:lnTo>
                    <a:lnTo>
                      <a:pt x="31" y="142"/>
                    </a:lnTo>
                    <a:lnTo>
                      <a:pt x="31" y="147"/>
                    </a:lnTo>
                    <a:lnTo>
                      <a:pt x="29" y="149"/>
                    </a:lnTo>
                    <a:lnTo>
                      <a:pt x="29" y="153"/>
                    </a:lnTo>
                    <a:lnTo>
                      <a:pt x="34" y="153"/>
                    </a:lnTo>
                    <a:lnTo>
                      <a:pt x="34" y="153"/>
                    </a:lnTo>
                    <a:lnTo>
                      <a:pt x="31" y="154"/>
                    </a:lnTo>
                    <a:lnTo>
                      <a:pt x="29" y="161"/>
                    </a:lnTo>
                    <a:lnTo>
                      <a:pt x="31" y="163"/>
                    </a:lnTo>
                    <a:lnTo>
                      <a:pt x="34" y="170"/>
                    </a:lnTo>
                    <a:lnTo>
                      <a:pt x="36" y="172"/>
                    </a:lnTo>
                    <a:lnTo>
                      <a:pt x="36" y="172"/>
                    </a:lnTo>
                    <a:lnTo>
                      <a:pt x="36" y="172"/>
                    </a:lnTo>
                    <a:lnTo>
                      <a:pt x="36" y="172"/>
                    </a:lnTo>
                    <a:close/>
                    <a:moveTo>
                      <a:pt x="144" y="219"/>
                    </a:moveTo>
                    <a:lnTo>
                      <a:pt x="144" y="213"/>
                    </a:lnTo>
                    <a:lnTo>
                      <a:pt x="146" y="212"/>
                    </a:lnTo>
                    <a:lnTo>
                      <a:pt x="144" y="208"/>
                    </a:lnTo>
                    <a:lnTo>
                      <a:pt x="140" y="205"/>
                    </a:lnTo>
                    <a:lnTo>
                      <a:pt x="144" y="196"/>
                    </a:lnTo>
                    <a:lnTo>
                      <a:pt x="147" y="193"/>
                    </a:lnTo>
                    <a:lnTo>
                      <a:pt x="149" y="189"/>
                    </a:lnTo>
                    <a:lnTo>
                      <a:pt x="146" y="184"/>
                    </a:lnTo>
                    <a:lnTo>
                      <a:pt x="140" y="189"/>
                    </a:lnTo>
                    <a:lnTo>
                      <a:pt x="139" y="189"/>
                    </a:lnTo>
                    <a:lnTo>
                      <a:pt x="135" y="186"/>
                    </a:lnTo>
                    <a:lnTo>
                      <a:pt x="133" y="191"/>
                    </a:lnTo>
                    <a:lnTo>
                      <a:pt x="125" y="189"/>
                    </a:lnTo>
                    <a:lnTo>
                      <a:pt x="118" y="193"/>
                    </a:lnTo>
                    <a:lnTo>
                      <a:pt x="113" y="191"/>
                    </a:lnTo>
                    <a:lnTo>
                      <a:pt x="113" y="189"/>
                    </a:lnTo>
                    <a:lnTo>
                      <a:pt x="107" y="189"/>
                    </a:lnTo>
                    <a:lnTo>
                      <a:pt x="104" y="191"/>
                    </a:lnTo>
                    <a:lnTo>
                      <a:pt x="104" y="189"/>
                    </a:lnTo>
                    <a:lnTo>
                      <a:pt x="100" y="191"/>
                    </a:lnTo>
                    <a:lnTo>
                      <a:pt x="99" y="198"/>
                    </a:lnTo>
                    <a:lnTo>
                      <a:pt x="104" y="201"/>
                    </a:lnTo>
                    <a:lnTo>
                      <a:pt x="107" y="200"/>
                    </a:lnTo>
                    <a:lnTo>
                      <a:pt x="113" y="205"/>
                    </a:lnTo>
                    <a:lnTo>
                      <a:pt x="116" y="206"/>
                    </a:lnTo>
                    <a:lnTo>
                      <a:pt x="120" y="208"/>
                    </a:lnTo>
                    <a:lnTo>
                      <a:pt x="128" y="212"/>
                    </a:lnTo>
                    <a:lnTo>
                      <a:pt x="130" y="212"/>
                    </a:lnTo>
                    <a:lnTo>
                      <a:pt x="133" y="212"/>
                    </a:lnTo>
                    <a:lnTo>
                      <a:pt x="133" y="215"/>
                    </a:lnTo>
                    <a:lnTo>
                      <a:pt x="140" y="219"/>
                    </a:lnTo>
                    <a:lnTo>
                      <a:pt x="144" y="219"/>
                    </a:lnTo>
                    <a:lnTo>
                      <a:pt x="144" y="219"/>
                    </a:lnTo>
                    <a:lnTo>
                      <a:pt x="144" y="2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1" name="Freeform 27">
                <a:extLst>
                  <a:ext uri="{FF2B5EF4-FFF2-40B4-BE49-F238E27FC236}">
                    <a16:creationId xmlns:a16="http://schemas.microsoft.com/office/drawing/2014/main" id="{C17E9F09-DF19-4BD4-A516-CEFA5C60D178}"/>
                  </a:ext>
                </a:extLst>
              </p:cNvPr>
              <p:cNvSpPr>
                <a:spLocks noEditPoints="1"/>
              </p:cNvSpPr>
              <p:nvPr/>
            </p:nvSpPr>
            <p:spPr bwMode="auto">
              <a:xfrm>
                <a:off x="4222750" y="2989263"/>
                <a:ext cx="342900" cy="244475"/>
              </a:xfrm>
              <a:custGeom>
                <a:avLst/>
                <a:gdLst/>
                <a:ahLst/>
                <a:cxnLst>
                  <a:cxn ang="0">
                    <a:pos x="125" y="8"/>
                  </a:cxn>
                  <a:cxn ang="0">
                    <a:pos x="127" y="13"/>
                  </a:cxn>
                  <a:cxn ang="0">
                    <a:pos x="143" y="20"/>
                  </a:cxn>
                  <a:cxn ang="0">
                    <a:pos x="155" y="22"/>
                  </a:cxn>
                  <a:cxn ang="0">
                    <a:pos x="169" y="20"/>
                  </a:cxn>
                  <a:cxn ang="0">
                    <a:pos x="179" y="26"/>
                  </a:cxn>
                  <a:cxn ang="0">
                    <a:pos x="196" y="27"/>
                  </a:cxn>
                  <a:cxn ang="0">
                    <a:pos x="195" y="36"/>
                  </a:cxn>
                  <a:cxn ang="0">
                    <a:pos x="186" y="48"/>
                  </a:cxn>
                  <a:cxn ang="0">
                    <a:pos x="183" y="52"/>
                  </a:cxn>
                  <a:cxn ang="0">
                    <a:pos x="167" y="57"/>
                  </a:cxn>
                  <a:cxn ang="0">
                    <a:pos x="163" y="62"/>
                  </a:cxn>
                  <a:cxn ang="0">
                    <a:pos x="162" y="66"/>
                  </a:cxn>
                  <a:cxn ang="0">
                    <a:pos x="151" y="73"/>
                  </a:cxn>
                  <a:cxn ang="0">
                    <a:pos x="146" y="92"/>
                  </a:cxn>
                  <a:cxn ang="0">
                    <a:pos x="153" y="102"/>
                  </a:cxn>
                  <a:cxn ang="0">
                    <a:pos x="144" y="111"/>
                  </a:cxn>
                  <a:cxn ang="0">
                    <a:pos x="139" y="125"/>
                  </a:cxn>
                  <a:cxn ang="0">
                    <a:pos x="122" y="133"/>
                  </a:cxn>
                  <a:cxn ang="0">
                    <a:pos x="115" y="140"/>
                  </a:cxn>
                  <a:cxn ang="0">
                    <a:pos x="106" y="142"/>
                  </a:cxn>
                  <a:cxn ang="0">
                    <a:pos x="99" y="142"/>
                  </a:cxn>
                  <a:cxn ang="0">
                    <a:pos x="84" y="140"/>
                  </a:cxn>
                  <a:cxn ang="0">
                    <a:pos x="66" y="147"/>
                  </a:cxn>
                  <a:cxn ang="0">
                    <a:pos x="59" y="154"/>
                  </a:cxn>
                  <a:cxn ang="0">
                    <a:pos x="45" y="140"/>
                  </a:cxn>
                  <a:cxn ang="0">
                    <a:pos x="33" y="133"/>
                  </a:cxn>
                  <a:cxn ang="0">
                    <a:pos x="28" y="125"/>
                  </a:cxn>
                  <a:cxn ang="0">
                    <a:pos x="37" y="111"/>
                  </a:cxn>
                  <a:cxn ang="0">
                    <a:pos x="35" y="99"/>
                  </a:cxn>
                  <a:cxn ang="0">
                    <a:pos x="28" y="81"/>
                  </a:cxn>
                  <a:cxn ang="0">
                    <a:pos x="38" y="76"/>
                  </a:cxn>
                  <a:cxn ang="0">
                    <a:pos x="40" y="59"/>
                  </a:cxn>
                  <a:cxn ang="0">
                    <a:pos x="47" y="48"/>
                  </a:cxn>
                  <a:cxn ang="0">
                    <a:pos x="45" y="36"/>
                  </a:cxn>
                  <a:cxn ang="0">
                    <a:pos x="24" y="36"/>
                  </a:cxn>
                  <a:cxn ang="0">
                    <a:pos x="18" y="33"/>
                  </a:cxn>
                  <a:cxn ang="0">
                    <a:pos x="7" y="33"/>
                  </a:cxn>
                  <a:cxn ang="0">
                    <a:pos x="11" y="26"/>
                  </a:cxn>
                  <a:cxn ang="0">
                    <a:pos x="7" y="26"/>
                  </a:cxn>
                  <a:cxn ang="0">
                    <a:pos x="5" y="19"/>
                  </a:cxn>
                  <a:cxn ang="0">
                    <a:pos x="0" y="13"/>
                  </a:cxn>
                  <a:cxn ang="0">
                    <a:pos x="12" y="8"/>
                  </a:cxn>
                  <a:cxn ang="0">
                    <a:pos x="19" y="5"/>
                  </a:cxn>
                  <a:cxn ang="0">
                    <a:pos x="24" y="0"/>
                  </a:cxn>
                  <a:cxn ang="0">
                    <a:pos x="35" y="3"/>
                  </a:cxn>
                  <a:cxn ang="0">
                    <a:pos x="47" y="3"/>
                  </a:cxn>
                  <a:cxn ang="0">
                    <a:pos x="56" y="0"/>
                  </a:cxn>
                  <a:cxn ang="0">
                    <a:pos x="80" y="7"/>
                  </a:cxn>
                  <a:cxn ang="0">
                    <a:pos x="94" y="7"/>
                  </a:cxn>
                  <a:cxn ang="0">
                    <a:pos x="108" y="3"/>
                  </a:cxn>
                  <a:cxn ang="0">
                    <a:pos x="120" y="7"/>
                  </a:cxn>
                  <a:cxn ang="0">
                    <a:pos x="122" y="5"/>
                  </a:cxn>
                  <a:cxn ang="0">
                    <a:pos x="212" y="81"/>
                  </a:cxn>
                  <a:cxn ang="0">
                    <a:pos x="212" y="76"/>
                  </a:cxn>
                  <a:cxn ang="0">
                    <a:pos x="203" y="80"/>
                  </a:cxn>
                  <a:cxn ang="0">
                    <a:pos x="195" y="90"/>
                  </a:cxn>
                  <a:cxn ang="0">
                    <a:pos x="196" y="81"/>
                  </a:cxn>
                  <a:cxn ang="0">
                    <a:pos x="190" y="88"/>
                  </a:cxn>
                  <a:cxn ang="0">
                    <a:pos x="195" y="90"/>
                  </a:cxn>
                  <a:cxn ang="0">
                    <a:pos x="176" y="102"/>
                  </a:cxn>
                  <a:cxn ang="0">
                    <a:pos x="176" y="95"/>
                  </a:cxn>
                  <a:cxn ang="0">
                    <a:pos x="176" y="102"/>
                  </a:cxn>
                </a:cxnLst>
                <a:rect l="0" t="0" r="r" b="b"/>
                <a:pathLst>
                  <a:path w="216" h="154">
                    <a:moveTo>
                      <a:pt x="122" y="5"/>
                    </a:moveTo>
                    <a:lnTo>
                      <a:pt x="125" y="7"/>
                    </a:lnTo>
                    <a:lnTo>
                      <a:pt x="125" y="8"/>
                    </a:lnTo>
                    <a:lnTo>
                      <a:pt x="127" y="8"/>
                    </a:lnTo>
                    <a:lnTo>
                      <a:pt x="127" y="12"/>
                    </a:lnTo>
                    <a:lnTo>
                      <a:pt x="127" y="13"/>
                    </a:lnTo>
                    <a:lnTo>
                      <a:pt x="132" y="13"/>
                    </a:lnTo>
                    <a:lnTo>
                      <a:pt x="139" y="17"/>
                    </a:lnTo>
                    <a:lnTo>
                      <a:pt x="143" y="20"/>
                    </a:lnTo>
                    <a:lnTo>
                      <a:pt x="148" y="19"/>
                    </a:lnTo>
                    <a:lnTo>
                      <a:pt x="151" y="22"/>
                    </a:lnTo>
                    <a:lnTo>
                      <a:pt x="155" y="22"/>
                    </a:lnTo>
                    <a:lnTo>
                      <a:pt x="157" y="26"/>
                    </a:lnTo>
                    <a:lnTo>
                      <a:pt x="160" y="22"/>
                    </a:lnTo>
                    <a:lnTo>
                      <a:pt x="169" y="20"/>
                    </a:lnTo>
                    <a:lnTo>
                      <a:pt x="172" y="22"/>
                    </a:lnTo>
                    <a:lnTo>
                      <a:pt x="176" y="22"/>
                    </a:lnTo>
                    <a:lnTo>
                      <a:pt x="179" y="26"/>
                    </a:lnTo>
                    <a:lnTo>
                      <a:pt x="188" y="22"/>
                    </a:lnTo>
                    <a:lnTo>
                      <a:pt x="195" y="26"/>
                    </a:lnTo>
                    <a:lnTo>
                      <a:pt x="196" y="27"/>
                    </a:lnTo>
                    <a:lnTo>
                      <a:pt x="196" y="29"/>
                    </a:lnTo>
                    <a:lnTo>
                      <a:pt x="195" y="31"/>
                    </a:lnTo>
                    <a:lnTo>
                      <a:pt x="195" y="36"/>
                    </a:lnTo>
                    <a:lnTo>
                      <a:pt x="195" y="40"/>
                    </a:lnTo>
                    <a:lnTo>
                      <a:pt x="193" y="43"/>
                    </a:lnTo>
                    <a:lnTo>
                      <a:pt x="186" y="48"/>
                    </a:lnTo>
                    <a:lnTo>
                      <a:pt x="186" y="48"/>
                    </a:lnTo>
                    <a:lnTo>
                      <a:pt x="183" y="52"/>
                    </a:lnTo>
                    <a:lnTo>
                      <a:pt x="183" y="52"/>
                    </a:lnTo>
                    <a:lnTo>
                      <a:pt x="179" y="53"/>
                    </a:lnTo>
                    <a:lnTo>
                      <a:pt x="172" y="53"/>
                    </a:lnTo>
                    <a:lnTo>
                      <a:pt x="167" y="57"/>
                    </a:lnTo>
                    <a:lnTo>
                      <a:pt x="163" y="59"/>
                    </a:lnTo>
                    <a:lnTo>
                      <a:pt x="165" y="59"/>
                    </a:lnTo>
                    <a:lnTo>
                      <a:pt x="163" y="62"/>
                    </a:lnTo>
                    <a:lnTo>
                      <a:pt x="162" y="66"/>
                    </a:lnTo>
                    <a:lnTo>
                      <a:pt x="162" y="66"/>
                    </a:lnTo>
                    <a:lnTo>
                      <a:pt x="162" y="66"/>
                    </a:lnTo>
                    <a:lnTo>
                      <a:pt x="160" y="62"/>
                    </a:lnTo>
                    <a:lnTo>
                      <a:pt x="155" y="71"/>
                    </a:lnTo>
                    <a:lnTo>
                      <a:pt x="151" y="73"/>
                    </a:lnTo>
                    <a:lnTo>
                      <a:pt x="146" y="85"/>
                    </a:lnTo>
                    <a:lnTo>
                      <a:pt x="144" y="88"/>
                    </a:lnTo>
                    <a:lnTo>
                      <a:pt x="146" y="92"/>
                    </a:lnTo>
                    <a:lnTo>
                      <a:pt x="148" y="95"/>
                    </a:lnTo>
                    <a:lnTo>
                      <a:pt x="148" y="97"/>
                    </a:lnTo>
                    <a:lnTo>
                      <a:pt x="153" y="102"/>
                    </a:lnTo>
                    <a:lnTo>
                      <a:pt x="151" y="106"/>
                    </a:lnTo>
                    <a:lnTo>
                      <a:pt x="144" y="107"/>
                    </a:lnTo>
                    <a:lnTo>
                      <a:pt x="144" y="111"/>
                    </a:lnTo>
                    <a:lnTo>
                      <a:pt x="139" y="118"/>
                    </a:lnTo>
                    <a:lnTo>
                      <a:pt x="139" y="121"/>
                    </a:lnTo>
                    <a:lnTo>
                      <a:pt x="139" y="125"/>
                    </a:lnTo>
                    <a:lnTo>
                      <a:pt x="139" y="128"/>
                    </a:lnTo>
                    <a:lnTo>
                      <a:pt x="132" y="128"/>
                    </a:lnTo>
                    <a:lnTo>
                      <a:pt x="122" y="133"/>
                    </a:lnTo>
                    <a:lnTo>
                      <a:pt x="122" y="135"/>
                    </a:lnTo>
                    <a:lnTo>
                      <a:pt x="117" y="142"/>
                    </a:lnTo>
                    <a:lnTo>
                      <a:pt x="115" y="140"/>
                    </a:lnTo>
                    <a:lnTo>
                      <a:pt x="111" y="137"/>
                    </a:lnTo>
                    <a:lnTo>
                      <a:pt x="110" y="140"/>
                    </a:lnTo>
                    <a:lnTo>
                      <a:pt x="106" y="142"/>
                    </a:lnTo>
                    <a:lnTo>
                      <a:pt x="104" y="140"/>
                    </a:lnTo>
                    <a:lnTo>
                      <a:pt x="101" y="140"/>
                    </a:lnTo>
                    <a:lnTo>
                      <a:pt x="99" y="142"/>
                    </a:lnTo>
                    <a:lnTo>
                      <a:pt x="94" y="142"/>
                    </a:lnTo>
                    <a:lnTo>
                      <a:pt x="87" y="139"/>
                    </a:lnTo>
                    <a:lnTo>
                      <a:pt x="84" y="140"/>
                    </a:lnTo>
                    <a:lnTo>
                      <a:pt x="78" y="142"/>
                    </a:lnTo>
                    <a:lnTo>
                      <a:pt x="73" y="147"/>
                    </a:lnTo>
                    <a:lnTo>
                      <a:pt x="66" y="147"/>
                    </a:lnTo>
                    <a:lnTo>
                      <a:pt x="64" y="151"/>
                    </a:lnTo>
                    <a:lnTo>
                      <a:pt x="64" y="153"/>
                    </a:lnTo>
                    <a:lnTo>
                      <a:pt x="59" y="154"/>
                    </a:lnTo>
                    <a:lnTo>
                      <a:pt x="52" y="154"/>
                    </a:lnTo>
                    <a:lnTo>
                      <a:pt x="47" y="147"/>
                    </a:lnTo>
                    <a:lnTo>
                      <a:pt x="45" y="140"/>
                    </a:lnTo>
                    <a:lnTo>
                      <a:pt x="45" y="140"/>
                    </a:lnTo>
                    <a:lnTo>
                      <a:pt x="38" y="133"/>
                    </a:lnTo>
                    <a:lnTo>
                      <a:pt x="33" y="133"/>
                    </a:lnTo>
                    <a:lnTo>
                      <a:pt x="30" y="133"/>
                    </a:lnTo>
                    <a:lnTo>
                      <a:pt x="30" y="128"/>
                    </a:lnTo>
                    <a:lnTo>
                      <a:pt x="28" y="125"/>
                    </a:lnTo>
                    <a:lnTo>
                      <a:pt x="31" y="116"/>
                    </a:lnTo>
                    <a:lnTo>
                      <a:pt x="37" y="113"/>
                    </a:lnTo>
                    <a:lnTo>
                      <a:pt x="37" y="111"/>
                    </a:lnTo>
                    <a:lnTo>
                      <a:pt x="33" y="111"/>
                    </a:lnTo>
                    <a:lnTo>
                      <a:pt x="30" y="106"/>
                    </a:lnTo>
                    <a:lnTo>
                      <a:pt x="35" y="99"/>
                    </a:lnTo>
                    <a:lnTo>
                      <a:pt x="35" y="93"/>
                    </a:lnTo>
                    <a:lnTo>
                      <a:pt x="31" y="90"/>
                    </a:lnTo>
                    <a:lnTo>
                      <a:pt x="28" y="81"/>
                    </a:lnTo>
                    <a:lnTo>
                      <a:pt x="31" y="81"/>
                    </a:lnTo>
                    <a:lnTo>
                      <a:pt x="33" y="81"/>
                    </a:lnTo>
                    <a:lnTo>
                      <a:pt x="38" y="76"/>
                    </a:lnTo>
                    <a:lnTo>
                      <a:pt x="35" y="73"/>
                    </a:lnTo>
                    <a:lnTo>
                      <a:pt x="40" y="69"/>
                    </a:lnTo>
                    <a:lnTo>
                      <a:pt x="40" y="59"/>
                    </a:lnTo>
                    <a:lnTo>
                      <a:pt x="38" y="53"/>
                    </a:lnTo>
                    <a:lnTo>
                      <a:pt x="45" y="48"/>
                    </a:lnTo>
                    <a:lnTo>
                      <a:pt x="47" y="48"/>
                    </a:lnTo>
                    <a:lnTo>
                      <a:pt x="51" y="45"/>
                    </a:lnTo>
                    <a:lnTo>
                      <a:pt x="45" y="40"/>
                    </a:lnTo>
                    <a:lnTo>
                      <a:pt x="45" y="36"/>
                    </a:lnTo>
                    <a:lnTo>
                      <a:pt x="37" y="34"/>
                    </a:lnTo>
                    <a:lnTo>
                      <a:pt x="33" y="36"/>
                    </a:lnTo>
                    <a:lnTo>
                      <a:pt x="24" y="36"/>
                    </a:lnTo>
                    <a:lnTo>
                      <a:pt x="19" y="40"/>
                    </a:lnTo>
                    <a:lnTo>
                      <a:pt x="18" y="36"/>
                    </a:lnTo>
                    <a:lnTo>
                      <a:pt x="18" y="33"/>
                    </a:lnTo>
                    <a:lnTo>
                      <a:pt x="16" y="33"/>
                    </a:lnTo>
                    <a:lnTo>
                      <a:pt x="7" y="33"/>
                    </a:lnTo>
                    <a:lnTo>
                      <a:pt x="7" y="33"/>
                    </a:lnTo>
                    <a:lnTo>
                      <a:pt x="11" y="29"/>
                    </a:lnTo>
                    <a:lnTo>
                      <a:pt x="9" y="27"/>
                    </a:lnTo>
                    <a:lnTo>
                      <a:pt x="11" y="26"/>
                    </a:lnTo>
                    <a:lnTo>
                      <a:pt x="9" y="26"/>
                    </a:lnTo>
                    <a:lnTo>
                      <a:pt x="9" y="22"/>
                    </a:lnTo>
                    <a:lnTo>
                      <a:pt x="7" y="26"/>
                    </a:lnTo>
                    <a:lnTo>
                      <a:pt x="5" y="22"/>
                    </a:lnTo>
                    <a:lnTo>
                      <a:pt x="7" y="19"/>
                    </a:lnTo>
                    <a:lnTo>
                      <a:pt x="5" y="19"/>
                    </a:lnTo>
                    <a:lnTo>
                      <a:pt x="5" y="17"/>
                    </a:lnTo>
                    <a:lnTo>
                      <a:pt x="2" y="17"/>
                    </a:lnTo>
                    <a:lnTo>
                      <a:pt x="0" y="13"/>
                    </a:lnTo>
                    <a:lnTo>
                      <a:pt x="4" y="10"/>
                    </a:lnTo>
                    <a:lnTo>
                      <a:pt x="11" y="7"/>
                    </a:lnTo>
                    <a:lnTo>
                      <a:pt x="12" y="8"/>
                    </a:lnTo>
                    <a:lnTo>
                      <a:pt x="18" y="8"/>
                    </a:lnTo>
                    <a:lnTo>
                      <a:pt x="19" y="5"/>
                    </a:lnTo>
                    <a:lnTo>
                      <a:pt x="19" y="5"/>
                    </a:lnTo>
                    <a:lnTo>
                      <a:pt x="18" y="3"/>
                    </a:lnTo>
                    <a:lnTo>
                      <a:pt x="24" y="0"/>
                    </a:lnTo>
                    <a:lnTo>
                      <a:pt x="24" y="0"/>
                    </a:lnTo>
                    <a:lnTo>
                      <a:pt x="28" y="0"/>
                    </a:lnTo>
                    <a:lnTo>
                      <a:pt x="31" y="0"/>
                    </a:lnTo>
                    <a:lnTo>
                      <a:pt x="35" y="3"/>
                    </a:lnTo>
                    <a:lnTo>
                      <a:pt x="38" y="0"/>
                    </a:lnTo>
                    <a:lnTo>
                      <a:pt x="42" y="0"/>
                    </a:lnTo>
                    <a:lnTo>
                      <a:pt x="47" y="3"/>
                    </a:lnTo>
                    <a:lnTo>
                      <a:pt x="51" y="0"/>
                    </a:lnTo>
                    <a:lnTo>
                      <a:pt x="56" y="0"/>
                    </a:lnTo>
                    <a:lnTo>
                      <a:pt x="56" y="0"/>
                    </a:lnTo>
                    <a:lnTo>
                      <a:pt x="61" y="3"/>
                    </a:lnTo>
                    <a:lnTo>
                      <a:pt x="73" y="5"/>
                    </a:lnTo>
                    <a:lnTo>
                      <a:pt x="80" y="7"/>
                    </a:lnTo>
                    <a:lnTo>
                      <a:pt x="87" y="3"/>
                    </a:lnTo>
                    <a:lnTo>
                      <a:pt x="94" y="3"/>
                    </a:lnTo>
                    <a:lnTo>
                      <a:pt x="94" y="7"/>
                    </a:lnTo>
                    <a:lnTo>
                      <a:pt x="101" y="7"/>
                    </a:lnTo>
                    <a:lnTo>
                      <a:pt x="104" y="3"/>
                    </a:lnTo>
                    <a:lnTo>
                      <a:pt x="108" y="3"/>
                    </a:lnTo>
                    <a:lnTo>
                      <a:pt x="115" y="10"/>
                    </a:lnTo>
                    <a:lnTo>
                      <a:pt x="117" y="7"/>
                    </a:lnTo>
                    <a:lnTo>
                      <a:pt x="120" y="7"/>
                    </a:lnTo>
                    <a:lnTo>
                      <a:pt x="122" y="5"/>
                    </a:lnTo>
                    <a:lnTo>
                      <a:pt x="122" y="5"/>
                    </a:lnTo>
                    <a:lnTo>
                      <a:pt x="122" y="5"/>
                    </a:lnTo>
                    <a:lnTo>
                      <a:pt x="122" y="5"/>
                    </a:lnTo>
                    <a:close/>
                    <a:moveTo>
                      <a:pt x="203" y="80"/>
                    </a:moveTo>
                    <a:lnTo>
                      <a:pt x="212" y="81"/>
                    </a:lnTo>
                    <a:lnTo>
                      <a:pt x="212" y="81"/>
                    </a:lnTo>
                    <a:lnTo>
                      <a:pt x="216" y="80"/>
                    </a:lnTo>
                    <a:lnTo>
                      <a:pt x="212" y="76"/>
                    </a:lnTo>
                    <a:lnTo>
                      <a:pt x="207" y="78"/>
                    </a:lnTo>
                    <a:lnTo>
                      <a:pt x="203" y="80"/>
                    </a:lnTo>
                    <a:lnTo>
                      <a:pt x="203" y="80"/>
                    </a:lnTo>
                    <a:lnTo>
                      <a:pt x="203" y="80"/>
                    </a:lnTo>
                    <a:lnTo>
                      <a:pt x="203" y="80"/>
                    </a:lnTo>
                    <a:close/>
                    <a:moveTo>
                      <a:pt x="195" y="90"/>
                    </a:moveTo>
                    <a:lnTo>
                      <a:pt x="196" y="88"/>
                    </a:lnTo>
                    <a:lnTo>
                      <a:pt x="202" y="81"/>
                    </a:lnTo>
                    <a:lnTo>
                      <a:pt x="196" y="81"/>
                    </a:lnTo>
                    <a:lnTo>
                      <a:pt x="193" y="81"/>
                    </a:lnTo>
                    <a:lnTo>
                      <a:pt x="190" y="85"/>
                    </a:lnTo>
                    <a:lnTo>
                      <a:pt x="190" y="88"/>
                    </a:lnTo>
                    <a:lnTo>
                      <a:pt x="193" y="88"/>
                    </a:lnTo>
                    <a:lnTo>
                      <a:pt x="195" y="90"/>
                    </a:lnTo>
                    <a:lnTo>
                      <a:pt x="195" y="90"/>
                    </a:lnTo>
                    <a:lnTo>
                      <a:pt x="195" y="90"/>
                    </a:lnTo>
                    <a:lnTo>
                      <a:pt x="195" y="90"/>
                    </a:lnTo>
                    <a:close/>
                    <a:moveTo>
                      <a:pt x="176" y="102"/>
                    </a:moveTo>
                    <a:lnTo>
                      <a:pt x="176" y="99"/>
                    </a:lnTo>
                    <a:lnTo>
                      <a:pt x="179" y="97"/>
                    </a:lnTo>
                    <a:lnTo>
                      <a:pt x="176" y="95"/>
                    </a:lnTo>
                    <a:lnTo>
                      <a:pt x="172" y="97"/>
                    </a:lnTo>
                    <a:lnTo>
                      <a:pt x="172" y="99"/>
                    </a:lnTo>
                    <a:lnTo>
                      <a:pt x="176" y="102"/>
                    </a:lnTo>
                    <a:lnTo>
                      <a:pt x="176" y="102"/>
                    </a:lnTo>
                    <a:lnTo>
                      <a:pt x="176"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2" name="Freeform 28">
                <a:extLst>
                  <a:ext uri="{FF2B5EF4-FFF2-40B4-BE49-F238E27FC236}">
                    <a16:creationId xmlns:a16="http://schemas.microsoft.com/office/drawing/2014/main" id="{1463D86A-1717-400D-87EB-6CEDC28ACF11}"/>
                  </a:ext>
                </a:extLst>
              </p:cNvPr>
              <p:cNvSpPr>
                <a:spLocks/>
              </p:cNvSpPr>
              <p:nvPr/>
            </p:nvSpPr>
            <p:spPr bwMode="auto">
              <a:xfrm>
                <a:off x="4217988" y="3041651"/>
                <a:ext cx="82550" cy="169863"/>
              </a:xfrm>
              <a:custGeom>
                <a:avLst/>
                <a:gdLst/>
                <a:ahLst/>
                <a:cxnLst>
                  <a:cxn ang="0">
                    <a:pos x="33" y="99"/>
                  </a:cxn>
                  <a:cxn ang="0">
                    <a:pos x="34" y="87"/>
                  </a:cxn>
                  <a:cxn ang="0">
                    <a:pos x="40" y="80"/>
                  </a:cxn>
                  <a:cxn ang="0">
                    <a:pos x="33" y="74"/>
                  </a:cxn>
                  <a:cxn ang="0">
                    <a:pos x="36" y="62"/>
                  </a:cxn>
                  <a:cxn ang="0">
                    <a:pos x="29" y="50"/>
                  </a:cxn>
                  <a:cxn ang="0">
                    <a:pos x="36" y="50"/>
                  </a:cxn>
                  <a:cxn ang="0">
                    <a:pos x="36" y="41"/>
                  </a:cxn>
                  <a:cxn ang="0">
                    <a:pos x="43" y="27"/>
                  </a:cxn>
                  <a:cxn ang="0">
                    <a:pos x="48" y="17"/>
                  </a:cxn>
                  <a:cxn ang="0">
                    <a:pos x="52" y="14"/>
                  </a:cxn>
                  <a:cxn ang="0">
                    <a:pos x="48" y="3"/>
                  </a:cxn>
                  <a:cxn ang="0">
                    <a:pos x="36" y="5"/>
                  </a:cxn>
                  <a:cxn ang="0">
                    <a:pos x="22" y="7"/>
                  </a:cxn>
                  <a:cxn ang="0">
                    <a:pos x="21" y="0"/>
                  </a:cxn>
                  <a:cxn ang="0">
                    <a:pos x="10" y="0"/>
                  </a:cxn>
                  <a:cxn ang="0">
                    <a:pos x="14" y="12"/>
                  </a:cxn>
                  <a:cxn ang="0">
                    <a:pos x="12" y="22"/>
                  </a:cxn>
                  <a:cxn ang="0">
                    <a:pos x="14" y="31"/>
                  </a:cxn>
                  <a:cxn ang="0">
                    <a:pos x="10" y="38"/>
                  </a:cxn>
                  <a:cxn ang="0">
                    <a:pos x="5" y="48"/>
                  </a:cxn>
                  <a:cxn ang="0">
                    <a:pos x="0" y="59"/>
                  </a:cxn>
                  <a:cxn ang="0">
                    <a:pos x="0" y="71"/>
                  </a:cxn>
                  <a:cxn ang="0">
                    <a:pos x="3" y="67"/>
                  </a:cxn>
                  <a:cxn ang="0">
                    <a:pos x="7" y="67"/>
                  </a:cxn>
                  <a:cxn ang="0">
                    <a:pos x="3" y="73"/>
                  </a:cxn>
                  <a:cxn ang="0">
                    <a:pos x="3" y="78"/>
                  </a:cxn>
                  <a:cxn ang="0">
                    <a:pos x="12" y="76"/>
                  </a:cxn>
                  <a:cxn ang="0">
                    <a:pos x="10" y="81"/>
                  </a:cxn>
                  <a:cxn ang="0">
                    <a:pos x="8" y="95"/>
                  </a:cxn>
                  <a:cxn ang="0">
                    <a:pos x="5" y="104"/>
                  </a:cxn>
                  <a:cxn ang="0">
                    <a:pos x="12" y="102"/>
                  </a:cxn>
                  <a:cxn ang="0">
                    <a:pos x="22" y="107"/>
                  </a:cxn>
                  <a:cxn ang="0">
                    <a:pos x="33" y="104"/>
                  </a:cxn>
                  <a:cxn ang="0">
                    <a:pos x="33" y="102"/>
                  </a:cxn>
                  <a:cxn ang="0">
                    <a:pos x="33" y="102"/>
                  </a:cxn>
                </a:cxnLst>
                <a:rect l="0" t="0" r="r" b="b"/>
                <a:pathLst>
                  <a:path w="52" h="107">
                    <a:moveTo>
                      <a:pt x="33" y="102"/>
                    </a:moveTo>
                    <a:lnTo>
                      <a:pt x="33" y="99"/>
                    </a:lnTo>
                    <a:lnTo>
                      <a:pt x="31" y="94"/>
                    </a:lnTo>
                    <a:lnTo>
                      <a:pt x="34" y="87"/>
                    </a:lnTo>
                    <a:lnTo>
                      <a:pt x="40" y="81"/>
                    </a:lnTo>
                    <a:lnTo>
                      <a:pt x="40" y="80"/>
                    </a:lnTo>
                    <a:lnTo>
                      <a:pt x="36" y="80"/>
                    </a:lnTo>
                    <a:lnTo>
                      <a:pt x="33" y="74"/>
                    </a:lnTo>
                    <a:lnTo>
                      <a:pt x="36" y="69"/>
                    </a:lnTo>
                    <a:lnTo>
                      <a:pt x="36" y="62"/>
                    </a:lnTo>
                    <a:lnTo>
                      <a:pt x="34" y="59"/>
                    </a:lnTo>
                    <a:lnTo>
                      <a:pt x="29" y="50"/>
                    </a:lnTo>
                    <a:lnTo>
                      <a:pt x="34" y="50"/>
                    </a:lnTo>
                    <a:lnTo>
                      <a:pt x="36" y="50"/>
                    </a:lnTo>
                    <a:lnTo>
                      <a:pt x="41" y="45"/>
                    </a:lnTo>
                    <a:lnTo>
                      <a:pt x="36" y="41"/>
                    </a:lnTo>
                    <a:lnTo>
                      <a:pt x="43" y="38"/>
                    </a:lnTo>
                    <a:lnTo>
                      <a:pt x="43" y="27"/>
                    </a:lnTo>
                    <a:lnTo>
                      <a:pt x="41" y="22"/>
                    </a:lnTo>
                    <a:lnTo>
                      <a:pt x="48" y="17"/>
                    </a:lnTo>
                    <a:lnTo>
                      <a:pt x="50" y="17"/>
                    </a:lnTo>
                    <a:lnTo>
                      <a:pt x="52" y="14"/>
                    </a:lnTo>
                    <a:lnTo>
                      <a:pt x="48" y="7"/>
                    </a:lnTo>
                    <a:lnTo>
                      <a:pt x="48" y="3"/>
                    </a:lnTo>
                    <a:lnTo>
                      <a:pt x="40" y="3"/>
                    </a:lnTo>
                    <a:lnTo>
                      <a:pt x="36" y="5"/>
                    </a:lnTo>
                    <a:lnTo>
                      <a:pt x="26" y="3"/>
                    </a:lnTo>
                    <a:lnTo>
                      <a:pt x="22" y="7"/>
                    </a:lnTo>
                    <a:lnTo>
                      <a:pt x="21" y="3"/>
                    </a:lnTo>
                    <a:lnTo>
                      <a:pt x="21" y="0"/>
                    </a:lnTo>
                    <a:lnTo>
                      <a:pt x="17" y="0"/>
                    </a:lnTo>
                    <a:lnTo>
                      <a:pt x="10" y="0"/>
                    </a:lnTo>
                    <a:lnTo>
                      <a:pt x="10" y="5"/>
                    </a:lnTo>
                    <a:lnTo>
                      <a:pt x="14" y="12"/>
                    </a:lnTo>
                    <a:lnTo>
                      <a:pt x="12" y="22"/>
                    </a:lnTo>
                    <a:lnTo>
                      <a:pt x="12" y="22"/>
                    </a:lnTo>
                    <a:lnTo>
                      <a:pt x="12" y="27"/>
                    </a:lnTo>
                    <a:lnTo>
                      <a:pt x="14" y="31"/>
                    </a:lnTo>
                    <a:lnTo>
                      <a:pt x="12" y="34"/>
                    </a:lnTo>
                    <a:lnTo>
                      <a:pt x="10" y="38"/>
                    </a:lnTo>
                    <a:lnTo>
                      <a:pt x="10" y="43"/>
                    </a:lnTo>
                    <a:lnTo>
                      <a:pt x="5" y="48"/>
                    </a:lnTo>
                    <a:lnTo>
                      <a:pt x="5" y="50"/>
                    </a:lnTo>
                    <a:lnTo>
                      <a:pt x="0" y="59"/>
                    </a:lnTo>
                    <a:lnTo>
                      <a:pt x="0" y="67"/>
                    </a:lnTo>
                    <a:lnTo>
                      <a:pt x="0" y="71"/>
                    </a:lnTo>
                    <a:lnTo>
                      <a:pt x="3" y="71"/>
                    </a:lnTo>
                    <a:lnTo>
                      <a:pt x="3" y="67"/>
                    </a:lnTo>
                    <a:lnTo>
                      <a:pt x="7" y="66"/>
                    </a:lnTo>
                    <a:lnTo>
                      <a:pt x="7" y="67"/>
                    </a:lnTo>
                    <a:lnTo>
                      <a:pt x="8" y="71"/>
                    </a:lnTo>
                    <a:lnTo>
                      <a:pt x="3" y="73"/>
                    </a:lnTo>
                    <a:lnTo>
                      <a:pt x="3" y="76"/>
                    </a:lnTo>
                    <a:lnTo>
                      <a:pt x="3" y="78"/>
                    </a:lnTo>
                    <a:lnTo>
                      <a:pt x="7" y="76"/>
                    </a:lnTo>
                    <a:lnTo>
                      <a:pt x="12" y="76"/>
                    </a:lnTo>
                    <a:lnTo>
                      <a:pt x="8" y="78"/>
                    </a:lnTo>
                    <a:lnTo>
                      <a:pt x="10" y="81"/>
                    </a:lnTo>
                    <a:lnTo>
                      <a:pt x="8" y="87"/>
                    </a:lnTo>
                    <a:lnTo>
                      <a:pt x="8" y="95"/>
                    </a:lnTo>
                    <a:lnTo>
                      <a:pt x="7" y="102"/>
                    </a:lnTo>
                    <a:lnTo>
                      <a:pt x="5" y="104"/>
                    </a:lnTo>
                    <a:lnTo>
                      <a:pt x="7" y="106"/>
                    </a:lnTo>
                    <a:lnTo>
                      <a:pt x="12" y="102"/>
                    </a:lnTo>
                    <a:lnTo>
                      <a:pt x="21" y="104"/>
                    </a:lnTo>
                    <a:lnTo>
                      <a:pt x="22" y="107"/>
                    </a:lnTo>
                    <a:lnTo>
                      <a:pt x="27" y="104"/>
                    </a:lnTo>
                    <a:lnTo>
                      <a:pt x="33" y="104"/>
                    </a:lnTo>
                    <a:lnTo>
                      <a:pt x="33" y="102"/>
                    </a:lnTo>
                    <a:lnTo>
                      <a:pt x="33" y="102"/>
                    </a:lnTo>
                    <a:lnTo>
                      <a:pt x="33" y="102"/>
                    </a:lnTo>
                    <a:lnTo>
                      <a:pt x="33"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22" name="Groupe 221">
            <a:extLst>
              <a:ext uri="{FF2B5EF4-FFF2-40B4-BE49-F238E27FC236}">
                <a16:creationId xmlns:a16="http://schemas.microsoft.com/office/drawing/2014/main" id="{32070142-1428-42F0-9E68-4169FC98993E}"/>
              </a:ext>
            </a:extLst>
          </p:cNvPr>
          <p:cNvGrpSpPr/>
          <p:nvPr/>
        </p:nvGrpSpPr>
        <p:grpSpPr>
          <a:xfrm>
            <a:off x="2212975" y="1166813"/>
            <a:ext cx="6970713" cy="4395788"/>
            <a:chOff x="2060575" y="887413"/>
            <a:chExt cx="6970713" cy="4395788"/>
          </a:xfrm>
        </p:grpSpPr>
        <p:sp>
          <p:nvSpPr>
            <p:cNvPr id="856" name="Freeform 29">
              <a:extLst>
                <a:ext uri="{FF2B5EF4-FFF2-40B4-BE49-F238E27FC236}">
                  <a16:creationId xmlns:a16="http://schemas.microsoft.com/office/drawing/2014/main" id="{821BFB43-1102-42AF-811B-FA3EBD1EA1C8}"/>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7" name="Freeform 30">
              <a:extLst>
                <a:ext uri="{FF2B5EF4-FFF2-40B4-BE49-F238E27FC236}">
                  <a16:creationId xmlns:a16="http://schemas.microsoft.com/office/drawing/2014/main" id="{EA26CCE6-F337-41D6-8B87-B5AE2B32D2DD}"/>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chemeClr val="accent5"/>
            </a:solidFill>
            <a:ln w="11113"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8" name="Freeform 32">
              <a:extLst>
                <a:ext uri="{FF2B5EF4-FFF2-40B4-BE49-F238E27FC236}">
                  <a16:creationId xmlns:a16="http://schemas.microsoft.com/office/drawing/2014/main" id="{02CC5078-53B9-447F-89AA-0AEF8205ABBC}"/>
                </a:ext>
              </a:extLst>
            </p:cNvPr>
            <p:cNvSpPr>
              <a:spLocks/>
            </p:cNvSpPr>
            <p:nvPr/>
          </p:nvSpPr>
          <p:spPr bwMode="auto">
            <a:xfrm>
              <a:off x="4132263" y="324326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9" name="Line 33">
              <a:extLst>
                <a:ext uri="{FF2B5EF4-FFF2-40B4-BE49-F238E27FC236}">
                  <a16:creationId xmlns:a16="http://schemas.microsoft.com/office/drawing/2014/main" id="{FF414FF5-A71A-42F4-A9DE-EA85CBEACF91}"/>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0" name="Line 34">
              <a:extLst>
                <a:ext uri="{FF2B5EF4-FFF2-40B4-BE49-F238E27FC236}">
                  <a16:creationId xmlns:a16="http://schemas.microsoft.com/office/drawing/2014/main" id="{05F0F9E2-DEF2-49E7-9A48-E068250EF9E4}"/>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1" name="Freeform 36">
              <a:extLst>
                <a:ext uri="{FF2B5EF4-FFF2-40B4-BE49-F238E27FC236}">
                  <a16:creationId xmlns:a16="http://schemas.microsoft.com/office/drawing/2014/main" id="{30467001-5228-4558-B365-91C2F8D9A06B}"/>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2" name="Freeform 48">
              <a:extLst>
                <a:ext uri="{FF2B5EF4-FFF2-40B4-BE49-F238E27FC236}">
                  <a16:creationId xmlns:a16="http://schemas.microsoft.com/office/drawing/2014/main" id="{583F0657-DFA4-407A-8AD3-8B2C271F5949}"/>
                </a:ext>
              </a:extLst>
            </p:cNvPr>
            <p:cNvSpPr>
              <a:spLocks/>
            </p:cNvSpPr>
            <p:nvPr/>
          </p:nvSpPr>
          <p:spPr bwMode="auto">
            <a:xfrm>
              <a:off x="6642100" y="2576513"/>
              <a:ext cx="841375" cy="395288"/>
            </a:xfrm>
            <a:custGeom>
              <a:avLst/>
              <a:gdLst/>
              <a:ahLst/>
              <a:cxnLst>
                <a:cxn ang="0">
                  <a:pos x="19" y="77"/>
                </a:cxn>
                <a:cxn ang="0">
                  <a:pos x="33" y="60"/>
                </a:cxn>
                <a:cxn ang="0">
                  <a:pos x="38" y="49"/>
                </a:cxn>
                <a:cxn ang="0">
                  <a:pos x="61" y="44"/>
                </a:cxn>
                <a:cxn ang="0">
                  <a:pos x="75" y="46"/>
                </a:cxn>
                <a:cxn ang="0">
                  <a:pos x="92" y="46"/>
                </a:cxn>
                <a:cxn ang="0">
                  <a:pos x="111" y="63"/>
                </a:cxn>
                <a:cxn ang="0">
                  <a:pos x="129" y="60"/>
                </a:cxn>
                <a:cxn ang="0">
                  <a:pos x="151" y="60"/>
                </a:cxn>
                <a:cxn ang="0">
                  <a:pos x="156" y="40"/>
                </a:cxn>
                <a:cxn ang="0">
                  <a:pos x="142" y="20"/>
                </a:cxn>
                <a:cxn ang="0">
                  <a:pos x="155" y="9"/>
                </a:cxn>
                <a:cxn ang="0">
                  <a:pos x="165" y="4"/>
                </a:cxn>
                <a:cxn ang="0">
                  <a:pos x="189" y="9"/>
                </a:cxn>
                <a:cxn ang="0">
                  <a:pos x="210" y="14"/>
                </a:cxn>
                <a:cxn ang="0">
                  <a:pos x="217" y="30"/>
                </a:cxn>
                <a:cxn ang="0">
                  <a:pos x="229" y="40"/>
                </a:cxn>
                <a:cxn ang="0">
                  <a:pos x="248" y="40"/>
                </a:cxn>
                <a:cxn ang="0">
                  <a:pos x="271" y="35"/>
                </a:cxn>
                <a:cxn ang="0">
                  <a:pos x="299" y="40"/>
                </a:cxn>
                <a:cxn ang="0">
                  <a:pos x="320" y="51"/>
                </a:cxn>
                <a:cxn ang="0">
                  <a:pos x="344" y="58"/>
                </a:cxn>
                <a:cxn ang="0">
                  <a:pos x="372" y="58"/>
                </a:cxn>
                <a:cxn ang="0">
                  <a:pos x="398" y="46"/>
                </a:cxn>
                <a:cxn ang="0">
                  <a:pos x="412" y="30"/>
                </a:cxn>
                <a:cxn ang="0">
                  <a:pos x="427" y="23"/>
                </a:cxn>
                <a:cxn ang="0">
                  <a:pos x="443" y="30"/>
                </a:cxn>
                <a:cxn ang="0">
                  <a:pos x="459" y="56"/>
                </a:cxn>
                <a:cxn ang="0">
                  <a:pos x="467" y="87"/>
                </a:cxn>
                <a:cxn ang="0">
                  <a:pos x="493" y="77"/>
                </a:cxn>
                <a:cxn ang="0">
                  <a:pos x="518" y="84"/>
                </a:cxn>
                <a:cxn ang="0">
                  <a:pos x="528" y="105"/>
                </a:cxn>
                <a:cxn ang="0">
                  <a:pos x="518" y="108"/>
                </a:cxn>
                <a:cxn ang="0">
                  <a:pos x="495" y="115"/>
                </a:cxn>
                <a:cxn ang="0">
                  <a:pos x="487" y="122"/>
                </a:cxn>
                <a:cxn ang="0">
                  <a:pos x="471" y="145"/>
                </a:cxn>
                <a:cxn ang="0">
                  <a:pos x="452" y="157"/>
                </a:cxn>
                <a:cxn ang="0">
                  <a:pos x="434" y="157"/>
                </a:cxn>
                <a:cxn ang="0">
                  <a:pos x="412" y="169"/>
                </a:cxn>
                <a:cxn ang="0">
                  <a:pos x="422" y="190"/>
                </a:cxn>
                <a:cxn ang="0">
                  <a:pos x="400" y="218"/>
                </a:cxn>
                <a:cxn ang="0">
                  <a:pos x="370" y="227"/>
                </a:cxn>
                <a:cxn ang="0">
                  <a:pos x="327" y="249"/>
                </a:cxn>
                <a:cxn ang="0">
                  <a:pos x="304" y="247"/>
                </a:cxn>
                <a:cxn ang="0">
                  <a:pos x="261" y="228"/>
                </a:cxn>
                <a:cxn ang="0">
                  <a:pos x="226" y="232"/>
                </a:cxn>
                <a:cxn ang="0">
                  <a:pos x="175" y="232"/>
                </a:cxn>
                <a:cxn ang="0">
                  <a:pos x="156" y="206"/>
                </a:cxn>
                <a:cxn ang="0">
                  <a:pos x="149" y="197"/>
                </a:cxn>
                <a:cxn ang="0">
                  <a:pos x="129" y="188"/>
                </a:cxn>
                <a:cxn ang="0">
                  <a:pos x="106" y="181"/>
                </a:cxn>
                <a:cxn ang="0">
                  <a:pos x="68" y="169"/>
                </a:cxn>
                <a:cxn ang="0">
                  <a:pos x="69" y="155"/>
                </a:cxn>
                <a:cxn ang="0">
                  <a:pos x="64" y="140"/>
                </a:cxn>
                <a:cxn ang="0">
                  <a:pos x="54" y="122"/>
                </a:cxn>
                <a:cxn ang="0">
                  <a:pos x="42" y="119"/>
                </a:cxn>
                <a:cxn ang="0">
                  <a:pos x="26" y="117"/>
                </a:cxn>
                <a:cxn ang="0">
                  <a:pos x="19" y="114"/>
                </a:cxn>
                <a:cxn ang="0">
                  <a:pos x="7" y="100"/>
                </a:cxn>
                <a:cxn ang="0">
                  <a:pos x="2" y="96"/>
                </a:cxn>
              </a:cxnLst>
              <a:rect l="0" t="0" r="r" b="b"/>
              <a:pathLst>
                <a:path w="530" h="249">
                  <a:moveTo>
                    <a:pt x="0" y="89"/>
                  </a:moveTo>
                  <a:lnTo>
                    <a:pt x="3" y="84"/>
                  </a:lnTo>
                  <a:lnTo>
                    <a:pt x="7" y="82"/>
                  </a:lnTo>
                  <a:lnTo>
                    <a:pt x="14" y="82"/>
                  </a:lnTo>
                  <a:lnTo>
                    <a:pt x="14" y="80"/>
                  </a:lnTo>
                  <a:lnTo>
                    <a:pt x="19" y="77"/>
                  </a:lnTo>
                  <a:lnTo>
                    <a:pt x="23" y="75"/>
                  </a:lnTo>
                  <a:lnTo>
                    <a:pt x="24" y="72"/>
                  </a:lnTo>
                  <a:lnTo>
                    <a:pt x="24" y="68"/>
                  </a:lnTo>
                  <a:lnTo>
                    <a:pt x="30" y="67"/>
                  </a:lnTo>
                  <a:lnTo>
                    <a:pt x="30" y="63"/>
                  </a:lnTo>
                  <a:lnTo>
                    <a:pt x="33" y="60"/>
                  </a:lnTo>
                  <a:lnTo>
                    <a:pt x="36" y="60"/>
                  </a:lnTo>
                  <a:lnTo>
                    <a:pt x="38" y="56"/>
                  </a:lnTo>
                  <a:lnTo>
                    <a:pt x="40" y="56"/>
                  </a:lnTo>
                  <a:lnTo>
                    <a:pt x="38" y="54"/>
                  </a:lnTo>
                  <a:lnTo>
                    <a:pt x="38" y="51"/>
                  </a:lnTo>
                  <a:lnTo>
                    <a:pt x="38" y="49"/>
                  </a:lnTo>
                  <a:lnTo>
                    <a:pt x="45" y="51"/>
                  </a:lnTo>
                  <a:lnTo>
                    <a:pt x="47" y="51"/>
                  </a:lnTo>
                  <a:lnTo>
                    <a:pt x="47" y="46"/>
                  </a:lnTo>
                  <a:lnTo>
                    <a:pt x="50" y="44"/>
                  </a:lnTo>
                  <a:lnTo>
                    <a:pt x="57" y="44"/>
                  </a:lnTo>
                  <a:lnTo>
                    <a:pt x="61" y="44"/>
                  </a:lnTo>
                  <a:lnTo>
                    <a:pt x="63" y="44"/>
                  </a:lnTo>
                  <a:lnTo>
                    <a:pt x="68" y="44"/>
                  </a:lnTo>
                  <a:lnTo>
                    <a:pt x="69" y="40"/>
                  </a:lnTo>
                  <a:lnTo>
                    <a:pt x="69" y="40"/>
                  </a:lnTo>
                  <a:lnTo>
                    <a:pt x="73" y="44"/>
                  </a:lnTo>
                  <a:lnTo>
                    <a:pt x="75" y="46"/>
                  </a:lnTo>
                  <a:lnTo>
                    <a:pt x="75" y="49"/>
                  </a:lnTo>
                  <a:lnTo>
                    <a:pt x="78" y="47"/>
                  </a:lnTo>
                  <a:lnTo>
                    <a:pt x="82" y="47"/>
                  </a:lnTo>
                  <a:lnTo>
                    <a:pt x="83" y="47"/>
                  </a:lnTo>
                  <a:lnTo>
                    <a:pt x="85" y="46"/>
                  </a:lnTo>
                  <a:lnTo>
                    <a:pt x="92" y="46"/>
                  </a:lnTo>
                  <a:lnTo>
                    <a:pt x="92" y="49"/>
                  </a:lnTo>
                  <a:lnTo>
                    <a:pt x="94" y="51"/>
                  </a:lnTo>
                  <a:lnTo>
                    <a:pt x="94" y="54"/>
                  </a:lnTo>
                  <a:lnTo>
                    <a:pt x="104" y="60"/>
                  </a:lnTo>
                  <a:lnTo>
                    <a:pt x="106" y="60"/>
                  </a:lnTo>
                  <a:lnTo>
                    <a:pt x="111" y="63"/>
                  </a:lnTo>
                  <a:lnTo>
                    <a:pt x="115" y="63"/>
                  </a:lnTo>
                  <a:lnTo>
                    <a:pt x="118" y="60"/>
                  </a:lnTo>
                  <a:lnTo>
                    <a:pt x="122" y="60"/>
                  </a:lnTo>
                  <a:lnTo>
                    <a:pt x="125" y="60"/>
                  </a:lnTo>
                  <a:lnTo>
                    <a:pt x="129" y="60"/>
                  </a:lnTo>
                  <a:lnTo>
                    <a:pt x="129" y="60"/>
                  </a:lnTo>
                  <a:lnTo>
                    <a:pt x="134" y="60"/>
                  </a:lnTo>
                  <a:lnTo>
                    <a:pt x="141" y="60"/>
                  </a:lnTo>
                  <a:lnTo>
                    <a:pt x="142" y="63"/>
                  </a:lnTo>
                  <a:lnTo>
                    <a:pt x="146" y="60"/>
                  </a:lnTo>
                  <a:lnTo>
                    <a:pt x="148" y="60"/>
                  </a:lnTo>
                  <a:lnTo>
                    <a:pt x="151" y="60"/>
                  </a:lnTo>
                  <a:lnTo>
                    <a:pt x="156" y="60"/>
                  </a:lnTo>
                  <a:lnTo>
                    <a:pt x="160" y="56"/>
                  </a:lnTo>
                  <a:lnTo>
                    <a:pt x="156" y="53"/>
                  </a:lnTo>
                  <a:lnTo>
                    <a:pt x="155" y="51"/>
                  </a:lnTo>
                  <a:lnTo>
                    <a:pt x="155" y="46"/>
                  </a:lnTo>
                  <a:lnTo>
                    <a:pt x="156" y="40"/>
                  </a:lnTo>
                  <a:lnTo>
                    <a:pt x="155" y="37"/>
                  </a:lnTo>
                  <a:lnTo>
                    <a:pt x="151" y="37"/>
                  </a:lnTo>
                  <a:lnTo>
                    <a:pt x="149" y="35"/>
                  </a:lnTo>
                  <a:lnTo>
                    <a:pt x="146" y="34"/>
                  </a:lnTo>
                  <a:lnTo>
                    <a:pt x="142" y="30"/>
                  </a:lnTo>
                  <a:lnTo>
                    <a:pt x="142" y="20"/>
                  </a:lnTo>
                  <a:lnTo>
                    <a:pt x="148" y="18"/>
                  </a:lnTo>
                  <a:lnTo>
                    <a:pt x="148" y="13"/>
                  </a:lnTo>
                  <a:lnTo>
                    <a:pt x="149" y="13"/>
                  </a:lnTo>
                  <a:lnTo>
                    <a:pt x="151" y="9"/>
                  </a:lnTo>
                  <a:lnTo>
                    <a:pt x="153" y="9"/>
                  </a:lnTo>
                  <a:lnTo>
                    <a:pt x="155" y="9"/>
                  </a:lnTo>
                  <a:lnTo>
                    <a:pt x="155" y="6"/>
                  </a:lnTo>
                  <a:lnTo>
                    <a:pt x="155" y="2"/>
                  </a:lnTo>
                  <a:lnTo>
                    <a:pt x="156" y="0"/>
                  </a:lnTo>
                  <a:lnTo>
                    <a:pt x="160" y="0"/>
                  </a:lnTo>
                  <a:lnTo>
                    <a:pt x="162" y="2"/>
                  </a:lnTo>
                  <a:lnTo>
                    <a:pt x="165" y="4"/>
                  </a:lnTo>
                  <a:lnTo>
                    <a:pt x="170" y="6"/>
                  </a:lnTo>
                  <a:lnTo>
                    <a:pt x="174" y="7"/>
                  </a:lnTo>
                  <a:lnTo>
                    <a:pt x="175" y="9"/>
                  </a:lnTo>
                  <a:lnTo>
                    <a:pt x="181" y="9"/>
                  </a:lnTo>
                  <a:lnTo>
                    <a:pt x="184" y="9"/>
                  </a:lnTo>
                  <a:lnTo>
                    <a:pt x="189" y="9"/>
                  </a:lnTo>
                  <a:lnTo>
                    <a:pt x="191" y="13"/>
                  </a:lnTo>
                  <a:lnTo>
                    <a:pt x="193" y="13"/>
                  </a:lnTo>
                  <a:lnTo>
                    <a:pt x="196" y="13"/>
                  </a:lnTo>
                  <a:lnTo>
                    <a:pt x="202" y="13"/>
                  </a:lnTo>
                  <a:lnTo>
                    <a:pt x="207" y="13"/>
                  </a:lnTo>
                  <a:lnTo>
                    <a:pt x="210" y="14"/>
                  </a:lnTo>
                  <a:lnTo>
                    <a:pt x="212" y="18"/>
                  </a:lnTo>
                  <a:lnTo>
                    <a:pt x="212" y="20"/>
                  </a:lnTo>
                  <a:lnTo>
                    <a:pt x="214" y="21"/>
                  </a:lnTo>
                  <a:lnTo>
                    <a:pt x="214" y="25"/>
                  </a:lnTo>
                  <a:lnTo>
                    <a:pt x="215" y="27"/>
                  </a:lnTo>
                  <a:lnTo>
                    <a:pt x="217" y="30"/>
                  </a:lnTo>
                  <a:lnTo>
                    <a:pt x="217" y="34"/>
                  </a:lnTo>
                  <a:lnTo>
                    <a:pt x="219" y="35"/>
                  </a:lnTo>
                  <a:lnTo>
                    <a:pt x="221" y="35"/>
                  </a:lnTo>
                  <a:lnTo>
                    <a:pt x="224" y="37"/>
                  </a:lnTo>
                  <a:lnTo>
                    <a:pt x="224" y="40"/>
                  </a:lnTo>
                  <a:lnTo>
                    <a:pt x="229" y="40"/>
                  </a:lnTo>
                  <a:lnTo>
                    <a:pt x="235" y="44"/>
                  </a:lnTo>
                  <a:lnTo>
                    <a:pt x="238" y="44"/>
                  </a:lnTo>
                  <a:lnTo>
                    <a:pt x="238" y="44"/>
                  </a:lnTo>
                  <a:lnTo>
                    <a:pt x="245" y="44"/>
                  </a:lnTo>
                  <a:lnTo>
                    <a:pt x="247" y="40"/>
                  </a:lnTo>
                  <a:lnTo>
                    <a:pt x="248" y="40"/>
                  </a:lnTo>
                  <a:lnTo>
                    <a:pt x="252" y="44"/>
                  </a:lnTo>
                  <a:lnTo>
                    <a:pt x="252" y="40"/>
                  </a:lnTo>
                  <a:lnTo>
                    <a:pt x="257" y="37"/>
                  </a:lnTo>
                  <a:lnTo>
                    <a:pt x="261" y="37"/>
                  </a:lnTo>
                  <a:lnTo>
                    <a:pt x="268" y="37"/>
                  </a:lnTo>
                  <a:lnTo>
                    <a:pt x="271" y="35"/>
                  </a:lnTo>
                  <a:lnTo>
                    <a:pt x="276" y="35"/>
                  </a:lnTo>
                  <a:lnTo>
                    <a:pt x="280" y="34"/>
                  </a:lnTo>
                  <a:lnTo>
                    <a:pt x="285" y="35"/>
                  </a:lnTo>
                  <a:lnTo>
                    <a:pt x="288" y="37"/>
                  </a:lnTo>
                  <a:lnTo>
                    <a:pt x="295" y="35"/>
                  </a:lnTo>
                  <a:lnTo>
                    <a:pt x="299" y="40"/>
                  </a:lnTo>
                  <a:lnTo>
                    <a:pt x="306" y="44"/>
                  </a:lnTo>
                  <a:lnTo>
                    <a:pt x="311" y="44"/>
                  </a:lnTo>
                  <a:lnTo>
                    <a:pt x="313" y="40"/>
                  </a:lnTo>
                  <a:lnTo>
                    <a:pt x="316" y="44"/>
                  </a:lnTo>
                  <a:lnTo>
                    <a:pt x="316" y="49"/>
                  </a:lnTo>
                  <a:lnTo>
                    <a:pt x="320" y="51"/>
                  </a:lnTo>
                  <a:lnTo>
                    <a:pt x="323" y="53"/>
                  </a:lnTo>
                  <a:lnTo>
                    <a:pt x="325" y="53"/>
                  </a:lnTo>
                  <a:lnTo>
                    <a:pt x="328" y="56"/>
                  </a:lnTo>
                  <a:lnTo>
                    <a:pt x="332" y="56"/>
                  </a:lnTo>
                  <a:lnTo>
                    <a:pt x="339" y="56"/>
                  </a:lnTo>
                  <a:lnTo>
                    <a:pt x="344" y="58"/>
                  </a:lnTo>
                  <a:lnTo>
                    <a:pt x="356" y="58"/>
                  </a:lnTo>
                  <a:lnTo>
                    <a:pt x="360" y="56"/>
                  </a:lnTo>
                  <a:lnTo>
                    <a:pt x="361" y="56"/>
                  </a:lnTo>
                  <a:lnTo>
                    <a:pt x="367" y="56"/>
                  </a:lnTo>
                  <a:lnTo>
                    <a:pt x="370" y="58"/>
                  </a:lnTo>
                  <a:lnTo>
                    <a:pt x="372" y="58"/>
                  </a:lnTo>
                  <a:lnTo>
                    <a:pt x="375" y="53"/>
                  </a:lnTo>
                  <a:lnTo>
                    <a:pt x="379" y="49"/>
                  </a:lnTo>
                  <a:lnTo>
                    <a:pt x="384" y="49"/>
                  </a:lnTo>
                  <a:lnTo>
                    <a:pt x="387" y="46"/>
                  </a:lnTo>
                  <a:lnTo>
                    <a:pt x="389" y="46"/>
                  </a:lnTo>
                  <a:lnTo>
                    <a:pt x="398" y="46"/>
                  </a:lnTo>
                  <a:lnTo>
                    <a:pt x="400" y="44"/>
                  </a:lnTo>
                  <a:lnTo>
                    <a:pt x="403" y="40"/>
                  </a:lnTo>
                  <a:lnTo>
                    <a:pt x="403" y="37"/>
                  </a:lnTo>
                  <a:lnTo>
                    <a:pt x="403" y="35"/>
                  </a:lnTo>
                  <a:lnTo>
                    <a:pt x="407" y="34"/>
                  </a:lnTo>
                  <a:lnTo>
                    <a:pt x="412" y="30"/>
                  </a:lnTo>
                  <a:lnTo>
                    <a:pt x="412" y="27"/>
                  </a:lnTo>
                  <a:lnTo>
                    <a:pt x="414" y="23"/>
                  </a:lnTo>
                  <a:lnTo>
                    <a:pt x="417" y="23"/>
                  </a:lnTo>
                  <a:lnTo>
                    <a:pt x="419" y="25"/>
                  </a:lnTo>
                  <a:lnTo>
                    <a:pt x="422" y="23"/>
                  </a:lnTo>
                  <a:lnTo>
                    <a:pt x="427" y="23"/>
                  </a:lnTo>
                  <a:lnTo>
                    <a:pt x="431" y="27"/>
                  </a:lnTo>
                  <a:lnTo>
                    <a:pt x="431" y="30"/>
                  </a:lnTo>
                  <a:lnTo>
                    <a:pt x="434" y="30"/>
                  </a:lnTo>
                  <a:lnTo>
                    <a:pt x="440" y="28"/>
                  </a:lnTo>
                  <a:lnTo>
                    <a:pt x="440" y="30"/>
                  </a:lnTo>
                  <a:lnTo>
                    <a:pt x="443" y="30"/>
                  </a:lnTo>
                  <a:lnTo>
                    <a:pt x="447" y="28"/>
                  </a:lnTo>
                  <a:lnTo>
                    <a:pt x="447" y="27"/>
                  </a:lnTo>
                  <a:lnTo>
                    <a:pt x="453" y="25"/>
                  </a:lnTo>
                  <a:lnTo>
                    <a:pt x="459" y="27"/>
                  </a:lnTo>
                  <a:lnTo>
                    <a:pt x="462" y="30"/>
                  </a:lnTo>
                  <a:lnTo>
                    <a:pt x="459" y="56"/>
                  </a:lnTo>
                  <a:lnTo>
                    <a:pt x="459" y="60"/>
                  </a:lnTo>
                  <a:lnTo>
                    <a:pt x="457" y="67"/>
                  </a:lnTo>
                  <a:lnTo>
                    <a:pt x="457" y="68"/>
                  </a:lnTo>
                  <a:lnTo>
                    <a:pt x="455" y="77"/>
                  </a:lnTo>
                  <a:lnTo>
                    <a:pt x="459" y="82"/>
                  </a:lnTo>
                  <a:lnTo>
                    <a:pt x="467" y="87"/>
                  </a:lnTo>
                  <a:lnTo>
                    <a:pt x="471" y="82"/>
                  </a:lnTo>
                  <a:lnTo>
                    <a:pt x="478" y="82"/>
                  </a:lnTo>
                  <a:lnTo>
                    <a:pt x="487" y="84"/>
                  </a:lnTo>
                  <a:lnTo>
                    <a:pt x="490" y="87"/>
                  </a:lnTo>
                  <a:lnTo>
                    <a:pt x="493" y="80"/>
                  </a:lnTo>
                  <a:lnTo>
                    <a:pt x="493" y="77"/>
                  </a:lnTo>
                  <a:lnTo>
                    <a:pt x="493" y="74"/>
                  </a:lnTo>
                  <a:lnTo>
                    <a:pt x="499" y="72"/>
                  </a:lnTo>
                  <a:lnTo>
                    <a:pt x="499" y="72"/>
                  </a:lnTo>
                  <a:lnTo>
                    <a:pt x="507" y="72"/>
                  </a:lnTo>
                  <a:lnTo>
                    <a:pt x="513" y="79"/>
                  </a:lnTo>
                  <a:lnTo>
                    <a:pt x="518" y="84"/>
                  </a:lnTo>
                  <a:lnTo>
                    <a:pt x="523" y="91"/>
                  </a:lnTo>
                  <a:lnTo>
                    <a:pt x="528" y="94"/>
                  </a:lnTo>
                  <a:lnTo>
                    <a:pt x="528" y="96"/>
                  </a:lnTo>
                  <a:lnTo>
                    <a:pt x="530" y="100"/>
                  </a:lnTo>
                  <a:lnTo>
                    <a:pt x="530" y="103"/>
                  </a:lnTo>
                  <a:lnTo>
                    <a:pt x="528" y="105"/>
                  </a:lnTo>
                  <a:lnTo>
                    <a:pt x="528" y="107"/>
                  </a:lnTo>
                  <a:lnTo>
                    <a:pt x="526" y="110"/>
                  </a:lnTo>
                  <a:lnTo>
                    <a:pt x="526" y="108"/>
                  </a:lnTo>
                  <a:lnTo>
                    <a:pt x="523" y="107"/>
                  </a:lnTo>
                  <a:lnTo>
                    <a:pt x="521" y="108"/>
                  </a:lnTo>
                  <a:lnTo>
                    <a:pt x="518" y="108"/>
                  </a:lnTo>
                  <a:lnTo>
                    <a:pt x="514" y="107"/>
                  </a:lnTo>
                  <a:lnTo>
                    <a:pt x="511" y="107"/>
                  </a:lnTo>
                  <a:lnTo>
                    <a:pt x="507" y="112"/>
                  </a:lnTo>
                  <a:lnTo>
                    <a:pt x="502" y="115"/>
                  </a:lnTo>
                  <a:lnTo>
                    <a:pt x="499" y="117"/>
                  </a:lnTo>
                  <a:lnTo>
                    <a:pt x="495" y="115"/>
                  </a:lnTo>
                  <a:lnTo>
                    <a:pt x="495" y="115"/>
                  </a:lnTo>
                  <a:lnTo>
                    <a:pt x="495" y="119"/>
                  </a:lnTo>
                  <a:lnTo>
                    <a:pt x="495" y="119"/>
                  </a:lnTo>
                  <a:lnTo>
                    <a:pt x="490" y="122"/>
                  </a:lnTo>
                  <a:lnTo>
                    <a:pt x="490" y="119"/>
                  </a:lnTo>
                  <a:lnTo>
                    <a:pt x="487" y="122"/>
                  </a:lnTo>
                  <a:lnTo>
                    <a:pt x="487" y="126"/>
                  </a:lnTo>
                  <a:lnTo>
                    <a:pt x="485" y="133"/>
                  </a:lnTo>
                  <a:lnTo>
                    <a:pt x="485" y="136"/>
                  </a:lnTo>
                  <a:lnTo>
                    <a:pt x="483" y="138"/>
                  </a:lnTo>
                  <a:lnTo>
                    <a:pt x="480" y="140"/>
                  </a:lnTo>
                  <a:lnTo>
                    <a:pt x="471" y="145"/>
                  </a:lnTo>
                  <a:lnTo>
                    <a:pt x="467" y="145"/>
                  </a:lnTo>
                  <a:lnTo>
                    <a:pt x="462" y="141"/>
                  </a:lnTo>
                  <a:lnTo>
                    <a:pt x="462" y="145"/>
                  </a:lnTo>
                  <a:lnTo>
                    <a:pt x="459" y="150"/>
                  </a:lnTo>
                  <a:lnTo>
                    <a:pt x="455" y="154"/>
                  </a:lnTo>
                  <a:lnTo>
                    <a:pt x="452" y="157"/>
                  </a:lnTo>
                  <a:lnTo>
                    <a:pt x="448" y="159"/>
                  </a:lnTo>
                  <a:lnTo>
                    <a:pt x="448" y="162"/>
                  </a:lnTo>
                  <a:lnTo>
                    <a:pt x="447" y="162"/>
                  </a:lnTo>
                  <a:lnTo>
                    <a:pt x="441" y="160"/>
                  </a:lnTo>
                  <a:lnTo>
                    <a:pt x="440" y="159"/>
                  </a:lnTo>
                  <a:lnTo>
                    <a:pt x="434" y="157"/>
                  </a:lnTo>
                  <a:lnTo>
                    <a:pt x="429" y="154"/>
                  </a:lnTo>
                  <a:lnTo>
                    <a:pt x="426" y="154"/>
                  </a:lnTo>
                  <a:lnTo>
                    <a:pt x="419" y="155"/>
                  </a:lnTo>
                  <a:lnTo>
                    <a:pt x="414" y="159"/>
                  </a:lnTo>
                  <a:lnTo>
                    <a:pt x="412" y="162"/>
                  </a:lnTo>
                  <a:lnTo>
                    <a:pt x="412" y="169"/>
                  </a:lnTo>
                  <a:lnTo>
                    <a:pt x="412" y="173"/>
                  </a:lnTo>
                  <a:lnTo>
                    <a:pt x="412" y="176"/>
                  </a:lnTo>
                  <a:lnTo>
                    <a:pt x="419" y="181"/>
                  </a:lnTo>
                  <a:lnTo>
                    <a:pt x="427" y="185"/>
                  </a:lnTo>
                  <a:lnTo>
                    <a:pt x="427" y="187"/>
                  </a:lnTo>
                  <a:lnTo>
                    <a:pt x="422" y="190"/>
                  </a:lnTo>
                  <a:lnTo>
                    <a:pt x="422" y="193"/>
                  </a:lnTo>
                  <a:lnTo>
                    <a:pt x="414" y="204"/>
                  </a:lnTo>
                  <a:lnTo>
                    <a:pt x="412" y="209"/>
                  </a:lnTo>
                  <a:lnTo>
                    <a:pt x="407" y="216"/>
                  </a:lnTo>
                  <a:lnTo>
                    <a:pt x="407" y="216"/>
                  </a:lnTo>
                  <a:lnTo>
                    <a:pt x="400" y="218"/>
                  </a:lnTo>
                  <a:lnTo>
                    <a:pt x="396" y="218"/>
                  </a:lnTo>
                  <a:lnTo>
                    <a:pt x="391" y="221"/>
                  </a:lnTo>
                  <a:lnTo>
                    <a:pt x="386" y="223"/>
                  </a:lnTo>
                  <a:lnTo>
                    <a:pt x="381" y="223"/>
                  </a:lnTo>
                  <a:lnTo>
                    <a:pt x="375" y="223"/>
                  </a:lnTo>
                  <a:lnTo>
                    <a:pt x="370" y="227"/>
                  </a:lnTo>
                  <a:lnTo>
                    <a:pt x="365" y="228"/>
                  </a:lnTo>
                  <a:lnTo>
                    <a:pt x="351" y="232"/>
                  </a:lnTo>
                  <a:lnTo>
                    <a:pt x="342" y="235"/>
                  </a:lnTo>
                  <a:lnTo>
                    <a:pt x="335" y="240"/>
                  </a:lnTo>
                  <a:lnTo>
                    <a:pt x="330" y="247"/>
                  </a:lnTo>
                  <a:lnTo>
                    <a:pt x="327" y="249"/>
                  </a:lnTo>
                  <a:lnTo>
                    <a:pt x="321" y="249"/>
                  </a:lnTo>
                  <a:lnTo>
                    <a:pt x="316" y="249"/>
                  </a:lnTo>
                  <a:lnTo>
                    <a:pt x="316" y="246"/>
                  </a:lnTo>
                  <a:lnTo>
                    <a:pt x="316" y="244"/>
                  </a:lnTo>
                  <a:lnTo>
                    <a:pt x="308" y="246"/>
                  </a:lnTo>
                  <a:lnTo>
                    <a:pt x="304" y="247"/>
                  </a:lnTo>
                  <a:lnTo>
                    <a:pt x="297" y="244"/>
                  </a:lnTo>
                  <a:lnTo>
                    <a:pt x="292" y="242"/>
                  </a:lnTo>
                  <a:lnTo>
                    <a:pt x="280" y="239"/>
                  </a:lnTo>
                  <a:lnTo>
                    <a:pt x="271" y="233"/>
                  </a:lnTo>
                  <a:lnTo>
                    <a:pt x="264" y="228"/>
                  </a:lnTo>
                  <a:lnTo>
                    <a:pt x="261" y="228"/>
                  </a:lnTo>
                  <a:lnTo>
                    <a:pt x="248" y="228"/>
                  </a:lnTo>
                  <a:lnTo>
                    <a:pt x="238" y="228"/>
                  </a:lnTo>
                  <a:lnTo>
                    <a:pt x="235" y="227"/>
                  </a:lnTo>
                  <a:lnTo>
                    <a:pt x="233" y="228"/>
                  </a:lnTo>
                  <a:lnTo>
                    <a:pt x="233" y="228"/>
                  </a:lnTo>
                  <a:lnTo>
                    <a:pt x="226" y="232"/>
                  </a:lnTo>
                  <a:lnTo>
                    <a:pt x="219" y="232"/>
                  </a:lnTo>
                  <a:lnTo>
                    <a:pt x="203" y="232"/>
                  </a:lnTo>
                  <a:lnTo>
                    <a:pt x="193" y="232"/>
                  </a:lnTo>
                  <a:lnTo>
                    <a:pt x="184" y="232"/>
                  </a:lnTo>
                  <a:lnTo>
                    <a:pt x="179" y="232"/>
                  </a:lnTo>
                  <a:lnTo>
                    <a:pt x="175" y="232"/>
                  </a:lnTo>
                  <a:lnTo>
                    <a:pt x="174" y="232"/>
                  </a:lnTo>
                  <a:lnTo>
                    <a:pt x="169" y="223"/>
                  </a:lnTo>
                  <a:lnTo>
                    <a:pt x="169" y="221"/>
                  </a:lnTo>
                  <a:lnTo>
                    <a:pt x="162" y="214"/>
                  </a:lnTo>
                  <a:lnTo>
                    <a:pt x="162" y="211"/>
                  </a:lnTo>
                  <a:lnTo>
                    <a:pt x="156" y="206"/>
                  </a:lnTo>
                  <a:lnTo>
                    <a:pt x="156" y="204"/>
                  </a:lnTo>
                  <a:lnTo>
                    <a:pt x="156" y="200"/>
                  </a:lnTo>
                  <a:lnTo>
                    <a:pt x="153" y="200"/>
                  </a:lnTo>
                  <a:lnTo>
                    <a:pt x="151" y="200"/>
                  </a:lnTo>
                  <a:lnTo>
                    <a:pt x="151" y="199"/>
                  </a:lnTo>
                  <a:lnTo>
                    <a:pt x="149" y="197"/>
                  </a:lnTo>
                  <a:lnTo>
                    <a:pt x="149" y="195"/>
                  </a:lnTo>
                  <a:lnTo>
                    <a:pt x="148" y="195"/>
                  </a:lnTo>
                  <a:lnTo>
                    <a:pt x="142" y="195"/>
                  </a:lnTo>
                  <a:lnTo>
                    <a:pt x="137" y="193"/>
                  </a:lnTo>
                  <a:lnTo>
                    <a:pt x="134" y="188"/>
                  </a:lnTo>
                  <a:lnTo>
                    <a:pt x="129" y="188"/>
                  </a:lnTo>
                  <a:lnTo>
                    <a:pt x="129" y="188"/>
                  </a:lnTo>
                  <a:lnTo>
                    <a:pt x="125" y="188"/>
                  </a:lnTo>
                  <a:lnTo>
                    <a:pt x="125" y="185"/>
                  </a:lnTo>
                  <a:lnTo>
                    <a:pt x="118" y="181"/>
                  </a:lnTo>
                  <a:lnTo>
                    <a:pt x="106" y="181"/>
                  </a:lnTo>
                  <a:lnTo>
                    <a:pt x="106" y="181"/>
                  </a:lnTo>
                  <a:lnTo>
                    <a:pt x="106" y="181"/>
                  </a:lnTo>
                  <a:lnTo>
                    <a:pt x="101" y="181"/>
                  </a:lnTo>
                  <a:lnTo>
                    <a:pt x="92" y="181"/>
                  </a:lnTo>
                  <a:lnTo>
                    <a:pt x="75" y="178"/>
                  </a:lnTo>
                  <a:lnTo>
                    <a:pt x="73" y="178"/>
                  </a:lnTo>
                  <a:lnTo>
                    <a:pt x="68" y="169"/>
                  </a:lnTo>
                  <a:lnTo>
                    <a:pt x="68" y="167"/>
                  </a:lnTo>
                  <a:lnTo>
                    <a:pt x="68" y="166"/>
                  </a:lnTo>
                  <a:lnTo>
                    <a:pt x="69" y="164"/>
                  </a:lnTo>
                  <a:lnTo>
                    <a:pt x="69" y="160"/>
                  </a:lnTo>
                  <a:lnTo>
                    <a:pt x="73" y="159"/>
                  </a:lnTo>
                  <a:lnTo>
                    <a:pt x="69" y="155"/>
                  </a:lnTo>
                  <a:lnTo>
                    <a:pt x="69" y="154"/>
                  </a:lnTo>
                  <a:lnTo>
                    <a:pt x="69" y="150"/>
                  </a:lnTo>
                  <a:lnTo>
                    <a:pt x="69" y="147"/>
                  </a:lnTo>
                  <a:lnTo>
                    <a:pt x="68" y="145"/>
                  </a:lnTo>
                  <a:lnTo>
                    <a:pt x="66" y="141"/>
                  </a:lnTo>
                  <a:lnTo>
                    <a:pt x="64" y="140"/>
                  </a:lnTo>
                  <a:lnTo>
                    <a:pt x="61" y="138"/>
                  </a:lnTo>
                  <a:lnTo>
                    <a:pt x="59" y="134"/>
                  </a:lnTo>
                  <a:lnTo>
                    <a:pt x="57" y="131"/>
                  </a:lnTo>
                  <a:lnTo>
                    <a:pt x="57" y="127"/>
                  </a:lnTo>
                  <a:lnTo>
                    <a:pt x="56" y="126"/>
                  </a:lnTo>
                  <a:lnTo>
                    <a:pt x="54" y="122"/>
                  </a:lnTo>
                  <a:lnTo>
                    <a:pt x="52" y="122"/>
                  </a:lnTo>
                  <a:lnTo>
                    <a:pt x="50" y="119"/>
                  </a:lnTo>
                  <a:lnTo>
                    <a:pt x="47" y="119"/>
                  </a:lnTo>
                  <a:lnTo>
                    <a:pt x="45" y="117"/>
                  </a:lnTo>
                  <a:lnTo>
                    <a:pt x="42" y="117"/>
                  </a:lnTo>
                  <a:lnTo>
                    <a:pt x="42" y="119"/>
                  </a:lnTo>
                  <a:lnTo>
                    <a:pt x="40" y="119"/>
                  </a:lnTo>
                  <a:lnTo>
                    <a:pt x="38" y="119"/>
                  </a:lnTo>
                  <a:lnTo>
                    <a:pt x="35" y="117"/>
                  </a:lnTo>
                  <a:lnTo>
                    <a:pt x="33" y="115"/>
                  </a:lnTo>
                  <a:lnTo>
                    <a:pt x="30" y="115"/>
                  </a:lnTo>
                  <a:lnTo>
                    <a:pt x="26" y="117"/>
                  </a:lnTo>
                  <a:lnTo>
                    <a:pt x="26" y="119"/>
                  </a:lnTo>
                  <a:lnTo>
                    <a:pt x="24" y="119"/>
                  </a:lnTo>
                  <a:lnTo>
                    <a:pt x="23" y="119"/>
                  </a:lnTo>
                  <a:lnTo>
                    <a:pt x="19" y="117"/>
                  </a:lnTo>
                  <a:lnTo>
                    <a:pt x="19" y="115"/>
                  </a:lnTo>
                  <a:lnTo>
                    <a:pt x="19" y="114"/>
                  </a:lnTo>
                  <a:lnTo>
                    <a:pt x="17" y="110"/>
                  </a:lnTo>
                  <a:lnTo>
                    <a:pt x="14" y="108"/>
                  </a:lnTo>
                  <a:lnTo>
                    <a:pt x="10" y="105"/>
                  </a:lnTo>
                  <a:lnTo>
                    <a:pt x="9" y="105"/>
                  </a:lnTo>
                  <a:lnTo>
                    <a:pt x="7" y="103"/>
                  </a:lnTo>
                  <a:lnTo>
                    <a:pt x="7" y="100"/>
                  </a:lnTo>
                  <a:lnTo>
                    <a:pt x="7" y="100"/>
                  </a:lnTo>
                  <a:lnTo>
                    <a:pt x="5" y="96"/>
                  </a:lnTo>
                  <a:lnTo>
                    <a:pt x="5" y="96"/>
                  </a:lnTo>
                  <a:lnTo>
                    <a:pt x="3" y="100"/>
                  </a:lnTo>
                  <a:lnTo>
                    <a:pt x="3" y="100"/>
                  </a:lnTo>
                  <a:lnTo>
                    <a:pt x="2" y="96"/>
                  </a:lnTo>
                  <a:lnTo>
                    <a:pt x="0" y="94"/>
                  </a:lnTo>
                  <a:lnTo>
                    <a:pt x="0"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3" name="Freeform 49">
              <a:extLst>
                <a:ext uri="{FF2B5EF4-FFF2-40B4-BE49-F238E27FC236}">
                  <a16:creationId xmlns:a16="http://schemas.microsoft.com/office/drawing/2014/main" id="{C8D89F7D-3269-4383-AE45-BA3CD554BC16}"/>
                </a:ext>
              </a:extLst>
            </p:cNvPr>
            <p:cNvSpPr>
              <a:spLocks noEditPoints="1"/>
            </p:cNvSpPr>
            <p:nvPr/>
          </p:nvSpPr>
          <p:spPr bwMode="auto">
            <a:xfrm>
              <a:off x="6534150" y="4017963"/>
              <a:ext cx="60325" cy="107950"/>
            </a:xfrm>
            <a:custGeom>
              <a:avLst/>
              <a:gdLst/>
              <a:ahLst/>
              <a:cxnLst>
                <a:cxn ang="0">
                  <a:pos x="0" y="30"/>
                </a:cxn>
                <a:cxn ang="0">
                  <a:pos x="2" y="26"/>
                </a:cxn>
                <a:cxn ang="0">
                  <a:pos x="0" y="26"/>
                </a:cxn>
                <a:cxn ang="0">
                  <a:pos x="0" y="33"/>
                </a:cxn>
                <a:cxn ang="0">
                  <a:pos x="0" y="33"/>
                </a:cxn>
                <a:cxn ang="0">
                  <a:pos x="5" y="5"/>
                </a:cxn>
                <a:cxn ang="0">
                  <a:pos x="2" y="0"/>
                </a:cxn>
                <a:cxn ang="0">
                  <a:pos x="9" y="0"/>
                </a:cxn>
                <a:cxn ang="0">
                  <a:pos x="5" y="4"/>
                </a:cxn>
                <a:cxn ang="0">
                  <a:pos x="5" y="5"/>
                </a:cxn>
                <a:cxn ang="0">
                  <a:pos x="5" y="5"/>
                </a:cxn>
                <a:cxn ang="0">
                  <a:pos x="11" y="2"/>
                </a:cxn>
                <a:cxn ang="0">
                  <a:pos x="16" y="7"/>
                </a:cxn>
                <a:cxn ang="0">
                  <a:pos x="16" y="7"/>
                </a:cxn>
                <a:cxn ang="0">
                  <a:pos x="11" y="5"/>
                </a:cxn>
                <a:cxn ang="0">
                  <a:pos x="9" y="4"/>
                </a:cxn>
                <a:cxn ang="0">
                  <a:pos x="11" y="2"/>
                </a:cxn>
                <a:cxn ang="0">
                  <a:pos x="11" y="0"/>
                </a:cxn>
                <a:cxn ang="0">
                  <a:pos x="11" y="0"/>
                </a:cxn>
                <a:cxn ang="0">
                  <a:pos x="5" y="7"/>
                </a:cxn>
                <a:cxn ang="0">
                  <a:pos x="5" y="9"/>
                </a:cxn>
                <a:cxn ang="0">
                  <a:pos x="5" y="9"/>
                </a:cxn>
                <a:cxn ang="0">
                  <a:pos x="5" y="16"/>
                </a:cxn>
                <a:cxn ang="0">
                  <a:pos x="2" y="12"/>
                </a:cxn>
                <a:cxn ang="0">
                  <a:pos x="0" y="12"/>
                </a:cxn>
                <a:cxn ang="0">
                  <a:pos x="2" y="16"/>
                </a:cxn>
                <a:cxn ang="0">
                  <a:pos x="2" y="19"/>
                </a:cxn>
                <a:cxn ang="0">
                  <a:pos x="2" y="26"/>
                </a:cxn>
                <a:cxn ang="0">
                  <a:pos x="2" y="35"/>
                </a:cxn>
                <a:cxn ang="0">
                  <a:pos x="2" y="44"/>
                </a:cxn>
                <a:cxn ang="0">
                  <a:pos x="2" y="52"/>
                </a:cxn>
                <a:cxn ang="0">
                  <a:pos x="9" y="64"/>
                </a:cxn>
                <a:cxn ang="0">
                  <a:pos x="16" y="66"/>
                </a:cxn>
                <a:cxn ang="0">
                  <a:pos x="28" y="64"/>
                </a:cxn>
                <a:cxn ang="0">
                  <a:pos x="38" y="54"/>
                </a:cxn>
                <a:cxn ang="0">
                  <a:pos x="38" y="47"/>
                </a:cxn>
                <a:cxn ang="0">
                  <a:pos x="38" y="44"/>
                </a:cxn>
                <a:cxn ang="0">
                  <a:pos x="38" y="38"/>
                </a:cxn>
                <a:cxn ang="0">
                  <a:pos x="33" y="30"/>
                </a:cxn>
                <a:cxn ang="0">
                  <a:pos x="26" y="24"/>
                </a:cxn>
                <a:cxn ang="0">
                  <a:pos x="25" y="24"/>
                </a:cxn>
                <a:cxn ang="0">
                  <a:pos x="26" y="21"/>
                </a:cxn>
                <a:cxn ang="0">
                  <a:pos x="25" y="16"/>
                </a:cxn>
                <a:cxn ang="0">
                  <a:pos x="19" y="12"/>
                </a:cxn>
                <a:cxn ang="0">
                  <a:pos x="19" y="9"/>
                </a:cxn>
                <a:cxn ang="0">
                  <a:pos x="14" y="9"/>
                </a:cxn>
                <a:cxn ang="0">
                  <a:pos x="11" y="7"/>
                </a:cxn>
                <a:cxn ang="0">
                  <a:pos x="5" y="5"/>
                </a:cxn>
              </a:cxnLst>
              <a:rect l="0" t="0" r="r" b="b"/>
              <a:pathLst>
                <a:path w="38" h="68">
                  <a:moveTo>
                    <a:pt x="0" y="33"/>
                  </a:moveTo>
                  <a:lnTo>
                    <a:pt x="0" y="30"/>
                  </a:lnTo>
                  <a:lnTo>
                    <a:pt x="0" y="26"/>
                  </a:lnTo>
                  <a:lnTo>
                    <a:pt x="2" y="26"/>
                  </a:lnTo>
                  <a:lnTo>
                    <a:pt x="2" y="26"/>
                  </a:lnTo>
                  <a:lnTo>
                    <a:pt x="0" y="26"/>
                  </a:lnTo>
                  <a:lnTo>
                    <a:pt x="2" y="30"/>
                  </a:lnTo>
                  <a:lnTo>
                    <a:pt x="0" y="33"/>
                  </a:lnTo>
                  <a:lnTo>
                    <a:pt x="0" y="33"/>
                  </a:lnTo>
                  <a:lnTo>
                    <a:pt x="0" y="33"/>
                  </a:lnTo>
                  <a:lnTo>
                    <a:pt x="0" y="33"/>
                  </a:lnTo>
                  <a:close/>
                  <a:moveTo>
                    <a:pt x="5" y="5"/>
                  </a:moveTo>
                  <a:lnTo>
                    <a:pt x="2" y="2"/>
                  </a:lnTo>
                  <a:lnTo>
                    <a:pt x="2" y="0"/>
                  </a:lnTo>
                  <a:lnTo>
                    <a:pt x="5" y="0"/>
                  </a:lnTo>
                  <a:lnTo>
                    <a:pt x="9" y="0"/>
                  </a:lnTo>
                  <a:lnTo>
                    <a:pt x="5" y="4"/>
                  </a:lnTo>
                  <a:lnTo>
                    <a:pt x="5" y="4"/>
                  </a:lnTo>
                  <a:lnTo>
                    <a:pt x="5" y="5"/>
                  </a:lnTo>
                  <a:lnTo>
                    <a:pt x="5" y="5"/>
                  </a:lnTo>
                  <a:lnTo>
                    <a:pt x="5" y="5"/>
                  </a:lnTo>
                  <a:lnTo>
                    <a:pt x="5" y="5"/>
                  </a:lnTo>
                  <a:close/>
                  <a:moveTo>
                    <a:pt x="11" y="0"/>
                  </a:moveTo>
                  <a:lnTo>
                    <a:pt x="11" y="2"/>
                  </a:lnTo>
                  <a:lnTo>
                    <a:pt x="14" y="4"/>
                  </a:lnTo>
                  <a:lnTo>
                    <a:pt x="16" y="7"/>
                  </a:lnTo>
                  <a:lnTo>
                    <a:pt x="19" y="9"/>
                  </a:lnTo>
                  <a:lnTo>
                    <a:pt x="16" y="7"/>
                  </a:lnTo>
                  <a:lnTo>
                    <a:pt x="14" y="7"/>
                  </a:lnTo>
                  <a:lnTo>
                    <a:pt x="11" y="5"/>
                  </a:lnTo>
                  <a:lnTo>
                    <a:pt x="9" y="4"/>
                  </a:lnTo>
                  <a:lnTo>
                    <a:pt x="9" y="4"/>
                  </a:lnTo>
                  <a:lnTo>
                    <a:pt x="11" y="2"/>
                  </a:lnTo>
                  <a:lnTo>
                    <a:pt x="11" y="2"/>
                  </a:lnTo>
                  <a:lnTo>
                    <a:pt x="11" y="0"/>
                  </a:lnTo>
                  <a:lnTo>
                    <a:pt x="11" y="0"/>
                  </a:lnTo>
                  <a:lnTo>
                    <a:pt x="11" y="0"/>
                  </a:lnTo>
                  <a:lnTo>
                    <a:pt x="11" y="0"/>
                  </a:lnTo>
                  <a:close/>
                  <a:moveTo>
                    <a:pt x="5" y="5"/>
                  </a:moveTo>
                  <a:lnTo>
                    <a:pt x="5" y="7"/>
                  </a:lnTo>
                  <a:lnTo>
                    <a:pt x="9" y="9"/>
                  </a:lnTo>
                  <a:lnTo>
                    <a:pt x="5" y="9"/>
                  </a:lnTo>
                  <a:lnTo>
                    <a:pt x="5" y="9"/>
                  </a:lnTo>
                  <a:lnTo>
                    <a:pt x="5" y="9"/>
                  </a:lnTo>
                  <a:lnTo>
                    <a:pt x="5" y="12"/>
                  </a:lnTo>
                  <a:lnTo>
                    <a:pt x="5" y="16"/>
                  </a:lnTo>
                  <a:lnTo>
                    <a:pt x="2" y="16"/>
                  </a:lnTo>
                  <a:lnTo>
                    <a:pt x="2" y="12"/>
                  </a:lnTo>
                  <a:lnTo>
                    <a:pt x="0" y="12"/>
                  </a:lnTo>
                  <a:lnTo>
                    <a:pt x="0" y="12"/>
                  </a:lnTo>
                  <a:lnTo>
                    <a:pt x="2" y="16"/>
                  </a:lnTo>
                  <a:lnTo>
                    <a:pt x="2" y="16"/>
                  </a:lnTo>
                  <a:lnTo>
                    <a:pt x="2" y="16"/>
                  </a:lnTo>
                  <a:lnTo>
                    <a:pt x="2" y="19"/>
                  </a:lnTo>
                  <a:lnTo>
                    <a:pt x="2" y="24"/>
                  </a:lnTo>
                  <a:lnTo>
                    <a:pt x="2" y="26"/>
                  </a:lnTo>
                  <a:lnTo>
                    <a:pt x="2" y="33"/>
                  </a:lnTo>
                  <a:lnTo>
                    <a:pt x="2" y="35"/>
                  </a:lnTo>
                  <a:lnTo>
                    <a:pt x="0" y="37"/>
                  </a:lnTo>
                  <a:lnTo>
                    <a:pt x="2" y="44"/>
                  </a:lnTo>
                  <a:lnTo>
                    <a:pt x="2" y="44"/>
                  </a:lnTo>
                  <a:lnTo>
                    <a:pt x="2" y="52"/>
                  </a:lnTo>
                  <a:lnTo>
                    <a:pt x="5" y="61"/>
                  </a:lnTo>
                  <a:lnTo>
                    <a:pt x="9" y="64"/>
                  </a:lnTo>
                  <a:lnTo>
                    <a:pt x="14" y="68"/>
                  </a:lnTo>
                  <a:lnTo>
                    <a:pt x="16" y="66"/>
                  </a:lnTo>
                  <a:lnTo>
                    <a:pt x="21" y="66"/>
                  </a:lnTo>
                  <a:lnTo>
                    <a:pt x="28" y="64"/>
                  </a:lnTo>
                  <a:lnTo>
                    <a:pt x="33" y="59"/>
                  </a:lnTo>
                  <a:lnTo>
                    <a:pt x="38" y="54"/>
                  </a:lnTo>
                  <a:lnTo>
                    <a:pt x="38" y="51"/>
                  </a:lnTo>
                  <a:lnTo>
                    <a:pt x="38" y="47"/>
                  </a:lnTo>
                  <a:lnTo>
                    <a:pt x="38" y="47"/>
                  </a:lnTo>
                  <a:lnTo>
                    <a:pt x="38" y="44"/>
                  </a:lnTo>
                  <a:lnTo>
                    <a:pt x="38" y="42"/>
                  </a:lnTo>
                  <a:lnTo>
                    <a:pt x="38" y="38"/>
                  </a:lnTo>
                  <a:lnTo>
                    <a:pt x="35" y="37"/>
                  </a:lnTo>
                  <a:lnTo>
                    <a:pt x="33" y="30"/>
                  </a:lnTo>
                  <a:lnTo>
                    <a:pt x="30" y="24"/>
                  </a:lnTo>
                  <a:lnTo>
                    <a:pt x="26" y="24"/>
                  </a:lnTo>
                  <a:lnTo>
                    <a:pt x="26" y="24"/>
                  </a:lnTo>
                  <a:lnTo>
                    <a:pt x="25" y="24"/>
                  </a:lnTo>
                  <a:lnTo>
                    <a:pt x="26" y="21"/>
                  </a:lnTo>
                  <a:lnTo>
                    <a:pt x="26" y="21"/>
                  </a:lnTo>
                  <a:lnTo>
                    <a:pt x="25" y="19"/>
                  </a:lnTo>
                  <a:lnTo>
                    <a:pt x="25" y="16"/>
                  </a:lnTo>
                  <a:lnTo>
                    <a:pt x="21" y="16"/>
                  </a:lnTo>
                  <a:lnTo>
                    <a:pt x="19" y="12"/>
                  </a:lnTo>
                  <a:lnTo>
                    <a:pt x="19" y="12"/>
                  </a:lnTo>
                  <a:lnTo>
                    <a:pt x="19" y="9"/>
                  </a:lnTo>
                  <a:lnTo>
                    <a:pt x="14" y="9"/>
                  </a:lnTo>
                  <a:lnTo>
                    <a:pt x="14" y="9"/>
                  </a:lnTo>
                  <a:lnTo>
                    <a:pt x="11" y="9"/>
                  </a:lnTo>
                  <a:lnTo>
                    <a:pt x="11" y="7"/>
                  </a:lnTo>
                  <a:lnTo>
                    <a:pt x="5" y="5"/>
                  </a:lnTo>
                  <a:lnTo>
                    <a:pt x="5" y="5"/>
                  </a:lnTo>
                  <a:lnTo>
                    <a:pt x="5"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4" name="Freeform 50">
              <a:extLst>
                <a:ext uri="{FF2B5EF4-FFF2-40B4-BE49-F238E27FC236}">
                  <a16:creationId xmlns:a16="http://schemas.microsoft.com/office/drawing/2014/main" id="{6F164128-39E7-4C45-A7F7-CB8C3A859795}"/>
                </a:ext>
              </a:extLst>
            </p:cNvPr>
            <p:cNvSpPr>
              <a:spLocks/>
            </p:cNvSpPr>
            <p:nvPr/>
          </p:nvSpPr>
          <p:spPr bwMode="auto">
            <a:xfrm>
              <a:off x="6548438" y="3397251"/>
              <a:ext cx="225425" cy="119063"/>
            </a:xfrm>
            <a:custGeom>
              <a:avLst/>
              <a:gdLst/>
              <a:ahLst/>
              <a:cxnLst>
                <a:cxn ang="0">
                  <a:pos x="9" y="0"/>
                </a:cxn>
                <a:cxn ang="0">
                  <a:pos x="14" y="3"/>
                </a:cxn>
                <a:cxn ang="0">
                  <a:pos x="19" y="7"/>
                </a:cxn>
                <a:cxn ang="0">
                  <a:pos x="26" y="3"/>
                </a:cxn>
                <a:cxn ang="0">
                  <a:pos x="35" y="7"/>
                </a:cxn>
                <a:cxn ang="0">
                  <a:pos x="40" y="7"/>
                </a:cxn>
                <a:cxn ang="0">
                  <a:pos x="49" y="14"/>
                </a:cxn>
                <a:cxn ang="0">
                  <a:pos x="54" y="17"/>
                </a:cxn>
                <a:cxn ang="0">
                  <a:pos x="57" y="24"/>
                </a:cxn>
                <a:cxn ang="0">
                  <a:pos x="61" y="17"/>
                </a:cxn>
                <a:cxn ang="0">
                  <a:pos x="62" y="17"/>
                </a:cxn>
                <a:cxn ang="0">
                  <a:pos x="71" y="21"/>
                </a:cxn>
                <a:cxn ang="0">
                  <a:pos x="75" y="28"/>
                </a:cxn>
                <a:cxn ang="0">
                  <a:pos x="85" y="28"/>
                </a:cxn>
                <a:cxn ang="0">
                  <a:pos x="85" y="38"/>
                </a:cxn>
                <a:cxn ang="0">
                  <a:pos x="94" y="40"/>
                </a:cxn>
                <a:cxn ang="0">
                  <a:pos x="99" y="38"/>
                </a:cxn>
                <a:cxn ang="0">
                  <a:pos x="108" y="35"/>
                </a:cxn>
                <a:cxn ang="0">
                  <a:pos x="113" y="40"/>
                </a:cxn>
                <a:cxn ang="0">
                  <a:pos x="122" y="47"/>
                </a:cxn>
                <a:cxn ang="0">
                  <a:pos x="128" y="45"/>
                </a:cxn>
                <a:cxn ang="0">
                  <a:pos x="135" y="45"/>
                </a:cxn>
                <a:cxn ang="0">
                  <a:pos x="139" y="49"/>
                </a:cxn>
                <a:cxn ang="0">
                  <a:pos x="142" y="63"/>
                </a:cxn>
                <a:cxn ang="0">
                  <a:pos x="128" y="75"/>
                </a:cxn>
                <a:cxn ang="0">
                  <a:pos x="120" y="73"/>
                </a:cxn>
                <a:cxn ang="0">
                  <a:pos x="99" y="66"/>
                </a:cxn>
                <a:cxn ang="0">
                  <a:pos x="87" y="66"/>
                </a:cxn>
                <a:cxn ang="0">
                  <a:pos x="82" y="57"/>
                </a:cxn>
                <a:cxn ang="0">
                  <a:pos x="64" y="57"/>
                </a:cxn>
                <a:cxn ang="0">
                  <a:pos x="54" y="57"/>
                </a:cxn>
                <a:cxn ang="0">
                  <a:pos x="43" y="54"/>
                </a:cxn>
                <a:cxn ang="0">
                  <a:pos x="35" y="49"/>
                </a:cxn>
                <a:cxn ang="0">
                  <a:pos x="21" y="38"/>
                </a:cxn>
                <a:cxn ang="0">
                  <a:pos x="12" y="35"/>
                </a:cxn>
                <a:cxn ang="0">
                  <a:pos x="5" y="31"/>
                </a:cxn>
                <a:cxn ang="0">
                  <a:pos x="0" y="28"/>
                </a:cxn>
                <a:cxn ang="0">
                  <a:pos x="5" y="16"/>
                </a:cxn>
                <a:cxn ang="0">
                  <a:pos x="9" y="0"/>
                </a:cxn>
                <a:cxn ang="0">
                  <a:pos x="9" y="0"/>
                </a:cxn>
              </a:cxnLst>
              <a:rect l="0" t="0" r="r" b="b"/>
              <a:pathLst>
                <a:path w="142" h="75">
                  <a:moveTo>
                    <a:pt x="9" y="0"/>
                  </a:moveTo>
                  <a:lnTo>
                    <a:pt x="9" y="0"/>
                  </a:lnTo>
                  <a:lnTo>
                    <a:pt x="12" y="3"/>
                  </a:lnTo>
                  <a:lnTo>
                    <a:pt x="14" y="3"/>
                  </a:lnTo>
                  <a:lnTo>
                    <a:pt x="17" y="3"/>
                  </a:lnTo>
                  <a:lnTo>
                    <a:pt x="19" y="7"/>
                  </a:lnTo>
                  <a:lnTo>
                    <a:pt x="21" y="3"/>
                  </a:lnTo>
                  <a:lnTo>
                    <a:pt x="26" y="3"/>
                  </a:lnTo>
                  <a:lnTo>
                    <a:pt x="31" y="3"/>
                  </a:lnTo>
                  <a:lnTo>
                    <a:pt x="35" y="7"/>
                  </a:lnTo>
                  <a:lnTo>
                    <a:pt x="36" y="7"/>
                  </a:lnTo>
                  <a:lnTo>
                    <a:pt x="40" y="7"/>
                  </a:lnTo>
                  <a:lnTo>
                    <a:pt x="45" y="14"/>
                  </a:lnTo>
                  <a:lnTo>
                    <a:pt x="49" y="14"/>
                  </a:lnTo>
                  <a:lnTo>
                    <a:pt x="54" y="16"/>
                  </a:lnTo>
                  <a:lnTo>
                    <a:pt x="54" y="17"/>
                  </a:lnTo>
                  <a:lnTo>
                    <a:pt x="57" y="21"/>
                  </a:lnTo>
                  <a:lnTo>
                    <a:pt x="57" y="24"/>
                  </a:lnTo>
                  <a:lnTo>
                    <a:pt x="59" y="23"/>
                  </a:lnTo>
                  <a:lnTo>
                    <a:pt x="61" y="17"/>
                  </a:lnTo>
                  <a:lnTo>
                    <a:pt x="62" y="17"/>
                  </a:lnTo>
                  <a:lnTo>
                    <a:pt x="62" y="17"/>
                  </a:lnTo>
                  <a:lnTo>
                    <a:pt x="68" y="17"/>
                  </a:lnTo>
                  <a:lnTo>
                    <a:pt x="71" y="21"/>
                  </a:lnTo>
                  <a:lnTo>
                    <a:pt x="71" y="24"/>
                  </a:lnTo>
                  <a:lnTo>
                    <a:pt x="75" y="28"/>
                  </a:lnTo>
                  <a:lnTo>
                    <a:pt x="80" y="28"/>
                  </a:lnTo>
                  <a:lnTo>
                    <a:pt x="85" y="28"/>
                  </a:lnTo>
                  <a:lnTo>
                    <a:pt x="83" y="35"/>
                  </a:lnTo>
                  <a:lnTo>
                    <a:pt x="85" y="38"/>
                  </a:lnTo>
                  <a:lnTo>
                    <a:pt x="89" y="38"/>
                  </a:lnTo>
                  <a:lnTo>
                    <a:pt x="94" y="40"/>
                  </a:lnTo>
                  <a:lnTo>
                    <a:pt x="94" y="38"/>
                  </a:lnTo>
                  <a:lnTo>
                    <a:pt x="99" y="38"/>
                  </a:lnTo>
                  <a:lnTo>
                    <a:pt x="101" y="35"/>
                  </a:lnTo>
                  <a:lnTo>
                    <a:pt x="108" y="35"/>
                  </a:lnTo>
                  <a:lnTo>
                    <a:pt x="113" y="38"/>
                  </a:lnTo>
                  <a:lnTo>
                    <a:pt x="113" y="40"/>
                  </a:lnTo>
                  <a:lnTo>
                    <a:pt x="120" y="43"/>
                  </a:lnTo>
                  <a:lnTo>
                    <a:pt x="122" y="47"/>
                  </a:lnTo>
                  <a:lnTo>
                    <a:pt x="123" y="49"/>
                  </a:lnTo>
                  <a:lnTo>
                    <a:pt x="128" y="45"/>
                  </a:lnTo>
                  <a:lnTo>
                    <a:pt x="130" y="47"/>
                  </a:lnTo>
                  <a:lnTo>
                    <a:pt x="135" y="45"/>
                  </a:lnTo>
                  <a:lnTo>
                    <a:pt x="139" y="45"/>
                  </a:lnTo>
                  <a:lnTo>
                    <a:pt x="139" y="49"/>
                  </a:lnTo>
                  <a:lnTo>
                    <a:pt x="139" y="57"/>
                  </a:lnTo>
                  <a:lnTo>
                    <a:pt x="142" y="63"/>
                  </a:lnTo>
                  <a:lnTo>
                    <a:pt x="139" y="71"/>
                  </a:lnTo>
                  <a:lnTo>
                    <a:pt x="128" y="75"/>
                  </a:lnTo>
                  <a:lnTo>
                    <a:pt x="123" y="69"/>
                  </a:lnTo>
                  <a:lnTo>
                    <a:pt x="120" y="73"/>
                  </a:lnTo>
                  <a:lnTo>
                    <a:pt x="104" y="66"/>
                  </a:lnTo>
                  <a:lnTo>
                    <a:pt x="99" y="66"/>
                  </a:lnTo>
                  <a:lnTo>
                    <a:pt x="97" y="69"/>
                  </a:lnTo>
                  <a:lnTo>
                    <a:pt x="87" y="66"/>
                  </a:lnTo>
                  <a:lnTo>
                    <a:pt x="82" y="63"/>
                  </a:lnTo>
                  <a:lnTo>
                    <a:pt x="82" y="57"/>
                  </a:lnTo>
                  <a:lnTo>
                    <a:pt x="73" y="57"/>
                  </a:lnTo>
                  <a:lnTo>
                    <a:pt x="64" y="57"/>
                  </a:lnTo>
                  <a:lnTo>
                    <a:pt x="61" y="57"/>
                  </a:lnTo>
                  <a:lnTo>
                    <a:pt x="54" y="57"/>
                  </a:lnTo>
                  <a:lnTo>
                    <a:pt x="49" y="54"/>
                  </a:lnTo>
                  <a:lnTo>
                    <a:pt x="43" y="54"/>
                  </a:lnTo>
                  <a:lnTo>
                    <a:pt x="40" y="50"/>
                  </a:lnTo>
                  <a:lnTo>
                    <a:pt x="35" y="49"/>
                  </a:lnTo>
                  <a:lnTo>
                    <a:pt x="28" y="43"/>
                  </a:lnTo>
                  <a:lnTo>
                    <a:pt x="21" y="38"/>
                  </a:lnTo>
                  <a:lnTo>
                    <a:pt x="14" y="35"/>
                  </a:lnTo>
                  <a:lnTo>
                    <a:pt x="12" y="35"/>
                  </a:lnTo>
                  <a:lnTo>
                    <a:pt x="9" y="35"/>
                  </a:lnTo>
                  <a:lnTo>
                    <a:pt x="5" y="31"/>
                  </a:lnTo>
                  <a:lnTo>
                    <a:pt x="0" y="31"/>
                  </a:lnTo>
                  <a:lnTo>
                    <a:pt x="0" y="28"/>
                  </a:lnTo>
                  <a:lnTo>
                    <a:pt x="5" y="21"/>
                  </a:lnTo>
                  <a:lnTo>
                    <a:pt x="5" y="16"/>
                  </a:lnTo>
                  <a:lnTo>
                    <a:pt x="9" y="7"/>
                  </a:lnTo>
                  <a:lnTo>
                    <a:pt x="9" y="0"/>
                  </a:lnTo>
                  <a:lnTo>
                    <a:pt x="9" y="0"/>
                  </a:lnTo>
                  <a:lnTo>
                    <a:pt x="9"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5" name="Freeform 51">
              <a:extLst>
                <a:ext uri="{FF2B5EF4-FFF2-40B4-BE49-F238E27FC236}">
                  <a16:creationId xmlns:a16="http://schemas.microsoft.com/office/drawing/2014/main" id="{A1788AEB-92CB-4DB3-9B29-A9AE05683C23}"/>
                </a:ext>
              </a:extLst>
            </p:cNvPr>
            <p:cNvSpPr>
              <a:spLocks/>
            </p:cNvSpPr>
            <p:nvPr/>
          </p:nvSpPr>
          <p:spPr bwMode="auto">
            <a:xfrm>
              <a:off x="5607050" y="2508251"/>
              <a:ext cx="1027113" cy="533400"/>
            </a:xfrm>
            <a:custGeom>
              <a:avLst/>
              <a:gdLst/>
              <a:ahLst/>
              <a:cxnLst>
                <a:cxn ang="0">
                  <a:pos x="16" y="197"/>
                </a:cxn>
                <a:cxn ang="0">
                  <a:pos x="0" y="157"/>
                </a:cxn>
                <a:cxn ang="0">
                  <a:pos x="32" y="151"/>
                </a:cxn>
                <a:cxn ang="0">
                  <a:pos x="47" y="120"/>
                </a:cxn>
                <a:cxn ang="0">
                  <a:pos x="63" y="115"/>
                </a:cxn>
                <a:cxn ang="0">
                  <a:pos x="73" y="111"/>
                </a:cxn>
                <a:cxn ang="0">
                  <a:pos x="105" y="120"/>
                </a:cxn>
                <a:cxn ang="0">
                  <a:pos x="122" y="127"/>
                </a:cxn>
                <a:cxn ang="0">
                  <a:pos x="146" y="120"/>
                </a:cxn>
                <a:cxn ang="0">
                  <a:pos x="171" y="120"/>
                </a:cxn>
                <a:cxn ang="0">
                  <a:pos x="186" y="129"/>
                </a:cxn>
                <a:cxn ang="0">
                  <a:pos x="218" y="129"/>
                </a:cxn>
                <a:cxn ang="0">
                  <a:pos x="209" y="101"/>
                </a:cxn>
                <a:cxn ang="0">
                  <a:pos x="205" y="83"/>
                </a:cxn>
                <a:cxn ang="0">
                  <a:pos x="219" y="63"/>
                </a:cxn>
                <a:cxn ang="0">
                  <a:pos x="205" y="57"/>
                </a:cxn>
                <a:cxn ang="0">
                  <a:pos x="218" y="49"/>
                </a:cxn>
                <a:cxn ang="0">
                  <a:pos x="237" y="40"/>
                </a:cxn>
                <a:cxn ang="0">
                  <a:pos x="268" y="33"/>
                </a:cxn>
                <a:cxn ang="0">
                  <a:pos x="285" y="24"/>
                </a:cxn>
                <a:cxn ang="0">
                  <a:pos x="311" y="9"/>
                </a:cxn>
                <a:cxn ang="0">
                  <a:pos x="336" y="2"/>
                </a:cxn>
                <a:cxn ang="0">
                  <a:pos x="358" y="16"/>
                </a:cxn>
                <a:cxn ang="0">
                  <a:pos x="365" y="30"/>
                </a:cxn>
                <a:cxn ang="0">
                  <a:pos x="377" y="26"/>
                </a:cxn>
                <a:cxn ang="0">
                  <a:pos x="397" y="33"/>
                </a:cxn>
                <a:cxn ang="0">
                  <a:pos x="409" y="40"/>
                </a:cxn>
                <a:cxn ang="0">
                  <a:pos x="431" y="30"/>
                </a:cxn>
                <a:cxn ang="0">
                  <a:pos x="449" y="24"/>
                </a:cxn>
                <a:cxn ang="0">
                  <a:pos x="527" y="92"/>
                </a:cxn>
                <a:cxn ang="0">
                  <a:pos x="549" y="99"/>
                </a:cxn>
                <a:cxn ang="0">
                  <a:pos x="576" y="94"/>
                </a:cxn>
                <a:cxn ang="0">
                  <a:pos x="603" y="111"/>
                </a:cxn>
                <a:cxn ang="0">
                  <a:pos x="612" y="127"/>
                </a:cxn>
                <a:cxn ang="0">
                  <a:pos x="635" y="125"/>
                </a:cxn>
                <a:cxn ang="0">
                  <a:pos x="636" y="146"/>
                </a:cxn>
                <a:cxn ang="0">
                  <a:pos x="629" y="183"/>
                </a:cxn>
                <a:cxn ang="0">
                  <a:pos x="596" y="184"/>
                </a:cxn>
                <a:cxn ang="0">
                  <a:pos x="586" y="223"/>
                </a:cxn>
                <a:cxn ang="0">
                  <a:pos x="574" y="231"/>
                </a:cxn>
                <a:cxn ang="0">
                  <a:pos x="558" y="242"/>
                </a:cxn>
                <a:cxn ang="0">
                  <a:pos x="567" y="268"/>
                </a:cxn>
                <a:cxn ang="0">
                  <a:pos x="567" y="294"/>
                </a:cxn>
                <a:cxn ang="0">
                  <a:pos x="508" y="285"/>
                </a:cxn>
                <a:cxn ang="0">
                  <a:pos x="464" y="285"/>
                </a:cxn>
                <a:cxn ang="0">
                  <a:pos x="428" y="296"/>
                </a:cxn>
                <a:cxn ang="0">
                  <a:pos x="409" y="310"/>
                </a:cxn>
                <a:cxn ang="0">
                  <a:pos x="365" y="332"/>
                </a:cxn>
                <a:cxn ang="0">
                  <a:pos x="287" y="275"/>
                </a:cxn>
                <a:cxn ang="0">
                  <a:pos x="159" y="325"/>
                </a:cxn>
                <a:cxn ang="0">
                  <a:pos x="119" y="310"/>
                </a:cxn>
                <a:cxn ang="0">
                  <a:pos x="101" y="301"/>
                </a:cxn>
                <a:cxn ang="0">
                  <a:pos x="87" y="285"/>
                </a:cxn>
                <a:cxn ang="0">
                  <a:pos x="73" y="268"/>
                </a:cxn>
                <a:cxn ang="0">
                  <a:pos x="94" y="268"/>
                </a:cxn>
                <a:cxn ang="0">
                  <a:pos x="86" y="254"/>
                </a:cxn>
                <a:cxn ang="0">
                  <a:pos x="108" y="249"/>
                </a:cxn>
                <a:cxn ang="0">
                  <a:pos x="113" y="238"/>
                </a:cxn>
                <a:cxn ang="0">
                  <a:pos x="112" y="219"/>
                </a:cxn>
                <a:cxn ang="0">
                  <a:pos x="96" y="217"/>
                </a:cxn>
                <a:cxn ang="0">
                  <a:pos x="86" y="214"/>
                </a:cxn>
                <a:cxn ang="0">
                  <a:pos x="70" y="217"/>
                </a:cxn>
                <a:cxn ang="0">
                  <a:pos x="54" y="228"/>
                </a:cxn>
              </a:cxnLst>
              <a:rect l="0" t="0" r="r" b="b"/>
              <a:pathLst>
                <a:path w="647" h="336">
                  <a:moveTo>
                    <a:pt x="51" y="228"/>
                  </a:moveTo>
                  <a:lnTo>
                    <a:pt x="46" y="223"/>
                  </a:lnTo>
                  <a:lnTo>
                    <a:pt x="40" y="224"/>
                  </a:lnTo>
                  <a:lnTo>
                    <a:pt x="35" y="219"/>
                  </a:lnTo>
                  <a:lnTo>
                    <a:pt x="35" y="219"/>
                  </a:lnTo>
                  <a:lnTo>
                    <a:pt x="42" y="219"/>
                  </a:lnTo>
                  <a:lnTo>
                    <a:pt x="35" y="205"/>
                  </a:lnTo>
                  <a:lnTo>
                    <a:pt x="28" y="200"/>
                  </a:lnTo>
                  <a:lnTo>
                    <a:pt x="16" y="197"/>
                  </a:lnTo>
                  <a:lnTo>
                    <a:pt x="14" y="200"/>
                  </a:lnTo>
                  <a:lnTo>
                    <a:pt x="9" y="195"/>
                  </a:lnTo>
                  <a:lnTo>
                    <a:pt x="9" y="191"/>
                  </a:lnTo>
                  <a:lnTo>
                    <a:pt x="9" y="186"/>
                  </a:lnTo>
                  <a:lnTo>
                    <a:pt x="0" y="184"/>
                  </a:lnTo>
                  <a:lnTo>
                    <a:pt x="4" y="179"/>
                  </a:lnTo>
                  <a:lnTo>
                    <a:pt x="4" y="167"/>
                  </a:lnTo>
                  <a:lnTo>
                    <a:pt x="0" y="165"/>
                  </a:lnTo>
                  <a:lnTo>
                    <a:pt x="0" y="157"/>
                  </a:lnTo>
                  <a:lnTo>
                    <a:pt x="4" y="157"/>
                  </a:lnTo>
                  <a:lnTo>
                    <a:pt x="9" y="150"/>
                  </a:lnTo>
                  <a:lnTo>
                    <a:pt x="9" y="146"/>
                  </a:lnTo>
                  <a:lnTo>
                    <a:pt x="11" y="143"/>
                  </a:lnTo>
                  <a:lnTo>
                    <a:pt x="20" y="151"/>
                  </a:lnTo>
                  <a:lnTo>
                    <a:pt x="20" y="155"/>
                  </a:lnTo>
                  <a:lnTo>
                    <a:pt x="26" y="157"/>
                  </a:lnTo>
                  <a:lnTo>
                    <a:pt x="32" y="157"/>
                  </a:lnTo>
                  <a:lnTo>
                    <a:pt x="32" y="151"/>
                  </a:lnTo>
                  <a:lnTo>
                    <a:pt x="33" y="150"/>
                  </a:lnTo>
                  <a:lnTo>
                    <a:pt x="28" y="137"/>
                  </a:lnTo>
                  <a:lnTo>
                    <a:pt x="33" y="134"/>
                  </a:lnTo>
                  <a:lnTo>
                    <a:pt x="40" y="134"/>
                  </a:lnTo>
                  <a:lnTo>
                    <a:pt x="40" y="132"/>
                  </a:lnTo>
                  <a:lnTo>
                    <a:pt x="37" y="129"/>
                  </a:lnTo>
                  <a:lnTo>
                    <a:pt x="39" y="125"/>
                  </a:lnTo>
                  <a:lnTo>
                    <a:pt x="44" y="122"/>
                  </a:lnTo>
                  <a:lnTo>
                    <a:pt x="47" y="120"/>
                  </a:lnTo>
                  <a:lnTo>
                    <a:pt x="49" y="117"/>
                  </a:lnTo>
                  <a:lnTo>
                    <a:pt x="51" y="115"/>
                  </a:lnTo>
                  <a:lnTo>
                    <a:pt x="54" y="115"/>
                  </a:lnTo>
                  <a:lnTo>
                    <a:pt x="54" y="111"/>
                  </a:lnTo>
                  <a:lnTo>
                    <a:pt x="54" y="110"/>
                  </a:lnTo>
                  <a:lnTo>
                    <a:pt x="54" y="108"/>
                  </a:lnTo>
                  <a:lnTo>
                    <a:pt x="59" y="111"/>
                  </a:lnTo>
                  <a:lnTo>
                    <a:pt x="63" y="111"/>
                  </a:lnTo>
                  <a:lnTo>
                    <a:pt x="63" y="115"/>
                  </a:lnTo>
                  <a:lnTo>
                    <a:pt x="59" y="117"/>
                  </a:lnTo>
                  <a:lnTo>
                    <a:pt x="63" y="118"/>
                  </a:lnTo>
                  <a:lnTo>
                    <a:pt x="65" y="117"/>
                  </a:lnTo>
                  <a:lnTo>
                    <a:pt x="66" y="115"/>
                  </a:lnTo>
                  <a:lnTo>
                    <a:pt x="68" y="111"/>
                  </a:lnTo>
                  <a:lnTo>
                    <a:pt x="70" y="115"/>
                  </a:lnTo>
                  <a:lnTo>
                    <a:pt x="72" y="115"/>
                  </a:lnTo>
                  <a:lnTo>
                    <a:pt x="72" y="111"/>
                  </a:lnTo>
                  <a:lnTo>
                    <a:pt x="73" y="111"/>
                  </a:lnTo>
                  <a:lnTo>
                    <a:pt x="77" y="110"/>
                  </a:lnTo>
                  <a:lnTo>
                    <a:pt x="82" y="110"/>
                  </a:lnTo>
                  <a:lnTo>
                    <a:pt x="82" y="111"/>
                  </a:lnTo>
                  <a:lnTo>
                    <a:pt x="87" y="115"/>
                  </a:lnTo>
                  <a:lnTo>
                    <a:pt x="94" y="115"/>
                  </a:lnTo>
                  <a:lnTo>
                    <a:pt x="96" y="115"/>
                  </a:lnTo>
                  <a:lnTo>
                    <a:pt x="98" y="115"/>
                  </a:lnTo>
                  <a:lnTo>
                    <a:pt x="101" y="117"/>
                  </a:lnTo>
                  <a:lnTo>
                    <a:pt x="105" y="120"/>
                  </a:lnTo>
                  <a:lnTo>
                    <a:pt x="106" y="120"/>
                  </a:lnTo>
                  <a:lnTo>
                    <a:pt x="110" y="123"/>
                  </a:lnTo>
                  <a:lnTo>
                    <a:pt x="113" y="129"/>
                  </a:lnTo>
                  <a:lnTo>
                    <a:pt x="117" y="129"/>
                  </a:lnTo>
                  <a:lnTo>
                    <a:pt x="119" y="130"/>
                  </a:lnTo>
                  <a:lnTo>
                    <a:pt x="119" y="134"/>
                  </a:lnTo>
                  <a:lnTo>
                    <a:pt x="120" y="134"/>
                  </a:lnTo>
                  <a:lnTo>
                    <a:pt x="124" y="132"/>
                  </a:lnTo>
                  <a:lnTo>
                    <a:pt x="122" y="127"/>
                  </a:lnTo>
                  <a:lnTo>
                    <a:pt x="124" y="125"/>
                  </a:lnTo>
                  <a:lnTo>
                    <a:pt x="127" y="129"/>
                  </a:lnTo>
                  <a:lnTo>
                    <a:pt x="136" y="130"/>
                  </a:lnTo>
                  <a:lnTo>
                    <a:pt x="136" y="134"/>
                  </a:lnTo>
                  <a:lnTo>
                    <a:pt x="139" y="134"/>
                  </a:lnTo>
                  <a:lnTo>
                    <a:pt x="143" y="130"/>
                  </a:lnTo>
                  <a:lnTo>
                    <a:pt x="145" y="125"/>
                  </a:lnTo>
                  <a:lnTo>
                    <a:pt x="146" y="123"/>
                  </a:lnTo>
                  <a:lnTo>
                    <a:pt x="146" y="120"/>
                  </a:lnTo>
                  <a:lnTo>
                    <a:pt x="152" y="120"/>
                  </a:lnTo>
                  <a:lnTo>
                    <a:pt x="153" y="122"/>
                  </a:lnTo>
                  <a:lnTo>
                    <a:pt x="155" y="120"/>
                  </a:lnTo>
                  <a:lnTo>
                    <a:pt x="159" y="118"/>
                  </a:lnTo>
                  <a:lnTo>
                    <a:pt x="162" y="123"/>
                  </a:lnTo>
                  <a:lnTo>
                    <a:pt x="164" y="125"/>
                  </a:lnTo>
                  <a:lnTo>
                    <a:pt x="169" y="125"/>
                  </a:lnTo>
                  <a:lnTo>
                    <a:pt x="167" y="120"/>
                  </a:lnTo>
                  <a:lnTo>
                    <a:pt x="171" y="120"/>
                  </a:lnTo>
                  <a:lnTo>
                    <a:pt x="174" y="120"/>
                  </a:lnTo>
                  <a:lnTo>
                    <a:pt x="176" y="118"/>
                  </a:lnTo>
                  <a:lnTo>
                    <a:pt x="181" y="120"/>
                  </a:lnTo>
                  <a:lnTo>
                    <a:pt x="181" y="122"/>
                  </a:lnTo>
                  <a:lnTo>
                    <a:pt x="181" y="123"/>
                  </a:lnTo>
                  <a:lnTo>
                    <a:pt x="178" y="125"/>
                  </a:lnTo>
                  <a:lnTo>
                    <a:pt x="181" y="129"/>
                  </a:lnTo>
                  <a:lnTo>
                    <a:pt x="185" y="130"/>
                  </a:lnTo>
                  <a:lnTo>
                    <a:pt x="186" y="129"/>
                  </a:lnTo>
                  <a:lnTo>
                    <a:pt x="188" y="130"/>
                  </a:lnTo>
                  <a:lnTo>
                    <a:pt x="195" y="130"/>
                  </a:lnTo>
                  <a:lnTo>
                    <a:pt x="200" y="134"/>
                  </a:lnTo>
                  <a:lnTo>
                    <a:pt x="204" y="134"/>
                  </a:lnTo>
                  <a:lnTo>
                    <a:pt x="205" y="129"/>
                  </a:lnTo>
                  <a:lnTo>
                    <a:pt x="205" y="125"/>
                  </a:lnTo>
                  <a:lnTo>
                    <a:pt x="209" y="123"/>
                  </a:lnTo>
                  <a:lnTo>
                    <a:pt x="212" y="127"/>
                  </a:lnTo>
                  <a:lnTo>
                    <a:pt x="218" y="129"/>
                  </a:lnTo>
                  <a:lnTo>
                    <a:pt x="225" y="127"/>
                  </a:lnTo>
                  <a:lnTo>
                    <a:pt x="226" y="123"/>
                  </a:lnTo>
                  <a:lnTo>
                    <a:pt x="225" y="111"/>
                  </a:lnTo>
                  <a:lnTo>
                    <a:pt x="223" y="110"/>
                  </a:lnTo>
                  <a:lnTo>
                    <a:pt x="218" y="110"/>
                  </a:lnTo>
                  <a:lnTo>
                    <a:pt x="214" y="106"/>
                  </a:lnTo>
                  <a:lnTo>
                    <a:pt x="214" y="104"/>
                  </a:lnTo>
                  <a:lnTo>
                    <a:pt x="209" y="103"/>
                  </a:lnTo>
                  <a:lnTo>
                    <a:pt x="209" y="101"/>
                  </a:lnTo>
                  <a:lnTo>
                    <a:pt x="204" y="101"/>
                  </a:lnTo>
                  <a:lnTo>
                    <a:pt x="204" y="99"/>
                  </a:lnTo>
                  <a:lnTo>
                    <a:pt x="204" y="96"/>
                  </a:lnTo>
                  <a:lnTo>
                    <a:pt x="204" y="94"/>
                  </a:lnTo>
                  <a:lnTo>
                    <a:pt x="205" y="94"/>
                  </a:lnTo>
                  <a:lnTo>
                    <a:pt x="205" y="92"/>
                  </a:lnTo>
                  <a:lnTo>
                    <a:pt x="209" y="89"/>
                  </a:lnTo>
                  <a:lnTo>
                    <a:pt x="209" y="85"/>
                  </a:lnTo>
                  <a:lnTo>
                    <a:pt x="205" y="83"/>
                  </a:lnTo>
                  <a:lnTo>
                    <a:pt x="204" y="80"/>
                  </a:lnTo>
                  <a:lnTo>
                    <a:pt x="209" y="75"/>
                  </a:lnTo>
                  <a:lnTo>
                    <a:pt x="212" y="71"/>
                  </a:lnTo>
                  <a:lnTo>
                    <a:pt x="221" y="70"/>
                  </a:lnTo>
                  <a:lnTo>
                    <a:pt x="223" y="71"/>
                  </a:lnTo>
                  <a:lnTo>
                    <a:pt x="226" y="70"/>
                  </a:lnTo>
                  <a:lnTo>
                    <a:pt x="226" y="66"/>
                  </a:lnTo>
                  <a:lnTo>
                    <a:pt x="223" y="66"/>
                  </a:lnTo>
                  <a:lnTo>
                    <a:pt x="219" y="63"/>
                  </a:lnTo>
                  <a:lnTo>
                    <a:pt x="216" y="63"/>
                  </a:lnTo>
                  <a:lnTo>
                    <a:pt x="214" y="66"/>
                  </a:lnTo>
                  <a:lnTo>
                    <a:pt x="211" y="63"/>
                  </a:lnTo>
                  <a:lnTo>
                    <a:pt x="205" y="63"/>
                  </a:lnTo>
                  <a:lnTo>
                    <a:pt x="205" y="61"/>
                  </a:lnTo>
                  <a:lnTo>
                    <a:pt x="209" y="59"/>
                  </a:lnTo>
                  <a:lnTo>
                    <a:pt x="212" y="59"/>
                  </a:lnTo>
                  <a:lnTo>
                    <a:pt x="211" y="56"/>
                  </a:lnTo>
                  <a:lnTo>
                    <a:pt x="205" y="57"/>
                  </a:lnTo>
                  <a:lnTo>
                    <a:pt x="204" y="56"/>
                  </a:lnTo>
                  <a:lnTo>
                    <a:pt x="204" y="54"/>
                  </a:lnTo>
                  <a:lnTo>
                    <a:pt x="204" y="49"/>
                  </a:lnTo>
                  <a:lnTo>
                    <a:pt x="204" y="49"/>
                  </a:lnTo>
                  <a:lnTo>
                    <a:pt x="209" y="49"/>
                  </a:lnTo>
                  <a:lnTo>
                    <a:pt x="209" y="47"/>
                  </a:lnTo>
                  <a:lnTo>
                    <a:pt x="212" y="47"/>
                  </a:lnTo>
                  <a:lnTo>
                    <a:pt x="212" y="49"/>
                  </a:lnTo>
                  <a:lnTo>
                    <a:pt x="218" y="49"/>
                  </a:lnTo>
                  <a:lnTo>
                    <a:pt x="221" y="52"/>
                  </a:lnTo>
                  <a:lnTo>
                    <a:pt x="223" y="49"/>
                  </a:lnTo>
                  <a:lnTo>
                    <a:pt x="223" y="47"/>
                  </a:lnTo>
                  <a:lnTo>
                    <a:pt x="225" y="43"/>
                  </a:lnTo>
                  <a:lnTo>
                    <a:pt x="228" y="43"/>
                  </a:lnTo>
                  <a:lnTo>
                    <a:pt x="228" y="49"/>
                  </a:lnTo>
                  <a:lnTo>
                    <a:pt x="232" y="47"/>
                  </a:lnTo>
                  <a:lnTo>
                    <a:pt x="232" y="43"/>
                  </a:lnTo>
                  <a:lnTo>
                    <a:pt x="237" y="40"/>
                  </a:lnTo>
                  <a:lnTo>
                    <a:pt x="242" y="40"/>
                  </a:lnTo>
                  <a:lnTo>
                    <a:pt x="245" y="40"/>
                  </a:lnTo>
                  <a:lnTo>
                    <a:pt x="251" y="38"/>
                  </a:lnTo>
                  <a:lnTo>
                    <a:pt x="251" y="37"/>
                  </a:lnTo>
                  <a:lnTo>
                    <a:pt x="254" y="35"/>
                  </a:lnTo>
                  <a:lnTo>
                    <a:pt x="259" y="35"/>
                  </a:lnTo>
                  <a:lnTo>
                    <a:pt x="263" y="33"/>
                  </a:lnTo>
                  <a:lnTo>
                    <a:pt x="265" y="31"/>
                  </a:lnTo>
                  <a:lnTo>
                    <a:pt x="268" y="33"/>
                  </a:lnTo>
                  <a:lnTo>
                    <a:pt x="268" y="31"/>
                  </a:lnTo>
                  <a:lnTo>
                    <a:pt x="268" y="30"/>
                  </a:lnTo>
                  <a:lnTo>
                    <a:pt x="271" y="26"/>
                  </a:lnTo>
                  <a:lnTo>
                    <a:pt x="273" y="26"/>
                  </a:lnTo>
                  <a:lnTo>
                    <a:pt x="273" y="26"/>
                  </a:lnTo>
                  <a:lnTo>
                    <a:pt x="277" y="23"/>
                  </a:lnTo>
                  <a:lnTo>
                    <a:pt x="278" y="26"/>
                  </a:lnTo>
                  <a:lnTo>
                    <a:pt x="282" y="26"/>
                  </a:lnTo>
                  <a:lnTo>
                    <a:pt x="285" y="24"/>
                  </a:lnTo>
                  <a:lnTo>
                    <a:pt x="287" y="23"/>
                  </a:lnTo>
                  <a:lnTo>
                    <a:pt x="296" y="17"/>
                  </a:lnTo>
                  <a:lnTo>
                    <a:pt x="298" y="17"/>
                  </a:lnTo>
                  <a:lnTo>
                    <a:pt x="299" y="16"/>
                  </a:lnTo>
                  <a:lnTo>
                    <a:pt x="303" y="16"/>
                  </a:lnTo>
                  <a:lnTo>
                    <a:pt x="304" y="12"/>
                  </a:lnTo>
                  <a:lnTo>
                    <a:pt x="308" y="12"/>
                  </a:lnTo>
                  <a:lnTo>
                    <a:pt x="311" y="12"/>
                  </a:lnTo>
                  <a:lnTo>
                    <a:pt x="311" y="9"/>
                  </a:lnTo>
                  <a:lnTo>
                    <a:pt x="310" y="7"/>
                  </a:lnTo>
                  <a:lnTo>
                    <a:pt x="311" y="7"/>
                  </a:lnTo>
                  <a:lnTo>
                    <a:pt x="317" y="7"/>
                  </a:lnTo>
                  <a:lnTo>
                    <a:pt x="317" y="3"/>
                  </a:lnTo>
                  <a:lnTo>
                    <a:pt x="320" y="2"/>
                  </a:lnTo>
                  <a:lnTo>
                    <a:pt x="324" y="2"/>
                  </a:lnTo>
                  <a:lnTo>
                    <a:pt x="325" y="0"/>
                  </a:lnTo>
                  <a:lnTo>
                    <a:pt x="331" y="3"/>
                  </a:lnTo>
                  <a:lnTo>
                    <a:pt x="336" y="2"/>
                  </a:lnTo>
                  <a:lnTo>
                    <a:pt x="337" y="3"/>
                  </a:lnTo>
                  <a:lnTo>
                    <a:pt x="343" y="3"/>
                  </a:lnTo>
                  <a:lnTo>
                    <a:pt x="346" y="3"/>
                  </a:lnTo>
                  <a:lnTo>
                    <a:pt x="350" y="3"/>
                  </a:lnTo>
                  <a:lnTo>
                    <a:pt x="351" y="7"/>
                  </a:lnTo>
                  <a:lnTo>
                    <a:pt x="353" y="7"/>
                  </a:lnTo>
                  <a:lnTo>
                    <a:pt x="353" y="10"/>
                  </a:lnTo>
                  <a:lnTo>
                    <a:pt x="355" y="14"/>
                  </a:lnTo>
                  <a:lnTo>
                    <a:pt x="358" y="16"/>
                  </a:lnTo>
                  <a:lnTo>
                    <a:pt x="358" y="17"/>
                  </a:lnTo>
                  <a:lnTo>
                    <a:pt x="358" y="21"/>
                  </a:lnTo>
                  <a:lnTo>
                    <a:pt x="358" y="24"/>
                  </a:lnTo>
                  <a:lnTo>
                    <a:pt x="358" y="26"/>
                  </a:lnTo>
                  <a:lnTo>
                    <a:pt x="355" y="26"/>
                  </a:lnTo>
                  <a:lnTo>
                    <a:pt x="358" y="30"/>
                  </a:lnTo>
                  <a:lnTo>
                    <a:pt x="358" y="30"/>
                  </a:lnTo>
                  <a:lnTo>
                    <a:pt x="362" y="30"/>
                  </a:lnTo>
                  <a:lnTo>
                    <a:pt x="365" y="30"/>
                  </a:lnTo>
                  <a:lnTo>
                    <a:pt x="367" y="30"/>
                  </a:lnTo>
                  <a:lnTo>
                    <a:pt x="367" y="26"/>
                  </a:lnTo>
                  <a:lnTo>
                    <a:pt x="371" y="26"/>
                  </a:lnTo>
                  <a:lnTo>
                    <a:pt x="371" y="30"/>
                  </a:lnTo>
                  <a:lnTo>
                    <a:pt x="374" y="30"/>
                  </a:lnTo>
                  <a:lnTo>
                    <a:pt x="374" y="26"/>
                  </a:lnTo>
                  <a:lnTo>
                    <a:pt x="372" y="23"/>
                  </a:lnTo>
                  <a:lnTo>
                    <a:pt x="374" y="23"/>
                  </a:lnTo>
                  <a:lnTo>
                    <a:pt x="377" y="26"/>
                  </a:lnTo>
                  <a:lnTo>
                    <a:pt x="381" y="31"/>
                  </a:lnTo>
                  <a:lnTo>
                    <a:pt x="381" y="37"/>
                  </a:lnTo>
                  <a:lnTo>
                    <a:pt x="383" y="35"/>
                  </a:lnTo>
                  <a:lnTo>
                    <a:pt x="386" y="33"/>
                  </a:lnTo>
                  <a:lnTo>
                    <a:pt x="384" y="31"/>
                  </a:lnTo>
                  <a:lnTo>
                    <a:pt x="383" y="30"/>
                  </a:lnTo>
                  <a:lnTo>
                    <a:pt x="386" y="30"/>
                  </a:lnTo>
                  <a:lnTo>
                    <a:pt x="393" y="33"/>
                  </a:lnTo>
                  <a:lnTo>
                    <a:pt x="397" y="33"/>
                  </a:lnTo>
                  <a:lnTo>
                    <a:pt x="398" y="30"/>
                  </a:lnTo>
                  <a:lnTo>
                    <a:pt x="400" y="31"/>
                  </a:lnTo>
                  <a:lnTo>
                    <a:pt x="400" y="35"/>
                  </a:lnTo>
                  <a:lnTo>
                    <a:pt x="397" y="37"/>
                  </a:lnTo>
                  <a:lnTo>
                    <a:pt x="397" y="40"/>
                  </a:lnTo>
                  <a:lnTo>
                    <a:pt x="400" y="43"/>
                  </a:lnTo>
                  <a:lnTo>
                    <a:pt x="400" y="43"/>
                  </a:lnTo>
                  <a:lnTo>
                    <a:pt x="404" y="40"/>
                  </a:lnTo>
                  <a:lnTo>
                    <a:pt x="409" y="40"/>
                  </a:lnTo>
                  <a:lnTo>
                    <a:pt x="414" y="40"/>
                  </a:lnTo>
                  <a:lnTo>
                    <a:pt x="416" y="43"/>
                  </a:lnTo>
                  <a:lnTo>
                    <a:pt x="417" y="40"/>
                  </a:lnTo>
                  <a:lnTo>
                    <a:pt x="417" y="38"/>
                  </a:lnTo>
                  <a:lnTo>
                    <a:pt x="421" y="37"/>
                  </a:lnTo>
                  <a:lnTo>
                    <a:pt x="426" y="37"/>
                  </a:lnTo>
                  <a:lnTo>
                    <a:pt x="428" y="33"/>
                  </a:lnTo>
                  <a:lnTo>
                    <a:pt x="431" y="31"/>
                  </a:lnTo>
                  <a:lnTo>
                    <a:pt x="431" y="30"/>
                  </a:lnTo>
                  <a:lnTo>
                    <a:pt x="431" y="26"/>
                  </a:lnTo>
                  <a:lnTo>
                    <a:pt x="437" y="23"/>
                  </a:lnTo>
                  <a:lnTo>
                    <a:pt x="438" y="23"/>
                  </a:lnTo>
                  <a:lnTo>
                    <a:pt x="442" y="17"/>
                  </a:lnTo>
                  <a:lnTo>
                    <a:pt x="445" y="17"/>
                  </a:lnTo>
                  <a:lnTo>
                    <a:pt x="450" y="17"/>
                  </a:lnTo>
                  <a:lnTo>
                    <a:pt x="450" y="17"/>
                  </a:lnTo>
                  <a:lnTo>
                    <a:pt x="450" y="21"/>
                  </a:lnTo>
                  <a:lnTo>
                    <a:pt x="449" y="24"/>
                  </a:lnTo>
                  <a:lnTo>
                    <a:pt x="447" y="26"/>
                  </a:lnTo>
                  <a:lnTo>
                    <a:pt x="447" y="26"/>
                  </a:lnTo>
                  <a:lnTo>
                    <a:pt x="476" y="49"/>
                  </a:lnTo>
                  <a:lnTo>
                    <a:pt x="520" y="101"/>
                  </a:lnTo>
                  <a:lnTo>
                    <a:pt x="525" y="101"/>
                  </a:lnTo>
                  <a:lnTo>
                    <a:pt x="527" y="99"/>
                  </a:lnTo>
                  <a:lnTo>
                    <a:pt x="527" y="97"/>
                  </a:lnTo>
                  <a:lnTo>
                    <a:pt x="527" y="96"/>
                  </a:lnTo>
                  <a:lnTo>
                    <a:pt x="527" y="92"/>
                  </a:lnTo>
                  <a:lnTo>
                    <a:pt x="530" y="92"/>
                  </a:lnTo>
                  <a:lnTo>
                    <a:pt x="536" y="94"/>
                  </a:lnTo>
                  <a:lnTo>
                    <a:pt x="532" y="96"/>
                  </a:lnTo>
                  <a:lnTo>
                    <a:pt x="536" y="97"/>
                  </a:lnTo>
                  <a:lnTo>
                    <a:pt x="539" y="99"/>
                  </a:lnTo>
                  <a:lnTo>
                    <a:pt x="541" y="103"/>
                  </a:lnTo>
                  <a:lnTo>
                    <a:pt x="543" y="103"/>
                  </a:lnTo>
                  <a:lnTo>
                    <a:pt x="546" y="101"/>
                  </a:lnTo>
                  <a:lnTo>
                    <a:pt x="549" y="99"/>
                  </a:lnTo>
                  <a:lnTo>
                    <a:pt x="553" y="103"/>
                  </a:lnTo>
                  <a:lnTo>
                    <a:pt x="558" y="101"/>
                  </a:lnTo>
                  <a:lnTo>
                    <a:pt x="558" y="101"/>
                  </a:lnTo>
                  <a:lnTo>
                    <a:pt x="562" y="99"/>
                  </a:lnTo>
                  <a:lnTo>
                    <a:pt x="563" y="99"/>
                  </a:lnTo>
                  <a:lnTo>
                    <a:pt x="562" y="96"/>
                  </a:lnTo>
                  <a:lnTo>
                    <a:pt x="563" y="94"/>
                  </a:lnTo>
                  <a:lnTo>
                    <a:pt x="569" y="94"/>
                  </a:lnTo>
                  <a:lnTo>
                    <a:pt x="576" y="94"/>
                  </a:lnTo>
                  <a:lnTo>
                    <a:pt x="581" y="96"/>
                  </a:lnTo>
                  <a:lnTo>
                    <a:pt x="584" y="99"/>
                  </a:lnTo>
                  <a:lnTo>
                    <a:pt x="589" y="104"/>
                  </a:lnTo>
                  <a:lnTo>
                    <a:pt x="589" y="108"/>
                  </a:lnTo>
                  <a:lnTo>
                    <a:pt x="591" y="108"/>
                  </a:lnTo>
                  <a:lnTo>
                    <a:pt x="595" y="110"/>
                  </a:lnTo>
                  <a:lnTo>
                    <a:pt x="598" y="111"/>
                  </a:lnTo>
                  <a:lnTo>
                    <a:pt x="600" y="111"/>
                  </a:lnTo>
                  <a:lnTo>
                    <a:pt x="603" y="111"/>
                  </a:lnTo>
                  <a:lnTo>
                    <a:pt x="603" y="115"/>
                  </a:lnTo>
                  <a:lnTo>
                    <a:pt x="600" y="117"/>
                  </a:lnTo>
                  <a:lnTo>
                    <a:pt x="603" y="118"/>
                  </a:lnTo>
                  <a:lnTo>
                    <a:pt x="603" y="122"/>
                  </a:lnTo>
                  <a:lnTo>
                    <a:pt x="603" y="123"/>
                  </a:lnTo>
                  <a:lnTo>
                    <a:pt x="607" y="123"/>
                  </a:lnTo>
                  <a:lnTo>
                    <a:pt x="609" y="123"/>
                  </a:lnTo>
                  <a:lnTo>
                    <a:pt x="612" y="125"/>
                  </a:lnTo>
                  <a:lnTo>
                    <a:pt x="612" y="127"/>
                  </a:lnTo>
                  <a:lnTo>
                    <a:pt x="614" y="125"/>
                  </a:lnTo>
                  <a:lnTo>
                    <a:pt x="616" y="123"/>
                  </a:lnTo>
                  <a:lnTo>
                    <a:pt x="624" y="123"/>
                  </a:lnTo>
                  <a:lnTo>
                    <a:pt x="629" y="122"/>
                  </a:lnTo>
                  <a:lnTo>
                    <a:pt x="631" y="118"/>
                  </a:lnTo>
                  <a:lnTo>
                    <a:pt x="635" y="117"/>
                  </a:lnTo>
                  <a:lnTo>
                    <a:pt x="635" y="117"/>
                  </a:lnTo>
                  <a:lnTo>
                    <a:pt x="635" y="122"/>
                  </a:lnTo>
                  <a:lnTo>
                    <a:pt x="635" y="125"/>
                  </a:lnTo>
                  <a:lnTo>
                    <a:pt x="636" y="125"/>
                  </a:lnTo>
                  <a:lnTo>
                    <a:pt x="640" y="129"/>
                  </a:lnTo>
                  <a:lnTo>
                    <a:pt x="645" y="130"/>
                  </a:lnTo>
                  <a:lnTo>
                    <a:pt x="647" y="132"/>
                  </a:lnTo>
                  <a:lnTo>
                    <a:pt x="643" y="134"/>
                  </a:lnTo>
                  <a:lnTo>
                    <a:pt x="642" y="137"/>
                  </a:lnTo>
                  <a:lnTo>
                    <a:pt x="636" y="141"/>
                  </a:lnTo>
                  <a:lnTo>
                    <a:pt x="636" y="144"/>
                  </a:lnTo>
                  <a:lnTo>
                    <a:pt x="636" y="146"/>
                  </a:lnTo>
                  <a:lnTo>
                    <a:pt x="635" y="150"/>
                  </a:lnTo>
                  <a:lnTo>
                    <a:pt x="631" y="151"/>
                  </a:lnTo>
                  <a:lnTo>
                    <a:pt x="628" y="155"/>
                  </a:lnTo>
                  <a:lnTo>
                    <a:pt x="628" y="157"/>
                  </a:lnTo>
                  <a:lnTo>
                    <a:pt x="628" y="163"/>
                  </a:lnTo>
                  <a:lnTo>
                    <a:pt x="631" y="172"/>
                  </a:lnTo>
                  <a:lnTo>
                    <a:pt x="635" y="176"/>
                  </a:lnTo>
                  <a:lnTo>
                    <a:pt x="635" y="179"/>
                  </a:lnTo>
                  <a:lnTo>
                    <a:pt x="629" y="183"/>
                  </a:lnTo>
                  <a:lnTo>
                    <a:pt x="626" y="183"/>
                  </a:lnTo>
                  <a:lnTo>
                    <a:pt x="622" y="188"/>
                  </a:lnTo>
                  <a:lnTo>
                    <a:pt x="619" y="188"/>
                  </a:lnTo>
                  <a:lnTo>
                    <a:pt x="617" y="188"/>
                  </a:lnTo>
                  <a:lnTo>
                    <a:pt x="617" y="184"/>
                  </a:lnTo>
                  <a:lnTo>
                    <a:pt x="614" y="184"/>
                  </a:lnTo>
                  <a:lnTo>
                    <a:pt x="609" y="186"/>
                  </a:lnTo>
                  <a:lnTo>
                    <a:pt x="603" y="186"/>
                  </a:lnTo>
                  <a:lnTo>
                    <a:pt x="596" y="184"/>
                  </a:lnTo>
                  <a:lnTo>
                    <a:pt x="593" y="183"/>
                  </a:lnTo>
                  <a:lnTo>
                    <a:pt x="591" y="184"/>
                  </a:lnTo>
                  <a:lnTo>
                    <a:pt x="589" y="191"/>
                  </a:lnTo>
                  <a:lnTo>
                    <a:pt x="589" y="197"/>
                  </a:lnTo>
                  <a:lnTo>
                    <a:pt x="589" y="202"/>
                  </a:lnTo>
                  <a:lnTo>
                    <a:pt x="586" y="210"/>
                  </a:lnTo>
                  <a:lnTo>
                    <a:pt x="586" y="217"/>
                  </a:lnTo>
                  <a:lnTo>
                    <a:pt x="584" y="219"/>
                  </a:lnTo>
                  <a:lnTo>
                    <a:pt x="586" y="223"/>
                  </a:lnTo>
                  <a:lnTo>
                    <a:pt x="591" y="223"/>
                  </a:lnTo>
                  <a:lnTo>
                    <a:pt x="589" y="228"/>
                  </a:lnTo>
                  <a:lnTo>
                    <a:pt x="589" y="230"/>
                  </a:lnTo>
                  <a:lnTo>
                    <a:pt x="586" y="230"/>
                  </a:lnTo>
                  <a:lnTo>
                    <a:pt x="584" y="230"/>
                  </a:lnTo>
                  <a:lnTo>
                    <a:pt x="581" y="230"/>
                  </a:lnTo>
                  <a:lnTo>
                    <a:pt x="581" y="228"/>
                  </a:lnTo>
                  <a:lnTo>
                    <a:pt x="577" y="230"/>
                  </a:lnTo>
                  <a:lnTo>
                    <a:pt x="574" y="231"/>
                  </a:lnTo>
                  <a:lnTo>
                    <a:pt x="567" y="233"/>
                  </a:lnTo>
                  <a:lnTo>
                    <a:pt x="562" y="235"/>
                  </a:lnTo>
                  <a:lnTo>
                    <a:pt x="558" y="235"/>
                  </a:lnTo>
                  <a:lnTo>
                    <a:pt x="558" y="233"/>
                  </a:lnTo>
                  <a:lnTo>
                    <a:pt x="555" y="235"/>
                  </a:lnTo>
                  <a:lnTo>
                    <a:pt x="551" y="238"/>
                  </a:lnTo>
                  <a:lnTo>
                    <a:pt x="551" y="240"/>
                  </a:lnTo>
                  <a:lnTo>
                    <a:pt x="555" y="242"/>
                  </a:lnTo>
                  <a:lnTo>
                    <a:pt x="558" y="242"/>
                  </a:lnTo>
                  <a:lnTo>
                    <a:pt x="562" y="242"/>
                  </a:lnTo>
                  <a:lnTo>
                    <a:pt x="562" y="245"/>
                  </a:lnTo>
                  <a:lnTo>
                    <a:pt x="562" y="245"/>
                  </a:lnTo>
                  <a:lnTo>
                    <a:pt x="562" y="250"/>
                  </a:lnTo>
                  <a:lnTo>
                    <a:pt x="562" y="254"/>
                  </a:lnTo>
                  <a:lnTo>
                    <a:pt x="563" y="256"/>
                  </a:lnTo>
                  <a:lnTo>
                    <a:pt x="563" y="259"/>
                  </a:lnTo>
                  <a:lnTo>
                    <a:pt x="567" y="264"/>
                  </a:lnTo>
                  <a:lnTo>
                    <a:pt x="567" y="268"/>
                  </a:lnTo>
                  <a:lnTo>
                    <a:pt x="572" y="270"/>
                  </a:lnTo>
                  <a:lnTo>
                    <a:pt x="572" y="276"/>
                  </a:lnTo>
                  <a:lnTo>
                    <a:pt x="570" y="278"/>
                  </a:lnTo>
                  <a:lnTo>
                    <a:pt x="569" y="282"/>
                  </a:lnTo>
                  <a:lnTo>
                    <a:pt x="572" y="285"/>
                  </a:lnTo>
                  <a:lnTo>
                    <a:pt x="570" y="287"/>
                  </a:lnTo>
                  <a:lnTo>
                    <a:pt x="570" y="287"/>
                  </a:lnTo>
                  <a:lnTo>
                    <a:pt x="567" y="290"/>
                  </a:lnTo>
                  <a:lnTo>
                    <a:pt x="567" y="294"/>
                  </a:lnTo>
                  <a:lnTo>
                    <a:pt x="563" y="296"/>
                  </a:lnTo>
                  <a:lnTo>
                    <a:pt x="558" y="294"/>
                  </a:lnTo>
                  <a:lnTo>
                    <a:pt x="549" y="287"/>
                  </a:lnTo>
                  <a:lnTo>
                    <a:pt x="546" y="287"/>
                  </a:lnTo>
                  <a:lnTo>
                    <a:pt x="539" y="283"/>
                  </a:lnTo>
                  <a:lnTo>
                    <a:pt x="527" y="283"/>
                  </a:lnTo>
                  <a:lnTo>
                    <a:pt x="523" y="285"/>
                  </a:lnTo>
                  <a:lnTo>
                    <a:pt x="515" y="283"/>
                  </a:lnTo>
                  <a:lnTo>
                    <a:pt x="508" y="285"/>
                  </a:lnTo>
                  <a:lnTo>
                    <a:pt x="503" y="285"/>
                  </a:lnTo>
                  <a:lnTo>
                    <a:pt x="499" y="285"/>
                  </a:lnTo>
                  <a:lnTo>
                    <a:pt x="496" y="287"/>
                  </a:lnTo>
                  <a:lnTo>
                    <a:pt x="492" y="287"/>
                  </a:lnTo>
                  <a:lnTo>
                    <a:pt x="482" y="287"/>
                  </a:lnTo>
                  <a:lnTo>
                    <a:pt x="476" y="285"/>
                  </a:lnTo>
                  <a:lnTo>
                    <a:pt x="473" y="283"/>
                  </a:lnTo>
                  <a:lnTo>
                    <a:pt x="468" y="283"/>
                  </a:lnTo>
                  <a:lnTo>
                    <a:pt x="464" y="285"/>
                  </a:lnTo>
                  <a:lnTo>
                    <a:pt x="463" y="283"/>
                  </a:lnTo>
                  <a:lnTo>
                    <a:pt x="457" y="283"/>
                  </a:lnTo>
                  <a:lnTo>
                    <a:pt x="457" y="285"/>
                  </a:lnTo>
                  <a:lnTo>
                    <a:pt x="457" y="287"/>
                  </a:lnTo>
                  <a:lnTo>
                    <a:pt x="457" y="290"/>
                  </a:lnTo>
                  <a:lnTo>
                    <a:pt x="457" y="296"/>
                  </a:lnTo>
                  <a:lnTo>
                    <a:pt x="450" y="297"/>
                  </a:lnTo>
                  <a:lnTo>
                    <a:pt x="442" y="297"/>
                  </a:lnTo>
                  <a:lnTo>
                    <a:pt x="428" y="296"/>
                  </a:lnTo>
                  <a:lnTo>
                    <a:pt x="426" y="294"/>
                  </a:lnTo>
                  <a:lnTo>
                    <a:pt x="421" y="292"/>
                  </a:lnTo>
                  <a:lnTo>
                    <a:pt x="417" y="297"/>
                  </a:lnTo>
                  <a:lnTo>
                    <a:pt x="419" y="299"/>
                  </a:lnTo>
                  <a:lnTo>
                    <a:pt x="414" y="301"/>
                  </a:lnTo>
                  <a:lnTo>
                    <a:pt x="414" y="303"/>
                  </a:lnTo>
                  <a:lnTo>
                    <a:pt x="412" y="303"/>
                  </a:lnTo>
                  <a:lnTo>
                    <a:pt x="409" y="308"/>
                  </a:lnTo>
                  <a:lnTo>
                    <a:pt x="409" y="310"/>
                  </a:lnTo>
                  <a:lnTo>
                    <a:pt x="400" y="316"/>
                  </a:lnTo>
                  <a:lnTo>
                    <a:pt x="398" y="320"/>
                  </a:lnTo>
                  <a:lnTo>
                    <a:pt x="397" y="323"/>
                  </a:lnTo>
                  <a:lnTo>
                    <a:pt x="393" y="330"/>
                  </a:lnTo>
                  <a:lnTo>
                    <a:pt x="386" y="336"/>
                  </a:lnTo>
                  <a:lnTo>
                    <a:pt x="383" y="336"/>
                  </a:lnTo>
                  <a:lnTo>
                    <a:pt x="377" y="332"/>
                  </a:lnTo>
                  <a:lnTo>
                    <a:pt x="371" y="330"/>
                  </a:lnTo>
                  <a:lnTo>
                    <a:pt x="365" y="332"/>
                  </a:lnTo>
                  <a:lnTo>
                    <a:pt x="358" y="336"/>
                  </a:lnTo>
                  <a:lnTo>
                    <a:pt x="355" y="336"/>
                  </a:lnTo>
                  <a:lnTo>
                    <a:pt x="348" y="315"/>
                  </a:lnTo>
                  <a:lnTo>
                    <a:pt x="336" y="313"/>
                  </a:lnTo>
                  <a:lnTo>
                    <a:pt x="336" y="290"/>
                  </a:lnTo>
                  <a:lnTo>
                    <a:pt x="327" y="290"/>
                  </a:lnTo>
                  <a:lnTo>
                    <a:pt x="325" y="282"/>
                  </a:lnTo>
                  <a:lnTo>
                    <a:pt x="315" y="275"/>
                  </a:lnTo>
                  <a:lnTo>
                    <a:pt x="287" y="275"/>
                  </a:lnTo>
                  <a:lnTo>
                    <a:pt x="263" y="278"/>
                  </a:lnTo>
                  <a:lnTo>
                    <a:pt x="249" y="268"/>
                  </a:lnTo>
                  <a:lnTo>
                    <a:pt x="237" y="264"/>
                  </a:lnTo>
                  <a:lnTo>
                    <a:pt x="211" y="245"/>
                  </a:lnTo>
                  <a:lnTo>
                    <a:pt x="165" y="254"/>
                  </a:lnTo>
                  <a:lnTo>
                    <a:pt x="181" y="336"/>
                  </a:lnTo>
                  <a:lnTo>
                    <a:pt x="178" y="336"/>
                  </a:lnTo>
                  <a:lnTo>
                    <a:pt x="171" y="336"/>
                  </a:lnTo>
                  <a:lnTo>
                    <a:pt x="159" y="325"/>
                  </a:lnTo>
                  <a:lnTo>
                    <a:pt x="146" y="316"/>
                  </a:lnTo>
                  <a:lnTo>
                    <a:pt x="136" y="315"/>
                  </a:lnTo>
                  <a:lnTo>
                    <a:pt x="127" y="318"/>
                  </a:lnTo>
                  <a:lnTo>
                    <a:pt x="117" y="329"/>
                  </a:lnTo>
                  <a:lnTo>
                    <a:pt x="117" y="323"/>
                  </a:lnTo>
                  <a:lnTo>
                    <a:pt x="117" y="320"/>
                  </a:lnTo>
                  <a:lnTo>
                    <a:pt x="119" y="315"/>
                  </a:lnTo>
                  <a:lnTo>
                    <a:pt x="119" y="310"/>
                  </a:lnTo>
                  <a:lnTo>
                    <a:pt x="119" y="310"/>
                  </a:lnTo>
                  <a:lnTo>
                    <a:pt x="119" y="308"/>
                  </a:lnTo>
                  <a:lnTo>
                    <a:pt x="119" y="308"/>
                  </a:lnTo>
                  <a:lnTo>
                    <a:pt x="113" y="308"/>
                  </a:lnTo>
                  <a:lnTo>
                    <a:pt x="112" y="306"/>
                  </a:lnTo>
                  <a:lnTo>
                    <a:pt x="108" y="306"/>
                  </a:lnTo>
                  <a:lnTo>
                    <a:pt x="105" y="306"/>
                  </a:lnTo>
                  <a:lnTo>
                    <a:pt x="105" y="306"/>
                  </a:lnTo>
                  <a:lnTo>
                    <a:pt x="101" y="303"/>
                  </a:lnTo>
                  <a:lnTo>
                    <a:pt x="101" y="301"/>
                  </a:lnTo>
                  <a:lnTo>
                    <a:pt x="101" y="299"/>
                  </a:lnTo>
                  <a:lnTo>
                    <a:pt x="99" y="297"/>
                  </a:lnTo>
                  <a:lnTo>
                    <a:pt x="98" y="297"/>
                  </a:lnTo>
                  <a:lnTo>
                    <a:pt x="94" y="299"/>
                  </a:lnTo>
                  <a:lnTo>
                    <a:pt x="92" y="299"/>
                  </a:lnTo>
                  <a:lnTo>
                    <a:pt x="92" y="294"/>
                  </a:lnTo>
                  <a:lnTo>
                    <a:pt x="92" y="290"/>
                  </a:lnTo>
                  <a:lnTo>
                    <a:pt x="87" y="287"/>
                  </a:lnTo>
                  <a:lnTo>
                    <a:pt x="87" y="285"/>
                  </a:lnTo>
                  <a:lnTo>
                    <a:pt x="86" y="283"/>
                  </a:lnTo>
                  <a:lnTo>
                    <a:pt x="84" y="280"/>
                  </a:lnTo>
                  <a:lnTo>
                    <a:pt x="82" y="278"/>
                  </a:lnTo>
                  <a:lnTo>
                    <a:pt x="82" y="276"/>
                  </a:lnTo>
                  <a:lnTo>
                    <a:pt x="77" y="275"/>
                  </a:lnTo>
                  <a:lnTo>
                    <a:pt x="77" y="275"/>
                  </a:lnTo>
                  <a:lnTo>
                    <a:pt x="73" y="271"/>
                  </a:lnTo>
                  <a:lnTo>
                    <a:pt x="73" y="270"/>
                  </a:lnTo>
                  <a:lnTo>
                    <a:pt x="73" y="268"/>
                  </a:lnTo>
                  <a:lnTo>
                    <a:pt x="77" y="270"/>
                  </a:lnTo>
                  <a:lnTo>
                    <a:pt x="82" y="268"/>
                  </a:lnTo>
                  <a:lnTo>
                    <a:pt x="82" y="270"/>
                  </a:lnTo>
                  <a:lnTo>
                    <a:pt x="86" y="270"/>
                  </a:lnTo>
                  <a:lnTo>
                    <a:pt x="87" y="270"/>
                  </a:lnTo>
                  <a:lnTo>
                    <a:pt x="89" y="268"/>
                  </a:lnTo>
                  <a:lnTo>
                    <a:pt x="91" y="268"/>
                  </a:lnTo>
                  <a:lnTo>
                    <a:pt x="92" y="270"/>
                  </a:lnTo>
                  <a:lnTo>
                    <a:pt x="94" y="268"/>
                  </a:lnTo>
                  <a:lnTo>
                    <a:pt x="92" y="268"/>
                  </a:lnTo>
                  <a:lnTo>
                    <a:pt x="89" y="268"/>
                  </a:lnTo>
                  <a:lnTo>
                    <a:pt x="89" y="268"/>
                  </a:lnTo>
                  <a:lnTo>
                    <a:pt x="89" y="264"/>
                  </a:lnTo>
                  <a:lnTo>
                    <a:pt x="86" y="261"/>
                  </a:lnTo>
                  <a:lnTo>
                    <a:pt x="86" y="259"/>
                  </a:lnTo>
                  <a:lnTo>
                    <a:pt x="87" y="257"/>
                  </a:lnTo>
                  <a:lnTo>
                    <a:pt x="87" y="254"/>
                  </a:lnTo>
                  <a:lnTo>
                    <a:pt x="86" y="254"/>
                  </a:lnTo>
                  <a:lnTo>
                    <a:pt x="87" y="250"/>
                  </a:lnTo>
                  <a:lnTo>
                    <a:pt x="92" y="250"/>
                  </a:lnTo>
                  <a:lnTo>
                    <a:pt x="96" y="249"/>
                  </a:lnTo>
                  <a:lnTo>
                    <a:pt x="98" y="250"/>
                  </a:lnTo>
                  <a:lnTo>
                    <a:pt x="101" y="249"/>
                  </a:lnTo>
                  <a:lnTo>
                    <a:pt x="105" y="249"/>
                  </a:lnTo>
                  <a:lnTo>
                    <a:pt x="105" y="250"/>
                  </a:lnTo>
                  <a:lnTo>
                    <a:pt x="106" y="249"/>
                  </a:lnTo>
                  <a:lnTo>
                    <a:pt x="108" y="249"/>
                  </a:lnTo>
                  <a:lnTo>
                    <a:pt x="112" y="252"/>
                  </a:lnTo>
                  <a:lnTo>
                    <a:pt x="115" y="252"/>
                  </a:lnTo>
                  <a:lnTo>
                    <a:pt x="119" y="250"/>
                  </a:lnTo>
                  <a:lnTo>
                    <a:pt x="119" y="249"/>
                  </a:lnTo>
                  <a:lnTo>
                    <a:pt x="117" y="247"/>
                  </a:lnTo>
                  <a:lnTo>
                    <a:pt x="113" y="247"/>
                  </a:lnTo>
                  <a:lnTo>
                    <a:pt x="110" y="242"/>
                  </a:lnTo>
                  <a:lnTo>
                    <a:pt x="112" y="240"/>
                  </a:lnTo>
                  <a:lnTo>
                    <a:pt x="113" y="238"/>
                  </a:lnTo>
                  <a:lnTo>
                    <a:pt x="115" y="236"/>
                  </a:lnTo>
                  <a:lnTo>
                    <a:pt x="113" y="236"/>
                  </a:lnTo>
                  <a:lnTo>
                    <a:pt x="112" y="235"/>
                  </a:lnTo>
                  <a:lnTo>
                    <a:pt x="112" y="233"/>
                  </a:lnTo>
                  <a:lnTo>
                    <a:pt x="113" y="230"/>
                  </a:lnTo>
                  <a:lnTo>
                    <a:pt x="113" y="228"/>
                  </a:lnTo>
                  <a:lnTo>
                    <a:pt x="112" y="223"/>
                  </a:lnTo>
                  <a:lnTo>
                    <a:pt x="110" y="223"/>
                  </a:lnTo>
                  <a:lnTo>
                    <a:pt x="112" y="219"/>
                  </a:lnTo>
                  <a:lnTo>
                    <a:pt x="112" y="219"/>
                  </a:lnTo>
                  <a:lnTo>
                    <a:pt x="110" y="219"/>
                  </a:lnTo>
                  <a:lnTo>
                    <a:pt x="108" y="217"/>
                  </a:lnTo>
                  <a:lnTo>
                    <a:pt x="108" y="216"/>
                  </a:lnTo>
                  <a:lnTo>
                    <a:pt x="101" y="214"/>
                  </a:lnTo>
                  <a:lnTo>
                    <a:pt x="101" y="214"/>
                  </a:lnTo>
                  <a:lnTo>
                    <a:pt x="98" y="216"/>
                  </a:lnTo>
                  <a:lnTo>
                    <a:pt x="98" y="216"/>
                  </a:lnTo>
                  <a:lnTo>
                    <a:pt x="96" y="217"/>
                  </a:lnTo>
                  <a:lnTo>
                    <a:pt x="96" y="219"/>
                  </a:lnTo>
                  <a:lnTo>
                    <a:pt x="94" y="219"/>
                  </a:lnTo>
                  <a:lnTo>
                    <a:pt x="91" y="219"/>
                  </a:lnTo>
                  <a:lnTo>
                    <a:pt x="91" y="217"/>
                  </a:lnTo>
                  <a:lnTo>
                    <a:pt x="89" y="217"/>
                  </a:lnTo>
                  <a:lnTo>
                    <a:pt x="87" y="219"/>
                  </a:lnTo>
                  <a:lnTo>
                    <a:pt x="86" y="217"/>
                  </a:lnTo>
                  <a:lnTo>
                    <a:pt x="86" y="214"/>
                  </a:lnTo>
                  <a:lnTo>
                    <a:pt x="86" y="214"/>
                  </a:lnTo>
                  <a:lnTo>
                    <a:pt x="84" y="214"/>
                  </a:lnTo>
                  <a:lnTo>
                    <a:pt x="82" y="214"/>
                  </a:lnTo>
                  <a:lnTo>
                    <a:pt x="82" y="214"/>
                  </a:lnTo>
                  <a:lnTo>
                    <a:pt x="77" y="214"/>
                  </a:lnTo>
                  <a:lnTo>
                    <a:pt x="73" y="216"/>
                  </a:lnTo>
                  <a:lnTo>
                    <a:pt x="73" y="219"/>
                  </a:lnTo>
                  <a:lnTo>
                    <a:pt x="73" y="219"/>
                  </a:lnTo>
                  <a:lnTo>
                    <a:pt x="72" y="217"/>
                  </a:lnTo>
                  <a:lnTo>
                    <a:pt x="70" y="217"/>
                  </a:lnTo>
                  <a:lnTo>
                    <a:pt x="68" y="219"/>
                  </a:lnTo>
                  <a:lnTo>
                    <a:pt x="66" y="219"/>
                  </a:lnTo>
                  <a:lnTo>
                    <a:pt x="65" y="223"/>
                  </a:lnTo>
                  <a:lnTo>
                    <a:pt x="61" y="224"/>
                  </a:lnTo>
                  <a:lnTo>
                    <a:pt x="59" y="223"/>
                  </a:lnTo>
                  <a:lnTo>
                    <a:pt x="59" y="228"/>
                  </a:lnTo>
                  <a:lnTo>
                    <a:pt x="58" y="228"/>
                  </a:lnTo>
                  <a:lnTo>
                    <a:pt x="56" y="228"/>
                  </a:lnTo>
                  <a:lnTo>
                    <a:pt x="54" y="228"/>
                  </a:lnTo>
                  <a:lnTo>
                    <a:pt x="54" y="228"/>
                  </a:lnTo>
                  <a:lnTo>
                    <a:pt x="51" y="228"/>
                  </a:lnTo>
                  <a:lnTo>
                    <a:pt x="51" y="228"/>
                  </a:lnTo>
                  <a:lnTo>
                    <a:pt x="51" y="228"/>
                  </a:lnTo>
                  <a:lnTo>
                    <a:pt x="51" y="228"/>
                  </a:lnTo>
                  <a:lnTo>
                    <a:pt x="51" y="22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6" name="Freeform 52">
              <a:extLst>
                <a:ext uri="{FF2B5EF4-FFF2-40B4-BE49-F238E27FC236}">
                  <a16:creationId xmlns:a16="http://schemas.microsoft.com/office/drawing/2014/main" id="{BF28E10F-5FCA-4C12-8B91-B8EE4B84F9AE}"/>
                </a:ext>
              </a:extLst>
            </p:cNvPr>
            <p:cNvSpPr>
              <a:spLocks/>
            </p:cNvSpPr>
            <p:nvPr/>
          </p:nvSpPr>
          <p:spPr bwMode="auto">
            <a:xfrm>
              <a:off x="5868988" y="2903538"/>
              <a:ext cx="441325" cy="269875"/>
            </a:xfrm>
            <a:custGeom>
              <a:avLst/>
              <a:gdLst/>
              <a:ahLst/>
              <a:cxnLst>
                <a:cxn ang="0">
                  <a:pos x="219" y="158"/>
                </a:cxn>
                <a:cxn ang="0">
                  <a:pos x="226" y="149"/>
                </a:cxn>
                <a:cxn ang="0">
                  <a:pos x="223" y="142"/>
                </a:cxn>
                <a:cxn ang="0">
                  <a:pos x="223" y="134"/>
                </a:cxn>
                <a:cxn ang="0">
                  <a:pos x="216" y="130"/>
                </a:cxn>
                <a:cxn ang="0">
                  <a:pos x="209" y="127"/>
                </a:cxn>
                <a:cxn ang="0">
                  <a:pos x="212" y="118"/>
                </a:cxn>
                <a:cxn ang="0">
                  <a:pos x="223" y="118"/>
                </a:cxn>
                <a:cxn ang="0">
                  <a:pos x="232" y="111"/>
                </a:cxn>
                <a:cxn ang="0">
                  <a:pos x="226" y="107"/>
                </a:cxn>
                <a:cxn ang="0">
                  <a:pos x="240" y="104"/>
                </a:cxn>
                <a:cxn ang="0">
                  <a:pos x="235" y="99"/>
                </a:cxn>
                <a:cxn ang="0">
                  <a:pos x="240" y="92"/>
                </a:cxn>
                <a:cxn ang="0">
                  <a:pos x="249" y="88"/>
                </a:cxn>
                <a:cxn ang="0">
                  <a:pos x="256" y="87"/>
                </a:cxn>
                <a:cxn ang="0">
                  <a:pos x="266" y="88"/>
                </a:cxn>
                <a:cxn ang="0">
                  <a:pos x="278" y="85"/>
                </a:cxn>
                <a:cxn ang="0">
                  <a:pos x="268" y="74"/>
                </a:cxn>
                <a:cxn ang="0">
                  <a:pos x="266" y="76"/>
                </a:cxn>
                <a:cxn ang="0">
                  <a:pos x="259" y="80"/>
                </a:cxn>
                <a:cxn ang="0">
                  <a:pos x="249" y="76"/>
                </a:cxn>
                <a:cxn ang="0">
                  <a:pos x="249" y="69"/>
                </a:cxn>
                <a:cxn ang="0">
                  <a:pos x="254" y="57"/>
                </a:cxn>
                <a:cxn ang="0">
                  <a:pos x="247" y="61"/>
                </a:cxn>
                <a:cxn ang="0">
                  <a:pos x="237" y="71"/>
                </a:cxn>
                <a:cxn ang="0">
                  <a:pos x="233" y="76"/>
                </a:cxn>
                <a:cxn ang="0">
                  <a:pos x="223" y="90"/>
                </a:cxn>
                <a:cxn ang="0">
                  <a:pos x="214" y="85"/>
                </a:cxn>
                <a:cxn ang="0">
                  <a:pos x="202" y="85"/>
                </a:cxn>
                <a:cxn ang="0">
                  <a:pos x="192" y="88"/>
                </a:cxn>
                <a:cxn ang="0">
                  <a:pos x="172" y="67"/>
                </a:cxn>
                <a:cxn ang="0">
                  <a:pos x="164" y="45"/>
                </a:cxn>
                <a:cxn ang="0">
                  <a:pos x="152" y="27"/>
                </a:cxn>
                <a:cxn ang="0">
                  <a:pos x="100" y="31"/>
                </a:cxn>
                <a:cxn ang="0">
                  <a:pos x="73" y="19"/>
                </a:cxn>
                <a:cxn ang="0">
                  <a:pos x="0" y="8"/>
                </a:cxn>
                <a:cxn ang="0">
                  <a:pos x="21" y="88"/>
                </a:cxn>
                <a:cxn ang="0">
                  <a:pos x="32" y="85"/>
                </a:cxn>
                <a:cxn ang="0">
                  <a:pos x="27" y="76"/>
                </a:cxn>
                <a:cxn ang="0">
                  <a:pos x="37" y="69"/>
                </a:cxn>
                <a:cxn ang="0">
                  <a:pos x="44" y="62"/>
                </a:cxn>
                <a:cxn ang="0">
                  <a:pos x="49" y="62"/>
                </a:cxn>
                <a:cxn ang="0">
                  <a:pos x="54" y="59"/>
                </a:cxn>
                <a:cxn ang="0">
                  <a:pos x="77" y="71"/>
                </a:cxn>
                <a:cxn ang="0">
                  <a:pos x="89" y="81"/>
                </a:cxn>
                <a:cxn ang="0">
                  <a:pos x="103" y="85"/>
                </a:cxn>
                <a:cxn ang="0">
                  <a:pos x="113" y="92"/>
                </a:cxn>
                <a:cxn ang="0">
                  <a:pos x="120" y="104"/>
                </a:cxn>
                <a:cxn ang="0">
                  <a:pos x="126" y="114"/>
                </a:cxn>
                <a:cxn ang="0">
                  <a:pos x="141" y="127"/>
                </a:cxn>
                <a:cxn ang="0">
                  <a:pos x="167" y="139"/>
                </a:cxn>
                <a:cxn ang="0">
                  <a:pos x="188" y="149"/>
                </a:cxn>
                <a:cxn ang="0">
                  <a:pos x="192" y="149"/>
                </a:cxn>
                <a:cxn ang="0">
                  <a:pos x="200" y="158"/>
                </a:cxn>
                <a:cxn ang="0">
                  <a:pos x="204" y="165"/>
                </a:cxn>
                <a:cxn ang="0">
                  <a:pos x="211" y="170"/>
                </a:cxn>
                <a:cxn ang="0">
                  <a:pos x="216" y="168"/>
                </a:cxn>
                <a:cxn ang="0">
                  <a:pos x="219" y="170"/>
                </a:cxn>
                <a:cxn ang="0">
                  <a:pos x="219" y="170"/>
                </a:cxn>
              </a:cxnLst>
              <a:rect l="0" t="0" r="r" b="b"/>
              <a:pathLst>
                <a:path w="278" h="170">
                  <a:moveTo>
                    <a:pt x="219" y="170"/>
                  </a:moveTo>
                  <a:lnTo>
                    <a:pt x="219" y="158"/>
                  </a:lnTo>
                  <a:lnTo>
                    <a:pt x="226" y="149"/>
                  </a:lnTo>
                  <a:lnTo>
                    <a:pt x="226" y="149"/>
                  </a:lnTo>
                  <a:lnTo>
                    <a:pt x="226" y="144"/>
                  </a:lnTo>
                  <a:lnTo>
                    <a:pt x="223" y="142"/>
                  </a:lnTo>
                  <a:lnTo>
                    <a:pt x="219" y="137"/>
                  </a:lnTo>
                  <a:lnTo>
                    <a:pt x="223" y="134"/>
                  </a:lnTo>
                  <a:lnTo>
                    <a:pt x="219" y="130"/>
                  </a:lnTo>
                  <a:lnTo>
                    <a:pt x="216" y="130"/>
                  </a:lnTo>
                  <a:lnTo>
                    <a:pt x="214" y="132"/>
                  </a:lnTo>
                  <a:lnTo>
                    <a:pt x="209" y="127"/>
                  </a:lnTo>
                  <a:lnTo>
                    <a:pt x="209" y="121"/>
                  </a:lnTo>
                  <a:lnTo>
                    <a:pt x="212" y="118"/>
                  </a:lnTo>
                  <a:lnTo>
                    <a:pt x="219" y="120"/>
                  </a:lnTo>
                  <a:lnTo>
                    <a:pt x="223" y="118"/>
                  </a:lnTo>
                  <a:lnTo>
                    <a:pt x="223" y="114"/>
                  </a:lnTo>
                  <a:lnTo>
                    <a:pt x="232" y="111"/>
                  </a:lnTo>
                  <a:lnTo>
                    <a:pt x="228" y="109"/>
                  </a:lnTo>
                  <a:lnTo>
                    <a:pt x="226" y="107"/>
                  </a:lnTo>
                  <a:lnTo>
                    <a:pt x="235" y="107"/>
                  </a:lnTo>
                  <a:lnTo>
                    <a:pt x="240" y="104"/>
                  </a:lnTo>
                  <a:lnTo>
                    <a:pt x="240" y="99"/>
                  </a:lnTo>
                  <a:lnTo>
                    <a:pt x="235" y="99"/>
                  </a:lnTo>
                  <a:lnTo>
                    <a:pt x="235" y="94"/>
                  </a:lnTo>
                  <a:lnTo>
                    <a:pt x="240" y="92"/>
                  </a:lnTo>
                  <a:lnTo>
                    <a:pt x="245" y="88"/>
                  </a:lnTo>
                  <a:lnTo>
                    <a:pt x="249" y="88"/>
                  </a:lnTo>
                  <a:lnTo>
                    <a:pt x="254" y="85"/>
                  </a:lnTo>
                  <a:lnTo>
                    <a:pt x="256" y="87"/>
                  </a:lnTo>
                  <a:lnTo>
                    <a:pt x="259" y="90"/>
                  </a:lnTo>
                  <a:lnTo>
                    <a:pt x="266" y="88"/>
                  </a:lnTo>
                  <a:lnTo>
                    <a:pt x="273" y="88"/>
                  </a:lnTo>
                  <a:lnTo>
                    <a:pt x="278" y="85"/>
                  </a:lnTo>
                  <a:lnTo>
                    <a:pt x="277" y="80"/>
                  </a:lnTo>
                  <a:lnTo>
                    <a:pt x="268" y="74"/>
                  </a:lnTo>
                  <a:lnTo>
                    <a:pt x="266" y="73"/>
                  </a:lnTo>
                  <a:lnTo>
                    <a:pt x="266" y="76"/>
                  </a:lnTo>
                  <a:lnTo>
                    <a:pt x="263" y="80"/>
                  </a:lnTo>
                  <a:lnTo>
                    <a:pt x="259" y="80"/>
                  </a:lnTo>
                  <a:lnTo>
                    <a:pt x="256" y="76"/>
                  </a:lnTo>
                  <a:lnTo>
                    <a:pt x="249" y="76"/>
                  </a:lnTo>
                  <a:lnTo>
                    <a:pt x="245" y="73"/>
                  </a:lnTo>
                  <a:lnTo>
                    <a:pt x="249" y="69"/>
                  </a:lnTo>
                  <a:lnTo>
                    <a:pt x="254" y="61"/>
                  </a:lnTo>
                  <a:lnTo>
                    <a:pt x="254" y="57"/>
                  </a:lnTo>
                  <a:lnTo>
                    <a:pt x="251" y="57"/>
                  </a:lnTo>
                  <a:lnTo>
                    <a:pt x="247" y="61"/>
                  </a:lnTo>
                  <a:lnTo>
                    <a:pt x="245" y="62"/>
                  </a:lnTo>
                  <a:lnTo>
                    <a:pt x="237" y="71"/>
                  </a:lnTo>
                  <a:lnTo>
                    <a:pt x="235" y="74"/>
                  </a:lnTo>
                  <a:lnTo>
                    <a:pt x="233" y="76"/>
                  </a:lnTo>
                  <a:lnTo>
                    <a:pt x="232" y="85"/>
                  </a:lnTo>
                  <a:lnTo>
                    <a:pt x="223" y="90"/>
                  </a:lnTo>
                  <a:lnTo>
                    <a:pt x="219" y="88"/>
                  </a:lnTo>
                  <a:lnTo>
                    <a:pt x="214" y="85"/>
                  </a:lnTo>
                  <a:lnTo>
                    <a:pt x="207" y="85"/>
                  </a:lnTo>
                  <a:lnTo>
                    <a:pt x="202" y="85"/>
                  </a:lnTo>
                  <a:lnTo>
                    <a:pt x="195" y="88"/>
                  </a:lnTo>
                  <a:lnTo>
                    <a:pt x="192" y="88"/>
                  </a:lnTo>
                  <a:lnTo>
                    <a:pt x="185" y="69"/>
                  </a:lnTo>
                  <a:lnTo>
                    <a:pt x="172" y="67"/>
                  </a:lnTo>
                  <a:lnTo>
                    <a:pt x="172" y="43"/>
                  </a:lnTo>
                  <a:lnTo>
                    <a:pt x="164" y="45"/>
                  </a:lnTo>
                  <a:lnTo>
                    <a:pt x="162" y="34"/>
                  </a:lnTo>
                  <a:lnTo>
                    <a:pt x="152" y="27"/>
                  </a:lnTo>
                  <a:lnTo>
                    <a:pt x="124" y="27"/>
                  </a:lnTo>
                  <a:lnTo>
                    <a:pt x="100" y="31"/>
                  </a:lnTo>
                  <a:lnTo>
                    <a:pt x="86" y="22"/>
                  </a:lnTo>
                  <a:lnTo>
                    <a:pt x="73" y="19"/>
                  </a:lnTo>
                  <a:lnTo>
                    <a:pt x="46" y="0"/>
                  </a:lnTo>
                  <a:lnTo>
                    <a:pt x="0" y="8"/>
                  </a:lnTo>
                  <a:lnTo>
                    <a:pt x="16" y="88"/>
                  </a:lnTo>
                  <a:lnTo>
                    <a:pt x="21" y="88"/>
                  </a:lnTo>
                  <a:lnTo>
                    <a:pt x="30" y="90"/>
                  </a:lnTo>
                  <a:lnTo>
                    <a:pt x="32" y="85"/>
                  </a:lnTo>
                  <a:lnTo>
                    <a:pt x="28" y="81"/>
                  </a:lnTo>
                  <a:lnTo>
                    <a:pt x="27" y="76"/>
                  </a:lnTo>
                  <a:lnTo>
                    <a:pt x="32" y="69"/>
                  </a:lnTo>
                  <a:lnTo>
                    <a:pt x="37" y="69"/>
                  </a:lnTo>
                  <a:lnTo>
                    <a:pt x="39" y="64"/>
                  </a:lnTo>
                  <a:lnTo>
                    <a:pt x="44" y="62"/>
                  </a:lnTo>
                  <a:lnTo>
                    <a:pt x="46" y="64"/>
                  </a:lnTo>
                  <a:lnTo>
                    <a:pt x="49" y="62"/>
                  </a:lnTo>
                  <a:lnTo>
                    <a:pt x="46" y="59"/>
                  </a:lnTo>
                  <a:lnTo>
                    <a:pt x="54" y="59"/>
                  </a:lnTo>
                  <a:lnTo>
                    <a:pt x="67" y="66"/>
                  </a:lnTo>
                  <a:lnTo>
                    <a:pt x="77" y="71"/>
                  </a:lnTo>
                  <a:lnTo>
                    <a:pt x="77" y="76"/>
                  </a:lnTo>
                  <a:lnTo>
                    <a:pt x="89" y="81"/>
                  </a:lnTo>
                  <a:lnTo>
                    <a:pt x="101" y="87"/>
                  </a:lnTo>
                  <a:lnTo>
                    <a:pt x="103" y="85"/>
                  </a:lnTo>
                  <a:lnTo>
                    <a:pt x="105" y="87"/>
                  </a:lnTo>
                  <a:lnTo>
                    <a:pt x="113" y="92"/>
                  </a:lnTo>
                  <a:lnTo>
                    <a:pt x="117" y="102"/>
                  </a:lnTo>
                  <a:lnTo>
                    <a:pt x="120" y="104"/>
                  </a:lnTo>
                  <a:lnTo>
                    <a:pt x="120" y="107"/>
                  </a:lnTo>
                  <a:lnTo>
                    <a:pt x="126" y="114"/>
                  </a:lnTo>
                  <a:lnTo>
                    <a:pt x="131" y="118"/>
                  </a:lnTo>
                  <a:lnTo>
                    <a:pt x="141" y="127"/>
                  </a:lnTo>
                  <a:lnTo>
                    <a:pt x="153" y="134"/>
                  </a:lnTo>
                  <a:lnTo>
                    <a:pt x="167" y="139"/>
                  </a:lnTo>
                  <a:lnTo>
                    <a:pt x="178" y="147"/>
                  </a:lnTo>
                  <a:lnTo>
                    <a:pt x="188" y="149"/>
                  </a:lnTo>
                  <a:lnTo>
                    <a:pt x="190" y="149"/>
                  </a:lnTo>
                  <a:lnTo>
                    <a:pt x="192" y="149"/>
                  </a:lnTo>
                  <a:lnTo>
                    <a:pt x="200" y="154"/>
                  </a:lnTo>
                  <a:lnTo>
                    <a:pt x="200" y="158"/>
                  </a:lnTo>
                  <a:lnTo>
                    <a:pt x="200" y="167"/>
                  </a:lnTo>
                  <a:lnTo>
                    <a:pt x="204" y="165"/>
                  </a:lnTo>
                  <a:lnTo>
                    <a:pt x="207" y="167"/>
                  </a:lnTo>
                  <a:lnTo>
                    <a:pt x="211" y="170"/>
                  </a:lnTo>
                  <a:lnTo>
                    <a:pt x="212" y="170"/>
                  </a:lnTo>
                  <a:lnTo>
                    <a:pt x="216" y="168"/>
                  </a:lnTo>
                  <a:lnTo>
                    <a:pt x="219" y="168"/>
                  </a:lnTo>
                  <a:lnTo>
                    <a:pt x="219" y="170"/>
                  </a:lnTo>
                  <a:lnTo>
                    <a:pt x="219" y="170"/>
                  </a:lnTo>
                  <a:lnTo>
                    <a:pt x="219" y="1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7" name="Freeform 53">
              <a:extLst>
                <a:ext uri="{FF2B5EF4-FFF2-40B4-BE49-F238E27FC236}">
                  <a16:creationId xmlns:a16="http://schemas.microsoft.com/office/drawing/2014/main" id="{2F4D6189-2368-4E1F-8B0A-FF964062854D}"/>
                </a:ext>
              </a:extLst>
            </p:cNvPr>
            <p:cNvSpPr>
              <a:spLocks/>
            </p:cNvSpPr>
            <p:nvPr/>
          </p:nvSpPr>
          <p:spPr bwMode="auto">
            <a:xfrm>
              <a:off x="5792788" y="2994026"/>
              <a:ext cx="393700" cy="249238"/>
            </a:xfrm>
            <a:custGeom>
              <a:avLst/>
              <a:gdLst/>
              <a:ahLst/>
              <a:cxnLst>
                <a:cxn ang="0">
                  <a:pos x="248" y="97"/>
                </a:cxn>
                <a:cxn ang="0">
                  <a:pos x="236" y="92"/>
                </a:cxn>
                <a:cxn ang="0">
                  <a:pos x="201" y="77"/>
                </a:cxn>
                <a:cxn ang="0">
                  <a:pos x="174" y="56"/>
                </a:cxn>
                <a:cxn ang="0">
                  <a:pos x="165" y="45"/>
                </a:cxn>
                <a:cxn ang="0">
                  <a:pos x="151" y="28"/>
                </a:cxn>
                <a:cxn ang="0">
                  <a:pos x="125" y="17"/>
                </a:cxn>
                <a:cxn ang="0">
                  <a:pos x="102" y="0"/>
                </a:cxn>
                <a:cxn ang="0">
                  <a:pos x="94" y="5"/>
                </a:cxn>
                <a:cxn ang="0">
                  <a:pos x="85" y="10"/>
                </a:cxn>
                <a:cxn ang="0">
                  <a:pos x="76" y="24"/>
                </a:cxn>
                <a:cxn ang="0">
                  <a:pos x="69" y="31"/>
                </a:cxn>
                <a:cxn ang="0">
                  <a:pos x="42" y="21"/>
                </a:cxn>
                <a:cxn ang="0">
                  <a:pos x="10" y="14"/>
                </a:cxn>
                <a:cxn ang="0">
                  <a:pos x="2" y="28"/>
                </a:cxn>
                <a:cxn ang="0">
                  <a:pos x="7" y="37"/>
                </a:cxn>
                <a:cxn ang="0">
                  <a:pos x="10" y="50"/>
                </a:cxn>
                <a:cxn ang="0">
                  <a:pos x="12" y="64"/>
                </a:cxn>
                <a:cxn ang="0">
                  <a:pos x="15" y="64"/>
                </a:cxn>
                <a:cxn ang="0">
                  <a:pos x="24" y="64"/>
                </a:cxn>
                <a:cxn ang="0">
                  <a:pos x="26" y="73"/>
                </a:cxn>
                <a:cxn ang="0">
                  <a:pos x="29" y="75"/>
                </a:cxn>
                <a:cxn ang="0">
                  <a:pos x="22" y="73"/>
                </a:cxn>
                <a:cxn ang="0">
                  <a:pos x="22" y="82"/>
                </a:cxn>
                <a:cxn ang="0">
                  <a:pos x="24" y="78"/>
                </a:cxn>
                <a:cxn ang="0">
                  <a:pos x="33" y="85"/>
                </a:cxn>
                <a:cxn ang="0">
                  <a:pos x="36" y="96"/>
                </a:cxn>
                <a:cxn ang="0">
                  <a:pos x="42" y="120"/>
                </a:cxn>
                <a:cxn ang="0">
                  <a:pos x="54" y="111"/>
                </a:cxn>
                <a:cxn ang="0">
                  <a:pos x="66" y="104"/>
                </a:cxn>
                <a:cxn ang="0">
                  <a:pos x="80" y="97"/>
                </a:cxn>
                <a:cxn ang="0">
                  <a:pos x="92" y="101"/>
                </a:cxn>
                <a:cxn ang="0">
                  <a:pos x="113" y="111"/>
                </a:cxn>
                <a:cxn ang="0">
                  <a:pos x="125" y="113"/>
                </a:cxn>
                <a:cxn ang="0">
                  <a:pos x="130" y="120"/>
                </a:cxn>
                <a:cxn ang="0">
                  <a:pos x="149" y="129"/>
                </a:cxn>
                <a:cxn ang="0">
                  <a:pos x="163" y="137"/>
                </a:cxn>
                <a:cxn ang="0">
                  <a:pos x="163" y="148"/>
                </a:cxn>
                <a:cxn ang="0">
                  <a:pos x="170" y="150"/>
                </a:cxn>
                <a:cxn ang="0">
                  <a:pos x="179" y="150"/>
                </a:cxn>
                <a:cxn ang="0">
                  <a:pos x="186" y="157"/>
                </a:cxn>
                <a:cxn ang="0">
                  <a:pos x="193" y="155"/>
                </a:cxn>
                <a:cxn ang="0">
                  <a:pos x="198" y="148"/>
                </a:cxn>
                <a:cxn ang="0">
                  <a:pos x="210" y="141"/>
                </a:cxn>
                <a:cxn ang="0">
                  <a:pos x="217" y="136"/>
                </a:cxn>
                <a:cxn ang="0">
                  <a:pos x="220" y="124"/>
                </a:cxn>
                <a:cxn ang="0">
                  <a:pos x="220" y="117"/>
                </a:cxn>
                <a:cxn ang="0">
                  <a:pos x="227" y="113"/>
                </a:cxn>
                <a:cxn ang="0">
                  <a:pos x="240" y="108"/>
                </a:cxn>
                <a:cxn ang="0">
                  <a:pos x="248" y="110"/>
                </a:cxn>
                <a:cxn ang="0">
                  <a:pos x="248" y="110"/>
                </a:cxn>
              </a:cxnLst>
              <a:rect l="0" t="0" r="r" b="b"/>
              <a:pathLst>
                <a:path w="248" h="157">
                  <a:moveTo>
                    <a:pt x="248" y="110"/>
                  </a:moveTo>
                  <a:lnTo>
                    <a:pt x="248" y="101"/>
                  </a:lnTo>
                  <a:lnTo>
                    <a:pt x="248" y="97"/>
                  </a:lnTo>
                  <a:lnTo>
                    <a:pt x="241" y="92"/>
                  </a:lnTo>
                  <a:lnTo>
                    <a:pt x="238" y="92"/>
                  </a:lnTo>
                  <a:lnTo>
                    <a:pt x="236" y="92"/>
                  </a:lnTo>
                  <a:lnTo>
                    <a:pt x="226" y="90"/>
                  </a:lnTo>
                  <a:lnTo>
                    <a:pt x="215" y="82"/>
                  </a:lnTo>
                  <a:lnTo>
                    <a:pt x="201" y="77"/>
                  </a:lnTo>
                  <a:lnTo>
                    <a:pt x="189" y="68"/>
                  </a:lnTo>
                  <a:lnTo>
                    <a:pt x="179" y="61"/>
                  </a:lnTo>
                  <a:lnTo>
                    <a:pt x="174" y="56"/>
                  </a:lnTo>
                  <a:lnTo>
                    <a:pt x="170" y="50"/>
                  </a:lnTo>
                  <a:lnTo>
                    <a:pt x="170" y="45"/>
                  </a:lnTo>
                  <a:lnTo>
                    <a:pt x="165" y="45"/>
                  </a:lnTo>
                  <a:lnTo>
                    <a:pt x="161" y="33"/>
                  </a:lnTo>
                  <a:lnTo>
                    <a:pt x="153" y="28"/>
                  </a:lnTo>
                  <a:lnTo>
                    <a:pt x="151" y="28"/>
                  </a:lnTo>
                  <a:lnTo>
                    <a:pt x="149" y="28"/>
                  </a:lnTo>
                  <a:lnTo>
                    <a:pt x="137" y="24"/>
                  </a:lnTo>
                  <a:lnTo>
                    <a:pt x="125" y="17"/>
                  </a:lnTo>
                  <a:lnTo>
                    <a:pt x="125" y="12"/>
                  </a:lnTo>
                  <a:lnTo>
                    <a:pt x="115" y="9"/>
                  </a:lnTo>
                  <a:lnTo>
                    <a:pt x="102" y="0"/>
                  </a:lnTo>
                  <a:lnTo>
                    <a:pt x="94" y="0"/>
                  </a:lnTo>
                  <a:lnTo>
                    <a:pt x="97" y="5"/>
                  </a:lnTo>
                  <a:lnTo>
                    <a:pt x="94" y="5"/>
                  </a:lnTo>
                  <a:lnTo>
                    <a:pt x="92" y="5"/>
                  </a:lnTo>
                  <a:lnTo>
                    <a:pt x="87" y="5"/>
                  </a:lnTo>
                  <a:lnTo>
                    <a:pt x="85" y="10"/>
                  </a:lnTo>
                  <a:lnTo>
                    <a:pt x="80" y="10"/>
                  </a:lnTo>
                  <a:lnTo>
                    <a:pt x="75" y="19"/>
                  </a:lnTo>
                  <a:lnTo>
                    <a:pt x="76" y="24"/>
                  </a:lnTo>
                  <a:lnTo>
                    <a:pt x="80" y="28"/>
                  </a:lnTo>
                  <a:lnTo>
                    <a:pt x="78" y="33"/>
                  </a:lnTo>
                  <a:lnTo>
                    <a:pt x="69" y="31"/>
                  </a:lnTo>
                  <a:lnTo>
                    <a:pt x="61" y="31"/>
                  </a:lnTo>
                  <a:lnTo>
                    <a:pt x="54" y="33"/>
                  </a:lnTo>
                  <a:lnTo>
                    <a:pt x="42" y="21"/>
                  </a:lnTo>
                  <a:lnTo>
                    <a:pt x="29" y="12"/>
                  </a:lnTo>
                  <a:lnTo>
                    <a:pt x="19" y="10"/>
                  </a:lnTo>
                  <a:lnTo>
                    <a:pt x="10" y="14"/>
                  </a:lnTo>
                  <a:lnTo>
                    <a:pt x="0" y="24"/>
                  </a:lnTo>
                  <a:lnTo>
                    <a:pt x="0" y="26"/>
                  </a:lnTo>
                  <a:lnTo>
                    <a:pt x="2" y="28"/>
                  </a:lnTo>
                  <a:lnTo>
                    <a:pt x="5" y="31"/>
                  </a:lnTo>
                  <a:lnTo>
                    <a:pt x="5" y="33"/>
                  </a:lnTo>
                  <a:lnTo>
                    <a:pt x="7" y="37"/>
                  </a:lnTo>
                  <a:lnTo>
                    <a:pt x="10" y="42"/>
                  </a:lnTo>
                  <a:lnTo>
                    <a:pt x="10" y="47"/>
                  </a:lnTo>
                  <a:lnTo>
                    <a:pt x="10" y="50"/>
                  </a:lnTo>
                  <a:lnTo>
                    <a:pt x="10" y="59"/>
                  </a:lnTo>
                  <a:lnTo>
                    <a:pt x="10" y="63"/>
                  </a:lnTo>
                  <a:lnTo>
                    <a:pt x="12" y="64"/>
                  </a:lnTo>
                  <a:lnTo>
                    <a:pt x="17" y="70"/>
                  </a:lnTo>
                  <a:lnTo>
                    <a:pt x="17" y="68"/>
                  </a:lnTo>
                  <a:lnTo>
                    <a:pt x="15" y="64"/>
                  </a:lnTo>
                  <a:lnTo>
                    <a:pt x="17" y="64"/>
                  </a:lnTo>
                  <a:lnTo>
                    <a:pt x="22" y="64"/>
                  </a:lnTo>
                  <a:lnTo>
                    <a:pt x="24" y="64"/>
                  </a:lnTo>
                  <a:lnTo>
                    <a:pt x="26" y="64"/>
                  </a:lnTo>
                  <a:lnTo>
                    <a:pt x="24" y="68"/>
                  </a:lnTo>
                  <a:lnTo>
                    <a:pt x="26" y="73"/>
                  </a:lnTo>
                  <a:lnTo>
                    <a:pt x="28" y="70"/>
                  </a:lnTo>
                  <a:lnTo>
                    <a:pt x="29" y="73"/>
                  </a:lnTo>
                  <a:lnTo>
                    <a:pt x="29" y="75"/>
                  </a:lnTo>
                  <a:lnTo>
                    <a:pt x="26" y="75"/>
                  </a:lnTo>
                  <a:lnTo>
                    <a:pt x="24" y="75"/>
                  </a:lnTo>
                  <a:lnTo>
                    <a:pt x="22" y="73"/>
                  </a:lnTo>
                  <a:lnTo>
                    <a:pt x="19" y="77"/>
                  </a:lnTo>
                  <a:lnTo>
                    <a:pt x="19" y="78"/>
                  </a:lnTo>
                  <a:lnTo>
                    <a:pt x="22" y="82"/>
                  </a:lnTo>
                  <a:lnTo>
                    <a:pt x="21" y="78"/>
                  </a:lnTo>
                  <a:lnTo>
                    <a:pt x="24" y="77"/>
                  </a:lnTo>
                  <a:lnTo>
                    <a:pt x="24" y="78"/>
                  </a:lnTo>
                  <a:lnTo>
                    <a:pt x="28" y="78"/>
                  </a:lnTo>
                  <a:lnTo>
                    <a:pt x="29" y="82"/>
                  </a:lnTo>
                  <a:lnTo>
                    <a:pt x="33" y="85"/>
                  </a:lnTo>
                  <a:lnTo>
                    <a:pt x="36" y="89"/>
                  </a:lnTo>
                  <a:lnTo>
                    <a:pt x="36" y="92"/>
                  </a:lnTo>
                  <a:lnTo>
                    <a:pt x="36" y="96"/>
                  </a:lnTo>
                  <a:lnTo>
                    <a:pt x="36" y="104"/>
                  </a:lnTo>
                  <a:lnTo>
                    <a:pt x="38" y="111"/>
                  </a:lnTo>
                  <a:lnTo>
                    <a:pt x="42" y="120"/>
                  </a:lnTo>
                  <a:lnTo>
                    <a:pt x="43" y="118"/>
                  </a:lnTo>
                  <a:lnTo>
                    <a:pt x="52" y="117"/>
                  </a:lnTo>
                  <a:lnTo>
                    <a:pt x="54" y="111"/>
                  </a:lnTo>
                  <a:lnTo>
                    <a:pt x="55" y="110"/>
                  </a:lnTo>
                  <a:lnTo>
                    <a:pt x="59" y="110"/>
                  </a:lnTo>
                  <a:lnTo>
                    <a:pt x="66" y="104"/>
                  </a:lnTo>
                  <a:lnTo>
                    <a:pt x="73" y="101"/>
                  </a:lnTo>
                  <a:lnTo>
                    <a:pt x="80" y="104"/>
                  </a:lnTo>
                  <a:lnTo>
                    <a:pt x="80" y="97"/>
                  </a:lnTo>
                  <a:lnTo>
                    <a:pt x="83" y="97"/>
                  </a:lnTo>
                  <a:lnTo>
                    <a:pt x="88" y="101"/>
                  </a:lnTo>
                  <a:lnTo>
                    <a:pt x="92" y="101"/>
                  </a:lnTo>
                  <a:lnTo>
                    <a:pt x="97" y="104"/>
                  </a:lnTo>
                  <a:lnTo>
                    <a:pt x="102" y="106"/>
                  </a:lnTo>
                  <a:lnTo>
                    <a:pt x="113" y="111"/>
                  </a:lnTo>
                  <a:lnTo>
                    <a:pt x="116" y="111"/>
                  </a:lnTo>
                  <a:lnTo>
                    <a:pt x="118" y="110"/>
                  </a:lnTo>
                  <a:lnTo>
                    <a:pt x="125" y="113"/>
                  </a:lnTo>
                  <a:lnTo>
                    <a:pt x="130" y="113"/>
                  </a:lnTo>
                  <a:lnTo>
                    <a:pt x="130" y="118"/>
                  </a:lnTo>
                  <a:lnTo>
                    <a:pt x="130" y="120"/>
                  </a:lnTo>
                  <a:lnTo>
                    <a:pt x="134" y="120"/>
                  </a:lnTo>
                  <a:lnTo>
                    <a:pt x="141" y="120"/>
                  </a:lnTo>
                  <a:lnTo>
                    <a:pt x="149" y="129"/>
                  </a:lnTo>
                  <a:lnTo>
                    <a:pt x="156" y="132"/>
                  </a:lnTo>
                  <a:lnTo>
                    <a:pt x="161" y="132"/>
                  </a:lnTo>
                  <a:lnTo>
                    <a:pt x="163" y="137"/>
                  </a:lnTo>
                  <a:lnTo>
                    <a:pt x="161" y="139"/>
                  </a:lnTo>
                  <a:lnTo>
                    <a:pt x="163" y="144"/>
                  </a:lnTo>
                  <a:lnTo>
                    <a:pt x="163" y="148"/>
                  </a:lnTo>
                  <a:lnTo>
                    <a:pt x="163" y="150"/>
                  </a:lnTo>
                  <a:lnTo>
                    <a:pt x="165" y="150"/>
                  </a:lnTo>
                  <a:lnTo>
                    <a:pt x="170" y="150"/>
                  </a:lnTo>
                  <a:lnTo>
                    <a:pt x="172" y="151"/>
                  </a:lnTo>
                  <a:lnTo>
                    <a:pt x="175" y="151"/>
                  </a:lnTo>
                  <a:lnTo>
                    <a:pt x="179" y="150"/>
                  </a:lnTo>
                  <a:lnTo>
                    <a:pt x="181" y="150"/>
                  </a:lnTo>
                  <a:lnTo>
                    <a:pt x="186" y="151"/>
                  </a:lnTo>
                  <a:lnTo>
                    <a:pt x="186" y="157"/>
                  </a:lnTo>
                  <a:lnTo>
                    <a:pt x="187" y="157"/>
                  </a:lnTo>
                  <a:lnTo>
                    <a:pt x="189" y="155"/>
                  </a:lnTo>
                  <a:lnTo>
                    <a:pt x="193" y="155"/>
                  </a:lnTo>
                  <a:lnTo>
                    <a:pt x="198" y="151"/>
                  </a:lnTo>
                  <a:lnTo>
                    <a:pt x="198" y="150"/>
                  </a:lnTo>
                  <a:lnTo>
                    <a:pt x="198" y="148"/>
                  </a:lnTo>
                  <a:lnTo>
                    <a:pt x="198" y="144"/>
                  </a:lnTo>
                  <a:lnTo>
                    <a:pt x="203" y="141"/>
                  </a:lnTo>
                  <a:lnTo>
                    <a:pt x="210" y="141"/>
                  </a:lnTo>
                  <a:lnTo>
                    <a:pt x="212" y="139"/>
                  </a:lnTo>
                  <a:lnTo>
                    <a:pt x="214" y="136"/>
                  </a:lnTo>
                  <a:lnTo>
                    <a:pt x="217" y="136"/>
                  </a:lnTo>
                  <a:lnTo>
                    <a:pt x="217" y="132"/>
                  </a:lnTo>
                  <a:lnTo>
                    <a:pt x="217" y="129"/>
                  </a:lnTo>
                  <a:lnTo>
                    <a:pt x="220" y="124"/>
                  </a:lnTo>
                  <a:lnTo>
                    <a:pt x="220" y="120"/>
                  </a:lnTo>
                  <a:lnTo>
                    <a:pt x="220" y="118"/>
                  </a:lnTo>
                  <a:lnTo>
                    <a:pt x="220" y="117"/>
                  </a:lnTo>
                  <a:lnTo>
                    <a:pt x="220" y="115"/>
                  </a:lnTo>
                  <a:lnTo>
                    <a:pt x="222" y="113"/>
                  </a:lnTo>
                  <a:lnTo>
                    <a:pt x="227" y="113"/>
                  </a:lnTo>
                  <a:lnTo>
                    <a:pt x="229" y="113"/>
                  </a:lnTo>
                  <a:lnTo>
                    <a:pt x="234" y="108"/>
                  </a:lnTo>
                  <a:lnTo>
                    <a:pt x="240" y="108"/>
                  </a:lnTo>
                  <a:lnTo>
                    <a:pt x="243" y="110"/>
                  </a:lnTo>
                  <a:lnTo>
                    <a:pt x="245" y="108"/>
                  </a:lnTo>
                  <a:lnTo>
                    <a:pt x="248" y="110"/>
                  </a:lnTo>
                  <a:lnTo>
                    <a:pt x="248" y="110"/>
                  </a:lnTo>
                  <a:lnTo>
                    <a:pt x="248" y="110"/>
                  </a:lnTo>
                  <a:lnTo>
                    <a:pt x="248"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8" name="Freeform 54">
              <a:extLst>
                <a:ext uri="{FF2B5EF4-FFF2-40B4-BE49-F238E27FC236}">
                  <a16:creationId xmlns:a16="http://schemas.microsoft.com/office/drawing/2014/main" id="{18AEF365-9953-4172-9A87-2D9391C6AF15}"/>
                </a:ext>
              </a:extLst>
            </p:cNvPr>
            <p:cNvSpPr>
              <a:spLocks/>
            </p:cNvSpPr>
            <p:nvPr/>
          </p:nvSpPr>
          <p:spPr bwMode="auto">
            <a:xfrm>
              <a:off x="6070600" y="3181351"/>
              <a:ext cx="369888" cy="417513"/>
            </a:xfrm>
            <a:custGeom>
              <a:avLst/>
              <a:gdLst/>
              <a:ahLst/>
              <a:cxnLst>
                <a:cxn ang="0">
                  <a:pos x="141" y="254"/>
                </a:cxn>
                <a:cxn ang="0">
                  <a:pos x="158" y="249"/>
                </a:cxn>
                <a:cxn ang="0">
                  <a:pos x="171" y="247"/>
                </a:cxn>
                <a:cxn ang="0">
                  <a:pos x="178" y="244"/>
                </a:cxn>
                <a:cxn ang="0">
                  <a:pos x="171" y="223"/>
                </a:cxn>
                <a:cxn ang="0">
                  <a:pos x="158" y="212"/>
                </a:cxn>
                <a:cxn ang="0">
                  <a:pos x="151" y="204"/>
                </a:cxn>
                <a:cxn ang="0">
                  <a:pos x="148" y="192"/>
                </a:cxn>
                <a:cxn ang="0">
                  <a:pos x="158" y="178"/>
                </a:cxn>
                <a:cxn ang="0">
                  <a:pos x="167" y="183"/>
                </a:cxn>
                <a:cxn ang="0">
                  <a:pos x="191" y="162"/>
                </a:cxn>
                <a:cxn ang="0">
                  <a:pos x="207" y="141"/>
                </a:cxn>
                <a:cxn ang="0">
                  <a:pos x="211" y="131"/>
                </a:cxn>
                <a:cxn ang="0">
                  <a:pos x="219" y="110"/>
                </a:cxn>
                <a:cxn ang="0">
                  <a:pos x="224" y="96"/>
                </a:cxn>
                <a:cxn ang="0">
                  <a:pos x="233" y="85"/>
                </a:cxn>
                <a:cxn ang="0">
                  <a:pos x="218" y="80"/>
                </a:cxn>
                <a:cxn ang="0">
                  <a:pos x="200" y="66"/>
                </a:cxn>
                <a:cxn ang="0">
                  <a:pos x="197" y="44"/>
                </a:cxn>
                <a:cxn ang="0">
                  <a:pos x="197" y="32"/>
                </a:cxn>
                <a:cxn ang="0">
                  <a:pos x="183" y="18"/>
                </a:cxn>
                <a:cxn ang="0">
                  <a:pos x="174" y="11"/>
                </a:cxn>
                <a:cxn ang="0">
                  <a:pos x="172" y="0"/>
                </a:cxn>
                <a:cxn ang="0">
                  <a:pos x="155" y="11"/>
                </a:cxn>
                <a:cxn ang="0">
                  <a:pos x="151" y="44"/>
                </a:cxn>
                <a:cxn ang="0">
                  <a:pos x="145" y="58"/>
                </a:cxn>
                <a:cxn ang="0">
                  <a:pos x="141" y="65"/>
                </a:cxn>
                <a:cxn ang="0">
                  <a:pos x="134" y="77"/>
                </a:cxn>
                <a:cxn ang="0">
                  <a:pos x="131" y="91"/>
                </a:cxn>
                <a:cxn ang="0">
                  <a:pos x="125" y="101"/>
                </a:cxn>
                <a:cxn ang="0">
                  <a:pos x="117" y="103"/>
                </a:cxn>
                <a:cxn ang="0">
                  <a:pos x="108" y="110"/>
                </a:cxn>
                <a:cxn ang="0">
                  <a:pos x="94" y="117"/>
                </a:cxn>
                <a:cxn ang="0">
                  <a:pos x="85" y="124"/>
                </a:cxn>
                <a:cxn ang="0">
                  <a:pos x="89" y="141"/>
                </a:cxn>
                <a:cxn ang="0">
                  <a:pos x="70" y="148"/>
                </a:cxn>
                <a:cxn ang="0">
                  <a:pos x="47" y="152"/>
                </a:cxn>
                <a:cxn ang="0">
                  <a:pos x="0" y="146"/>
                </a:cxn>
                <a:cxn ang="0">
                  <a:pos x="19" y="169"/>
                </a:cxn>
                <a:cxn ang="0">
                  <a:pos x="30" y="174"/>
                </a:cxn>
                <a:cxn ang="0">
                  <a:pos x="37" y="192"/>
                </a:cxn>
                <a:cxn ang="0">
                  <a:pos x="45" y="204"/>
                </a:cxn>
                <a:cxn ang="0">
                  <a:pos x="30" y="207"/>
                </a:cxn>
                <a:cxn ang="0">
                  <a:pos x="19" y="219"/>
                </a:cxn>
                <a:cxn ang="0">
                  <a:pos x="23" y="232"/>
                </a:cxn>
                <a:cxn ang="0">
                  <a:pos x="33" y="232"/>
                </a:cxn>
                <a:cxn ang="0">
                  <a:pos x="42" y="232"/>
                </a:cxn>
                <a:cxn ang="0">
                  <a:pos x="49" y="232"/>
                </a:cxn>
                <a:cxn ang="0">
                  <a:pos x="58" y="232"/>
                </a:cxn>
                <a:cxn ang="0">
                  <a:pos x="63" y="232"/>
                </a:cxn>
                <a:cxn ang="0">
                  <a:pos x="77" y="228"/>
                </a:cxn>
                <a:cxn ang="0">
                  <a:pos x="85" y="228"/>
                </a:cxn>
                <a:cxn ang="0">
                  <a:pos x="101" y="228"/>
                </a:cxn>
                <a:cxn ang="0">
                  <a:pos x="105" y="237"/>
                </a:cxn>
                <a:cxn ang="0">
                  <a:pos x="112" y="237"/>
                </a:cxn>
                <a:cxn ang="0">
                  <a:pos x="117" y="251"/>
                </a:cxn>
                <a:cxn ang="0">
                  <a:pos x="118" y="256"/>
                </a:cxn>
                <a:cxn ang="0">
                  <a:pos x="132" y="261"/>
                </a:cxn>
                <a:cxn ang="0">
                  <a:pos x="136" y="261"/>
                </a:cxn>
              </a:cxnLst>
              <a:rect l="0" t="0" r="r" b="b"/>
              <a:pathLst>
                <a:path w="233" h="263">
                  <a:moveTo>
                    <a:pt x="136" y="261"/>
                  </a:moveTo>
                  <a:lnTo>
                    <a:pt x="136" y="256"/>
                  </a:lnTo>
                  <a:lnTo>
                    <a:pt x="139" y="256"/>
                  </a:lnTo>
                  <a:lnTo>
                    <a:pt x="141" y="254"/>
                  </a:lnTo>
                  <a:lnTo>
                    <a:pt x="143" y="251"/>
                  </a:lnTo>
                  <a:lnTo>
                    <a:pt x="145" y="251"/>
                  </a:lnTo>
                  <a:lnTo>
                    <a:pt x="148" y="249"/>
                  </a:lnTo>
                  <a:lnTo>
                    <a:pt x="158" y="249"/>
                  </a:lnTo>
                  <a:lnTo>
                    <a:pt x="167" y="247"/>
                  </a:lnTo>
                  <a:lnTo>
                    <a:pt x="167" y="245"/>
                  </a:lnTo>
                  <a:lnTo>
                    <a:pt x="171" y="244"/>
                  </a:lnTo>
                  <a:lnTo>
                    <a:pt x="171" y="247"/>
                  </a:lnTo>
                  <a:lnTo>
                    <a:pt x="171" y="249"/>
                  </a:lnTo>
                  <a:lnTo>
                    <a:pt x="176" y="247"/>
                  </a:lnTo>
                  <a:lnTo>
                    <a:pt x="179" y="245"/>
                  </a:lnTo>
                  <a:lnTo>
                    <a:pt x="178" y="244"/>
                  </a:lnTo>
                  <a:lnTo>
                    <a:pt x="178" y="240"/>
                  </a:lnTo>
                  <a:lnTo>
                    <a:pt x="174" y="232"/>
                  </a:lnTo>
                  <a:lnTo>
                    <a:pt x="171" y="226"/>
                  </a:lnTo>
                  <a:lnTo>
                    <a:pt x="171" y="223"/>
                  </a:lnTo>
                  <a:lnTo>
                    <a:pt x="171" y="221"/>
                  </a:lnTo>
                  <a:lnTo>
                    <a:pt x="167" y="223"/>
                  </a:lnTo>
                  <a:lnTo>
                    <a:pt x="158" y="218"/>
                  </a:lnTo>
                  <a:lnTo>
                    <a:pt x="158" y="212"/>
                  </a:lnTo>
                  <a:lnTo>
                    <a:pt x="158" y="207"/>
                  </a:lnTo>
                  <a:lnTo>
                    <a:pt x="158" y="204"/>
                  </a:lnTo>
                  <a:lnTo>
                    <a:pt x="155" y="204"/>
                  </a:lnTo>
                  <a:lnTo>
                    <a:pt x="151" y="204"/>
                  </a:lnTo>
                  <a:lnTo>
                    <a:pt x="148" y="200"/>
                  </a:lnTo>
                  <a:lnTo>
                    <a:pt x="145" y="204"/>
                  </a:lnTo>
                  <a:lnTo>
                    <a:pt x="145" y="197"/>
                  </a:lnTo>
                  <a:lnTo>
                    <a:pt x="148" y="192"/>
                  </a:lnTo>
                  <a:lnTo>
                    <a:pt x="150" y="190"/>
                  </a:lnTo>
                  <a:lnTo>
                    <a:pt x="155" y="183"/>
                  </a:lnTo>
                  <a:lnTo>
                    <a:pt x="157" y="179"/>
                  </a:lnTo>
                  <a:lnTo>
                    <a:pt x="158" y="178"/>
                  </a:lnTo>
                  <a:lnTo>
                    <a:pt x="162" y="176"/>
                  </a:lnTo>
                  <a:lnTo>
                    <a:pt x="165" y="178"/>
                  </a:lnTo>
                  <a:lnTo>
                    <a:pt x="167" y="181"/>
                  </a:lnTo>
                  <a:lnTo>
                    <a:pt x="167" y="183"/>
                  </a:lnTo>
                  <a:lnTo>
                    <a:pt x="174" y="179"/>
                  </a:lnTo>
                  <a:lnTo>
                    <a:pt x="184" y="178"/>
                  </a:lnTo>
                  <a:lnTo>
                    <a:pt x="188" y="172"/>
                  </a:lnTo>
                  <a:lnTo>
                    <a:pt x="191" y="162"/>
                  </a:lnTo>
                  <a:lnTo>
                    <a:pt x="200" y="157"/>
                  </a:lnTo>
                  <a:lnTo>
                    <a:pt x="202" y="153"/>
                  </a:lnTo>
                  <a:lnTo>
                    <a:pt x="202" y="146"/>
                  </a:lnTo>
                  <a:lnTo>
                    <a:pt x="207" y="141"/>
                  </a:lnTo>
                  <a:lnTo>
                    <a:pt x="211" y="139"/>
                  </a:lnTo>
                  <a:lnTo>
                    <a:pt x="212" y="136"/>
                  </a:lnTo>
                  <a:lnTo>
                    <a:pt x="212" y="132"/>
                  </a:lnTo>
                  <a:lnTo>
                    <a:pt x="211" y="131"/>
                  </a:lnTo>
                  <a:lnTo>
                    <a:pt x="216" y="125"/>
                  </a:lnTo>
                  <a:lnTo>
                    <a:pt x="219" y="122"/>
                  </a:lnTo>
                  <a:lnTo>
                    <a:pt x="219" y="119"/>
                  </a:lnTo>
                  <a:lnTo>
                    <a:pt x="219" y="110"/>
                  </a:lnTo>
                  <a:lnTo>
                    <a:pt x="218" y="105"/>
                  </a:lnTo>
                  <a:lnTo>
                    <a:pt x="218" y="103"/>
                  </a:lnTo>
                  <a:lnTo>
                    <a:pt x="221" y="98"/>
                  </a:lnTo>
                  <a:lnTo>
                    <a:pt x="224" y="96"/>
                  </a:lnTo>
                  <a:lnTo>
                    <a:pt x="230" y="94"/>
                  </a:lnTo>
                  <a:lnTo>
                    <a:pt x="230" y="94"/>
                  </a:lnTo>
                  <a:lnTo>
                    <a:pt x="233" y="91"/>
                  </a:lnTo>
                  <a:lnTo>
                    <a:pt x="233" y="85"/>
                  </a:lnTo>
                  <a:lnTo>
                    <a:pt x="230" y="85"/>
                  </a:lnTo>
                  <a:lnTo>
                    <a:pt x="224" y="87"/>
                  </a:lnTo>
                  <a:lnTo>
                    <a:pt x="221" y="85"/>
                  </a:lnTo>
                  <a:lnTo>
                    <a:pt x="218" y="80"/>
                  </a:lnTo>
                  <a:lnTo>
                    <a:pt x="212" y="80"/>
                  </a:lnTo>
                  <a:lnTo>
                    <a:pt x="207" y="77"/>
                  </a:lnTo>
                  <a:lnTo>
                    <a:pt x="200" y="72"/>
                  </a:lnTo>
                  <a:lnTo>
                    <a:pt x="200" y="66"/>
                  </a:lnTo>
                  <a:lnTo>
                    <a:pt x="197" y="54"/>
                  </a:lnTo>
                  <a:lnTo>
                    <a:pt x="193" y="49"/>
                  </a:lnTo>
                  <a:lnTo>
                    <a:pt x="193" y="45"/>
                  </a:lnTo>
                  <a:lnTo>
                    <a:pt x="197" y="44"/>
                  </a:lnTo>
                  <a:lnTo>
                    <a:pt x="197" y="40"/>
                  </a:lnTo>
                  <a:lnTo>
                    <a:pt x="202" y="37"/>
                  </a:lnTo>
                  <a:lnTo>
                    <a:pt x="202" y="33"/>
                  </a:lnTo>
                  <a:lnTo>
                    <a:pt x="197" y="32"/>
                  </a:lnTo>
                  <a:lnTo>
                    <a:pt x="195" y="30"/>
                  </a:lnTo>
                  <a:lnTo>
                    <a:pt x="190" y="25"/>
                  </a:lnTo>
                  <a:lnTo>
                    <a:pt x="188" y="21"/>
                  </a:lnTo>
                  <a:lnTo>
                    <a:pt x="183" y="18"/>
                  </a:lnTo>
                  <a:lnTo>
                    <a:pt x="179" y="18"/>
                  </a:lnTo>
                  <a:lnTo>
                    <a:pt x="178" y="18"/>
                  </a:lnTo>
                  <a:lnTo>
                    <a:pt x="174" y="18"/>
                  </a:lnTo>
                  <a:lnTo>
                    <a:pt x="174" y="11"/>
                  </a:lnTo>
                  <a:lnTo>
                    <a:pt x="183" y="4"/>
                  </a:lnTo>
                  <a:lnTo>
                    <a:pt x="181" y="0"/>
                  </a:lnTo>
                  <a:lnTo>
                    <a:pt x="176" y="2"/>
                  </a:lnTo>
                  <a:lnTo>
                    <a:pt x="172" y="0"/>
                  </a:lnTo>
                  <a:lnTo>
                    <a:pt x="167" y="4"/>
                  </a:lnTo>
                  <a:lnTo>
                    <a:pt x="164" y="7"/>
                  </a:lnTo>
                  <a:lnTo>
                    <a:pt x="158" y="7"/>
                  </a:lnTo>
                  <a:lnTo>
                    <a:pt x="155" y="11"/>
                  </a:lnTo>
                  <a:lnTo>
                    <a:pt x="151" y="12"/>
                  </a:lnTo>
                  <a:lnTo>
                    <a:pt x="158" y="25"/>
                  </a:lnTo>
                  <a:lnTo>
                    <a:pt x="158" y="32"/>
                  </a:lnTo>
                  <a:lnTo>
                    <a:pt x="151" y="44"/>
                  </a:lnTo>
                  <a:lnTo>
                    <a:pt x="157" y="47"/>
                  </a:lnTo>
                  <a:lnTo>
                    <a:pt x="157" y="52"/>
                  </a:lnTo>
                  <a:lnTo>
                    <a:pt x="151" y="58"/>
                  </a:lnTo>
                  <a:lnTo>
                    <a:pt x="145" y="58"/>
                  </a:lnTo>
                  <a:lnTo>
                    <a:pt x="139" y="58"/>
                  </a:lnTo>
                  <a:lnTo>
                    <a:pt x="136" y="59"/>
                  </a:lnTo>
                  <a:lnTo>
                    <a:pt x="138" y="63"/>
                  </a:lnTo>
                  <a:lnTo>
                    <a:pt x="141" y="65"/>
                  </a:lnTo>
                  <a:lnTo>
                    <a:pt x="143" y="70"/>
                  </a:lnTo>
                  <a:lnTo>
                    <a:pt x="143" y="73"/>
                  </a:lnTo>
                  <a:lnTo>
                    <a:pt x="138" y="75"/>
                  </a:lnTo>
                  <a:lnTo>
                    <a:pt x="134" y="77"/>
                  </a:lnTo>
                  <a:lnTo>
                    <a:pt x="132" y="77"/>
                  </a:lnTo>
                  <a:lnTo>
                    <a:pt x="132" y="85"/>
                  </a:lnTo>
                  <a:lnTo>
                    <a:pt x="131" y="87"/>
                  </a:lnTo>
                  <a:lnTo>
                    <a:pt x="131" y="91"/>
                  </a:lnTo>
                  <a:lnTo>
                    <a:pt x="129" y="92"/>
                  </a:lnTo>
                  <a:lnTo>
                    <a:pt x="131" y="99"/>
                  </a:lnTo>
                  <a:lnTo>
                    <a:pt x="127" y="105"/>
                  </a:lnTo>
                  <a:lnTo>
                    <a:pt x="125" y="101"/>
                  </a:lnTo>
                  <a:lnTo>
                    <a:pt x="122" y="101"/>
                  </a:lnTo>
                  <a:lnTo>
                    <a:pt x="122" y="103"/>
                  </a:lnTo>
                  <a:lnTo>
                    <a:pt x="118" y="103"/>
                  </a:lnTo>
                  <a:lnTo>
                    <a:pt x="117" y="103"/>
                  </a:lnTo>
                  <a:lnTo>
                    <a:pt x="112" y="103"/>
                  </a:lnTo>
                  <a:lnTo>
                    <a:pt x="112" y="105"/>
                  </a:lnTo>
                  <a:lnTo>
                    <a:pt x="105" y="108"/>
                  </a:lnTo>
                  <a:lnTo>
                    <a:pt x="108" y="110"/>
                  </a:lnTo>
                  <a:lnTo>
                    <a:pt x="105" y="113"/>
                  </a:lnTo>
                  <a:lnTo>
                    <a:pt x="99" y="117"/>
                  </a:lnTo>
                  <a:lnTo>
                    <a:pt x="98" y="113"/>
                  </a:lnTo>
                  <a:lnTo>
                    <a:pt x="94" y="117"/>
                  </a:lnTo>
                  <a:lnTo>
                    <a:pt x="92" y="117"/>
                  </a:lnTo>
                  <a:lnTo>
                    <a:pt x="91" y="120"/>
                  </a:lnTo>
                  <a:lnTo>
                    <a:pt x="87" y="122"/>
                  </a:lnTo>
                  <a:lnTo>
                    <a:pt x="85" y="124"/>
                  </a:lnTo>
                  <a:lnTo>
                    <a:pt x="85" y="129"/>
                  </a:lnTo>
                  <a:lnTo>
                    <a:pt x="87" y="134"/>
                  </a:lnTo>
                  <a:lnTo>
                    <a:pt x="87" y="139"/>
                  </a:lnTo>
                  <a:lnTo>
                    <a:pt x="89" y="141"/>
                  </a:lnTo>
                  <a:lnTo>
                    <a:pt x="87" y="145"/>
                  </a:lnTo>
                  <a:lnTo>
                    <a:pt x="82" y="146"/>
                  </a:lnTo>
                  <a:lnTo>
                    <a:pt x="75" y="146"/>
                  </a:lnTo>
                  <a:lnTo>
                    <a:pt x="70" y="148"/>
                  </a:lnTo>
                  <a:lnTo>
                    <a:pt x="63" y="148"/>
                  </a:lnTo>
                  <a:lnTo>
                    <a:pt x="56" y="150"/>
                  </a:lnTo>
                  <a:lnTo>
                    <a:pt x="54" y="152"/>
                  </a:lnTo>
                  <a:lnTo>
                    <a:pt x="47" y="152"/>
                  </a:lnTo>
                  <a:lnTo>
                    <a:pt x="42" y="153"/>
                  </a:lnTo>
                  <a:lnTo>
                    <a:pt x="23" y="153"/>
                  </a:lnTo>
                  <a:lnTo>
                    <a:pt x="0" y="146"/>
                  </a:lnTo>
                  <a:lnTo>
                    <a:pt x="0" y="146"/>
                  </a:lnTo>
                  <a:lnTo>
                    <a:pt x="9" y="159"/>
                  </a:lnTo>
                  <a:lnTo>
                    <a:pt x="11" y="164"/>
                  </a:lnTo>
                  <a:lnTo>
                    <a:pt x="16" y="167"/>
                  </a:lnTo>
                  <a:lnTo>
                    <a:pt x="19" y="169"/>
                  </a:lnTo>
                  <a:lnTo>
                    <a:pt x="19" y="172"/>
                  </a:lnTo>
                  <a:lnTo>
                    <a:pt x="26" y="172"/>
                  </a:lnTo>
                  <a:lnTo>
                    <a:pt x="30" y="172"/>
                  </a:lnTo>
                  <a:lnTo>
                    <a:pt x="30" y="174"/>
                  </a:lnTo>
                  <a:lnTo>
                    <a:pt x="35" y="176"/>
                  </a:lnTo>
                  <a:lnTo>
                    <a:pt x="35" y="181"/>
                  </a:lnTo>
                  <a:lnTo>
                    <a:pt x="37" y="186"/>
                  </a:lnTo>
                  <a:lnTo>
                    <a:pt x="37" y="192"/>
                  </a:lnTo>
                  <a:lnTo>
                    <a:pt x="37" y="192"/>
                  </a:lnTo>
                  <a:lnTo>
                    <a:pt x="42" y="192"/>
                  </a:lnTo>
                  <a:lnTo>
                    <a:pt x="45" y="195"/>
                  </a:lnTo>
                  <a:lnTo>
                    <a:pt x="45" y="204"/>
                  </a:lnTo>
                  <a:lnTo>
                    <a:pt x="42" y="205"/>
                  </a:lnTo>
                  <a:lnTo>
                    <a:pt x="40" y="204"/>
                  </a:lnTo>
                  <a:lnTo>
                    <a:pt x="32" y="205"/>
                  </a:lnTo>
                  <a:lnTo>
                    <a:pt x="30" y="207"/>
                  </a:lnTo>
                  <a:lnTo>
                    <a:pt x="23" y="209"/>
                  </a:lnTo>
                  <a:lnTo>
                    <a:pt x="23" y="212"/>
                  </a:lnTo>
                  <a:lnTo>
                    <a:pt x="23" y="216"/>
                  </a:lnTo>
                  <a:lnTo>
                    <a:pt x="19" y="219"/>
                  </a:lnTo>
                  <a:lnTo>
                    <a:pt x="23" y="223"/>
                  </a:lnTo>
                  <a:lnTo>
                    <a:pt x="23" y="232"/>
                  </a:lnTo>
                  <a:lnTo>
                    <a:pt x="23" y="232"/>
                  </a:lnTo>
                  <a:lnTo>
                    <a:pt x="23" y="232"/>
                  </a:lnTo>
                  <a:lnTo>
                    <a:pt x="23" y="235"/>
                  </a:lnTo>
                  <a:lnTo>
                    <a:pt x="25" y="235"/>
                  </a:lnTo>
                  <a:lnTo>
                    <a:pt x="30" y="232"/>
                  </a:lnTo>
                  <a:lnTo>
                    <a:pt x="33" y="232"/>
                  </a:lnTo>
                  <a:lnTo>
                    <a:pt x="35" y="233"/>
                  </a:lnTo>
                  <a:lnTo>
                    <a:pt x="35" y="233"/>
                  </a:lnTo>
                  <a:lnTo>
                    <a:pt x="39" y="232"/>
                  </a:lnTo>
                  <a:lnTo>
                    <a:pt x="42" y="232"/>
                  </a:lnTo>
                  <a:lnTo>
                    <a:pt x="42" y="232"/>
                  </a:lnTo>
                  <a:lnTo>
                    <a:pt x="45" y="232"/>
                  </a:lnTo>
                  <a:lnTo>
                    <a:pt x="47" y="232"/>
                  </a:lnTo>
                  <a:lnTo>
                    <a:pt x="49" y="232"/>
                  </a:lnTo>
                  <a:lnTo>
                    <a:pt x="51" y="232"/>
                  </a:lnTo>
                  <a:lnTo>
                    <a:pt x="52" y="228"/>
                  </a:lnTo>
                  <a:lnTo>
                    <a:pt x="56" y="232"/>
                  </a:lnTo>
                  <a:lnTo>
                    <a:pt x="58" y="232"/>
                  </a:lnTo>
                  <a:lnTo>
                    <a:pt x="58" y="228"/>
                  </a:lnTo>
                  <a:lnTo>
                    <a:pt x="59" y="228"/>
                  </a:lnTo>
                  <a:lnTo>
                    <a:pt x="59" y="232"/>
                  </a:lnTo>
                  <a:lnTo>
                    <a:pt x="63" y="232"/>
                  </a:lnTo>
                  <a:lnTo>
                    <a:pt x="65" y="233"/>
                  </a:lnTo>
                  <a:lnTo>
                    <a:pt x="68" y="233"/>
                  </a:lnTo>
                  <a:lnTo>
                    <a:pt x="72" y="228"/>
                  </a:lnTo>
                  <a:lnTo>
                    <a:pt x="77" y="228"/>
                  </a:lnTo>
                  <a:lnTo>
                    <a:pt x="80" y="232"/>
                  </a:lnTo>
                  <a:lnTo>
                    <a:pt x="82" y="228"/>
                  </a:lnTo>
                  <a:lnTo>
                    <a:pt x="85" y="228"/>
                  </a:lnTo>
                  <a:lnTo>
                    <a:pt x="85" y="228"/>
                  </a:lnTo>
                  <a:lnTo>
                    <a:pt x="85" y="228"/>
                  </a:lnTo>
                  <a:lnTo>
                    <a:pt x="91" y="228"/>
                  </a:lnTo>
                  <a:lnTo>
                    <a:pt x="94" y="228"/>
                  </a:lnTo>
                  <a:lnTo>
                    <a:pt x="101" y="228"/>
                  </a:lnTo>
                  <a:lnTo>
                    <a:pt x="105" y="232"/>
                  </a:lnTo>
                  <a:lnTo>
                    <a:pt x="105" y="233"/>
                  </a:lnTo>
                  <a:lnTo>
                    <a:pt x="105" y="237"/>
                  </a:lnTo>
                  <a:lnTo>
                    <a:pt x="105" y="237"/>
                  </a:lnTo>
                  <a:lnTo>
                    <a:pt x="105" y="237"/>
                  </a:lnTo>
                  <a:lnTo>
                    <a:pt x="105" y="239"/>
                  </a:lnTo>
                  <a:lnTo>
                    <a:pt x="108" y="239"/>
                  </a:lnTo>
                  <a:lnTo>
                    <a:pt x="112" y="237"/>
                  </a:lnTo>
                  <a:lnTo>
                    <a:pt x="112" y="240"/>
                  </a:lnTo>
                  <a:lnTo>
                    <a:pt x="115" y="244"/>
                  </a:lnTo>
                  <a:lnTo>
                    <a:pt x="117" y="251"/>
                  </a:lnTo>
                  <a:lnTo>
                    <a:pt x="117" y="251"/>
                  </a:lnTo>
                  <a:lnTo>
                    <a:pt x="117" y="254"/>
                  </a:lnTo>
                  <a:lnTo>
                    <a:pt x="115" y="256"/>
                  </a:lnTo>
                  <a:lnTo>
                    <a:pt x="117" y="256"/>
                  </a:lnTo>
                  <a:lnTo>
                    <a:pt x="118" y="256"/>
                  </a:lnTo>
                  <a:lnTo>
                    <a:pt x="120" y="259"/>
                  </a:lnTo>
                  <a:lnTo>
                    <a:pt x="122" y="259"/>
                  </a:lnTo>
                  <a:lnTo>
                    <a:pt x="125" y="259"/>
                  </a:lnTo>
                  <a:lnTo>
                    <a:pt x="132" y="261"/>
                  </a:lnTo>
                  <a:lnTo>
                    <a:pt x="132" y="263"/>
                  </a:lnTo>
                  <a:lnTo>
                    <a:pt x="136" y="261"/>
                  </a:lnTo>
                  <a:lnTo>
                    <a:pt x="136" y="261"/>
                  </a:lnTo>
                  <a:lnTo>
                    <a:pt x="136" y="26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9" name="Freeform 55">
              <a:extLst>
                <a:ext uri="{FF2B5EF4-FFF2-40B4-BE49-F238E27FC236}">
                  <a16:creationId xmlns:a16="http://schemas.microsoft.com/office/drawing/2014/main" id="{3A219847-A4B2-48BF-9F26-C5A133DD4941}"/>
                </a:ext>
              </a:extLst>
            </p:cNvPr>
            <p:cNvSpPr>
              <a:spLocks/>
            </p:cNvSpPr>
            <p:nvPr/>
          </p:nvSpPr>
          <p:spPr bwMode="auto">
            <a:xfrm>
              <a:off x="6040438" y="3127376"/>
              <a:ext cx="361950" cy="303213"/>
            </a:xfrm>
            <a:custGeom>
              <a:avLst/>
              <a:gdLst/>
              <a:ahLst/>
              <a:cxnLst>
                <a:cxn ang="0">
                  <a:pos x="210" y="15"/>
                </a:cxn>
                <a:cxn ang="0">
                  <a:pos x="219" y="15"/>
                </a:cxn>
                <a:cxn ang="0">
                  <a:pos x="223" y="24"/>
                </a:cxn>
                <a:cxn ang="0">
                  <a:pos x="216" y="34"/>
                </a:cxn>
                <a:cxn ang="0">
                  <a:pos x="188" y="40"/>
                </a:cxn>
                <a:cxn ang="0">
                  <a:pos x="176" y="46"/>
                </a:cxn>
                <a:cxn ang="0">
                  <a:pos x="179" y="67"/>
                </a:cxn>
                <a:cxn ang="0">
                  <a:pos x="177" y="88"/>
                </a:cxn>
                <a:cxn ang="0">
                  <a:pos x="160" y="93"/>
                </a:cxn>
                <a:cxn ang="0">
                  <a:pos x="160" y="100"/>
                </a:cxn>
                <a:cxn ang="0">
                  <a:pos x="157" y="111"/>
                </a:cxn>
                <a:cxn ang="0">
                  <a:pos x="151" y="121"/>
                </a:cxn>
                <a:cxn ang="0">
                  <a:pos x="150" y="130"/>
                </a:cxn>
                <a:cxn ang="0">
                  <a:pos x="144" y="137"/>
                </a:cxn>
                <a:cxn ang="0">
                  <a:pos x="137" y="139"/>
                </a:cxn>
                <a:cxn ang="0">
                  <a:pos x="132" y="140"/>
                </a:cxn>
                <a:cxn ang="0">
                  <a:pos x="124" y="149"/>
                </a:cxn>
                <a:cxn ang="0">
                  <a:pos x="113" y="153"/>
                </a:cxn>
                <a:cxn ang="0">
                  <a:pos x="106" y="158"/>
                </a:cxn>
                <a:cxn ang="0">
                  <a:pos x="106" y="170"/>
                </a:cxn>
                <a:cxn ang="0">
                  <a:pos x="106" y="182"/>
                </a:cxn>
                <a:cxn ang="0">
                  <a:pos x="87" y="186"/>
                </a:cxn>
                <a:cxn ang="0">
                  <a:pos x="71" y="187"/>
                </a:cxn>
                <a:cxn ang="0">
                  <a:pos x="40" y="191"/>
                </a:cxn>
                <a:cxn ang="0">
                  <a:pos x="31" y="163"/>
                </a:cxn>
                <a:cxn ang="0">
                  <a:pos x="28" y="146"/>
                </a:cxn>
                <a:cxn ang="0">
                  <a:pos x="9" y="137"/>
                </a:cxn>
                <a:cxn ang="0">
                  <a:pos x="4" y="118"/>
                </a:cxn>
                <a:cxn ang="0">
                  <a:pos x="7" y="106"/>
                </a:cxn>
                <a:cxn ang="0">
                  <a:pos x="0" y="95"/>
                </a:cxn>
                <a:cxn ang="0">
                  <a:pos x="0" y="88"/>
                </a:cxn>
                <a:cxn ang="0">
                  <a:pos x="7" y="79"/>
                </a:cxn>
                <a:cxn ang="0">
                  <a:pos x="5" y="74"/>
                </a:cxn>
                <a:cxn ang="0">
                  <a:pos x="7" y="64"/>
                </a:cxn>
                <a:cxn ang="0">
                  <a:pos x="12" y="64"/>
                </a:cxn>
                <a:cxn ang="0">
                  <a:pos x="21" y="64"/>
                </a:cxn>
                <a:cxn ang="0">
                  <a:pos x="28" y="71"/>
                </a:cxn>
                <a:cxn ang="0">
                  <a:pos x="35" y="69"/>
                </a:cxn>
                <a:cxn ang="0">
                  <a:pos x="40" y="62"/>
                </a:cxn>
                <a:cxn ang="0">
                  <a:pos x="52" y="55"/>
                </a:cxn>
                <a:cxn ang="0">
                  <a:pos x="59" y="52"/>
                </a:cxn>
                <a:cxn ang="0">
                  <a:pos x="64" y="38"/>
                </a:cxn>
                <a:cxn ang="0">
                  <a:pos x="63" y="31"/>
                </a:cxn>
                <a:cxn ang="0">
                  <a:pos x="70" y="27"/>
                </a:cxn>
                <a:cxn ang="0">
                  <a:pos x="82" y="24"/>
                </a:cxn>
                <a:cxn ang="0">
                  <a:pos x="91" y="24"/>
                </a:cxn>
                <a:cxn ang="0">
                  <a:pos x="101" y="27"/>
                </a:cxn>
                <a:cxn ang="0">
                  <a:pos x="110" y="26"/>
                </a:cxn>
                <a:cxn ang="0">
                  <a:pos x="122" y="31"/>
                </a:cxn>
                <a:cxn ang="0">
                  <a:pos x="129" y="26"/>
                </a:cxn>
                <a:cxn ang="0">
                  <a:pos x="134" y="27"/>
                </a:cxn>
                <a:cxn ang="0">
                  <a:pos x="139" y="24"/>
                </a:cxn>
                <a:cxn ang="0">
                  <a:pos x="144" y="19"/>
                </a:cxn>
                <a:cxn ang="0">
                  <a:pos x="150" y="19"/>
                </a:cxn>
                <a:cxn ang="0">
                  <a:pos x="151" y="10"/>
                </a:cxn>
                <a:cxn ang="0">
                  <a:pos x="157" y="0"/>
                </a:cxn>
                <a:cxn ang="0">
                  <a:pos x="167" y="3"/>
                </a:cxn>
                <a:cxn ang="0">
                  <a:pos x="167" y="12"/>
                </a:cxn>
                <a:cxn ang="0">
                  <a:pos x="172" y="19"/>
                </a:cxn>
                <a:cxn ang="0">
                  <a:pos x="176" y="34"/>
                </a:cxn>
                <a:cxn ang="0">
                  <a:pos x="183" y="38"/>
                </a:cxn>
                <a:cxn ang="0">
                  <a:pos x="191" y="31"/>
                </a:cxn>
                <a:cxn ang="0">
                  <a:pos x="198" y="24"/>
                </a:cxn>
              </a:cxnLst>
              <a:rect l="0" t="0" r="r" b="b"/>
              <a:pathLst>
                <a:path w="228" h="191">
                  <a:moveTo>
                    <a:pt x="198" y="24"/>
                  </a:moveTo>
                  <a:lnTo>
                    <a:pt x="205" y="19"/>
                  </a:lnTo>
                  <a:lnTo>
                    <a:pt x="210" y="15"/>
                  </a:lnTo>
                  <a:lnTo>
                    <a:pt x="210" y="20"/>
                  </a:lnTo>
                  <a:lnTo>
                    <a:pt x="219" y="19"/>
                  </a:lnTo>
                  <a:lnTo>
                    <a:pt x="219" y="15"/>
                  </a:lnTo>
                  <a:lnTo>
                    <a:pt x="228" y="15"/>
                  </a:lnTo>
                  <a:lnTo>
                    <a:pt x="228" y="19"/>
                  </a:lnTo>
                  <a:lnTo>
                    <a:pt x="223" y="24"/>
                  </a:lnTo>
                  <a:lnTo>
                    <a:pt x="228" y="24"/>
                  </a:lnTo>
                  <a:lnTo>
                    <a:pt x="221" y="31"/>
                  </a:lnTo>
                  <a:lnTo>
                    <a:pt x="216" y="34"/>
                  </a:lnTo>
                  <a:lnTo>
                    <a:pt x="197" y="38"/>
                  </a:lnTo>
                  <a:lnTo>
                    <a:pt x="193" y="36"/>
                  </a:lnTo>
                  <a:lnTo>
                    <a:pt x="188" y="40"/>
                  </a:lnTo>
                  <a:lnTo>
                    <a:pt x="183" y="43"/>
                  </a:lnTo>
                  <a:lnTo>
                    <a:pt x="179" y="43"/>
                  </a:lnTo>
                  <a:lnTo>
                    <a:pt x="176" y="46"/>
                  </a:lnTo>
                  <a:lnTo>
                    <a:pt x="172" y="48"/>
                  </a:lnTo>
                  <a:lnTo>
                    <a:pt x="179" y="60"/>
                  </a:lnTo>
                  <a:lnTo>
                    <a:pt x="179" y="67"/>
                  </a:lnTo>
                  <a:lnTo>
                    <a:pt x="172" y="79"/>
                  </a:lnTo>
                  <a:lnTo>
                    <a:pt x="177" y="83"/>
                  </a:lnTo>
                  <a:lnTo>
                    <a:pt x="177" y="88"/>
                  </a:lnTo>
                  <a:lnTo>
                    <a:pt x="172" y="93"/>
                  </a:lnTo>
                  <a:lnTo>
                    <a:pt x="165" y="93"/>
                  </a:lnTo>
                  <a:lnTo>
                    <a:pt x="160" y="93"/>
                  </a:lnTo>
                  <a:lnTo>
                    <a:pt x="155" y="95"/>
                  </a:lnTo>
                  <a:lnTo>
                    <a:pt x="157" y="99"/>
                  </a:lnTo>
                  <a:lnTo>
                    <a:pt x="160" y="100"/>
                  </a:lnTo>
                  <a:lnTo>
                    <a:pt x="164" y="106"/>
                  </a:lnTo>
                  <a:lnTo>
                    <a:pt x="164" y="109"/>
                  </a:lnTo>
                  <a:lnTo>
                    <a:pt x="157" y="111"/>
                  </a:lnTo>
                  <a:lnTo>
                    <a:pt x="155" y="113"/>
                  </a:lnTo>
                  <a:lnTo>
                    <a:pt x="151" y="113"/>
                  </a:lnTo>
                  <a:lnTo>
                    <a:pt x="151" y="121"/>
                  </a:lnTo>
                  <a:lnTo>
                    <a:pt x="151" y="123"/>
                  </a:lnTo>
                  <a:lnTo>
                    <a:pt x="151" y="126"/>
                  </a:lnTo>
                  <a:lnTo>
                    <a:pt x="150" y="130"/>
                  </a:lnTo>
                  <a:lnTo>
                    <a:pt x="151" y="135"/>
                  </a:lnTo>
                  <a:lnTo>
                    <a:pt x="148" y="142"/>
                  </a:lnTo>
                  <a:lnTo>
                    <a:pt x="144" y="137"/>
                  </a:lnTo>
                  <a:lnTo>
                    <a:pt x="143" y="137"/>
                  </a:lnTo>
                  <a:lnTo>
                    <a:pt x="143" y="139"/>
                  </a:lnTo>
                  <a:lnTo>
                    <a:pt x="137" y="139"/>
                  </a:lnTo>
                  <a:lnTo>
                    <a:pt x="136" y="139"/>
                  </a:lnTo>
                  <a:lnTo>
                    <a:pt x="132" y="139"/>
                  </a:lnTo>
                  <a:lnTo>
                    <a:pt x="132" y="140"/>
                  </a:lnTo>
                  <a:lnTo>
                    <a:pt x="124" y="146"/>
                  </a:lnTo>
                  <a:lnTo>
                    <a:pt x="127" y="146"/>
                  </a:lnTo>
                  <a:lnTo>
                    <a:pt x="124" y="149"/>
                  </a:lnTo>
                  <a:lnTo>
                    <a:pt x="118" y="153"/>
                  </a:lnTo>
                  <a:lnTo>
                    <a:pt x="117" y="151"/>
                  </a:lnTo>
                  <a:lnTo>
                    <a:pt x="113" y="153"/>
                  </a:lnTo>
                  <a:lnTo>
                    <a:pt x="111" y="154"/>
                  </a:lnTo>
                  <a:lnTo>
                    <a:pt x="110" y="158"/>
                  </a:lnTo>
                  <a:lnTo>
                    <a:pt x="106" y="158"/>
                  </a:lnTo>
                  <a:lnTo>
                    <a:pt x="104" y="159"/>
                  </a:lnTo>
                  <a:lnTo>
                    <a:pt x="104" y="165"/>
                  </a:lnTo>
                  <a:lnTo>
                    <a:pt x="106" y="170"/>
                  </a:lnTo>
                  <a:lnTo>
                    <a:pt x="106" y="175"/>
                  </a:lnTo>
                  <a:lnTo>
                    <a:pt x="108" y="179"/>
                  </a:lnTo>
                  <a:lnTo>
                    <a:pt x="106" y="182"/>
                  </a:lnTo>
                  <a:lnTo>
                    <a:pt x="99" y="182"/>
                  </a:lnTo>
                  <a:lnTo>
                    <a:pt x="92" y="182"/>
                  </a:lnTo>
                  <a:lnTo>
                    <a:pt x="87" y="186"/>
                  </a:lnTo>
                  <a:lnTo>
                    <a:pt x="80" y="186"/>
                  </a:lnTo>
                  <a:lnTo>
                    <a:pt x="73" y="187"/>
                  </a:lnTo>
                  <a:lnTo>
                    <a:pt x="71" y="187"/>
                  </a:lnTo>
                  <a:lnTo>
                    <a:pt x="64" y="187"/>
                  </a:lnTo>
                  <a:lnTo>
                    <a:pt x="59" y="191"/>
                  </a:lnTo>
                  <a:lnTo>
                    <a:pt x="40" y="191"/>
                  </a:lnTo>
                  <a:lnTo>
                    <a:pt x="16" y="182"/>
                  </a:lnTo>
                  <a:lnTo>
                    <a:pt x="30" y="165"/>
                  </a:lnTo>
                  <a:lnTo>
                    <a:pt x="31" y="163"/>
                  </a:lnTo>
                  <a:lnTo>
                    <a:pt x="30" y="158"/>
                  </a:lnTo>
                  <a:lnTo>
                    <a:pt x="30" y="153"/>
                  </a:lnTo>
                  <a:lnTo>
                    <a:pt x="28" y="146"/>
                  </a:lnTo>
                  <a:lnTo>
                    <a:pt x="12" y="146"/>
                  </a:lnTo>
                  <a:lnTo>
                    <a:pt x="12" y="140"/>
                  </a:lnTo>
                  <a:lnTo>
                    <a:pt x="9" y="137"/>
                  </a:lnTo>
                  <a:lnTo>
                    <a:pt x="12" y="133"/>
                  </a:lnTo>
                  <a:lnTo>
                    <a:pt x="7" y="125"/>
                  </a:lnTo>
                  <a:lnTo>
                    <a:pt x="4" y="118"/>
                  </a:lnTo>
                  <a:lnTo>
                    <a:pt x="4" y="113"/>
                  </a:lnTo>
                  <a:lnTo>
                    <a:pt x="9" y="106"/>
                  </a:lnTo>
                  <a:lnTo>
                    <a:pt x="7" y="106"/>
                  </a:lnTo>
                  <a:lnTo>
                    <a:pt x="4" y="104"/>
                  </a:lnTo>
                  <a:lnTo>
                    <a:pt x="4" y="100"/>
                  </a:lnTo>
                  <a:lnTo>
                    <a:pt x="0" y="95"/>
                  </a:lnTo>
                  <a:lnTo>
                    <a:pt x="0" y="93"/>
                  </a:lnTo>
                  <a:lnTo>
                    <a:pt x="4" y="88"/>
                  </a:lnTo>
                  <a:lnTo>
                    <a:pt x="0" y="88"/>
                  </a:lnTo>
                  <a:lnTo>
                    <a:pt x="0" y="85"/>
                  </a:lnTo>
                  <a:lnTo>
                    <a:pt x="4" y="85"/>
                  </a:lnTo>
                  <a:lnTo>
                    <a:pt x="7" y="79"/>
                  </a:lnTo>
                  <a:lnTo>
                    <a:pt x="7" y="79"/>
                  </a:lnTo>
                  <a:lnTo>
                    <a:pt x="7" y="76"/>
                  </a:lnTo>
                  <a:lnTo>
                    <a:pt x="5" y="74"/>
                  </a:lnTo>
                  <a:lnTo>
                    <a:pt x="7" y="73"/>
                  </a:lnTo>
                  <a:lnTo>
                    <a:pt x="5" y="69"/>
                  </a:lnTo>
                  <a:lnTo>
                    <a:pt x="7" y="64"/>
                  </a:lnTo>
                  <a:lnTo>
                    <a:pt x="5" y="64"/>
                  </a:lnTo>
                  <a:lnTo>
                    <a:pt x="7" y="64"/>
                  </a:lnTo>
                  <a:lnTo>
                    <a:pt x="12" y="64"/>
                  </a:lnTo>
                  <a:lnTo>
                    <a:pt x="14" y="67"/>
                  </a:lnTo>
                  <a:lnTo>
                    <a:pt x="18" y="67"/>
                  </a:lnTo>
                  <a:lnTo>
                    <a:pt x="21" y="64"/>
                  </a:lnTo>
                  <a:lnTo>
                    <a:pt x="23" y="64"/>
                  </a:lnTo>
                  <a:lnTo>
                    <a:pt x="28" y="67"/>
                  </a:lnTo>
                  <a:lnTo>
                    <a:pt x="28" y="71"/>
                  </a:lnTo>
                  <a:lnTo>
                    <a:pt x="30" y="73"/>
                  </a:lnTo>
                  <a:lnTo>
                    <a:pt x="31" y="69"/>
                  </a:lnTo>
                  <a:lnTo>
                    <a:pt x="35" y="69"/>
                  </a:lnTo>
                  <a:lnTo>
                    <a:pt x="40" y="66"/>
                  </a:lnTo>
                  <a:lnTo>
                    <a:pt x="40" y="64"/>
                  </a:lnTo>
                  <a:lnTo>
                    <a:pt x="40" y="62"/>
                  </a:lnTo>
                  <a:lnTo>
                    <a:pt x="40" y="59"/>
                  </a:lnTo>
                  <a:lnTo>
                    <a:pt x="45" y="55"/>
                  </a:lnTo>
                  <a:lnTo>
                    <a:pt x="52" y="55"/>
                  </a:lnTo>
                  <a:lnTo>
                    <a:pt x="54" y="53"/>
                  </a:lnTo>
                  <a:lnTo>
                    <a:pt x="56" y="52"/>
                  </a:lnTo>
                  <a:lnTo>
                    <a:pt x="59" y="52"/>
                  </a:lnTo>
                  <a:lnTo>
                    <a:pt x="59" y="46"/>
                  </a:lnTo>
                  <a:lnTo>
                    <a:pt x="59" y="43"/>
                  </a:lnTo>
                  <a:lnTo>
                    <a:pt x="64" y="38"/>
                  </a:lnTo>
                  <a:lnTo>
                    <a:pt x="64" y="34"/>
                  </a:lnTo>
                  <a:lnTo>
                    <a:pt x="63" y="33"/>
                  </a:lnTo>
                  <a:lnTo>
                    <a:pt x="63" y="31"/>
                  </a:lnTo>
                  <a:lnTo>
                    <a:pt x="64" y="29"/>
                  </a:lnTo>
                  <a:lnTo>
                    <a:pt x="64" y="27"/>
                  </a:lnTo>
                  <a:lnTo>
                    <a:pt x="70" y="27"/>
                  </a:lnTo>
                  <a:lnTo>
                    <a:pt x="71" y="27"/>
                  </a:lnTo>
                  <a:lnTo>
                    <a:pt x="77" y="24"/>
                  </a:lnTo>
                  <a:lnTo>
                    <a:pt x="82" y="24"/>
                  </a:lnTo>
                  <a:lnTo>
                    <a:pt x="85" y="24"/>
                  </a:lnTo>
                  <a:lnTo>
                    <a:pt x="87" y="24"/>
                  </a:lnTo>
                  <a:lnTo>
                    <a:pt x="91" y="24"/>
                  </a:lnTo>
                  <a:lnTo>
                    <a:pt x="96" y="24"/>
                  </a:lnTo>
                  <a:lnTo>
                    <a:pt x="99" y="24"/>
                  </a:lnTo>
                  <a:lnTo>
                    <a:pt x="101" y="27"/>
                  </a:lnTo>
                  <a:lnTo>
                    <a:pt x="103" y="27"/>
                  </a:lnTo>
                  <a:lnTo>
                    <a:pt x="106" y="26"/>
                  </a:lnTo>
                  <a:lnTo>
                    <a:pt x="110" y="26"/>
                  </a:lnTo>
                  <a:lnTo>
                    <a:pt x="113" y="31"/>
                  </a:lnTo>
                  <a:lnTo>
                    <a:pt x="117" y="31"/>
                  </a:lnTo>
                  <a:lnTo>
                    <a:pt x="122" y="31"/>
                  </a:lnTo>
                  <a:lnTo>
                    <a:pt x="124" y="27"/>
                  </a:lnTo>
                  <a:lnTo>
                    <a:pt x="127" y="26"/>
                  </a:lnTo>
                  <a:lnTo>
                    <a:pt x="129" y="26"/>
                  </a:lnTo>
                  <a:lnTo>
                    <a:pt x="132" y="24"/>
                  </a:lnTo>
                  <a:lnTo>
                    <a:pt x="132" y="24"/>
                  </a:lnTo>
                  <a:lnTo>
                    <a:pt x="134" y="27"/>
                  </a:lnTo>
                  <a:lnTo>
                    <a:pt x="141" y="27"/>
                  </a:lnTo>
                  <a:lnTo>
                    <a:pt x="141" y="24"/>
                  </a:lnTo>
                  <a:lnTo>
                    <a:pt x="139" y="24"/>
                  </a:lnTo>
                  <a:lnTo>
                    <a:pt x="139" y="20"/>
                  </a:lnTo>
                  <a:lnTo>
                    <a:pt x="143" y="19"/>
                  </a:lnTo>
                  <a:lnTo>
                    <a:pt x="144" y="19"/>
                  </a:lnTo>
                  <a:lnTo>
                    <a:pt x="146" y="19"/>
                  </a:lnTo>
                  <a:lnTo>
                    <a:pt x="146" y="19"/>
                  </a:lnTo>
                  <a:lnTo>
                    <a:pt x="150" y="19"/>
                  </a:lnTo>
                  <a:lnTo>
                    <a:pt x="151" y="15"/>
                  </a:lnTo>
                  <a:lnTo>
                    <a:pt x="151" y="10"/>
                  </a:lnTo>
                  <a:lnTo>
                    <a:pt x="151" y="10"/>
                  </a:lnTo>
                  <a:lnTo>
                    <a:pt x="155" y="6"/>
                  </a:lnTo>
                  <a:lnTo>
                    <a:pt x="155" y="1"/>
                  </a:lnTo>
                  <a:lnTo>
                    <a:pt x="157" y="0"/>
                  </a:lnTo>
                  <a:lnTo>
                    <a:pt x="160" y="0"/>
                  </a:lnTo>
                  <a:lnTo>
                    <a:pt x="164" y="1"/>
                  </a:lnTo>
                  <a:lnTo>
                    <a:pt x="167" y="3"/>
                  </a:lnTo>
                  <a:lnTo>
                    <a:pt x="167" y="5"/>
                  </a:lnTo>
                  <a:lnTo>
                    <a:pt x="167" y="10"/>
                  </a:lnTo>
                  <a:lnTo>
                    <a:pt x="167" y="12"/>
                  </a:lnTo>
                  <a:lnTo>
                    <a:pt x="170" y="12"/>
                  </a:lnTo>
                  <a:lnTo>
                    <a:pt x="172" y="15"/>
                  </a:lnTo>
                  <a:lnTo>
                    <a:pt x="172" y="19"/>
                  </a:lnTo>
                  <a:lnTo>
                    <a:pt x="172" y="24"/>
                  </a:lnTo>
                  <a:lnTo>
                    <a:pt x="172" y="31"/>
                  </a:lnTo>
                  <a:lnTo>
                    <a:pt x="176" y="34"/>
                  </a:lnTo>
                  <a:lnTo>
                    <a:pt x="176" y="36"/>
                  </a:lnTo>
                  <a:lnTo>
                    <a:pt x="179" y="38"/>
                  </a:lnTo>
                  <a:lnTo>
                    <a:pt x="183" y="38"/>
                  </a:lnTo>
                  <a:lnTo>
                    <a:pt x="186" y="34"/>
                  </a:lnTo>
                  <a:lnTo>
                    <a:pt x="186" y="33"/>
                  </a:lnTo>
                  <a:lnTo>
                    <a:pt x="191" y="31"/>
                  </a:lnTo>
                  <a:lnTo>
                    <a:pt x="195" y="27"/>
                  </a:lnTo>
                  <a:lnTo>
                    <a:pt x="195" y="24"/>
                  </a:lnTo>
                  <a:lnTo>
                    <a:pt x="198" y="24"/>
                  </a:lnTo>
                  <a:lnTo>
                    <a:pt x="198" y="24"/>
                  </a:lnTo>
                  <a:lnTo>
                    <a:pt x="198"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0" name="Freeform 56">
              <a:extLst>
                <a:ext uri="{FF2B5EF4-FFF2-40B4-BE49-F238E27FC236}">
                  <a16:creationId xmlns:a16="http://schemas.microsoft.com/office/drawing/2014/main" id="{C5C8CA9E-4E81-46CE-9E93-98C5FAD9DB21}"/>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1" name="Freeform 57">
              <a:extLst>
                <a:ext uri="{FF2B5EF4-FFF2-40B4-BE49-F238E27FC236}">
                  <a16:creationId xmlns:a16="http://schemas.microsoft.com/office/drawing/2014/main" id="{6621ED0F-8CC9-4184-AAE0-B621AA4A8177}"/>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2" name="Freeform 58">
              <a:extLst>
                <a:ext uri="{FF2B5EF4-FFF2-40B4-BE49-F238E27FC236}">
                  <a16:creationId xmlns:a16="http://schemas.microsoft.com/office/drawing/2014/main" id="{79EFB605-CE04-40F3-B185-6ACEF866B888}"/>
                </a:ext>
              </a:extLst>
            </p:cNvPr>
            <p:cNvSpPr>
              <a:spLocks/>
            </p:cNvSpPr>
            <p:nvPr/>
          </p:nvSpPr>
          <p:spPr bwMode="auto">
            <a:xfrm>
              <a:off x="5583238" y="3113088"/>
              <a:ext cx="557213" cy="441325"/>
            </a:xfrm>
            <a:custGeom>
              <a:avLst/>
              <a:gdLst/>
              <a:ahLst/>
              <a:cxnLst>
                <a:cxn ang="0">
                  <a:pos x="17" y="3"/>
                </a:cxn>
                <a:cxn ang="0">
                  <a:pos x="33" y="17"/>
                </a:cxn>
                <a:cxn ang="0">
                  <a:pos x="45" y="17"/>
                </a:cxn>
                <a:cxn ang="0">
                  <a:pos x="54" y="7"/>
                </a:cxn>
                <a:cxn ang="0">
                  <a:pos x="66" y="0"/>
                </a:cxn>
                <a:cxn ang="0">
                  <a:pos x="69" y="9"/>
                </a:cxn>
                <a:cxn ang="0">
                  <a:pos x="78" y="22"/>
                </a:cxn>
                <a:cxn ang="0">
                  <a:pos x="85" y="29"/>
                </a:cxn>
                <a:cxn ang="0">
                  <a:pos x="92" y="45"/>
                </a:cxn>
                <a:cxn ang="0">
                  <a:pos x="109" y="45"/>
                </a:cxn>
                <a:cxn ang="0">
                  <a:pos x="135" y="59"/>
                </a:cxn>
                <a:cxn ang="0">
                  <a:pos x="174" y="57"/>
                </a:cxn>
                <a:cxn ang="0">
                  <a:pos x="182" y="40"/>
                </a:cxn>
                <a:cxn ang="0">
                  <a:pos x="205" y="26"/>
                </a:cxn>
                <a:cxn ang="0">
                  <a:pos x="222" y="26"/>
                </a:cxn>
                <a:cxn ang="0">
                  <a:pos x="248" y="35"/>
                </a:cxn>
                <a:cxn ang="0">
                  <a:pos x="264" y="45"/>
                </a:cxn>
                <a:cxn ang="0">
                  <a:pos x="293" y="62"/>
                </a:cxn>
                <a:cxn ang="0">
                  <a:pos x="293" y="78"/>
                </a:cxn>
                <a:cxn ang="0">
                  <a:pos x="295" y="90"/>
                </a:cxn>
                <a:cxn ang="0">
                  <a:pos x="288" y="102"/>
                </a:cxn>
                <a:cxn ang="0">
                  <a:pos x="297" y="115"/>
                </a:cxn>
                <a:cxn ang="0">
                  <a:pos x="297" y="144"/>
                </a:cxn>
                <a:cxn ang="0">
                  <a:pos x="318" y="165"/>
                </a:cxn>
                <a:cxn ang="0">
                  <a:pos x="314" y="207"/>
                </a:cxn>
                <a:cxn ang="0">
                  <a:pos x="333" y="215"/>
                </a:cxn>
                <a:cxn ang="0">
                  <a:pos x="340" y="233"/>
                </a:cxn>
                <a:cxn ang="0">
                  <a:pos x="347" y="247"/>
                </a:cxn>
                <a:cxn ang="0">
                  <a:pos x="326" y="255"/>
                </a:cxn>
                <a:cxn ang="0">
                  <a:pos x="326" y="275"/>
                </a:cxn>
                <a:cxn ang="0">
                  <a:pos x="311" y="275"/>
                </a:cxn>
                <a:cxn ang="0">
                  <a:pos x="304" y="273"/>
                </a:cxn>
                <a:cxn ang="0">
                  <a:pos x="278" y="269"/>
                </a:cxn>
                <a:cxn ang="0">
                  <a:pos x="260" y="266"/>
                </a:cxn>
                <a:cxn ang="0">
                  <a:pos x="245" y="252"/>
                </a:cxn>
                <a:cxn ang="0">
                  <a:pos x="238" y="240"/>
                </a:cxn>
                <a:cxn ang="0">
                  <a:pos x="220" y="242"/>
                </a:cxn>
                <a:cxn ang="0">
                  <a:pos x="194" y="247"/>
                </a:cxn>
                <a:cxn ang="0">
                  <a:pos x="179" y="242"/>
                </a:cxn>
                <a:cxn ang="0">
                  <a:pos x="167" y="233"/>
                </a:cxn>
                <a:cxn ang="0">
                  <a:pos x="149" y="228"/>
                </a:cxn>
                <a:cxn ang="0">
                  <a:pos x="134" y="210"/>
                </a:cxn>
                <a:cxn ang="0">
                  <a:pos x="132" y="207"/>
                </a:cxn>
                <a:cxn ang="0">
                  <a:pos x="120" y="184"/>
                </a:cxn>
                <a:cxn ang="0">
                  <a:pos x="107" y="184"/>
                </a:cxn>
                <a:cxn ang="0">
                  <a:pos x="104" y="181"/>
                </a:cxn>
                <a:cxn ang="0">
                  <a:pos x="101" y="188"/>
                </a:cxn>
                <a:cxn ang="0">
                  <a:pos x="90" y="182"/>
                </a:cxn>
                <a:cxn ang="0">
                  <a:pos x="81" y="160"/>
                </a:cxn>
                <a:cxn ang="0">
                  <a:pos x="69" y="139"/>
                </a:cxn>
                <a:cxn ang="0">
                  <a:pos x="47" y="130"/>
                </a:cxn>
                <a:cxn ang="0">
                  <a:pos x="45" y="120"/>
                </a:cxn>
                <a:cxn ang="0">
                  <a:pos x="38" y="111"/>
                </a:cxn>
                <a:cxn ang="0">
                  <a:pos x="41" y="94"/>
                </a:cxn>
                <a:cxn ang="0">
                  <a:pos x="45" y="82"/>
                </a:cxn>
                <a:cxn ang="0">
                  <a:pos x="47" y="76"/>
                </a:cxn>
                <a:cxn ang="0">
                  <a:pos x="28" y="71"/>
                </a:cxn>
                <a:cxn ang="0">
                  <a:pos x="22" y="57"/>
                </a:cxn>
                <a:cxn ang="0">
                  <a:pos x="15" y="49"/>
                </a:cxn>
                <a:cxn ang="0">
                  <a:pos x="10" y="26"/>
                </a:cxn>
                <a:cxn ang="0">
                  <a:pos x="3" y="10"/>
                </a:cxn>
                <a:cxn ang="0">
                  <a:pos x="10" y="0"/>
                </a:cxn>
              </a:cxnLst>
              <a:rect l="0" t="0" r="r" b="b"/>
              <a:pathLst>
                <a:path w="351" h="278">
                  <a:moveTo>
                    <a:pt x="10" y="0"/>
                  </a:moveTo>
                  <a:lnTo>
                    <a:pt x="10" y="0"/>
                  </a:lnTo>
                  <a:lnTo>
                    <a:pt x="14" y="0"/>
                  </a:lnTo>
                  <a:lnTo>
                    <a:pt x="15" y="0"/>
                  </a:lnTo>
                  <a:lnTo>
                    <a:pt x="17" y="3"/>
                  </a:lnTo>
                  <a:lnTo>
                    <a:pt x="15" y="7"/>
                  </a:lnTo>
                  <a:lnTo>
                    <a:pt x="22" y="10"/>
                  </a:lnTo>
                  <a:lnTo>
                    <a:pt x="22" y="14"/>
                  </a:lnTo>
                  <a:lnTo>
                    <a:pt x="28" y="15"/>
                  </a:lnTo>
                  <a:lnTo>
                    <a:pt x="33" y="17"/>
                  </a:lnTo>
                  <a:lnTo>
                    <a:pt x="38" y="17"/>
                  </a:lnTo>
                  <a:lnTo>
                    <a:pt x="38" y="17"/>
                  </a:lnTo>
                  <a:lnTo>
                    <a:pt x="38" y="17"/>
                  </a:lnTo>
                  <a:lnTo>
                    <a:pt x="43" y="15"/>
                  </a:lnTo>
                  <a:lnTo>
                    <a:pt x="45" y="17"/>
                  </a:lnTo>
                  <a:lnTo>
                    <a:pt x="47" y="15"/>
                  </a:lnTo>
                  <a:lnTo>
                    <a:pt x="47" y="14"/>
                  </a:lnTo>
                  <a:lnTo>
                    <a:pt x="50" y="12"/>
                  </a:lnTo>
                  <a:lnTo>
                    <a:pt x="50" y="12"/>
                  </a:lnTo>
                  <a:lnTo>
                    <a:pt x="54" y="7"/>
                  </a:lnTo>
                  <a:lnTo>
                    <a:pt x="55" y="7"/>
                  </a:lnTo>
                  <a:lnTo>
                    <a:pt x="57" y="3"/>
                  </a:lnTo>
                  <a:lnTo>
                    <a:pt x="61" y="3"/>
                  </a:lnTo>
                  <a:lnTo>
                    <a:pt x="64" y="0"/>
                  </a:lnTo>
                  <a:lnTo>
                    <a:pt x="66" y="0"/>
                  </a:lnTo>
                  <a:lnTo>
                    <a:pt x="66" y="3"/>
                  </a:lnTo>
                  <a:lnTo>
                    <a:pt x="68" y="3"/>
                  </a:lnTo>
                  <a:lnTo>
                    <a:pt x="69" y="3"/>
                  </a:lnTo>
                  <a:lnTo>
                    <a:pt x="73" y="7"/>
                  </a:lnTo>
                  <a:lnTo>
                    <a:pt x="69" y="9"/>
                  </a:lnTo>
                  <a:lnTo>
                    <a:pt x="69" y="10"/>
                  </a:lnTo>
                  <a:lnTo>
                    <a:pt x="73" y="12"/>
                  </a:lnTo>
                  <a:lnTo>
                    <a:pt x="69" y="17"/>
                  </a:lnTo>
                  <a:lnTo>
                    <a:pt x="73" y="22"/>
                  </a:lnTo>
                  <a:lnTo>
                    <a:pt x="78" y="22"/>
                  </a:lnTo>
                  <a:lnTo>
                    <a:pt x="78" y="26"/>
                  </a:lnTo>
                  <a:lnTo>
                    <a:pt x="81" y="26"/>
                  </a:lnTo>
                  <a:lnTo>
                    <a:pt x="81" y="26"/>
                  </a:lnTo>
                  <a:lnTo>
                    <a:pt x="81" y="26"/>
                  </a:lnTo>
                  <a:lnTo>
                    <a:pt x="85" y="29"/>
                  </a:lnTo>
                  <a:lnTo>
                    <a:pt x="85" y="35"/>
                  </a:lnTo>
                  <a:lnTo>
                    <a:pt x="85" y="38"/>
                  </a:lnTo>
                  <a:lnTo>
                    <a:pt x="85" y="40"/>
                  </a:lnTo>
                  <a:lnTo>
                    <a:pt x="88" y="40"/>
                  </a:lnTo>
                  <a:lnTo>
                    <a:pt x="92" y="45"/>
                  </a:lnTo>
                  <a:lnTo>
                    <a:pt x="95" y="45"/>
                  </a:lnTo>
                  <a:lnTo>
                    <a:pt x="97" y="45"/>
                  </a:lnTo>
                  <a:lnTo>
                    <a:pt x="104" y="43"/>
                  </a:lnTo>
                  <a:lnTo>
                    <a:pt x="106" y="45"/>
                  </a:lnTo>
                  <a:lnTo>
                    <a:pt x="109" y="45"/>
                  </a:lnTo>
                  <a:lnTo>
                    <a:pt x="109" y="49"/>
                  </a:lnTo>
                  <a:lnTo>
                    <a:pt x="113" y="52"/>
                  </a:lnTo>
                  <a:lnTo>
                    <a:pt x="120" y="55"/>
                  </a:lnTo>
                  <a:lnTo>
                    <a:pt x="123" y="55"/>
                  </a:lnTo>
                  <a:lnTo>
                    <a:pt x="135" y="59"/>
                  </a:lnTo>
                  <a:lnTo>
                    <a:pt x="141" y="59"/>
                  </a:lnTo>
                  <a:lnTo>
                    <a:pt x="151" y="55"/>
                  </a:lnTo>
                  <a:lnTo>
                    <a:pt x="160" y="55"/>
                  </a:lnTo>
                  <a:lnTo>
                    <a:pt x="170" y="55"/>
                  </a:lnTo>
                  <a:lnTo>
                    <a:pt x="174" y="57"/>
                  </a:lnTo>
                  <a:lnTo>
                    <a:pt x="174" y="52"/>
                  </a:lnTo>
                  <a:lnTo>
                    <a:pt x="174" y="49"/>
                  </a:lnTo>
                  <a:lnTo>
                    <a:pt x="172" y="45"/>
                  </a:lnTo>
                  <a:lnTo>
                    <a:pt x="174" y="43"/>
                  </a:lnTo>
                  <a:lnTo>
                    <a:pt x="182" y="40"/>
                  </a:lnTo>
                  <a:lnTo>
                    <a:pt x="184" y="36"/>
                  </a:lnTo>
                  <a:lnTo>
                    <a:pt x="186" y="35"/>
                  </a:lnTo>
                  <a:lnTo>
                    <a:pt x="189" y="35"/>
                  </a:lnTo>
                  <a:lnTo>
                    <a:pt x="196" y="29"/>
                  </a:lnTo>
                  <a:lnTo>
                    <a:pt x="205" y="26"/>
                  </a:lnTo>
                  <a:lnTo>
                    <a:pt x="210" y="29"/>
                  </a:lnTo>
                  <a:lnTo>
                    <a:pt x="210" y="22"/>
                  </a:lnTo>
                  <a:lnTo>
                    <a:pt x="213" y="22"/>
                  </a:lnTo>
                  <a:lnTo>
                    <a:pt x="219" y="26"/>
                  </a:lnTo>
                  <a:lnTo>
                    <a:pt x="222" y="26"/>
                  </a:lnTo>
                  <a:lnTo>
                    <a:pt x="229" y="29"/>
                  </a:lnTo>
                  <a:lnTo>
                    <a:pt x="233" y="31"/>
                  </a:lnTo>
                  <a:lnTo>
                    <a:pt x="243" y="36"/>
                  </a:lnTo>
                  <a:lnTo>
                    <a:pt x="247" y="36"/>
                  </a:lnTo>
                  <a:lnTo>
                    <a:pt x="248" y="35"/>
                  </a:lnTo>
                  <a:lnTo>
                    <a:pt x="255" y="38"/>
                  </a:lnTo>
                  <a:lnTo>
                    <a:pt x="260" y="38"/>
                  </a:lnTo>
                  <a:lnTo>
                    <a:pt x="260" y="43"/>
                  </a:lnTo>
                  <a:lnTo>
                    <a:pt x="260" y="45"/>
                  </a:lnTo>
                  <a:lnTo>
                    <a:pt x="264" y="45"/>
                  </a:lnTo>
                  <a:lnTo>
                    <a:pt x="271" y="45"/>
                  </a:lnTo>
                  <a:lnTo>
                    <a:pt x="280" y="54"/>
                  </a:lnTo>
                  <a:lnTo>
                    <a:pt x="286" y="55"/>
                  </a:lnTo>
                  <a:lnTo>
                    <a:pt x="290" y="57"/>
                  </a:lnTo>
                  <a:lnTo>
                    <a:pt x="293" y="62"/>
                  </a:lnTo>
                  <a:lnTo>
                    <a:pt x="292" y="62"/>
                  </a:lnTo>
                  <a:lnTo>
                    <a:pt x="293" y="68"/>
                  </a:lnTo>
                  <a:lnTo>
                    <a:pt x="293" y="71"/>
                  </a:lnTo>
                  <a:lnTo>
                    <a:pt x="295" y="75"/>
                  </a:lnTo>
                  <a:lnTo>
                    <a:pt x="293" y="78"/>
                  </a:lnTo>
                  <a:lnTo>
                    <a:pt x="295" y="82"/>
                  </a:lnTo>
                  <a:lnTo>
                    <a:pt x="293" y="83"/>
                  </a:lnTo>
                  <a:lnTo>
                    <a:pt x="295" y="85"/>
                  </a:lnTo>
                  <a:lnTo>
                    <a:pt x="295" y="88"/>
                  </a:lnTo>
                  <a:lnTo>
                    <a:pt x="295" y="90"/>
                  </a:lnTo>
                  <a:lnTo>
                    <a:pt x="290" y="94"/>
                  </a:lnTo>
                  <a:lnTo>
                    <a:pt x="286" y="94"/>
                  </a:lnTo>
                  <a:lnTo>
                    <a:pt x="288" y="97"/>
                  </a:lnTo>
                  <a:lnTo>
                    <a:pt x="292" y="97"/>
                  </a:lnTo>
                  <a:lnTo>
                    <a:pt x="288" y="102"/>
                  </a:lnTo>
                  <a:lnTo>
                    <a:pt x="288" y="104"/>
                  </a:lnTo>
                  <a:lnTo>
                    <a:pt x="290" y="108"/>
                  </a:lnTo>
                  <a:lnTo>
                    <a:pt x="290" y="113"/>
                  </a:lnTo>
                  <a:lnTo>
                    <a:pt x="295" y="115"/>
                  </a:lnTo>
                  <a:lnTo>
                    <a:pt x="297" y="115"/>
                  </a:lnTo>
                  <a:lnTo>
                    <a:pt x="292" y="120"/>
                  </a:lnTo>
                  <a:lnTo>
                    <a:pt x="290" y="125"/>
                  </a:lnTo>
                  <a:lnTo>
                    <a:pt x="295" y="134"/>
                  </a:lnTo>
                  <a:lnTo>
                    <a:pt x="299" y="142"/>
                  </a:lnTo>
                  <a:lnTo>
                    <a:pt x="297" y="144"/>
                  </a:lnTo>
                  <a:lnTo>
                    <a:pt x="299" y="148"/>
                  </a:lnTo>
                  <a:lnTo>
                    <a:pt x="299" y="153"/>
                  </a:lnTo>
                  <a:lnTo>
                    <a:pt x="314" y="153"/>
                  </a:lnTo>
                  <a:lnTo>
                    <a:pt x="318" y="160"/>
                  </a:lnTo>
                  <a:lnTo>
                    <a:pt x="318" y="165"/>
                  </a:lnTo>
                  <a:lnTo>
                    <a:pt x="318" y="170"/>
                  </a:lnTo>
                  <a:lnTo>
                    <a:pt x="318" y="172"/>
                  </a:lnTo>
                  <a:lnTo>
                    <a:pt x="304" y="189"/>
                  </a:lnTo>
                  <a:lnTo>
                    <a:pt x="314" y="202"/>
                  </a:lnTo>
                  <a:lnTo>
                    <a:pt x="314" y="207"/>
                  </a:lnTo>
                  <a:lnTo>
                    <a:pt x="319" y="210"/>
                  </a:lnTo>
                  <a:lnTo>
                    <a:pt x="323" y="212"/>
                  </a:lnTo>
                  <a:lnTo>
                    <a:pt x="325" y="214"/>
                  </a:lnTo>
                  <a:lnTo>
                    <a:pt x="332" y="215"/>
                  </a:lnTo>
                  <a:lnTo>
                    <a:pt x="333" y="215"/>
                  </a:lnTo>
                  <a:lnTo>
                    <a:pt x="333" y="217"/>
                  </a:lnTo>
                  <a:lnTo>
                    <a:pt x="340" y="219"/>
                  </a:lnTo>
                  <a:lnTo>
                    <a:pt x="340" y="224"/>
                  </a:lnTo>
                  <a:lnTo>
                    <a:pt x="340" y="229"/>
                  </a:lnTo>
                  <a:lnTo>
                    <a:pt x="340" y="233"/>
                  </a:lnTo>
                  <a:lnTo>
                    <a:pt x="340" y="235"/>
                  </a:lnTo>
                  <a:lnTo>
                    <a:pt x="346" y="235"/>
                  </a:lnTo>
                  <a:lnTo>
                    <a:pt x="351" y="238"/>
                  </a:lnTo>
                  <a:lnTo>
                    <a:pt x="351" y="245"/>
                  </a:lnTo>
                  <a:lnTo>
                    <a:pt x="347" y="247"/>
                  </a:lnTo>
                  <a:lnTo>
                    <a:pt x="346" y="247"/>
                  </a:lnTo>
                  <a:lnTo>
                    <a:pt x="337" y="247"/>
                  </a:lnTo>
                  <a:lnTo>
                    <a:pt x="333" y="250"/>
                  </a:lnTo>
                  <a:lnTo>
                    <a:pt x="328" y="252"/>
                  </a:lnTo>
                  <a:lnTo>
                    <a:pt x="326" y="255"/>
                  </a:lnTo>
                  <a:lnTo>
                    <a:pt x="328" y="257"/>
                  </a:lnTo>
                  <a:lnTo>
                    <a:pt x="325" y="261"/>
                  </a:lnTo>
                  <a:lnTo>
                    <a:pt x="326" y="266"/>
                  </a:lnTo>
                  <a:lnTo>
                    <a:pt x="326" y="273"/>
                  </a:lnTo>
                  <a:lnTo>
                    <a:pt x="326" y="275"/>
                  </a:lnTo>
                  <a:lnTo>
                    <a:pt x="325" y="275"/>
                  </a:lnTo>
                  <a:lnTo>
                    <a:pt x="325" y="275"/>
                  </a:lnTo>
                  <a:lnTo>
                    <a:pt x="321" y="278"/>
                  </a:lnTo>
                  <a:lnTo>
                    <a:pt x="318" y="275"/>
                  </a:lnTo>
                  <a:lnTo>
                    <a:pt x="311" y="275"/>
                  </a:lnTo>
                  <a:lnTo>
                    <a:pt x="311" y="269"/>
                  </a:lnTo>
                  <a:lnTo>
                    <a:pt x="309" y="269"/>
                  </a:lnTo>
                  <a:lnTo>
                    <a:pt x="306" y="275"/>
                  </a:lnTo>
                  <a:lnTo>
                    <a:pt x="306" y="275"/>
                  </a:lnTo>
                  <a:lnTo>
                    <a:pt x="304" y="273"/>
                  </a:lnTo>
                  <a:lnTo>
                    <a:pt x="302" y="273"/>
                  </a:lnTo>
                  <a:lnTo>
                    <a:pt x="299" y="273"/>
                  </a:lnTo>
                  <a:lnTo>
                    <a:pt x="292" y="273"/>
                  </a:lnTo>
                  <a:lnTo>
                    <a:pt x="286" y="269"/>
                  </a:lnTo>
                  <a:lnTo>
                    <a:pt x="278" y="269"/>
                  </a:lnTo>
                  <a:lnTo>
                    <a:pt x="273" y="266"/>
                  </a:lnTo>
                  <a:lnTo>
                    <a:pt x="271" y="266"/>
                  </a:lnTo>
                  <a:lnTo>
                    <a:pt x="267" y="269"/>
                  </a:lnTo>
                  <a:lnTo>
                    <a:pt x="264" y="266"/>
                  </a:lnTo>
                  <a:lnTo>
                    <a:pt x="260" y="266"/>
                  </a:lnTo>
                  <a:lnTo>
                    <a:pt x="252" y="268"/>
                  </a:lnTo>
                  <a:lnTo>
                    <a:pt x="250" y="264"/>
                  </a:lnTo>
                  <a:lnTo>
                    <a:pt x="248" y="264"/>
                  </a:lnTo>
                  <a:lnTo>
                    <a:pt x="248" y="259"/>
                  </a:lnTo>
                  <a:lnTo>
                    <a:pt x="245" y="252"/>
                  </a:lnTo>
                  <a:lnTo>
                    <a:pt x="243" y="247"/>
                  </a:lnTo>
                  <a:lnTo>
                    <a:pt x="240" y="242"/>
                  </a:lnTo>
                  <a:lnTo>
                    <a:pt x="240" y="240"/>
                  </a:lnTo>
                  <a:lnTo>
                    <a:pt x="238" y="240"/>
                  </a:lnTo>
                  <a:lnTo>
                    <a:pt x="238" y="240"/>
                  </a:lnTo>
                  <a:lnTo>
                    <a:pt x="233" y="238"/>
                  </a:lnTo>
                  <a:lnTo>
                    <a:pt x="229" y="240"/>
                  </a:lnTo>
                  <a:lnTo>
                    <a:pt x="224" y="243"/>
                  </a:lnTo>
                  <a:lnTo>
                    <a:pt x="220" y="243"/>
                  </a:lnTo>
                  <a:lnTo>
                    <a:pt x="220" y="242"/>
                  </a:lnTo>
                  <a:lnTo>
                    <a:pt x="220" y="243"/>
                  </a:lnTo>
                  <a:lnTo>
                    <a:pt x="213" y="247"/>
                  </a:lnTo>
                  <a:lnTo>
                    <a:pt x="207" y="252"/>
                  </a:lnTo>
                  <a:lnTo>
                    <a:pt x="201" y="247"/>
                  </a:lnTo>
                  <a:lnTo>
                    <a:pt x="194" y="247"/>
                  </a:lnTo>
                  <a:lnTo>
                    <a:pt x="191" y="247"/>
                  </a:lnTo>
                  <a:lnTo>
                    <a:pt x="189" y="247"/>
                  </a:lnTo>
                  <a:lnTo>
                    <a:pt x="182" y="243"/>
                  </a:lnTo>
                  <a:lnTo>
                    <a:pt x="179" y="243"/>
                  </a:lnTo>
                  <a:lnTo>
                    <a:pt x="179" y="242"/>
                  </a:lnTo>
                  <a:lnTo>
                    <a:pt x="174" y="240"/>
                  </a:lnTo>
                  <a:lnTo>
                    <a:pt x="168" y="235"/>
                  </a:lnTo>
                  <a:lnTo>
                    <a:pt x="170" y="233"/>
                  </a:lnTo>
                  <a:lnTo>
                    <a:pt x="170" y="233"/>
                  </a:lnTo>
                  <a:lnTo>
                    <a:pt x="167" y="233"/>
                  </a:lnTo>
                  <a:lnTo>
                    <a:pt x="167" y="229"/>
                  </a:lnTo>
                  <a:lnTo>
                    <a:pt x="160" y="229"/>
                  </a:lnTo>
                  <a:lnTo>
                    <a:pt x="160" y="229"/>
                  </a:lnTo>
                  <a:lnTo>
                    <a:pt x="154" y="228"/>
                  </a:lnTo>
                  <a:lnTo>
                    <a:pt x="149" y="228"/>
                  </a:lnTo>
                  <a:lnTo>
                    <a:pt x="146" y="226"/>
                  </a:lnTo>
                  <a:lnTo>
                    <a:pt x="139" y="214"/>
                  </a:lnTo>
                  <a:lnTo>
                    <a:pt x="139" y="210"/>
                  </a:lnTo>
                  <a:lnTo>
                    <a:pt x="137" y="210"/>
                  </a:lnTo>
                  <a:lnTo>
                    <a:pt x="134" y="210"/>
                  </a:lnTo>
                  <a:lnTo>
                    <a:pt x="135" y="207"/>
                  </a:lnTo>
                  <a:lnTo>
                    <a:pt x="135" y="210"/>
                  </a:lnTo>
                  <a:lnTo>
                    <a:pt x="137" y="210"/>
                  </a:lnTo>
                  <a:lnTo>
                    <a:pt x="135" y="207"/>
                  </a:lnTo>
                  <a:lnTo>
                    <a:pt x="132" y="207"/>
                  </a:lnTo>
                  <a:lnTo>
                    <a:pt x="132" y="205"/>
                  </a:lnTo>
                  <a:lnTo>
                    <a:pt x="132" y="200"/>
                  </a:lnTo>
                  <a:lnTo>
                    <a:pt x="123" y="193"/>
                  </a:lnTo>
                  <a:lnTo>
                    <a:pt x="123" y="189"/>
                  </a:lnTo>
                  <a:lnTo>
                    <a:pt x="120" y="184"/>
                  </a:lnTo>
                  <a:lnTo>
                    <a:pt x="120" y="184"/>
                  </a:lnTo>
                  <a:lnTo>
                    <a:pt x="113" y="188"/>
                  </a:lnTo>
                  <a:lnTo>
                    <a:pt x="111" y="188"/>
                  </a:lnTo>
                  <a:lnTo>
                    <a:pt x="109" y="184"/>
                  </a:lnTo>
                  <a:lnTo>
                    <a:pt x="107" y="184"/>
                  </a:lnTo>
                  <a:lnTo>
                    <a:pt x="104" y="184"/>
                  </a:lnTo>
                  <a:lnTo>
                    <a:pt x="104" y="182"/>
                  </a:lnTo>
                  <a:lnTo>
                    <a:pt x="106" y="181"/>
                  </a:lnTo>
                  <a:lnTo>
                    <a:pt x="104" y="181"/>
                  </a:lnTo>
                  <a:lnTo>
                    <a:pt x="104" y="181"/>
                  </a:lnTo>
                  <a:lnTo>
                    <a:pt x="101" y="181"/>
                  </a:lnTo>
                  <a:lnTo>
                    <a:pt x="104" y="182"/>
                  </a:lnTo>
                  <a:lnTo>
                    <a:pt x="104" y="184"/>
                  </a:lnTo>
                  <a:lnTo>
                    <a:pt x="101" y="188"/>
                  </a:lnTo>
                  <a:lnTo>
                    <a:pt x="101" y="188"/>
                  </a:lnTo>
                  <a:lnTo>
                    <a:pt x="97" y="184"/>
                  </a:lnTo>
                  <a:lnTo>
                    <a:pt x="97" y="184"/>
                  </a:lnTo>
                  <a:lnTo>
                    <a:pt x="95" y="184"/>
                  </a:lnTo>
                  <a:lnTo>
                    <a:pt x="94" y="184"/>
                  </a:lnTo>
                  <a:lnTo>
                    <a:pt x="90" y="182"/>
                  </a:lnTo>
                  <a:lnTo>
                    <a:pt x="87" y="179"/>
                  </a:lnTo>
                  <a:lnTo>
                    <a:pt x="87" y="168"/>
                  </a:lnTo>
                  <a:lnTo>
                    <a:pt x="81" y="168"/>
                  </a:lnTo>
                  <a:lnTo>
                    <a:pt x="78" y="165"/>
                  </a:lnTo>
                  <a:lnTo>
                    <a:pt x="81" y="160"/>
                  </a:lnTo>
                  <a:lnTo>
                    <a:pt x="83" y="156"/>
                  </a:lnTo>
                  <a:lnTo>
                    <a:pt x="81" y="148"/>
                  </a:lnTo>
                  <a:lnTo>
                    <a:pt x="78" y="146"/>
                  </a:lnTo>
                  <a:lnTo>
                    <a:pt x="73" y="142"/>
                  </a:lnTo>
                  <a:lnTo>
                    <a:pt x="69" y="139"/>
                  </a:lnTo>
                  <a:lnTo>
                    <a:pt x="69" y="139"/>
                  </a:lnTo>
                  <a:lnTo>
                    <a:pt x="57" y="130"/>
                  </a:lnTo>
                  <a:lnTo>
                    <a:pt x="54" y="130"/>
                  </a:lnTo>
                  <a:lnTo>
                    <a:pt x="52" y="134"/>
                  </a:lnTo>
                  <a:lnTo>
                    <a:pt x="47" y="130"/>
                  </a:lnTo>
                  <a:lnTo>
                    <a:pt x="50" y="128"/>
                  </a:lnTo>
                  <a:lnTo>
                    <a:pt x="47" y="127"/>
                  </a:lnTo>
                  <a:lnTo>
                    <a:pt x="50" y="123"/>
                  </a:lnTo>
                  <a:lnTo>
                    <a:pt x="47" y="120"/>
                  </a:lnTo>
                  <a:lnTo>
                    <a:pt x="45" y="120"/>
                  </a:lnTo>
                  <a:lnTo>
                    <a:pt x="41" y="116"/>
                  </a:lnTo>
                  <a:lnTo>
                    <a:pt x="40" y="116"/>
                  </a:lnTo>
                  <a:lnTo>
                    <a:pt x="38" y="116"/>
                  </a:lnTo>
                  <a:lnTo>
                    <a:pt x="38" y="113"/>
                  </a:lnTo>
                  <a:lnTo>
                    <a:pt x="38" y="111"/>
                  </a:lnTo>
                  <a:lnTo>
                    <a:pt x="38" y="108"/>
                  </a:lnTo>
                  <a:lnTo>
                    <a:pt x="38" y="108"/>
                  </a:lnTo>
                  <a:lnTo>
                    <a:pt x="38" y="101"/>
                  </a:lnTo>
                  <a:lnTo>
                    <a:pt x="41" y="99"/>
                  </a:lnTo>
                  <a:lnTo>
                    <a:pt x="41" y="94"/>
                  </a:lnTo>
                  <a:lnTo>
                    <a:pt x="43" y="94"/>
                  </a:lnTo>
                  <a:lnTo>
                    <a:pt x="47" y="94"/>
                  </a:lnTo>
                  <a:lnTo>
                    <a:pt x="47" y="85"/>
                  </a:lnTo>
                  <a:lnTo>
                    <a:pt x="45" y="85"/>
                  </a:lnTo>
                  <a:lnTo>
                    <a:pt x="45" y="82"/>
                  </a:lnTo>
                  <a:lnTo>
                    <a:pt x="47" y="82"/>
                  </a:lnTo>
                  <a:lnTo>
                    <a:pt x="50" y="80"/>
                  </a:lnTo>
                  <a:lnTo>
                    <a:pt x="50" y="80"/>
                  </a:lnTo>
                  <a:lnTo>
                    <a:pt x="50" y="78"/>
                  </a:lnTo>
                  <a:lnTo>
                    <a:pt x="47" y="76"/>
                  </a:lnTo>
                  <a:lnTo>
                    <a:pt x="43" y="78"/>
                  </a:lnTo>
                  <a:lnTo>
                    <a:pt x="40" y="76"/>
                  </a:lnTo>
                  <a:lnTo>
                    <a:pt x="35" y="75"/>
                  </a:lnTo>
                  <a:lnTo>
                    <a:pt x="31" y="75"/>
                  </a:lnTo>
                  <a:lnTo>
                    <a:pt x="28" y="71"/>
                  </a:lnTo>
                  <a:lnTo>
                    <a:pt x="28" y="68"/>
                  </a:lnTo>
                  <a:lnTo>
                    <a:pt x="24" y="66"/>
                  </a:lnTo>
                  <a:lnTo>
                    <a:pt x="22" y="62"/>
                  </a:lnTo>
                  <a:lnTo>
                    <a:pt x="22" y="61"/>
                  </a:lnTo>
                  <a:lnTo>
                    <a:pt x="22" y="57"/>
                  </a:lnTo>
                  <a:lnTo>
                    <a:pt x="19" y="54"/>
                  </a:lnTo>
                  <a:lnTo>
                    <a:pt x="17" y="54"/>
                  </a:lnTo>
                  <a:lnTo>
                    <a:pt x="17" y="54"/>
                  </a:lnTo>
                  <a:lnTo>
                    <a:pt x="17" y="52"/>
                  </a:lnTo>
                  <a:lnTo>
                    <a:pt x="15" y="49"/>
                  </a:lnTo>
                  <a:lnTo>
                    <a:pt x="12" y="40"/>
                  </a:lnTo>
                  <a:lnTo>
                    <a:pt x="7" y="38"/>
                  </a:lnTo>
                  <a:lnTo>
                    <a:pt x="7" y="36"/>
                  </a:lnTo>
                  <a:lnTo>
                    <a:pt x="7" y="31"/>
                  </a:lnTo>
                  <a:lnTo>
                    <a:pt x="10" y="26"/>
                  </a:lnTo>
                  <a:lnTo>
                    <a:pt x="8" y="26"/>
                  </a:lnTo>
                  <a:lnTo>
                    <a:pt x="3" y="22"/>
                  </a:lnTo>
                  <a:lnTo>
                    <a:pt x="3" y="21"/>
                  </a:lnTo>
                  <a:lnTo>
                    <a:pt x="5" y="17"/>
                  </a:lnTo>
                  <a:lnTo>
                    <a:pt x="3" y="10"/>
                  </a:lnTo>
                  <a:lnTo>
                    <a:pt x="2" y="7"/>
                  </a:lnTo>
                  <a:lnTo>
                    <a:pt x="0" y="5"/>
                  </a:lnTo>
                  <a:lnTo>
                    <a:pt x="5" y="3"/>
                  </a:lnTo>
                  <a:lnTo>
                    <a:pt x="7" y="0"/>
                  </a:lnTo>
                  <a:lnTo>
                    <a:pt x="10" y="0"/>
                  </a:lnTo>
                  <a:lnTo>
                    <a:pt x="10" y="0"/>
                  </a:lnTo>
                  <a:lnTo>
                    <a:pt x="10" y="0"/>
                  </a:lnTo>
                  <a:lnTo>
                    <a:pt x="10"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3" name="Freeform 59">
              <a:extLst>
                <a:ext uri="{FF2B5EF4-FFF2-40B4-BE49-F238E27FC236}">
                  <a16:creationId xmlns:a16="http://schemas.microsoft.com/office/drawing/2014/main" id="{C8424F12-A4F8-4C09-9186-3E8C63A6954A}"/>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4" name="Freeform 60">
              <a:extLst>
                <a:ext uri="{FF2B5EF4-FFF2-40B4-BE49-F238E27FC236}">
                  <a16:creationId xmlns:a16="http://schemas.microsoft.com/office/drawing/2014/main" id="{54D4524A-C40C-4906-B7DC-6BEFAC3F34EF}"/>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5" name="Freeform 61">
              <a:extLst>
                <a:ext uri="{FF2B5EF4-FFF2-40B4-BE49-F238E27FC236}">
                  <a16:creationId xmlns:a16="http://schemas.microsoft.com/office/drawing/2014/main" id="{17E744B3-7BD5-4922-833A-E0D758F31C0F}"/>
                </a:ext>
              </a:extLst>
            </p:cNvPr>
            <p:cNvSpPr>
              <a:spLocks noEditPoints="1"/>
            </p:cNvSpPr>
            <p:nvPr/>
          </p:nvSpPr>
          <p:spPr bwMode="auto">
            <a:xfrm>
              <a:off x="5111750" y="3032126"/>
              <a:ext cx="504825" cy="201613"/>
            </a:xfrm>
            <a:custGeom>
              <a:avLst/>
              <a:gdLst/>
              <a:ahLst/>
              <a:cxnLst>
                <a:cxn ang="0">
                  <a:pos x="15" y="14"/>
                </a:cxn>
                <a:cxn ang="0">
                  <a:pos x="24" y="2"/>
                </a:cxn>
                <a:cxn ang="0">
                  <a:pos x="45" y="16"/>
                </a:cxn>
                <a:cxn ang="0">
                  <a:pos x="43" y="25"/>
                </a:cxn>
                <a:cxn ang="0">
                  <a:pos x="17" y="37"/>
                </a:cxn>
                <a:cxn ang="0">
                  <a:pos x="14" y="33"/>
                </a:cxn>
                <a:cxn ang="0">
                  <a:pos x="5" y="28"/>
                </a:cxn>
                <a:cxn ang="0">
                  <a:pos x="248" y="16"/>
                </a:cxn>
                <a:cxn ang="0">
                  <a:pos x="224" y="20"/>
                </a:cxn>
                <a:cxn ang="0">
                  <a:pos x="199" y="25"/>
                </a:cxn>
                <a:cxn ang="0">
                  <a:pos x="173" y="14"/>
                </a:cxn>
                <a:cxn ang="0">
                  <a:pos x="163" y="6"/>
                </a:cxn>
                <a:cxn ang="0">
                  <a:pos x="147" y="0"/>
                </a:cxn>
                <a:cxn ang="0">
                  <a:pos x="120" y="4"/>
                </a:cxn>
                <a:cxn ang="0">
                  <a:pos x="95" y="16"/>
                </a:cxn>
                <a:cxn ang="0">
                  <a:pos x="74" y="20"/>
                </a:cxn>
                <a:cxn ang="0">
                  <a:pos x="55" y="21"/>
                </a:cxn>
                <a:cxn ang="0">
                  <a:pos x="59" y="32"/>
                </a:cxn>
                <a:cxn ang="0">
                  <a:pos x="52" y="40"/>
                </a:cxn>
                <a:cxn ang="0">
                  <a:pos x="29" y="42"/>
                </a:cxn>
                <a:cxn ang="0">
                  <a:pos x="8" y="49"/>
                </a:cxn>
                <a:cxn ang="0">
                  <a:pos x="17" y="58"/>
                </a:cxn>
                <a:cxn ang="0">
                  <a:pos x="22" y="66"/>
                </a:cxn>
                <a:cxn ang="0">
                  <a:pos x="20" y="75"/>
                </a:cxn>
                <a:cxn ang="0">
                  <a:pos x="15" y="75"/>
                </a:cxn>
                <a:cxn ang="0">
                  <a:pos x="17" y="87"/>
                </a:cxn>
                <a:cxn ang="0">
                  <a:pos x="27" y="98"/>
                </a:cxn>
                <a:cxn ang="0">
                  <a:pos x="29" y="108"/>
                </a:cxn>
                <a:cxn ang="0">
                  <a:pos x="41" y="113"/>
                </a:cxn>
                <a:cxn ang="0">
                  <a:pos x="40" y="115"/>
                </a:cxn>
                <a:cxn ang="0">
                  <a:pos x="50" y="113"/>
                </a:cxn>
                <a:cxn ang="0">
                  <a:pos x="60" y="117"/>
                </a:cxn>
                <a:cxn ang="0">
                  <a:pos x="69" y="126"/>
                </a:cxn>
                <a:cxn ang="0">
                  <a:pos x="87" y="120"/>
                </a:cxn>
                <a:cxn ang="0">
                  <a:pos x="109" y="117"/>
                </a:cxn>
                <a:cxn ang="0">
                  <a:pos x="142" y="124"/>
                </a:cxn>
                <a:cxn ang="0">
                  <a:pos x="161" y="113"/>
                </a:cxn>
                <a:cxn ang="0">
                  <a:pos x="179" y="113"/>
                </a:cxn>
                <a:cxn ang="0">
                  <a:pos x="179" y="127"/>
                </a:cxn>
                <a:cxn ang="0">
                  <a:pos x="189" y="112"/>
                </a:cxn>
                <a:cxn ang="0">
                  <a:pos x="219" y="108"/>
                </a:cxn>
                <a:cxn ang="0">
                  <a:pos x="241" y="108"/>
                </a:cxn>
                <a:cxn ang="0">
                  <a:pos x="272" y="101"/>
                </a:cxn>
                <a:cxn ang="0">
                  <a:pos x="297" y="98"/>
                </a:cxn>
                <a:cxn ang="0">
                  <a:pos x="318" y="103"/>
                </a:cxn>
                <a:cxn ang="0">
                  <a:pos x="305" y="80"/>
                </a:cxn>
                <a:cxn ang="0">
                  <a:pos x="304" y="60"/>
                </a:cxn>
                <a:cxn ang="0">
                  <a:pos x="305" y="44"/>
                </a:cxn>
                <a:cxn ang="0">
                  <a:pos x="292" y="26"/>
                </a:cxn>
                <a:cxn ang="0">
                  <a:pos x="274" y="11"/>
                </a:cxn>
                <a:cxn ang="0">
                  <a:pos x="259" y="11"/>
                </a:cxn>
                <a:cxn ang="0">
                  <a:pos x="38" y="117"/>
                </a:cxn>
                <a:cxn ang="0">
                  <a:pos x="38" y="117"/>
                </a:cxn>
                <a:cxn ang="0">
                  <a:pos x="7" y="40"/>
                </a:cxn>
                <a:cxn ang="0">
                  <a:pos x="0" y="42"/>
                </a:cxn>
              </a:cxnLst>
              <a:rect l="0" t="0" r="r" b="b"/>
              <a:pathLst>
                <a:path w="318" h="127">
                  <a:moveTo>
                    <a:pt x="5" y="28"/>
                  </a:moveTo>
                  <a:lnTo>
                    <a:pt x="8" y="28"/>
                  </a:lnTo>
                  <a:lnTo>
                    <a:pt x="10" y="25"/>
                  </a:lnTo>
                  <a:lnTo>
                    <a:pt x="10" y="20"/>
                  </a:lnTo>
                  <a:lnTo>
                    <a:pt x="15" y="16"/>
                  </a:lnTo>
                  <a:lnTo>
                    <a:pt x="15" y="14"/>
                  </a:lnTo>
                  <a:lnTo>
                    <a:pt x="12" y="13"/>
                  </a:lnTo>
                  <a:lnTo>
                    <a:pt x="12" y="7"/>
                  </a:lnTo>
                  <a:lnTo>
                    <a:pt x="15" y="4"/>
                  </a:lnTo>
                  <a:lnTo>
                    <a:pt x="19" y="4"/>
                  </a:lnTo>
                  <a:lnTo>
                    <a:pt x="20" y="2"/>
                  </a:lnTo>
                  <a:lnTo>
                    <a:pt x="24" y="2"/>
                  </a:lnTo>
                  <a:lnTo>
                    <a:pt x="29" y="6"/>
                  </a:lnTo>
                  <a:lnTo>
                    <a:pt x="31" y="4"/>
                  </a:lnTo>
                  <a:lnTo>
                    <a:pt x="34" y="4"/>
                  </a:lnTo>
                  <a:lnTo>
                    <a:pt x="36" y="11"/>
                  </a:lnTo>
                  <a:lnTo>
                    <a:pt x="41" y="16"/>
                  </a:lnTo>
                  <a:lnTo>
                    <a:pt x="45" y="16"/>
                  </a:lnTo>
                  <a:lnTo>
                    <a:pt x="50" y="20"/>
                  </a:lnTo>
                  <a:lnTo>
                    <a:pt x="52" y="21"/>
                  </a:lnTo>
                  <a:lnTo>
                    <a:pt x="52" y="25"/>
                  </a:lnTo>
                  <a:lnTo>
                    <a:pt x="50" y="26"/>
                  </a:lnTo>
                  <a:lnTo>
                    <a:pt x="45" y="26"/>
                  </a:lnTo>
                  <a:lnTo>
                    <a:pt x="43" y="25"/>
                  </a:lnTo>
                  <a:lnTo>
                    <a:pt x="40" y="25"/>
                  </a:lnTo>
                  <a:lnTo>
                    <a:pt x="38" y="26"/>
                  </a:lnTo>
                  <a:lnTo>
                    <a:pt x="31" y="26"/>
                  </a:lnTo>
                  <a:lnTo>
                    <a:pt x="27" y="28"/>
                  </a:lnTo>
                  <a:lnTo>
                    <a:pt x="27" y="32"/>
                  </a:lnTo>
                  <a:lnTo>
                    <a:pt x="17" y="37"/>
                  </a:lnTo>
                  <a:lnTo>
                    <a:pt x="10" y="44"/>
                  </a:lnTo>
                  <a:lnTo>
                    <a:pt x="10" y="40"/>
                  </a:lnTo>
                  <a:lnTo>
                    <a:pt x="12" y="35"/>
                  </a:lnTo>
                  <a:lnTo>
                    <a:pt x="14" y="35"/>
                  </a:lnTo>
                  <a:lnTo>
                    <a:pt x="17" y="33"/>
                  </a:lnTo>
                  <a:lnTo>
                    <a:pt x="14" y="33"/>
                  </a:lnTo>
                  <a:lnTo>
                    <a:pt x="12" y="33"/>
                  </a:lnTo>
                  <a:lnTo>
                    <a:pt x="10" y="33"/>
                  </a:lnTo>
                  <a:lnTo>
                    <a:pt x="7" y="32"/>
                  </a:lnTo>
                  <a:lnTo>
                    <a:pt x="5" y="28"/>
                  </a:lnTo>
                  <a:lnTo>
                    <a:pt x="5" y="28"/>
                  </a:lnTo>
                  <a:lnTo>
                    <a:pt x="5" y="28"/>
                  </a:lnTo>
                  <a:lnTo>
                    <a:pt x="5" y="28"/>
                  </a:lnTo>
                  <a:lnTo>
                    <a:pt x="5" y="28"/>
                  </a:lnTo>
                  <a:close/>
                  <a:moveTo>
                    <a:pt x="255" y="7"/>
                  </a:moveTo>
                  <a:lnTo>
                    <a:pt x="255" y="9"/>
                  </a:lnTo>
                  <a:lnTo>
                    <a:pt x="253" y="14"/>
                  </a:lnTo>
                  <a:lnTo>
                    <a:pt x="248" y="16"/>
                  </a:lnTo>
                  <a:lnTo>
                    <a:pt x="243" y="20"/>
                  </a:lnTo>
                  <a:lnTo>
                    <a:pt x="241" y="21"/>
                  </a:lnTo>
                  <a:lnTo>
                    <a:pt x="236" y="21"/>
                  </a:lnTo>
                  <a:lnTo>
                    <a:pt x="232" y="25"/>
                  </a:lnTo>
                  <a:lnTo>
                    <a:pt x="227" y="21"/>
                  </a:lnTo>
                  <a:lnTo>
                    <a:pt x="224" y="20"/>
                  </a:lnTo>
                  <a:lnTo>
                    <a:pt x="222" y="20"/>
                  </a:lnTo>
                  <a:lnTo>
                    <a:pt x="222" y="20"/>
                  </a:lnTo>
                  <a:lnTo>
                    <a:pt x="219" y="20"/>
                  </a:lnTo>
                  <a:lnTo>
                    <a:pt x="213" y="21"/>
                  </a:lnTo>
                  <a:lnTo>
                    <a:pt x="205" y="25"/>
                  </a:lnTo>
                  <a:lnTo>
                    <a:pt x="199" y="25"/>
                  </a:lnTo>
                  <a:lnTo>
                    <a:pt x="196" y="20"/>
                  </a:lnTo>
                  <a:lnTo>
                    <a:pt x="193" y="21"/>
                  </a:lnTo>
                  <a:lnTo>
                    <a:pt x="186" y="20"/>
                  </a:lnTo>
                  <a:lnTo>
                    <a:pt x="182" y="20"/>
                  </a:lnTo>
                  <a:lnTo>
                    <a:pt x="179" y="14"/>
                  </a:lnTo>
                  <a:lnTo>
                    <a:pt x="173" y="14"/>
                  </a:lnTo>
                  <a:lnTo>
                    <a:pt x="173" y="16"/>
                  </a:lnTo>
                  <a:lnTo>
                    <a:pt x="172" y="16"/>
                  </a:lnTo>
                  <a:lnTo>
                    <a:pt x="168" y="13"/>
                  </a:lnTo>
                  <a:lnTo>
                    <a:pt x="166" y="7"/>
                  </a:lnTo>
                  <a:lnTo>
                    <a:pt x="165" y="6"/>
                  </a:lnTo>
                  <a:lnTo>
                    <a:pt x="163" y="6"/>
                  </a:lnTo>
                  <a:lnTo>
                    <a:pt x="159" y="11"/>
                  </a:lnTo>
                  <a:lnTo>
                    <a:pt x="156" y="9"/>
                  </a:lnTo>
                  <a:lnTo>
                    <a:pt x="154" y="11"/>
                  </a:lnTo>
                  <a:lnTo>
                    <a:pt x="149" y="4"/>
                  </a:lnTo>
                  <a:lnTo>
                    <a:pt x="149" y="0"/>
                  </a:lnTo>
                  <a:lnTo>
                    <a:pt x="147" y="0"/>
                  </a:lnTo>
                  <a:lnTo>
                    <a:pt x="144" y="2"/>
                  </a:lnTo>
                  <a:lnTo>
                    <a:pt x="139" y="2"/>
                  </a:lnTo>
                  <a:lnTo>
                    <a:pt x="135" y="2"/>
                  </a:lnTo>
                  <a:lnTo>
                    <a:pt x="132" y="2"/>
                  </a:lnTo>
                  <a:lnTo>
                    <a:pt x="125" y="2"/>
                  </a:lnTo>
                  <a:lnTo>
                    <a:pt x="120" y="4"/>
                  </a:lnTo>
                  <a:lnTo>
                    <a:pt x="111" y="7"/>
                  </a:lnTo>
                  <a:lnTo>
                    <a:pt x="109" y="7"/>
                  </a:lnTo>
                  <a:lnTo>
                    <a:pt x="100" y="9"/>
                  </a:lnTo>
                  <a:lnTo>
                    <a:pt x="100" y="11"/>
                  </a:lnTo>
                  <a:lnTo>
                    <a:pt x="97" y="13"/>
                  </a:lnTo>
                  <a:lnTo>
                    <a:pt x="95" y="16"/>
                  </a:lnTo>
                  <a:lnTo>
                    <a:pt x="93" y="16"/>
                  </a:lnTo>
                  <a:lnTo>
                    <a:pt x="92" y="20"/>
                  </a:lnTo>
                  <a:lnTo>
                    <a:pt x="90" y="20"/>
                  </a:lnTo>
                  <a:lnTo>
                    <a:pt x="90" y="21"/>
                  </a:lnTo>
                  <a:lnTo>
                    <a:pt x="83" y="25"/>
                  </a:lnTo>
                  <a:lnTo>
                    <a:pt x="74" y="20"/>
                  </a:lnTo>
                  <a:lnTo>
                    <a:pt x="73" y="20"/>
                  </a:lnTo>
                  <a:lnTo>
                    <a:pt x="69" y="20"/>
                  </a:lnTo>
                  <a:lnTo>
                    <a:pt x="66" y="20"/>
                  </a:lnTo>
                  <a:lnTo>
                    <a:pt x="60" y="21"/>
                  </a:lnTo>
                  <a:lnTo>
                    <a:pt x="59" y="20"/>
                  </a:lnTo>
                  <a:lnTo>
                    <a:pt x="55" y="21"/>
                  </a:lnTo>
                  <a:lnTo>
                    <a:pt x="55" y="25"/>
                  </a:lnTo>
                  <a:lnTo>
                    <a:pt x="55" y="30"/>
                  </a:lnTo>
                  <a:lnTo>
                    <a:pt x="60" y="30"/>
                  </a:lnTo>
                  <a:lnTo>
                    <a:pt x="66" y="30"/>
                  </a:lnTo>
                  <a:lnTo>
                    <a:pt x="64" y="32"/>
                  </a:lnTo>
                  <a:lnTo>
                    <a:pt x="59" y="32"/>
                  </a:lnTo>
                  <a:lnTo>
                    <a:pt x="50" y="33"/>
                  </a:lnTo>
                  <a:lnTo>
                    <a:pt x="50" y="37"/>
                  </a:lnTo>
                  <a:lnTo>
                    <a:pt x="50" y="39"/>
                  </a:lnTo>
                  <a:lnTo>
                    <a:pt x="55" y="37"/>
                  </a:lnTo>
                  <a:lnTo>
                    <a:pt x="55" y="40"/>
                  </a:lnTo>
                  <a:lnTo>
                    <a:pt x="52" y="40"/>
                  </a:lnTo>
                  <a:lnTo>
                    <a:pt x="45" y="40"/>
                  </a:lnTo>
                  <a:lnTo>
                    <a:pt x="41" y="39"/>
                  </a:lnTo>
                  <a:lnTo>
                    <a:pt x="38" y="40"/>
                  </a:lnTo>
                  <a:lnTo>
                    <a:pt x="34" y="39"/>
                  </a:lnTo>
                  <a:lnTo>
                    <a:pt x="33" y="39"/>
                  </a:lnTo>
                  <a:lnTo>
                    <a:pt x="29" y="42"/>
                  </a:lnTo>
                  <a:lnTo>
                    <a:pt x="27" y="42"/>
                  </a:lnTo>
                  <a:lnTo>
                    <a:pt x="24" y="39"/>
                  </a:lnTo>
                  <a:lnTo>
                    <a:pt x="20" y="39"/>
                  </a:lnTo>
                  <a:lnTo>
                    <a:pt x="12" y="44"/>
                  </a:lnTo>
                  <a:lnTo>
                    <a:pt x="10" y="47"/>
                  </a:lnTo>
                  <a:lnTo>
                    <a:pt x="8" y="49"/>
                  </a:lnTo>
                  <a:lnTo>
                    <a:pt x="10" y="51"/>
                  </a:lnTo>
                  <a:lnTo>
                    <a:pt x="10" y="54"/>
                  </a:lnTo>
                  <a:lnTo>
                    <a:pt x="8" y="56"/>
                  </a:lnTo>
                  <a:lnTo>
                    <a:pt x="10" y="60"/>
                  </a:lnTo>
                  <a:lnTo>
                    <a:pt x="15" y="58"/>
                  </a:lnTo>
                  <a:lnTo>
                    <a:pt x="17" y="58"/>
                  </a:lnTo>
                  <a:lnTo>
                    <a:pt x="20" y="56"/>
                  </a:lnTo>
                  <a:lnTo>
                    <a:pt x="24" y="58"/>
                  </a:lnTo>
                  <a:lnTo>
                    <a:pt x="20" y="61"/>
                  </a:lnTo>
                  <a:lnTo>
                    <a:pt x="20" y="63"/>
                  </a:lnTo>
                  <a:lnTo>
                    <a:pt x="22" y="66"/>
                  </a:lnTo>
                  <a:lnTo>
                    <a:pt x="22" y="66"/>
                  </a:lnTo>
                  <a:lnTo>
                    <a:pt x="22" y="70"/>
                  </a:lnTo>
                  <a:lnTo>
                    <a:pt x="22" y="70"/>
                  </a:lnTo>
                  <a:lnTo>
                    <a:pt x="24" y="70"/>
                  </a:lnTo>
                  <a:lnTo>
                    <a:pt x="27" y="70"/>
                  </a:lnTo>
                  <a:lnTo>
                    <a:pt x="24" y="72"/>
                  </a:lnTo>
                  <a:lnTo>
                    <a:pt x="20" y="75"/>
                  </a:lnTo>
                  <a:lnTo>
                    <a:pt x="22" y="75"/>
                  </a:lnTo>
                  <a:lnTo>
                    <a:pt x="24" y="75"/>
                  </a:lnTo>
                  <a:lnTo>
                    <a:pt x="22" y="79"/>
                  </a:lnTo>
                  <a:lnTo>
                    <a:pt x="20" y="80"/>
                  </a:lnTo>
                  <a:lnTo>
                    <a:pt x="19" y="80"/>
                  </a:lnTo>
                  <a:lnTo>
                    <a:pt x="15" y="75"/>
                  </a:lnTo>
                  <a:lnTo>
                    <a:pt x="15" y="75"/>
                  </a:lnTo>
                  <a:lnTo>
                    <a:pt x="14" y="79"/>
                  </a:lnTo>
                  <a:lnTo>
                    <a:pt x="15" y="82"/>
                  </a:lnTo>
                  <a:lnTo>
                    <a:pt x="14" y="84"/>
                  </a:lnTo>
                  <a:lnTo>
                    <a:pt x="14" y="86"/>
                  </a:lnTo>
                  <a:lnTo>
                    <a:pt x="17" y="87"/>
                  </a:lnTo>
                  <a:lnTo>
                    <a:pt x="19" y="86"/>
                  </a:lnTo>
                  <a:lnTo>
                    <a:pt x="22" y="89"/>
                  </a:lnTo>
                  <a:lnTo>
                    <a:pt x="24" y="89"/>
                  </a:lnTo>
                  <a:lnTo>
                    <a:pt x="27" y="89"/>
                  </a:lnTo>
                  <a:lnTo>
                    <a:pt x="27" y="94"/>
                  </a:lnTo>
                  <a:lnTo>
                    <a:pt x="27" y="98"/>
                  </a:lnTo>
                  <a:lnTo>
                    <a:pt x="27" y="101"/>
                  </a:lnTo>
                  <a:lnTo>
                    <a:pt x="27" y="101"/>
                  </a:lnTo>
                  <a:lnTo>
                    <a:pt x="29" y="101"/>
                  </a:lnTo>
                  <a:lnTo>
                    <a:pt x="34" y="105"/>
                  </a:lnTo>
                  <a:lnTo>
                    <a:pt x="33" y="108"/>
                  </a:lnTo>
                  <a:lnTo>
                    <a:pt x="29" y="108"/>
                  </a:lnTo>
                  <a:lnTo>
                    <a:pt x="29" y="110"/>
                  </a:lnTo>
                  <a:lnTo>
                    <a:pt x="31" y="110"/>
                  </a:lnTo>
                  <a:lnTo>
                    <a:pt x="36" y="110"/>
                  </a:lnTo>
                  <a:lnTo>
                    <a:pt x="45" y="110"/>
                  </a:lnTo>
                  <a:lnTo>
                    <a:pt x="45" y="110"/>
                  </a:lnTo>
                  <a:lnTo>
                    <a:pt x="41" y="113"/>
                  </a:lnTo>
                  <a:lnTo>
                    <a:pt x="38" y="115"/>
                  </a:lnTo>
                  <a:lnTo>
                    <a:pt x="33" y="113"/>
                  </a:lnTo>
                  <a:lnTo>
                    <a:pt x="31" y="117"/>
                  </a:lnTo>
                  <a:lnTo>
                    <a:pt x="33" y="117"/>
                  </a:lnTo>
                  <a:lnTo>
                    <a:pt x="36" y="115"/>
                  </a:lnTo>
                  <a:lnTo>
                    <a:pt x="40" y="115"/>
                  </a:lnTo>
                  <a:lnTo>
                    <a:pt x="41" y="115"/>
                  </a:lnTo>
                  <a:lnTo>
                    <a:pt x="41" y="117"/>
                  </a:lnTo>
                  <a:lnTo>
                    <a:pt x="43" y="117"/>
                  </a:lnTo>
                  <a:lnTo>
                    <a:pt x="45" y="115"/>
                  </a:lnTo>
                  <a:lnTo>
                    <a:pt x="47" y="113"/>
                  </a:lnTo>
                  <a:lnTo>
                    <a:pt x="50" y="113"/>
                  </a:lnTo>
                  <a:lnTo>
                    <a:pt x="50" y="115"/>
                  </a:lnTo>
                  <a:lnTo>
                    <a:pt x="55" y="115"/>
                  </a:lnTo>
                  <a:lnTo>
                    <a:pt x="59" y="117"/>
                  </a:lnTo>
                  <a:lnTo>
                    <a:pt x="59" y="115"/>
                  </a:lnTo>
                  <a:lnTo>
                    <a:pt x="60" y="115"/>
                  </a:lnTo>
                  <a:lnTo>
                    <a:pt x="60" y="117"/>
                  </a:lnTo>
                  <a:lnTo>
                    <a:pt x="59" y="117"/>
                  </a:lnTo>
                  <a:lnTo>
                    <a:pt x="60" y="120"/>
                  </a:lnTo>
                  <a:lnTo>
                    <a:pt x="60" y="120"/>
                  </a:lnTo>
                  <a:lnTo>
                    <a:pt x="64" y="124"/>
                  </a:lnTo>
                  <a:lnTo>
                    <a:pt x="66" y="124"/>
                  </a:lnTo>
                  <a:lnTo>
                    <a:pt x="69" y="126"/>
                  </a:lnTo>
                  <a:lnTo>
                    <a:pt x="74" y="124"/>
                  </a:lnTo>
                  <a:lnTo>
                    <a:pt x="74" y="124"/>
                  </a:lnTo>
                  <a:lnTo>
                    <a:pt x="78" y="124"/>
                  </a:lnTo>
                  <a:lnTo>
                    <a:pt x="81" y="120"/>
                  </a:lnTo>
                  <a:lnTo>
                    <a:pt x="83" y="124"/>
                  </a:lnTo>
                  <a:lnTo>
                    <a:pt x="87" y="120"/>
                  </a:lnTo>
                  <a:lnTo>
                    <a:pt x="85" y="117"/>
                  </a:lnTo>
                  <a:lnTo>
                    <a:pt x="87" y="117"/>
                  </a:lnTo>
                  <a:lnTo>
                    <a:pt x="85" y="112"/>
                  </a:lnTo>
                  <a:lnTo>
                    <a:pt x="93" y="112"/>
                  </a:lnTo>
                  <a:lnTo>
                    <a:pt x="100" y="112"/>
                  </a:lnTo>
                  <a:lnTo>
                    <a:pt x="109" y="117"/>
                  </a:lnTo>
                  <a:lnTo>
                    <a:pt x="111" y="117"/>
                  </a:lnTo>
                  <a:lnTo>
                    <a:pt x="116" y="124"/>
                  </a:lnTo>
                  <a:lnTo>
                    <a:pt x="120" y="126"/>
                  </a:lnTo>
                  <a:lnTo>
                    <a:pt x="135" y="124"/>
                  </a:lnTo>
                  <a:lnTo>
                    <a:pt x="140" y="124"/>
                  </a:lnTo>
                  <a:lnTo>
                    <a:pt x="142" y="124"/>
                  </a:lnTo>
                  <a:lnTo>
                    <a:pt x="144" y="124"/>
                  </a:lnTo>
                  <a:lnTo>
                    <a:pt x="146" y="120"/>
                  </a:lnTo>
                  <a:lnTo>
                    <a:pt x="146" y="120"/>
                  </a:lnTo>
                  <a:lnTo>
                    <a:pt x="154" y="110"/>
                  </a:lnTo>
                  <a:lnTo>
                    <a:pt x="154" y="110"/>
                  </a:lnTo>
                  <a:lnTo>
                    <a:pt x="161" y="113"/>
                  </a:lnTo>
                  <a:lnTo>
                    <a:pt x="166" y="115"/>
                  </a:lnTo>
                  <a:lnTo>
                    <a:pt x="172" y="113"/>
                  </a:lnTo>
                  <a:lnTo>
                    <a:pt x="172" y="112"/>
                  </a:lnTo>
                  <a:lnTo>
                    <a:pt x="177" y="110"/>
                  </a:lnTo>
                  <a:lnTo>
                    <a:pt x="179" y="110"/>
                  </a:lnTo>
                  <a:lnTo>
                    <a:pt x="179" y="113"/>
                  </a:lnTo>
                  <a:lnTo>
                    <a:pt x="177" y="117"/>
                  </a:lnTo>
                  <a:lnTo>
                    <a:pt x="173" y="120"/>
                  </a:lnTo>
                  <a:lnTo>
                    <a:pt x="173" y="120"/>
                  </a:lnTo>
                  <a:lnTo>
                    <a:pt x="177" y="124"/>
                  </a:lnTo>
                  <a:lnTo>
                    <a:pt x="177" y="127"/>
                  </a:lnTo>
                  <a:lnTo>
                    <a:pt x="179" y="127"/>
                  </a:lnTo>
                  <a:lnTo>
                    <a:pt x="182" y="127"/>
                  </a:lnTo>
                  <a:lnTo>
                    <a:pt x="186" y="126"/>
                  </a:lnTo>
                  <a:lnTo>
                    <a:pt x="186" y="124"/>
                  </a:lnTo>
                  <a:lnTo>
                    <a:pt x="187" y="120"/>
                  </a:lnTo>
                  <a:lnTo>
                    <a:pt x="187" y="115"/>
                  </a:lnTo>
                  <a:lnTo>
                    <a:pt x="189" y="112"/>
                  </a:lnTo>
                  <a:lnTo>
                    <a:pt x="194" y="113"/>
                  </a:lnTo>
                  <a:lnTo>
                    <a:pt x="196" y="113"/>
                  </a:lnTo>
                  <a:lnTo>
                    <a:pt x="205" y="110"/>
                  </a:lnTo>
                  <a:lnTo>
                    <a:pt x="208" y="110"/>
                  </a:lnTo>
                  <a:lnTo>
                    <a:pt x="208" y="108"/>
                  </a:lnTo>
                  <a:lnTo>
                    <a:pt x="219" y="108"/>
                  </a:lnTo>
                  <a:lnTo>
                    <a:pt x="222" y="108"/>
                  </a:lnTo>
                  <a:lnTo>
                    <a:pt x="224" y="110"/>
                  </a:lnTo>
                  <a:lnTo>
                    <a:pt x="229" y="112"/>
                  </a:lnTo>
                  <a:lnTo>
                    <a:pt x="236" y="112"/>
                  </a:lnTo>
                  <a:lnTo>
                    <a:pt x="236" y="110"/>
                  </a:lnTo>
                  <a:lnTo>
                    <a:pt x="241" y="108"/>
                  </a:lnTo>
                  <a:lnTo>
                    <a:pt x="245" y="106"/>
                  </a:lnTo>
                  <a:lnTo>
                    <a:pt x="250" y="105"/>
                  </a:lnTo>
                  <a:lnTo>
                    <a:pt x="255" y="105"/>
                  </a:lnTo>
                  <a:lnTo>
                    <a:pt x="259" y="103"/>
                  </a:lnTo>
                  <a:lnTo>
                    <a:pt x="265" y="103"/>
                  </a:lnTo>
                  <a:lnTo>
                    <a:pt x="272" y="101"/>
                  </a:lnTo>
                  <a:lnTo>
                    <a:pt x="278" y="101"/>
                  </a:lnTo>
                  <a:lnTo>
                    <a:pt x="278" y="103"/>
                  </a:lnTo>
                  <a:lnTo>
                    <a:pt x="283" y="98"/>
                  </a:lnTo>
                  <a:lnTo>
                    <a:pt x="288" y="98"/>
                  </a:lnTo>
                  <a:lnTo>
                    <a:pt x="290" y="98"/>
                  </a:lnTo>
                  <a:lnTo>
                    <a:pt x="297" y="98"/>
                  </a:lnTo>
                  <a:lnTo>
                    <a:pt x="302" y="98"/>
                  </a:lnTo>
                  <a:lnTo>
                    <a:pt x="305" y="98"/>
                  </a:lnTo>
                  <a:lnTo>
                    <a:pt x="309" y="101"/>
                  </a:lnTo>
                  <a:lnTo>
                    <a:pt x="309" y="103"/>
                  </a:lnTo>
                  <a:lnTo>
                    <a:pt x="311" y="103"/>
                  </a:lnTo>
                  <a:lnTo>
                    <a:pt x="318" y="103"/>
                  </a:lnTo>
                  <a:lnTo>
                    <a:pt x="318" y="101"/>
                  </a:lnTo>
                  <a:lnTo>
                    <a:pt x="314" y="98"/>
                  </a:lnTo>
                  <a:lnTo>
                    <a:pt x="311" y="89"/>
                  </a:lnTo>
                  <a:lnTo>
                    <a:pt x="305" y="87"/>
                  </a:lnTo>
                  <a:lnTo>
                    <a:pt x="305" y="86"/>
                  </a:lnTo>
                  <a:lnTo>
                    <a:pt x="305" y="80"/>
                  </a:lnTo>
                  <a:lnTo>
                    <a:pt x="309" y="75"/>
                  </a:lnTo>
                  <a:lnTo>
                    <a:pt x="309" y="73"/>
                  </a:lnTo>
                  <a:lnTo>
                    <a:pt x="304" y="72"/>
                  </a:lnTo>
                  <a:lnTo>
                    <a:pt x="304" y="70"/>
                  </a:lnTo>
                  <a:lnTo>
                    <a:pt x="305" y="66"/>
                  </a:lnTo>
                  <a:lnTo>
                    <a:pt x="304" y="60"/>
                  </a:lnTo>
                  <a:lnTo>
                    <a:pt x="302" y="56"/>
                  </a:lnTo>
                  <a:lnTo>
                    <a:pt x="300" y="54"/>
                  </a:lnTo>
                  <a:lnTo>
                    <a:pt x="305" y="53"/>
                  </a:lnTo>
                  <a:lnTo>
                    <a:pt x="305" y="49"/>
                  </a:lnTo>
                  <a:lnTo>
                    <a:pt x="309" y="47"/>
                  </a:lnTo>
                  <a:lnTo>
                    <a:pt x="305" y="44"/>
                  </a:lnTo>
                  <a:lnTo>
                    <a:pt x="305" y="42"/>
                  </a:lnTo>
                  <a:lnTo>
                    <a:pt x="302" y="42"/>
                  </a:lnTo>
                  <a:lnTo>
                    <a:pt x="295" y="42"/>
                  </a:lnTo>
                  <a:lnTo>
                    <a:pt x="290" y="39"/>
                  </a:lnTo>
                  <a:lnTo>
                    <a:pt x="290" y="32"/>
                  </a:lnTo>
                  <a:lnTo>
                    <a:pt x="292" y="26"/>
                  </a:lnTo>
                  <a:lnTo>
                    <a:pt x="290" y="21"/>
                  </a:lnTo>
                  <a:lnTo>
                    <a:pt x="286" y="21"/>
                  </a:lnTo>
                  <a:lnTo>
                    <a:pt x="286" y="20"/>
                  </a:lnTo>
                  <a:lnTo>
                    <a:pt x="283" y="16"/>
                  </a:lnTo>
                  <a:lnTo>
                    <a:pt x="281" y="16"/>
                  </a:lnTo>
                  <a:lnTo>
                    <a:pt x="274" y="11"/>
                  </a:lnTo>
                  <a:lnTo>
                    <a:pt x="271" y="9"/>
                  </a:lnTo>
                  <a:lnTo>
                    <a:pt x="267" y="11"/>
                  </a:lnTo>
                  <a:lnTo>
                    <a:pt x="265" y="13"/>
                  </a:lnTo>
                  <a:lnTo>
                    <a:pt x="260" y="11"/>
                  </a:lnTo>
                  <a:lnTo>
                    <a:pt x="259" y="13"/>
                  </a:lnTo>
                  <a:lnTo>
                    <a:pt x="259" y="11"/>
                  </a:lnTo>
                  <a:lnTo>
                    <a:pt x="259" y="9"/>
                  </a:lnTo>
                  <a:lnTo>
                    <a:pt x="255" y="7"/>
                  </a:lnTo>
                  <a:lnTo>
                    <a:pt x="255" y="7"/>
                  </a:lnTo>
                  <a:lnTo>
                    <a:pt x="255" y="7"/>
                  </a:lnTo>
                  <a:lnTo>
                    <a:pt x="255" y="7"/>
                  </a:lnTo>
                  <a:close/>
                  <a:moveTo>
                    <a:pt x="38" y="117"/>
                  </a:moveTo>
                  <a:lnTo>
                    <a:pt x="40" y="117"/>
                  </a:lnTo>
                  <a:lnTo>
                    <a:pt x="41" y="117"/>
                  </a:lnTo>
                  <a:lnTo>
                    <a:pt x="41" y="117"/>
                  </a:lnTo>
                  <a:lnTo>
                    <a:pt x="40" y="120"/>
                  </a:lnTo>
                  <a:lnTo>
                    <a:pt x="38" y="117"/>
                  </a:lnTo>
                  <a:lnTo>
                    <a:pt x="38" y="117"/>
                  </a:lnTo>
                  <a:lnTo>
                    <a:pt x="38" y="117"/>
                  </a:lnTo>
                  <a:lnTo>
                    <a:pt x="38" y="117"/>
                  </a:lnTo>
                  <a:close/>
                  <a:moveTo>
                    <a:pt x="0" y="42"/>
                  </a:moveTo>
                  <a:lnTo>
                    <a:pt x="5" y="44"/>
                  </a:lnTo>
                  <a:lnTo>
                    <a:pt x="7" y="44"/>
                  </a:lnTo>
                  <a:lnTo>
                    <a:pt x="7" y="40"/>
                  </a:lnTo>
                  <a:lnTo>
                    <a:pt x="5" y="40"/>
                  </a:lnTo>
                  <a:lnTo>
                    <a:pt x="5" y="42"/>
                  </a:lnTo>
                  <a:lnTo>
                    <a:pt x="0" y="42"/>
                  </a:lnTo>
                  <a:lnTo>
                    <a:pt x="0" y="42"/>
                  </a:lnTo>
                  <a:lnTo>
                    <a:pt x="0" y="42"/>
                  </a:lnTo>
                  <a:lnTo>
                    <a:pt x="0"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6" name="Freeform 62">
              <a:extLst>
                <a:ext uri="{FF2B5EF4-FFF2-40B4-BE49-F238E27FC236}">
                  <a16:creationId xmlns:a16="http://schemas.microsoft.com/office/drawing/2014/main" id="{5710C788-D340-4524-8529-136E0B5759F0}"/>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7" name="Freeform 63">
              <a:extLst>
                <a:ext uri="{FF2B5EF4-FFF2-40B4-BE49-F238E27FC236}">
                  <a16:creationId xmlns:a16="http://schemas.microsoft.com/office/drawing/2014/main" id="{D8064B99-50E9-4CAB-8724-9F3E7290E00B}"/>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8" name="Freeform 64">
              <a:extLst>
                <a:ext uri="{FF2B5EF4-FFF2-40B4-BE49-F238E27FC236}">
                  <a16:creationId xmlns:a16="http://schemas.microsoft.com/office/drawing/2014/main" id="{26657BE4-BC01-4005-BF5D-93703A7B3C68}"/>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9" name="Freeform 65">
              <a:extLst>
                <a:ext uri="{FF2B5EF4-FFF2-40B4-BE49-F238E27FC236}">
                  <a16:creationId xmlns:a16="http://schemas.microsoft.com/office/drawing/2014/main" id="{0D995119-A8CF-453D-B1E0-90F1AA800D0A}"/>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0" name="Freeform 66">
              <a:extLst>
                <a:ext uri="{FF2B5EF4-FFF2-40B4-BE49-F238E27FC236}">
                  <a16:creationId xmlns:a16="http://schemas.microsoft.com/office/drawing/2014/main" id="{9298316D-FE26-4430-A794-030D4F671155}"/>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1" name="Freeform 67">
              <a:extLst>
                <a:ext uri="{FF2B5EF4-FFF2-40B4-BE49-F238E27FC236}">
                  <a16:creationId xmlns:a16="http://schemas.microsoft.com/office/drawing/2014/main" id="{6B75D2E2-E508-4391-97B5-E00398A59C8A}"/>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2" name="Freeform 68">
              <a:extLst>
                <a:ext uri="{FF2B5EF4-FFF2-40B4-BE49-F238E27FC236}">
                  <a16:creationId xmlns:a16="http://schemas.microsoft.com/office/drawing/2014/main" id="{E9F85FD9-7849-421A-9F8C-2194164BBFAC}"/>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3" name="Freeform 69">
              <a:extLst>
                <a:ext uri="{FF2B5EF4-FFF2-40B4-BE49-F238E27FC236}">
                  <a16:creationId xmlns:a16="http://schemas.microsoft.com/office/drawing/2014/main" id="{1B3696FF-BFA4-4553-AC97-3299775A84EE}"/>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4" name="Freeform 70">
              <a:extLst>
                <a:ext uri="{FF2B5EF4-FFF2-40B4-BE49-F238E27FC236}">
                  <a16:creationId xmlns:a16="http://schemas.microsoft.com/office/drawing/2014/main" id="{68C9957C-E6C0-4987-BFAA-22F9CCE9E5D4}"/>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5" name="Freeform 71">
              <a:extLst>
                <a:ext uri="{FF2B5EF4-FFF2-40B4-BE49-F238E27FC236}">
                  <a16:creationId xmlns:a16="http://schemas.microsoft.com/office/drawing/2014/main" id="{4152AC82-8836-4856-9913-3BD389B847C9}"/>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6" name="Freeform 72">
              <a:extLst>
                <a:ext uri="{FF2B5EF4-FFF2-40B4-BE49-F238E27FC236}">
                  <a16:creationId xmlns:a16="http://schemas.microsoft.com/office/drawing/2014/main" id="{CB7765F4-40F6-4616-B892-AD39964B4C9D}"/>
                </a:ext>
              </a:extLst>
            </p:cNvPr>
            <p:cNvSpPr>
              <a:spLocks/>
            </p:cNvSpPr>
            <p:nvPr/>
          </p:nvSpPr>
          <p:spPr bwMode="auto">
            <a:xfrm>
              <a:off x="5384800" y="3319463"/>
              <a:ext cx="12700" cy="25400"/>
            </a:xfrm>
            <a:custGeom>
              <a:avLst/>
              <a:gdLst/>
              <a:ahLst/>
              <a:cxnLst>
                <a:cxn ang="0">
                  <a:pos x="1" y="16"/>
                </a:cxn>
                <a:cxn ang="0">
                  <a:pos x="1" y="14"/>
                </a:cxn>
                <a:cxn ang="0">
                  <a:pos x="0" y="11"/>
                </a:cxn>
                <a:cxn ang="0">
                  <a:pos x="1" y="7"/>
                </a:cxn>
                <a:cxn ang="0">
                  <a:pos x="1" y="2"/>
                </a:cxn>
                <a:cxn ang="0">
                  <a:pos x="3" y="0"/>
                </a:cxn>
                <a:cxn ang="0">
                  <a:pos x="3" y="0"/>
                </a:cxn>
                <a:cxn ang="0">
                  <a:pos x="5" y="2"/>
                </a:cxn>
                <a:cxn ang="0">
                  <a:pos x="8" y="4"/>
                </a:cxn>
                <a:cxn ang="0">
                  <a:pos x="8" y="11"/>
                </a:cxn>
                <a:cxn ang="0">
                  <a:pos x="8" y="12"/>
                </a:cxn>
                <a:cxn ang="0">
                  <a:pos x="8" y="11"/>
                </a:cxn>
                <a:cxn ang="0">
                  <a:pos x="5" y="14"/>
                </a:cxn>
                <a:cxn ang="0">
                  <a:pos x="3" y="16"/>
                </a:cxn>
                <a:cxn ang="0">
                  <a:pos x="1" y="16"/>
                </a:cxn>
                <a:cxn ang="0">
                  <a:pos x="1" y="16"/>
                </a:cxn>
                <a:cxn ang="0">
                  <a:pos x="1" y="16"/>
                </a:cxn>
              </a:cxnLst>
              <a:rect l="0" t="0" r="r" b="b"/>
              <a:pathLst>
                <a:path w="8" h="16">
                  <a:moveTo>
                    <a:pt x="1" y="16"/>
                  </a:moveTo>
                  <a:lnTo>
                    <a:pt x="1" y="14"/>
                  </a:lnTo>
                  <a:lnTo>
                    <a:pt x="0" y="11"/>
                  </a:lnTo>
                  <a:lnTo>
                    <a:pt x="1" y="7"/>
                  </a:lnTo>
                  <a:lnTo>
                    <a:pt x="1" y="2"/>
                  </a:lnTo>
                  <a:lnTo>
                    <a:pt x="3" y="0"/>
                  </a:lnTo>
                  <a:lnTo>
                    <a:pt x="3" y="0"/>
                  </a:lnTo>
                  <a:lnTo>
                    <a:pt x="5" y="2"/>
                  </a:lnTo>
                  <a:lnTo>
                    <a:pt x="8" y="4"/>
                  </a:lnTo>
                  <a:lnTo>
                    <a:pt x="8" y="11"/>
                  </a:lnTo>
                  <a:lnTo>
                    <a:pt x="8" y="12"/>
                  </a:lnTo>
                  <a:lnTo>
                    <a:pt x="8" y="11"/>
                  </a:lnTo>
                  <a:lnTo>
                    <a:pt x="5" y="14"/>
                  </a:lnTo>
                  <a:lnTo>
                    <a:pt x="3" y="16"/>
                  </a:lnTo>
                  <a:lnTo>
                    <a:pt x="1" y="16"/>
                  </a:lnTo>
                  <a:lnTo>
                    <a:pt x="1" y="16"/>
                  </a:lnTo>
                  <a:lnTo>
                    <a:pt x="1" y="1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7" name="Freeform 73">
              <a:extLst>
                <a:ext uri="{FF2B5EF4-FFF2-40B4-BE49-F238E27FC236}">
                  <a16:creationId xmlns:a16="http://schemas.microsoft.com/office/drawing/2014/main" id="{9268862A-1971-4885-9F36-05FFF8EE305B}"/>
                </a:ext>
              </a:extLst>
            </p:cNvPr>
            <p:cNvSpPr>
              <a:spLocks/>
            </p:cNvSpPr>
            <p:nvPr/>
          </p:nvSpPr>
          <p:spPr bwMode="auto">
            <a:xfrm>
              <a:off x="5375275" y="3344863"/>
              <a:ext cx="14288" cy="30163"/>
            </a:xfrm>
            <a:custGeom>
              <a:avLst/>
              <a:gdLst/>
              <a:ahLst/>
              <a:cxnLst>
                <a:cxn ang="0">
                  <a:pos x="7" y="17"/>
                </a:cxn>
                <a:cxn ang="0">
                  <a:pos x="4" y="17"/>
                </a:cxn>
                <a:cxn ang="0">
                  <a:pos x="2" y="19"/>
                </a:cxn>
                <a:cxn ang="0">
                  <a:pos x="0" y="17"/>
                </a:cxn>
                <a:cxn ang="0">
                  <a:pos x="0" y="14"/>
                </a:cxn>
                <a:cxn ang="0">
                  <a:pos x="0" y="7"/>
                </a:cxn>
                <a:cxn ang="0">
                  <a:pos x="0" y="3"/>
                </a:cxn>
                <a:cxn ang="0">
                  <a:pos x="0" y="0"/>
                </a:cxn>
                <a:cxn ang="0">
                  <a:pos x="6" y="0"/>
                </a:cxn>
                <a:cxn ang="0">
                  <a:pos x="6" y="3"/>
                </a:cxn>
                <a:cxn ang="0">
                  <a:pos x="7" y="3"/>
                </a:cxn>
                <a:cxn ang="0">
                  <a:pos x="9" y="2"/>
                </a:cxn>
                <a:cxn ang="0">
                  <a:pos x="9" y="2"/>
                </a:cxn>
                <a:cxn ang="0">
                  <a:pos x="9" y="3"/>
                </a:cxn>
                <a:cxn ang="0">
                  <a:pos x="9" y="7"/>
                </a:cxn>
                <a:cxn ang="0">
                  <a:pos x="9" y="10"/>
                </a:cxn>
                <a:cxn ang="0">
                  <a:pos x="9" y="12"/>
                </a:cxn>
                <a:cxn ang="0">
                  <a:pos x="7" y="17"/>
                </a:cxn>
                <a:cxn ang="0">
                  <a:pos x="7" y="17"/>
                </a:cxn>
                <a:cxn ang="0">
                  <a:pos x="7" y="17"/>
                </a:cxn>
                <a:cxn ang="0">
                  <a:pos x="7" y="17"/>
                </a:cxn>
              </a:cxnLst>
              <a:rect l="0" t="0" r="r" b="b"/>
              <a:pathLst>
                <a:path w="9" h="19">
                  <a:moveTo>
                    <a:pt x="7" y="17"/>
                  </a:moveTo>
                  <a:lnTo>
                    <a:pt x="4" y="17"/>
                  </a:lnTo>
                  <a:lnTo>
                    <a:pt x="2" y="19"/>
                  </a:lnTo>
                  <a:lnTo>
                    <a:pt x="0" y="17"/>
                  </a:lnTo>
                  <a:lnTo>
                    <a:pt x="0" y="14"/>
                  </a:lnTo>
                  <a:lnTo>
                    <a:pt x="0" y="7"/>
                  </a:lnTo>
                  <a:lnTo>
                    <a:pt x="0" y="3"/>
                  </a:lnTo>
                  <a:lnTo>
                    <a:pt x="0" y="0"/>
                  </a:lnTo>
                  <a:lnTo>
                    <a:pt x="6" y="0"/>
                  </a:lnTo>
                  <a:lnTo>
                    <a:pt x="6" y="3"/>
                  </a:lnTo>
                  <a:lnTo>
                    <a:pt x="7" y="3"/>
                  </a:lnTo>
                  <a:lnTo>
                    <a:pt x="9" y="2"/>
                  </a:lnTo>
                  <a:lnTo>
                    <a:pt x="9" y="2"/>
                  </a:lnTo>
                  <a:lnTo>
                    <a:pt x="9" y="3"/>
                  </a:lnTo>
                  <a:lnTo>
                    <a:pt x="9" y="7"/>
                  </a:lnTo>
                  <a:lnTo>
                    <a:pt x="9" y="10"/>
                  </a:lnTo>
                  <a:lnTo>
                    <a:pt x="9" y="12"/>
                  </a:lnTo>
                  <a:lnTo>
                    <a:pt x="7" y="17"/>
                  </a:lnTo>
                  <a:lnTo>
                    <a:pt x="7" y="17"/>
                  </a:lnTo>
                  <a:lnTo>
                    <a:pt x="7" y="17"/>
                  </a:lnTo>
                  <a:lnTo>
                    <a:pt x="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8" name="Freeform 74">
              <a:extLst>
                <a:ext uri="{FF2B5EF4-FFF2-40B4-BE49-F238E27FC236}">
                  <a16:creationId xmlns:a16="http://schemas.microsoft.com/office/drawing/2014/main" id="{F8CC6CAA-F9E2-48C5-AA88-201F9ECF15C2}"/>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9" name="Freeform 75">
              <a:extLst>
                <a:ext uri="{FF2B5EF4-FFF2-40B4-BE49-F238E27FC236}">
                  <a16:creationId xmlns:a16="http://schemas.microsoft.com/office/drawing/2014/main" id="{E2F668BD-33B8-44BB-94B1-3F9CE1248377}"/>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0" name="Freeform 76">
              <a:extLst>
                <a:ext uri="{FF2B5EF4-FFF2-40B4-BE49-F238E27FC236}">
                  <a16:creationId xmlns:a16="http://schemas.microsoft.com/office/drawing/2014/main" id="{20AFD2BB-B6BA-4CE7-9DDC-A13815B1EF8D}"/>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1" name="Freeform 77">
              <a:extLst>
                <a:ext uri="{FF2B5EF4-FFF2-40B4-BE49-F238E27FC236}">
                  <a16:creationId xmlns:a16="http://schemas.microsoft.com/office/drawing/2014/main" id="{74E08DA2-435E-4C1A-B5E1-783AE102F630}"/>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2" name="Freeform 78">
              <a:extLst>
                <a:ext uri="{FF2B5EF4-FFF2-40B4-BE49-F238E27FC236}">
                  <a16:creationId xmlns:a16="http://schemas.microsoft.com/office/drawing/2014/main" id="{8E8A65FD-4F1A-47B7-879D-0A748683F8A9}"/>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3" name="Freeform 79">
              <a:extLst>
                <a:ext uri="{FF2B5EF4-FFF2-40B4-BE49-F238E27FC236}">
                  <a16:creationId xmlns:a16="http://schemas.microsoft.com/office/drawing/2014/main" id="{201336FB-20A2-4CED-85E0-B3CD1AC275FC}"/>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4" name="Freeform 80">
              <a:extLst>
                <a:ext uri="{FF2B5EF4-FFF2-40B4-BE49-F238E27FC236}">
                  <a16:creationId xmlns:a16="http://schemas.microsoft.com/office/drawing/2014/main" id="{DA405C56-6EE7-4550-9117-3C2EE78ACEF1}"/>
                </a:ext>
              </a:extLst>
            </p:cNvPr>
            <p:cNvSpPr>
              <a:spLocks noEditPoints="1"/>
            </p:cNvSpPr>
            <p:nvPr/>
          </p:nvSpPr>
          <p:spPr bwMode="auto">
            <a:xfrm>
              <a:off x="4956175" y="2389188"/>
              <a:ext cx="149225" cy="103188"/>
            </a:xfrm>
            <a:custGeom>
              <a:avLst/>
              <a:gdLst/>
              <a:ahLst/>
              <a:cxnLst>
                <a:cxn ang="0">
                  <a:pos x="92" y="58"/>
                </a:cxn>
                <a:cxn ang="0">
                  <a:pos x="85" y="35"/>
                </a:cxn>
                <a:cxn ang="0">
                  <a:pos x="91" y="16"/>
                </a:cxn>
                <a:cxn ang="0">
                  <a:pos x="94" y="11"/>
                </a:cxn>
                <a:cxn ang="0">
                  <a:pos x="77" y="9"/>
                </a:cxn>
                <a:cxn ang="0">
                  <a:pos x="61" y="4"/>
                </a:cxn>
                <a:cxn ang="0">
                  <a:pos x="56" y="4"/>
                </a:cxn>
                <a:cxn ang="0">
                  <a:pos x="54" y="5"/>
                </a:cxn>
                <a:cxn ang="0">
                  <a:pos x="44" y="7"/>
                </a:cxn>
                <a:cxn ang="0">
                  <a:pos x="39" y="9"/>
                </a:cxn>
                <a:cxn ang="0">
                  <a:pos x="33" y="12"/>
                </a:cxn>
                <a:cxn ang="0">
                  <a:pos x="25" y="30"/>
                </a:cxn>
                <a:cxn ang="0">
                  <a:pos x="30" y="30"/>
                </a:cxn>
                <a:cxn ang="0">
                  <a:pos x="28" y="35"/>
                </a:cxn>
                <a:cxn ang="0">
                  <a:pos x="37" y="44"/>
                </a:cxn>
                <a:cxn ang="0">
                  <a:pos x="42" y="40"/>
                </a:cxn>
                <a:cxn ang="0">
                  <a:pos x="42" y="52"/>
                </a:cxn>
                <a:cxn ang="0">
                  <a:pos x="56" y="51"/>
                </a:cxn>
                <a:cxn ang="0">
                  <a:pos x="61" y="49"/>
                </a:cxn>
                <a:cxn ang="0">
                  <a:pos x="70" y="58"/>
                </a:cxn>
                <a:cxn ang="0">
                  <a:pos x="79" y="65"/>
                </a:cxn>
                <a:cxn ang="0">
                  <a:pos x="89" y="63"/>
                </a:cxn>
                <a:cxn ang="0">
                  <a:pos x="19" y="23"/>
                </a:cxn>
                <a:cxn ang="0">
                  <a:pos x="19" y="25"/>
                </a:cxn>
                <a:cxn ang="0">
                  <a:pos x="19" y="23"/>
                </a:cxn>
                <a:cxn ang="0">
                  <a:pos x="11" y="26"/>
                </a:cxn>
                <a:cxn ang="0">
                  <a:pos x="6" y="26"/>
                </a:cxn>
                <a:cxn ang="0">
                  <a:pos x="11" y="23"/>
                </a:cxn>
                <a:cxn ang="0">
                  <a:pos x="18" y="25"/>
                </a:cxn>
                <a:cxn ang="0">
                  <a:pos x="14" y="30"/>
                </a:cxn>
                <a:cxn ang="0">
                  <a:pos x="13" y="32"/>
                </a:cxn>
                <a:cxn ang="0">
                  <a:pos x="19" y="32"/>
                </a:cxn>
                <a:cxn ang="0">
                  <a:pos x="25" y="35"/>
                </a:cxn>
                <a:cxn ang="0">
                  <a:pos x="19" y="33"/>
                </a:cxn>
                <a:cxn ang="0">
                  <a:pos x="6" y="54"/>
                </a:cxn>
                <a:cxn ang="0">
                  <a:pos x="11" y="44"/>
                </a:cxn>
                <a:cxn ang="0">
                  <a:pos x="19" y="40"/>
                </a:cxn>
                <a:cxn ang="0">
                  <a:pos x="21" y="38"/>
                </a:cxn>
                <a:cxn ang="0">
                  <a:pos x="13" y="35"/>
                </a:cxn>
                <a:cxn ang="0">
                  <a:pos x="7" y="35"/>
                </a:cxn>
                <a:cxn ang="0">
                  <a:pos x="2" y="35"/>
                </a:cxn>
                <a:cxn ang="0">
                  <a:pos x="6" y="38"/>
                </a:cxn>
                <a:cxn ang="0">
                  <a:pos x="2" y="44"/>
                </a:cxn>
                <a:cxn ang="0">
                  <a:pos x="6" y="49"/>
                </a:cxn>
                <a:cxn ang="0">
                  <a:pos x="6" y="52"/>
                </a:cxn>
              </a:cxnLst>
              <a:rect l="0" t="0" r="r" b="b"/>
              <a:pathLst>
                <a:path w="94" h="65">
                  <a:moveTo>
                    <a:pt x="89" y="63"/>
                  </a:moveTo>
                  <a:lnTo>
                    <a:pt x="92" y="59"/>
                  </a:lnTo>
                  <a:lnTo>
                    <a:pt x="92" y="58"/>
                  </a:lnTo>
                  <a:lnTo>
                    <a:pt x="94" y="54"/>
                  </a:lnTo>
                  <a:lnTo>
                    <a:pt x="94" y="51"/>
                  </a:lnTo>
                  <a:lnTo>
                    <a:pt x="85" y="35"/>
                  </a:lnTo>
                  <a:lnTo>
                    <a:pt x="85" y="23"/>
                  </a:lnTo>
                  <a:lnTo>
                    <a:pt x="89" y="21"/>
                  </a:lnTo>
                  <a:lnTo>
                    <a:pt x="91" y="16"/>
                  </a:lnTo>
                  <a:lnTo>
                    <a:pt x="94" y="12"/>
                  </a:lnTo>
                  <a:lnTo>
                    <a:pt x="94" y="11"/>
                  </a:lnTo>
                  <a:lnTo>
                    <a:pt x="94" y="11"/>
                  </a:lnTo>
                  <a:lnTo>
                    <a:pt x="92" y="7"/>
                  </a:lnTo>
                  <a:lnTo>
                    <a:pt x="92" y="9"/>
                  </a:lnTo>
                  <a:lnTo>
                    <a:pt x="77" y="9"/>
                  </a:lnTo>
                  <a:lnTo>
                    <a:pt x="72" y="5"/>
                  </a:lnTo>
                  <a:lnTo>
                    <a:pt x="66" y="5"/>
                  </a:lnTo>
                  <a:lnTo>
                    <a:pt x="61" y="4"/>
                  </a:lnTo>
                  <a:lnTo>
                    <a:pt x="58" y="4"/>
                  </a:lnTo>
                  <a:lnTo>
                    <a:pt x="56" y="0"/>
                  </a:lnTo>
                  <a:lnTo>
                    <a:pt x="56" y="4"/>
                  </a:lnTo>
                  <a:lnTo>
                    <a:pt x="52" y="4"/>
                  </a:lnTo>
                  <a:lnTo>
                    <a:pt x="52" y="4"/>
                  </a:lnTo>
                  <a:lnTo>
                    <a:pt x="54" y="5"/>
                  </a:lnTo>
                  <a:lnTo>
                    <a:pt x="51" y="9"/>
                  </a:lnTo>
                  <a:lnTo>
                    <a:pt x="51" y="7"/>
                  </a:lnTo>
                  <a:lnTo>
                    <a:pt x="44" y="7"/>
                  </a:lnTo>
                  <a:lnTo>
                    <a:pt x="42" y="5"/>
                  </a:lnTo>
                  <a:lnTo>
                    <a:pt x="42" y="9"/>
                  </a:lnTo>
                  <a:lnTo>
                    <a:pt x="39" y="9"/>
                  </a:lnTo>
                  <a:lnTo>
                    <a:pt x="35" y="9"/>
                  </a:lnTo>
                  <a:lnTo>
                    <a:pt x="33" y="12"/>
                  </a:lnTo>
                  <a:lnTo>
                    <a:pt x="33" y="12"/>
                  </a:lnTo>
                  <a:lnTo>
                    <a:pt x="28" y="14"/>
                  </a:lnTo>
                  <a:lnTo>
                    <a:pt x="25" y="18"/>
                  </a:lnTo>
                  <a:lnTo>
                    <a:pt x="25" y="30"/>
                  </a:lnTo>
                  <a:lnTo>
                    <a:pt x="28" y="30"/>
                  </a:lnTo>
                  <a:lnTo>
                    <a:pt x="30" y="30"/>
                  </a:lnTo>
                  <a:lnTo>
                    <a:pt x="30" y="30"/>
                  </a:lnTo>
                  <a:lnTo>
                    <a:pt x="30" y="32"/>
                  </a:lnTo>
                  <a:lnTo>
                    <a:pt x="28" y="32"/>
                  </a:lnTo>
                  <a:lnTo>
                    <a:pt x="28" y="35"/>
                  </a:lnTo>
                  <a:lnTo>
                    <a:pt x="30" y="40"/>
                  </a:lnTo>
                  <a:lnTo>
                    <a:pt x="35" y="44"/>
                  </a:lnTo>
                  <a:lnTo>
                    <a:pt x="37" y="44"/>
                  </a:lnTo>
                  <a:lnTo>
                    <a:pt x="37" y="40"/>
                  </a:lnTo>
                  <a:lnTo>
                    <a:pt x="40" y="40"/>
                  </a:lnTo>
                  <a:lnTo>
                    <a:pt x="42" y="40"/>
                  </a:lnTo>
                  <a:lnTo>
                    <a:pt x="40" y="51"/>
                  </a:lnTo>
                  <a:lnTo>
                    <a:pt x="40" y="52"/>
                  </a:lnTo>
                  <a:lnTo>
                    <a:pt x="42" y="52"/>
                  </a:lnTo>
                  <a:lnTo>
                    <a:pt x="47" y="49"/>
                  </a:lnTo>
                  <a:lnTo>
                    <a:pt x="52" y="49"/>
                  </a:lnTo>
                  <a:lnTo>
                    <a:pt x="56" y="51"/>
                  </a:lnTo>
                  <a:lnTo>
                    <a:pt x="58" y="51"/>
                  </a:lnTo>
                  <a:lnTo>
                    <a:pt x="58" y="49"/>
                  </a:lnTo>
                  <a:lnTo>
                    <a:pt x="61" y="49"/>
                  </a:lnTo>
                  <a:lnTo>
                    <a:pt x="61" y="52"/>
                  </a:lnTo>
                  <a:lnTo>
                    <a:pt x="66" y="52"/>
                  </a:lnTo>
                  <a:lnTo>
                    <a:pt x="70" y="58"/>
                  </a:lnTo>
                  <a:lnTo>
                    <a:pt x="72" y="59"/>
                  </a:lnTo>
                  <a:lnTo>
                    <a:pt x="75" y="63"/>
                  </a:lnTo>
                  <a:lnTo>
                    <a:pt x="79" y="65"/>
                  </a:lnTo>
                  <a:lnTo>
                    <a:pt x="84" y="63"/>
                  </a:lnTo>
                  <a:lnTo>
                    <a:pt x="89" y="63"/>
                  </a:lnTo>
                  <a:lnTo>
                    <a:pt x="89" y="63"/>
                  </a:lnTo>
                  <a:lnTo>
                    <a:pt x="89" y="63"/>
                  </a:lnTo>
                  <a:lnTo>
                    <a:pt x="89" y="63"/>
                  </a:lnTo>
                  <a:close/>
                  <a:moveTo>
                    <a:pt x="19" y="23"/>
                  </a:moveTo>
                  <a:lnTo>
                    <a:pt x="21" y="23"/>
                  </a:lnTo>
                  <a:lnTo>
                    <a:pt x="21" y="25"/>
                  </a:lnTo>
                  <a:lnTo>
                    <a:pt x="19" y="25"/>
                  </a:lnTo>
                  <a:lnTo>
                    <a:pt x="19" y="23"/>
                  </a:lnTo>
                  <a:lnTo>
                    <a:pt x="19" y="23"/>
                  </a:lnTo>
                  <a:lnTo>
                    <a:pt x="19" y="23"/>
                  </a:lnTo>
                  <a:lnTo>
                    <a:pt x="19" y="23"/>
                  </a:lnTo>
                  <a:close/>
                  <a:moveTo>
                    <a:pt x="13" y="32"/>
                  </a:moveTo>
                  <a:lnTo>
                    <a:pt x="11" y="26"/>
                  </a:lnTo>
                  <a:lnTo>
                    <a:pt x="7" y="26"/>
                  </a:lnTo>
                  <a:lnTo>
                    <a:pt x="6" y="30"/>
                  </a:lnTo>
                  <a:lnTo>
                    <a:pt x="6" y="26"/>
                  </a:lnTo>
                  <a:lnTo>
                    <a:pt x="9" y="26"/>
                  </a:lnTo>
                  <a:lnTo>
                    <a:pt x="11" y="23"/>
                  </a:lnTo>
                  <a:lnTo>
                    <a:pt x="11" y="23"/>
                  </a:lnTo>
                  <a:lnTo>
                    <a:pt x="13" y="23"/>
                  </a:lnTo>
                  <a:lnTo>
                    <a:pt x="14" y="25"/>
                  </a:lnTo>
                  <a:lnTo>
                    <a:pt x="18" y="25"/>
                  </a:lnTo>
                  <a:lnTo>
                    <a:pt x="19" y="26"/>
                  </a:lnTo>
                  <a:lnTo>
                    <a:pt x="18" y="26"/>
                  </a:lnTo>
                  <a:lnTo>
                    <a:pt x="14" y="30"/>
                  </a:lnTo>
                  <a:lnTo>
                    <a:pt x="13" y="32"/>
                  </a:lnTo>
                  <a:lnTo>
                    <a:pt x="13" y="32"/>
                  </a:lnTo>
                  <a:lnTo>
                    <a:pt x="13" y="32"/>
                  </a:lnTo>
                  <a:lnTo>
                    <a:pt x="13" y="32"/>
                  </a:lnTo>
                  <a:close/>
                  <a:moveTo>
                    <a:pt x="19" y="33"/>
                  </a:moveTo>
                  <a:lnTo>
                    <a:pt x="19" y="32"/>
                  </a:lnTo>
                  <a:lnTo>
                    <a:pt x="25" y="32"/>
                  </a:lnTo>
                  <a:lnTo>
                    <a:pt x="25" y="35"/>
                  </a:lnTo>
                  <a:lnTo>
                    <a:pt x="25" y="35"/>
                  </a:lnTo>
                  <a:lnTo>
                    <a:pt x="19" y="33"/>
                  </a:lnTo>
                  <a:lnTo>
                    <a:pt x="19" y="33"/>
                  </a:lnTo>
                  <a:lnTo>
                    <a:pt x="19" y="33"/>
                  </a:lnTo>
                  <a:lnTo>
                    <a:pt x="19" y="33"/>
                  </a:lnTo>
                  <a:close/>
                  <a:moveTo>
                    <a:pt x="6" y="52"/>
                  </a:moveTo>
                  <a:lnTo>
                    <a:pt x="6" y="54"/>
                  </a:lnTo>
                  <a:lnTo>
                    <a:pt x="7" y="51"/>
                  </a:lnTo>
                  <a:lnTo>
                    <a:pt x="7" y="49"/>
                  </a:lnTo>
                  <a:lnTo>
                    <a:pt x="11" y="44"/>
                  </a:lnTo>
                  <a:lnTo>
                    <a:pt x="16" y="44"/>
                  </a:lnTo>
                  <a:lnTo>
                    <a:pt x="18" y="40"/>
                  </a:lnTo>
                  <a:lnTo>
                    <a:pt x="19" y="40"/>
                  </a:lnTo>
                  <a:lnTo>
                    <a:pt x="21" y="40"/>
                  </a:lnTo>
                  <a:lnTo>
                    <a:pt x="21" y="40"/>
                  </a:lnTo>
                  <a:lnTo>
                    <a:pt x="21" y="38"/>
                  </a:lnTo>
                  <a:lnTo>
                    <a:pt x="19" y="35"/>
                  </a:lnTo>
                  <a:lnTo>
                    <a:pt x="18" y="35"/>
                  </a:lnTo>
                  <a:lnTo>
                    <a:pt x="13" y="35"/>
                  </a:lnTo>
                  <a:lnTo>
                    <a:pt x="11" y="33"/>
                  </a:lnTo>
                  <a:lnTo>
                    <a:pt x="9" y="35"/>
                  </a:lnTo>
                  <a:lnTo>
                    <a:pt x="7" y="35"/>
                  </a:lnTo>
                  <a:lnTo>
                    <a:pt x="6" y="38"/>
                  </a:lnTo>
                  <a:lnTo>
                    <a:pt x="6" y="35"/>
                  </a:lnTo>
                  <a:lnTo>
                    <a:pt x="2" y="35"/>
                  </a:lnTo>
                  <a:lnTo>
                    <a:pt x="2" y="35"/>
                  </a:lnTo>
                  <a:lnTo>
                    <a:pt x="0" y="38"/>
                  </a:lnTo>
                  <a:lnTo>
                    <a:pt x="6" y="38"/>
                  </a:lnTo>
                  <a:lnTo>
                    <a:pt x="6" y="40"/>
                  </a:lnTo>
                  <a:lnTo>
                    <a:pt x="2" y="40"/>
                  </a:lnTo>
                  <a:lnTo>
                    <a:pt x="2" y="44"/>
                  </a:lnTo>
                  <a:lnTo>
                    <a:pt x="6" y="44"/>
                  </a:lnTo>
                  <a:lnTo>
                    <a:pt x="7" y="45"/>
                  </a:lnTo>
                  <a:lnTo>
                    <a:pt x="6" y="49"/>
                  </a:lnTo>
                  <a:lnTo>
                    <a:pt x="6" y="49"/>
                  </a:lnTo>
                  <a:lnTo>
                    <a:pt x="6" y="52"/>
                  </a:lnTo>
                  <a:lnTo>
                    <a:pt x="6" y="52"/>
                  </a:lnTo>
                  <a:lnTo>
                    <a:pt x="6"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5" name="Freeform 81">
              <a:extLst>
                <a:ext uri="{FF2B5EF4-FFF2-40B4-BE49-F238E27FC236}">
                  <a16:creationId xmlns:a16="http://schemas.microsoft.com/office/drawing/2014/main" id="{0A257D7F-B8B8-4804-8300-5CD7FC87E2F1}"/>
                </a:ext>
              </a:extLst>
            </p:cNvPr>
            <p:cNvSpPr>
              <a:spLocks/>
            </p:cNvSpPr>
            <p:nvPr/>
          </p:nvSpPr>
          <p:spPr bwMode="auto">
            <a:xfrm>
              <a:off x="4943475" y="2470151"/>
              <a:ext cx="168275" cy="90488"/>
            </a:xfrm>
            <a:custGeom>
              <a:avLst/>
              <a:gdLst/>
              <a:ahLst/>
              <a:cxnLst>
                <a:cxn ang="0">
                  <a:pos x="106" y="40"/>
                </a:cxn>
                <a:cxn ang="0">
                  <a:pos x="102" y="31"/>
                </a:cxn>
                <a:cxn ang="0">
                  <a:pos x="99" y="26"/>
                </a:cxn>
                <a:cxn ang="0">
                  <a:pos x="99" y="19"/>
                </a:cxn>
                <a:cxn ang="0">
                  <a:pos x="99" y="19"/>
                </a:cxn>
                <a:cxn ang="0">
                  <a:pos x="88" y="14"/>
                </a:cxn>
                <a:cxn ang="0">
                  <a:pos x="80" y="12"/>
                </a:cxn>
                <a:cxn ang="0">
                  <a:pos x="76" y="7"/>
                </a:cxn>
                <a:cxn ang="0">
                  <a:pos x="67" y="3"/>
                </a:cxn>
                <a:cxn ang="0">
                  <a:pos x="64" y="0"/>
                </a:cxn>
                <a:cxn ang="0">
                  <a:pos x="60" y="1"/>
                </a:cxn>
                <a:cxn ang="0">
                  <a:pos x="54" y="0"/>
                </a:cxn>
                <a:cxn ang="0">
                  <a:pos x="47" y="3"/>
                </a:cxn>
                <a:cxn ang="0">
                  <a:pos x="48" y="14"/>
                </a:cxn>
                <a:cxn ang="0">
                  <a:pos x="40" y="26"/>
                </a:cxn>
                <a:cxn ang="0">
                  <a:pos x="31" y="22"/>
                </a:cxn>
                <a:cxn ang="0">
                  <a:pos x="24" y="12"/>
                </a:cxn>
                <a:cxn ang="0">
                  <a:pos x="22" y="7"/>
                </a:cxn>
                <a:cxn ang="0">
                  <a:pos x="14" y="10"/>
                </a:cxn>
                <a:cxn ang="0">
                  <a:pos x="8" y="14"/>
                </a:cxn>
                <a:cxn ang="0">
                  <a:pos x="8" y="19"/>
                </a:cxn>
                <a:cxn ang="0">
                  <a:pos x="5" y="26"/>
                </a:cxn>
                <a:cxn ang="0">
                  <a:pos x="1" y="34"/>
                </a:cxn>
                <a:cxn ang="0">
                  <a:pos x="0" y="40"/>
                </a:cxn>
                <a:cxn ang="0">
                  <a:pos x="3" y="48"/>
                </a:cxn>
                <a:cxn ang="0">
                  <a:pos x="5" y="48"/>
                </a:cxn>
                <a:cxn ang="0">
                  <a:pos x="12" y="41"/>
                </a:cxn>
                <a:cxn ang="0">
                  <a:pos x="26" y="41"/>
                </a:cxn>
                <a:cxn ang="0">
                  <a:pos x="31" y="41"/>
                </a:cxn>
                <a:cxn ang="0">
                  <a:pos x="38" y="40"/>
                </a:cxn>
                <a:cxn ang="0">
                  <a:pos x="41" y="41"/>
                </a:cxn>
                <a:cxn ang="0">
                  <a:pos x="50" y="45"/>
                </a:cxn>
                <a:cxn ang="0">
                  <a:pos x="57" y="41"/>
                </a:cxn>
                <a:cxn ang="0">
                  <a:pos x="69" y="45"/>
                </a:cxn>
                <a:cxn ang="0">
                  <a:pos x="76" y="50"/>
                </a:cxn>
                <a:cxn ang="0">
                  <a:pos x="85" y="55"/>
                </a:cxn>
                <a:cxn ang="0">
                  <a:pos x="87" y="57"/>
                </a:cxn>
                <a:cxn ang="0">
                  <a:pos x="99" y="54"/>
                </a:cxn>
                <a:cxn ang="0">
                  <a:pos x="102" y="48"/>
                </a:cxn>
                <a:cxn ang="0">
                  <a:pos x="106" y="45"/>
                </a:cxn>
                <a:cxn ang="0">
                  <a:pos x="106" y="45"/>
                </a:cxn>
              </a:cxnLst>
              <a:rect l="0" t="0" r="r" b="b"/>
              <a:pathLst>
                <a:path w="106" h="57">
                  <a:moveTo>
                    <a:pt x="106" y="45"/>
                  </a:moveTo>
                  <a:lnTo>
                    <a:pt x="106" y="40"/>
                  </a:lnTo>
                  <a:lnTo>
                    <a:pt x="104" y="36"/>
                  </a:lnTo>
                  <a:lnTo>
                    <a:pt x="102" y="31"/>
                  </a:lnTo>
                  <a:lnTo>
                    <a:pt x="102" y="29"/>
                  </a:lnTo>
                  <a:lnTo>
                    <a:pt x="99" y="26"/>
                  </a:lnTo>
                  <a:lnTo>
                    <a:pt x="99" y="22"/>
                  </a:lnTo>
                  <a:lnTo>
                    <a:pt x="99" y="19"/>
                  </a:lnTo>
                  <a:lnTo>
                    <a:pt x="97" y="19"/>
                  </a:lnTo>
                  <a:lnTo>
                    <a:pt x="99" y="19"/>
                  </a:lnTo>
                  <a:lnTo>
                    <a:pt x="97" y="14"/>
                  </a:lnTo>
                  <a:lnTo>
                    <a:pt x="88" y="14"/>
                  </a:lnTo>
                  <a:lnTo>
                    <a:pt x="83" y="14"/>
                  </a:lnTo>
                  <a:lnTo>
                    <a:pt x="80" y="12"/>
                  </a:lnTo>
                  <a:lnTo>
                    <a:pt x="76" y="10"/>
                  </a:lnTo>
                  <a:lnTo>
                    <a:pt x="76" y="7"/>
                  </a:lnTo>
                  <a:lnTo>
                    <a:pt x="71" y="3"/>
                  </a:lnTo>
                  <a:lnTo>
                    <a:pt x="67" y="3"/>
                  </a:lnTo>
                  <a:lnTo>
                    <a:pt x="67" y="0"/>
                  </a:lnTo>
                  <a:lnTo>
                    <a:pt x="64" y="0"/>
                  </a:lnTo>
                  <a:lnTo>
                    <a:pt x="64" y="1"/>
                  </a:lnTo>
                  <a:lnTo>
                    <a:pt x="60" y="1"/>
                  </a:lnTo>
                  <a:lnTo>
                    <a:pt x="57" y="0"/>
                  </a:lnTo>
                  <a:lnTo>
                    <a:pt x="54" y="0"/>
                  </a:lnTo>
                  <a:lnTo>
                    <a:pt x="48" y="3"/>
                  </a:lnTo>
                  <a:lnTo>
                    <a:pt x="47" y="3"/>
                  </a:lnTo>
                  <a:lnTo>
                    <a:pt x="47" y="8"/>
                  </a:lnTo>
                  <a:lnTo>
                    <a:pt x="48" y="14"/>
                  </a:lnTo>
                  <a:lnTo>
                    <a:pt x="47" y="22"/>
                  </a:lnTo>
                  <a:lnTo>
                    <a:pt x="40" y="26"/>
                  </a:lnTo>
                  <a:lnTo>
                    <a:pt x="36" y="26"/>
                  </a:lnTo>
                  <a:lnTo>
                    <a:pt x="31" y="22"/>
                  </a:lnTo>
                  <a:lnTo>
                    <a:pt x="31" y="19"/>
                  </a:lnTo>
                  <a:lnTo>
                    <a:pt x="24" y="12"/>
                  </a:lnTo>
                  <a:lnTo>
                    <a:pt x="24" y="7"/>
                  </a:lnTo>
                  <a:lnTo>
                    <a:pt x="22" y="7"/>
                  </a:lnTo>
                  <a:lnTo>
                    <a:pt x="19" y="10"/>
                  </a:lnTo>
                  <a:lnTo>
                    <a:pt x="14" y="10"/>
                  </a:lnTo>
                  <a:lnTo>
                    <a:pt x="12" y="12"/>
                  </a:lnTo>
                  <a:lnTo>
                    <a:pt x="8" y="14"/>
                  </a:lnTo>
                  <a:lnTo>
                    <a:pt x="8" y="17"/>
                  </a:lnTo>
                  <a:lnTo>
                    <a:pt x="8" y="19"/>
                  </a:lnTo>
                  <a:lnTo>
                    <a:pt x="5" y="19"/>
                  </a:lnTo>
                  <a:lnTo>
                    <a:pt x="5" y="26"/>
                  </a:lnTo>
                  <a:lnTo>
                    <a:pt x="1" y="31"/>
                  </a:lnTo>
                  <a:lnTo>
                    <a:pt x="1" y="34"/>
                  </a:lnTo>
                  <a:lnTo>
                    <a:pt x="1" y="38"/>
                  </a:lnTo>
                  <a:lnTo>
                    <a:pt x="0" y="40"/>
                  </a:lnTo>
                  <a:lnTo>
                    <a:pt x="1" y="48"/>
                  </a:lnTo>
                  <a:lnTo>
                    <a:pt x="3" y="48"/>
                  </a:lnTo>
                  <a:lnTo>
                    <a:pt x="3" y="50"/>
                  </a:lnTo>
                  <a:lnTo>
                    <a:pt x="5" y="48"/>
                  </a:lnTo>
                  <a:lnTo>
                    <a:pt x="8" y="45"/>
                  </a:lnTo>
                  <a:lnTo>
                    <a:pt x="12" y="41"/>
                  </a:lnTo>
                  <a:lnTo>
                    <a:pt x="19" y="40"/>
                  </a:lnTo>
                  <a:lnTo>
                    <a:pt x="26" y="41"/>
                  </a:lnTo>
                  <a:lnTo>
                    <a:pt x="27" y="40"/>
                  </a:lnTo>
                  <a:lnTo>
                    <a:pt x="31" y="41"/>
                  </a:lnTo>
                  <a:lnTo>
                    <a:pt x="34" y="40"/>
                  </a:lnTo>
                  <a:lnTo>
                    <a:pt x="38" y="40"/>
                  </a:lnTo>
                  <a:lnTo>
                    <a:pt x="38" y="41"/>
                  </a:lnTo>
                  <a:lnTo>
                    <a:pt x="41" y="41"/>
                  </a:lnTo>
                  <a:lnTo>
                    <a:pt x="45" y="45"/>
                  </a:lnTo>
                  <a:lnTo>
                    <a:pt x="50" y="45"/>
                  </a:lnTo>
                  <a:lnTo>
                    <a:pt x="50" y="45"/>
                  </a:lnTo>
                  <a:lnTo>
                    <a:pt x="57" y="41"/>
                  </a:lnTo>
                  <a:lnTo>
                    <a:pt x="62" y="45"/>
                  </a:lnTo>
                  <a:lnTo>
                    <a:pt x="69" y="45"/>
                  </a:lnTo>
                  <a:lnTo>
                    <a:pt x="73" y="50"/>
                  </a:lnTo>
                  <a:lnTo>
                    <a:pt x="76" y="50"/>
                  </a:lnTo>
                  <a:lnTo>
                    <a:pt x="80" y="55"/>
                  </a:lnTo>
                  <a:lnTo>
                    <a:pt x="85" y="55"/>
                  </a:lnTo>
                  <a:lnTo>
                    <a:pt x="87" y="57"/>
                  </a:lnTo>
                  <a:lnTo>
                    <a:pt x="87" y="57"/>
                  </a:lnTo>
                  <a:lnTo>
                    <a:pt x="92" y="55"/>
                  </a:lnTo>
                  <a:lnTo>
                    <a:pt x="99" y="54"/>
                  </a:lnTo>
                  <a:lnTo>
                    <a:pt x="99" y="48"/>
                  </a:lnTo>
                  <a:lnTo>
                    <a:pt x="102" y="48"/>
                  </a:lnTo>
                  <a:lnTo>
                    <a:pt x="104" y="45"/>
                  </a:lnTo>
                  <a:lnTo>
                    <a:pt x="106" y="45"/>
                  </a:lnTo>
                  <a:lnTo>
                    <a:pt x="106" y="45"/>
                  </a:lnTo>
                  <a:lnTo>
                    <a:pt x="10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6" name="Freeform 82">
              <a:extLst>
                <a:ext uri="{FF2B5EF4-FFF2-40B4-BE49-F238E27FC236}">
                  <a16:creationId xmlns:a16="http://schemas.microsoft.com/office/drawing/2014/main" id="{81B02323-FC31-4701-9F56-61FAC84338F4}"/>
                </a:ext>
              </a:extLst>
            </p:cNvPr>
            <p:cNvSpPr>
              <a:spLocks/>
            </p:cNvSpPr>
            <p:nvPr/>
          </p:nvSpPr>
          <p:spPr bwMode="auto">
            <a:xfrm>
              <a:off x="4951413" y="2530476"/>
              <a:ext cx="130175" cy="100013"/>
            </a:xfrm>
            <a:custGeom>
              <a:avLst/>
              <a:gdLst/>
              <a:ahLst/>
              <a:cxnLst>
                <a:cxn ang="0">
                  <a:pos x="26" y="40"/>
                </a:cxn>
                <a:cxn ang="0">
                  <a:pos x="26" y="35"/>
                </a:cxn>
                <a:cxn ang="0">
                  <a:pos x="22" y="33"/>
                </a:cxn>
                <a:cxn ang="0">
                  <a:pos x="14" y="33"/>
                </a:cxn>
                <a:cxn ang="0">
                  <a:pos x="5" y="21"/>
                </a:cxn>
                <a:cxn ang="0">
                  <a:pos x="0" y="24"/>
                </a:cxn>
                <a:cxn ang="0">
                  <a:pos x="0" y="16"/>
                </a:cxn>
                <a:cxn ang="0">
                  <a:pos x="2" y="10"/>
                </a:cxn>
                <a:cxn ang="0">
                  <a:pos x="9" y="2"/>
                </a:cxn>
                <a:cxn ang="0">
                  <a:pos x="22" y="2"/>
                </a:cxn>
                <a:cxn ang="0">
                  <a:pos x="28" y="2"/>
                </a:cxn>
                <a:cxn ang="0">
                  <a:pos x="35" y="0"/>
                </a:cxn>
                <a:cxn ang="0">
                  <a:pos x="36" y="2"/>
                </a:cxn>
                <a:cxn ang="0">
                  <a:pos x="45" y="5"/>
                </a:cxn>
                <a:cxn ang="0">
                  <a:pos x="54" y="2"/>
                </a:cxn>
                <a:cxn ang="0">
                  <a:pos x="64" y="5"/>
                </a:cxn>
                <a:cxn ang="0">
                  <a:pos x="73" y="10"/>
                </a:cxn>
                <a:cxn ang="0">
                  <a:pos x="82" y="16"/>
                </a:cxn>
                <a:cxn ang="0">
                  <a:pos x="80" y="24"/>
                </a:cxn>
                <a:cxn ang="0">
                  <a:pos x="82" y="28"/>
                </a:cxn>
                <a:cxn ang="0">
                  <a:pos x="73" y="36"/>
                </a:cxn>
                <a:cxn ang="0">
                  <a:pos x="69" y="43"/>
                </a:cxn>
                <a:cxn ang="0">
                  <a:pos x="73" y="49"/>
                </a:cxn>
                <a:cxn ang="0">
                  <a:pos x="68" y="47"/>
                </a:cxn>
                <a:cxn ang="0">
                  <a:pos x="62" y="54"/>
                </a:cxn>
                <a:cxn ang="0">
                  <a:pos x="59" y="59"/>
                </a:cxn>
                <a:cxn ang="0">
                  <a:pos x="54" y="61"/>
                </a:cxn>
                <a:cxn ang="0">
                  <a:pos x="42" y="61"/>
                </a:cxn>
                <a:cxn ang="0">
                  <a:pos x="36" y="61"/>
                </a:cxn>
                <a:cxn ang="0">
                  <a:pos x="36" y="49"/>
                </a:cxn>
                <a:cxn ang="0">
                  <a:pos x="29" y="45"/>
                </a:cxn>
                <a:cxn ang="0">
                  <a:pos x="26" y="45"/>
                </a:cxn>
              </a:cxnLst>
              <a:rect l="0" t="0" r="r" b="b"/>
              <a:pathLst>
                <a:path w="82" h="63">
                  <a:moveTo>
                    <a:pt x="26" y="45"/>
                  </a:moveTo>
                  <a:lnTo>
                    <a:pt x="26" y="40"/>
                  </a:lnTo>
                  <a:lnTo>
                    <a:pt x="28" y="36"/>
                  </a:lnTo>
                  <a:lnTo>
                    <a:pt x="26" y="35"/>
                  </a:lnTo>
                  <a:lnTo>
                    <a:pt x="22" y="35"/>
                  </a:lnTo>
                  <a:lnTo>
                    <a:pt x="22" y="33"/>
                  </a:lnTo>
                  <a:lnTo>
                    <a:pt x="22" y="29"/>
                  </a:lnTo>
                  <a:lnTo>
                    <a:pt x="14" y="33"/>
                  </a:lnTo>
                  <a:lnTo>
                    <a:pt x="10" y="28"/>
                  </a:lnTo>
                  <a:lnTo>
                    <a:pt x="5" y="21"/>
                  </a:lnTo>
                  <a:lnTo>
                    <a:pt x="0" y="24"/>
                  </a:lnTo>
                  <a:lnTo>
                    <a:pt x="0" y="24"/>
                  </a:lnTo>
                  <a:lnTo>
                    <a:pt x="0" y="19"/>
                  </a:lnTo>
                  <a:lnTo>
                    <a:pt x="0" y="16"/>
                  </a:lnTo>
                  <a:lnTo>
                    <a:pt x="0" y="10"/>
                  </a:lnTo>
                  <a:lnTo>
                    <a:pt x="2" y="10"/>
                  </a:lnTo>
                  <a:lnTo>
                    <a:pt x="3" y="7"/>
                  </a:lnTo>
                  <a:lnTo>
                    <a:pt x="9" y="2"/>
                  </a:lnTo>
                  <a:lnTo>
                    <a:pt x="14" y="0"/>
                  </a:lnTo>
                  <a:lnTo>
                    <a:pt x="22" y="2"/>
                  </a:lnTo>
                  <a:lnTo>
                    <a:pt x="24" y="0"/>
                  </a:lnTo>
                  <a:lnTo>
                    <a:pt x="28" y="2"/>
                  </a:lnTo>
                  <a:lnTo>
                    <a:pt x="31" y="0"/>
                  </a:lnTo>
                  <a:lnTo>
                    <a:pt x="35" y="0"/>
                  </a:lnTo>
                  <a:lnTo>
                    <a:pt x="35" y="2"/>
                  </a:lnTo>
                  <a:lnTo>
                    <a:pt x="36" y="2"/>
                  </a:lnTo>
                  <a:lnTo>
                    <a:pt x="40" y="5"/>
                  </a:lnTo>
                  <a:lnTo>
                    <a:pt x="45" y="5"/>
                  </a:lnTo>
                  <a:lnTo>
                    <a:pt x="47" y="5"/>
                  </a:lnTo>
                  <a:lnTo>
                    <a:pt x="54" y="2"/>
                  </a:lnTo>
                  <a:lnTo>
                    <a:pt x="59" y="5"/>
                  </a:lnTo>
                  <a:lnTo>
                    <a:pt x="64" y="5"/>
                  </a:lnTo>
                  <a:lnTo>
                    <a:pt x="68" y="10"/>
                  </a:lnTo>
                  <a:lnTo>
                    <a:pt x="73" y="10"/>
                  </a:lnTo>
                  <a:lnTo>
                    <a:pt x="76" y="16"/>
                  </a:lnTo>
                  <a:lnTo>
                    <a:pt x="82" y="16"/>
                  </a:lnTo>
                  <a:lnTo>
                    <a:pt x="82" y="19"/>
                  </a:lnTo>
                  <a:lnTo>
                    <a:pt x="80" y="24"/>
                  </a:lnTo>
                  <a:lnTo>
                    <a:pt x="82" y="24"/>
                  </a:lnTo>
                  <a:lnTo>
                    <a:pt x="82" y="28"/>
                  </a:lnTo>
                  <a:lnTo>
                    <a:pt x="76" y="33"/>
                  </a:lnTo>
                  <a:lnTo>
                    <a:pt x="73" y="36"/>
                  </a:lnTo>
                  <a:lnTo>
                    <a:pt x="69" y="38"/>
                  </a:lnTo>
                  <a:lnTo>
                    <a:pt x="69" y="43"/>
                  </a:lnTo>
                  <a:lnTo>
                    <a:pt x="73" y="45"/>
                  </a:lnTo>
                  <a:lnTo>
                    <a:pt x="73" y="49"/>
                  </a:lnTo>
                  <a:lnTo>
                    <a:pt x="69" y="49"/>
                  </a:lnTo>
                  <a:lnTo>
                    <a:pt x="68" y="47"/>
                  </a:lnTo>
                  <a:lnTo>
                    <a:pt x="64" y="49"/>
                  </a:lnTo>
                  <a:lnTo>
                    <a:pt x="62" y="54"/>
                  </a:lnTo>
                  <a:lnTo>
                    <a:pt x="59" y="54"/>
                  </a:lnTo>
                  <a:lnTo>
                    <a:pt x="59" y="59"/>
                  </a:lnTo>
                  <a:lnTo>
                    <a:pt x="59" y="59"/>
                  </a:lnTo>
                  <a:lnTo>
                    <a:pt x="54" y="61"/>
                  </a:lnTo>
                  <a:lnTo>
                    <a:pt x="49" y="59"/>
                  </a:lnTo>
                  <a:lnTo>
                    <a:pt x="42" y="61"/>
                  </a:lnTo>
                  <a:lnTo>
                    <a:pt x="40" y="63"/>
                  </a:lnTo>
                  <a:lnTo>
                    <a:pt x="36" y="61"/>
                  </a:lnTo>
                  <a:lnTo>
                    <a:pt x="36" y="56"/>
                  </a:lnTo>
                  <a:lnTo>
                    <a:pt x="36" y="49"/>
                  </a:lnTo>
                  <a:lnTo>
                    <a:pt x="33" y="49"/>
                  </a:lnTo>
                  <a:lnTo>
                    <a:pt x="29" y="45"/>
                  </a:lnTo>
                  <a:lnTo>
                    <a:pt x="26" y="45"/>
                  </a:lnTo>
                  <a:lnTo>
                    <a:pt x="26" y="45"/>
                  </a:lnTo>
                  <a:lnTo>
                    <a:pt x="2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7" name="Freeform 83">
              <a:extLst>
                <a:ext uri="{FF2B5EF4-FFF2-40B4-BE49-F238E27FC236}">
                  <a16:creationId xmlns:a16="http://schemas.microsoft.com/office/drawing/2014/main" id="{DDE57394-74B2-472B-B775-3E4CBA4AD99F}"/>
                </a:ext>
              </a:extLst>
            </p:cNvPr>
            <p:cNvSpPr>
              <a:spLocks/>
            </p:cNvSpPr>
            <p:nvPr/>
          </p:nvSpPr>
          <p:spPr bwMode="auto">
            <a:xfrm>
              <a:off x="5011738" y="2538413"/>
              <a:ext cx="231775" cy="171450"/>
            </a:xfrm>
            <a:custGeom>
              <a:avLst/>
              <a:gdLst/>
              <a:ahLst/>
              <a:cxnLst>
                <a:cxn ang="0">
                  <a:pos x="2" y="52"/>
                </a:cxn>
                <a:cxn ang="0">
                  <a:pos x="16" y="52"/>
                </a:cxn>
                <a:cxn ang="0">
                  <a:pos x="21" y="51"/>
                </a:cxn>
                <a:cxn ang="0">
                  <a:pos x="24" y="45"/>
                </a:cxn>
                <a:cxn ang="0">
                  <a:pos x="30" y="40"/>
                </a:cxn>
                <a:cxn ang="0">
                  <a:pos x="35" y="42"/>
                </a:cxn>
                <a:cxn ang="0">
                  <a:pos x="31" y="37"/>
                </a:cxn>
                <a:cxn ang="0">
                  <a:pos x="35" y="30"/>
                </a:cxn>
                <a:cxn ang="0">
                  <a:pos x="44" y="23"/>
                </a:cxn>
                <a:cxn ang="0">
                  <a:pos x="42" y="18"/>
                </a:cxn>
                <a:cxn ang="0">
                  <a:pos x="49" y="11"/>
                </a:cxn>
                <a:cxn ang="0">
                  <a:pos x="57" y="5"/>
                </a:cxn>
                <a:cxn ang="0">
                  <a:pos x="63" y="0"/>
                </a:cxn>
                <a:cxn ang="0">
                  <a:pos x="70" y="0"/>
                </a:cxn>
                <a:cxn ang="0">
                  <a:pos x="77" y="5"/>
                </a:cxn>
                <a:cxn ang="0">
                  <a:pos x="85" y="4"/>
                </a:cxn>
                <a:cxn ang="0">
                  <a:pos x="94" y="5"/>
                </a:cxn>
                <a:cxn ang="0">
                  <a:pos x="99" y="5"/>
                </a:cxn>
                <a:cxn ang="0">
                  <a:pos x="110" y="9"/>
                </a:cxn>
                <a:cxn ang="0">
                  <a:pos x="110" y="18"/>
                </a:cxn>
                <a:cxn ang="0">
                  <a:pos x="113" y="26"/>
                </a:cxn>
                <a:cxn ang="0">
                  <a:pos x="120" y="33"/>
                </a:cxn>
                <a:cxn ang="0">
                  <a:pos x="127" y="42"/>
                </a:cxn>
                <a:cxn ang="0">
                  <a:pos x="136" y="49"/>
                </a:cxn>
                <a:cxn ang="0">
                  <a:pos x="141" y="59"/>
                </a:cxn>
                <a:cxn ang="0">
                  <a:pos x="144" y="63"/>
                </a:cxn>
                <a:cxn ang="0">
                  <a:pos x="132" y="71"/>
                </a:cxn>
                <a:cxn ang="0">
                  <a:pos x="127" y="68"/>
                </a:cxn>
                <a:cxn ang="0">
                  <a:pos x="130" y="78"/>
                </a:cxn>
                <a:cxn ang="0">
                  <a:pos x="132" y="89"/>
                </a:cxn>
                <a:cxn ang="0">
                  <a:pos x="132" y="91"/>
                </a:cxn>
                <a:cxn ang="0">
                  <a:pos x="120" y="94"/>
                </a:cxn>
                <a:cxn ang="0">
                  <a:pos x="118" y="104"/>
                </a:cxn>
                <a:cxn ang="0">
                  <a:pos x="111" y="104"/>
                </a:cxn>
                <a:cxn ang="0">
                  <a:pos x="103" y="104"/>
                </a:cxn>
                <a:cxn ang="0">
                  <a:pos x="96" y="108"/>
                </a:cxn>
                <a:cxn ang="0">
                  <a:pos x="90" y="104"/>
                </a:cxn>
                <a:cxn ang="0">
                  <a:pos x="82" y="104"/>
                </a:cxn>
                <a:cxn ang="0">
                  <a:pos x="75" y="104"/>
                </a:cxn>
                <a:cxn ang="0">
                  <a:pos x="70" y="104"/>
                </a:cxn>
                <a:cxn ang="0">
                  <a:pos x="61" y="104"/>
                </a:cxn>
                <a:cxn ang="0">
                  <a:pos x="57" y="99"/>
                </a:cxn>
                <a:cxn ang="0">
                  <a:pos x="42" y="98"/>
                </a:cxn>
                <a:cxn ang="0">
                  <a:pos x="37" y="99"/>
                </a:cxn>
                <a:cxn ang="0">
                  <a:pos x="19" y="103"/>
                </a:cxn>
                <a:cxn ang="0">
                  <a:pos x="11" y="99"/>
                </a:cxn>
                <a:cxn ang="0">
                  <a:pos x="7" y="99"/>
                </a:cxn>
                <a:cxn ang="0">
                  <a:pos x="2" y="89"/>
                </a:cxn>
                <a:cxn ang="0">
                  <a:pos x="7" y="85"/>
                </a:cxn>
                <a:cxn ang="0">
                  <a:pos x="7" y="71"/>
                </a:cxn>
                <a:cxn ang="0">
                  <a:pos x="2" y="63"/>
                </a:cxn>
                <a:cxn ang="0">
                  <a:pos x="0" y="56"/>
                </a:cxn>
                <a:cxn ang="0">
                  <a:pos x="0" y="56"/>
                </a:cxn>
              </a:cxnLst>
              <a:rect l="0" t="0" r="r" b="b"/>
              <a:pathLst>
                <a:path w="146" h="108">
                  <a:moveTo>
                    <a:pt x="0" y="56"/>
                  </a:moveTo>
                  <a:lnTo>
                    <a:pt x="2" y="52"/>
                  </a:lnTo>
                  <a:lnTo>
                    <a:pt x="11" y="51"/>
                  </a:lnTo>
                  <a:lnTo>
                    <a:pt x="16" y="52"/>
                  </a:lnTo>
                  <a:lnTo>
                    <a:pt x="19" y="51"/>
                  </a:lnTo>
                  <a:lnTo>
                    <a:pt x="21" y="51"/>
                  </a:lnTo>
                  <a:lnTo>
                    <a:pt x="19" y="45"/>
                  </a:lnTo>
                  <a:lnTo>
                    <a:pt x="24" y="45"/>
                  </a:lnTo>
                  <a:lnTo>
                    <a:pt x="26" y="42"/>
                  </a:lnTo>
                  <a:lnTo>
                    <a:pt x="30" y="40"/>
                  </a:lnTo>
                  <a:lnTo>
                    <a:pt x="31" y="42"/>
                  </a:lnTo>
                  <a:lnTo>
                    <a:pt x="35" y="42"/>
                  </a:lnTo>
                  <a:lnTo>
                    <a:pt x="35" y="38"/>
                  </a:lnTo>
                  <a:lnTo>
                    <a:pt x="31" y="37"/>
                  </a:lnTo>
                  <a:lnTo>
                    <a:pt x="31" y="31"/>
                  </a:lnTo>
                  <a:lnTo>
                    <a:pt x="35" y="30"/>
                  </a:lnTo>
                  <a:lnTo>
                    <a:pt x="38" y="26"/>
                  </a:lnTo>
                  <a:lnTo>
                    <a:pt x="44" y="23"/>
                  </a:lnTo>
                  <a:lnTo>
                    <a:pt x="44" y="19"/>
                  </a:lnTo>
                  <a:lnTo>
                    <a:pt x="42" y="18"/>
                  </a:lnTo>
                  <a:lnTo>
                    <a:pt x="44" y="12"/>
                  </a:lnTo>
                  <a:lnTo>
                    <a:pt x="49" y="11"/>
                  </a:lnTo>
                  <a:lnTo>
                    <a:pt x="57" y="9"/>
                  </a:lnTo>
                  <a:lnTo>
                    <a:pt x="57" y="5"/>
                  </a:lnTo>
                  <a:lnTo>
                    <a:pt x="61" y="4"/>
                  </a:lnTo>
                  <a:lnTo>
                    <a:pt x="63" y="0"/>
                  </a:lnTo>
                  <a:lnTo>
                    <a:pt x="66" y="0"/>
                  </a:lnTo>
                  <a:lnTo>
                    <a:pt x="70" y="0"/>
                  </a:lnTo>
                  <a:lnTo>
                    <a:pt x="73" y="0"/>
                  </a:lnTo>
                  <a:lnTo>
                    <a:pt x="77" y="5"/>
                  </a:lnTo>
                  <a:lnTo>
                    <a:pt x="82" y="4"/>
                  </a:lnTo>
                  <a:lnTo>
                    <a:pt x="85" y="4"/>
                  </a:lnTo>
                  <a:lnTo>
                    <a:pt x="89" y="9"/>
                  </a:lnTo>
                  <a:lnTo>
                    <a:pt x="94" y="5"/>
                  </a:lnTo>
                  <a:lnTo>
                    <a:pt x="99" y="4"/>
                  </a:lnTo>
                  <a:lnTo>
                    <a:pt x="99" y="5"/>
                  </a:lnTo>
                  <a:lnTo>
                    <a:pt x="103" y="5"/>
                  </a:lnTo>
                  <a:lnTo>
                    <a:pt x="110" y="9"/>
                  </a:lnTo>
                  <a:lnTo>
                    <a:pt x="111" y="12"/>
                  </a:lnTo>
                  <a:lnTo>
                    <a:pt x="110" y="18"/>
                  </a:lnTo>
                  <a:lnTo>
                    <a:pt x="113" y="19"/>
                  </a:lnTo>
                  <a:lnTo>
                    <a:pt x="113" y="26"/>
                  </a:lnTo>
                  <a:lnTo>
                    <a:pt x="117" y="30"/>
                  </a:lnTo>
                  <a:lnTo>
                    <a:pt x="120" y="33"/>
                  </a:lnTo>
                  <a:lnTo>
                    <a:pt x="123" y="40"/>
                  </a:lnTo>
                  <a:lnTo>
                    <a:pt x="127" y="42"/>
                  </a:lnTo>
                  <a:lnTo>
                    <a:pt x="127" y="49"/>
                  </a:lnTo>
                  <a:lnTo>
                    <a:pt x="136" y="49"/>
                  </a:lnTo>
                  <a:lnTo>
                    <a:pt x="141" y="56"/>
                  </a:lnTo>
                  <a:lnTo>
                    <a:pt x="141" y="59"/>
                  </a:lnTo>
                  <a:lnTo>
                    <a:pt x="146" y="59"/>
                  </a:lnTo>
                  <a:lnTo>
                    <a:pt x="144" y="63"/>
                  </a:lnTo>
                  <a:lnTo>
                    <a:pt x="141" y="68"/>
                  </a:lnTo>
                  <a:lnTo>
                    <a:pt x="132" y="71"/>
                  </a:lnTo>
                  <a:lnTo>
                    <a:pt x="127" y="66"/>
                  </a:lnTo>
                  <a:lnTo>
                    <a:pt x="127" y="68"/>
                  </a:lnTo>
                  <a:lnTo>
                    <a:pt x="127" y="73"/>
                  </a:lnTo>
                  <a:lnTo>
                    <a:pt x="130" y="78"/>
                  </a:lnTo>
                  <a:lnTo>
                    <a:pt x="130" y="82"/>
                  </a:lnTo>
                  <a:lnTo>
                    <a:pt x="132" y="89"/>
                  </a:lnTo>
                  <a:lnTo>
                    <a:pt x="132" y="91"/>
                  </a:lnTo>
                  <a:lnTo>
                    <a:pt x="132" y="91"/>
                  </a:lnTo>
                  <a:lnTo>
                    <a:pt x="125" y="92"/>
                  </a:lnTo>
                  <a:lnTo>
                    <a:pt x="120" y="94"/>
                  </a:lnTo>
                  <a:lnTo>
                    <a:pt x="118" y="99"/>
                  </a:lnTo>
                  <a:lnTo>
                    <a:pt x="118" y="104"/>
                  </a:lnTo>
                  <a:lnTo>
                    <a:pt x="113" y="108"/>
                  </a:lnTo>
                  <a:lnTo>
                    <a:pt x="111" y="104"/>
                  </a:lnTo>
                  <a:lnTo>
                    <a:pt x="106" y="104"/>
                  </a:lnTo>
                  <a:lnTo>
                    <a:pt x="103" y="104"/>
                  </a:lnTo>
                  <a:lnTo>
                    <a:pt x="99" y="104"/>
                  </a:lnTo>
                  <a:lnTo>
                    <a:pt x="96" y="108"/>
                  </a:lnTo>
                  <a:lnTo>
                    <a:pt x="94" y="108"/>
                  </a:lnTo>
                  <a:lnTo>
                    <a:pt x="90" y="104"/>
                  </a:lnTo>
                  <a:lnTo>
                    <a:pt x="89" y="103"/>
                  </a:lnTo>
                  <a:lnTo>
                    <a:pt x="82" y="104"/>
                  </a:lnTo>
                  <a:lnTo>
                    <a:pt x="80" y="104"/>
                  </a:lnTo>
                  <a:lnTo>
                    <a:pt x="75" y="104"/>
                  </a:lnTo>
                  <a:lnTo>
                    <a:pt x="73" y="104"/>
                  </a:lnTo>
                  <a:lnTo>
                    <a:pt x="70" y="104"/>
                  </a:lnTo>
                  <a:lnTo>
                    <a:pt x="68" y="104"/>
                  </a:lnTo>
                  <a:lnTo>
                    <a:pt x="61" y="104"/>
                  </a:lnTo>
                  <a:lnTo>
                    <a:pt x="61" y="104"/>
                  </a:lnTo>
                  <a:lnTo>
                    <a:pt x="57" y="99"/>
                  </a:lnTo>
                  <a:lnTo>
                    <a:pt x="47" y="99"/>
                  </a:lnTo>
                  <a:lnTo>
                    <a:pt x="42" y="98"/>
                  </a:lnTo>
                  <a:lnTo>
                    <a:pt x="40" y="98"/>
                  </a:lnTo>
                  <a:lnTo>
                    <a:pt x="37" y="99"/>
                  </a:lnTo>
                  <a:lnTo>
                    <a:pt x="31" y="99"/>
                  </a:lnTo>
                  <a:lnTo>
                    <a:pt x="19" y="103"/>
                  </a:lnTo>
                  <a:lnTo>
                    <a:pt x="16" y="104"/>
                  </a:lnTo>
                  <a:lnTo>
                    <a:pt x="11" y="99"/>
                  </a:lnTo>
                  <a:lnTo>
                    <a:pt x="7" y="103"/>
                  </a:lnTo>
                  <a:lnTo>
                    <a:pt x="7" y="99"/>
                  </a:lnTo>
                  <a:lnTo>
                    <a:pt x="2" y="94"/>
                  </a:lnTo>
                  <a:lnTo>
                    <a:pt x="2" y="89"/>
                  </a:lnTo>
                  <a:lnTo>
                    <a:pt x="5" y="85"/>
                  </a:lnTo>
                  <a:lnTo>
                    <a:pt x="7" y="85"/>
                  </a:lnTo>
                  <a:lnTo>
                    <a:pt x="7" y="73"/>
                  </a:lnTo>
                  <a:lnTo>
                    <a:pt x="7" y="71"/>
                  </a:lnTo>
                  <a:lnTo>
                    <a:pt x="7" y="68"/>
                  </a:lnTo>
                  <a:lnTo>
                    <a:pt x="2" y="63"/>
                  </a:lnTo>
                  <a:lnTo>
                    <a:pt x="2" y="56"/>
                  </a:lnTo>
                  <a:lnTo>
                    <a:pt x="0" y="56"/>
                  </a:lnTo>
                  <a:lnTo>
                    <a:pt x="0" y="56"/>
                  </a:lnTo>
                  <a:lnTo>
                    <a:pt x="0" y="5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8" name="Freeform 84">
              <a:extLst>
                <a:ext uri="{FF2B5EF4-FFF2-40B4-BE49-F238E27FC236}">
                  <a16:creationId xmlns:a16="http://schemas.microsoft.com/office/drawing/2014/main" id="{EFB75A86-0C8C-44B1-8ECE-3D64A8971070}"/>
                </a:ext>
              </a:extLst>
            </p:cNvPr>
            <p:cNvSpPr>
              <a:spLocks/>
            </p:cNvSpPr>
            <p:nvPr/>
          </p:nvSpPr>
          <p:spPr bwMode="auto">
            <a:xfrm>
              <a:off x="4995863" y="2676526"/>
              <a:ext cx="449263" cy="279400"/>
            </a:xfrm>
            <a:custGeom>
              <a:avLst/>
              <a:gdLst/>
              <a:ahLst/>
              <a:cxnLst>
                <a:cxn ang="0">
                  <a:pos x="41" y="16"/>
                </a:cxn>
                <a:cxn ang="0">
                  <a:pos x="66" y="16"/>
                </a:cxn>
                <a:cxn ang="0">
                  <a:pos x="81" y="19"/>
                </a:cxn>
                <a:cxn ang="0">
                  <a:pos x="100" y="19"/>
                </a:cxn>
                <a:cxn ang="0">
                  <a:pos x="116" y="19"/>
                </a:cxn>
                <a:cxn ang="0">
                  <a:pos x="128" y="9"/>
                </a:cxn>
                <a:cxn ang="0">
                  <a:pos x="149" y="4"/>
                </a:cxn>
                <a:cxn ang="0">
                  <a:pos x="177" y="0"/>
                </a:cxn>
                <a:cxn ang="0">
                  <a:pos x="194" y="19"/>
                </a:cxn>
                <a:cxn ang="0">
                  <a:pos x="205" y="38"/>
                </a:cxn>
                <a:cxn ang="0">
                  <a:pos x="227" y="44"/>
                </a:cxn>
                <a:cxn ang="0">
                  <a:pos x="246" y="54"/>
                </a:cxn>
                <a:cxn ang="0">
                  <a:pos x="267" y="54"/>
                </a:cxn>
                <a:cxn ang="0">
                  <a:pos x="283" y="61"/>
                </a:cxn>
                <a:cxn ang="0">
                  <a:pos x="281" y="82"/>
                </a:cxn>
                <a:cxn ang="0">
                  <a:pos x="269" y="99"/>
                </a:cxn>
                <a:cxn ang="0">
                  <a:pos x="259" y="113"/>
                </a:cxn>
                <a:cxn ang="0">
                  <a:pos x="245" y="120"/>
                </a:cxn>
                <a:cxn ang="0">
                  <a:pos x="231" y="127"/>
                </a:cxn>
                <a:cxn ang="0">
                  <a:pos x="213" y="125"/>
                </a:cxn>
                <a:cxn ang="0">
                  <a:pos x="210" y="137"/>
                </a:cxn>
                <a:cxn ang="0">
                  <a:pos x="212" y="132"/>
                </a:cxn>
                <a:cxn ang="0">
                  <a:pos x="199" y="141"/>
                </a:cxn>
                <a:cxn ang="0">
                  <a:pos x="189" y="141"/>
                </a:cxn>
                <a:cxn ang="0">
                  <a:pos x="203" y="144"/>
                </a:cxn>
                <a:cxn ang="0">
                  <a:pos x="205" y="150"/>
                </a:cxn>
                <a:cxn ang="0">
                  <a:pos x="210" y="157"/>
                </a:cxn>
                <a:cxn ang="0">
                  <a:pos x="205" y="141"/>
                </a:cxn>
                <a:cxn ang="0">
                  <a:pos x="219" y="158"/>
                </a:cxn>
                <a:cxn ang="0">
                  <a:pos x="232" y="151"/>
                </a:cxn>
                <a:cxn ang="0">
                  <a:pos x="236" y="160"/>
                </a:cxn>
                <a:cxn ang="0">
                  <a:pos x="210" y="169"/>
                </a:cxn>
                <a:cxn ang="0">
                  <a:pos x="187" y="170"/>
                </a:cxn>
                <a:cxn ang="0">
                  <a:pos x="177" y="158"/>
                </a:cxn>
                <a:cxn ang="0">
                  <a:pos x="187" y="148"/>
                </a:cxn>
                <a:cxn ang="0">
                  <a:pos x="184" y="141"/>
                </a:cxn>
                <a:cxn ang="0">
                  <a:pos x="166" y="141"/>
                </a:cxn>
                <a:cxn ang="0">
                  <a:pos x="158" y="132"/>
                </a:cxn>
                <a:cxn ang="0">
                  <a:pos x="165" y="132"/>
                </a:cxn>
                <a:cxn ang="0">
                  <a:pos x="160" y="127"/>
                </a:cxn>
                <a:cxn ang="0">
                  <a:pos x="153" y="129"/>
                </a:cxn>
                <a:cxn ang="0">
                  <a:pos x="140" y="137"/>
                </a:cxn>
                <a:cxn ang="0">
                  <a:pos x="128" y="151"/>
                </a:cxn>
                <a:cxn ang="0">
                  <a:pos x="127" y="160"/>
                </a:cxn>
                <a:cxn ang="0">
                  <a:pos x="111" y="160"/>
                </a:cxn>
                <a:cxn ang="0">
                  <a:pos x="107" y="150"/>
                </a:cxn>
                <a:cxn ang="0">
                  <a:pos x="116" y="132"/>
                </a:cxn>
                <a:cxn ang="0">
                  <a:pos x="127" y="129"/>
                </a:cxn>
                <a:cxn ang="0">
                  <a:pos x="116" y="113"/>
                </a:cxn>
                <a:cxn ang="0">
                  <a:pos x="104" y="94"/>
                </a:cxn>
                <a:cxn ang="0">
                  <a:pos x="85" y="91"/>
                </a:cxn>
                <a:cxn ang="0">
                  <a:pos x="73" y="91"/>
                </a:cxn>
                <a:cxn ang="0">
                  <a:pos x="71" y="99"/>
                </a:cxn>
                <a:cxn ang="0">
                  <a:pos x="45" y="110"/>
                </a:cxn>
                <a:cxn ang="0">
                  <a:pos x="24" y="101"/>
                </a:cxn>
                <a:cxn ang="0">
                  <a:pos x="8" y="99"/>
                </a:cxn>
                <a:cxn ang="0">
                  <a:pos x="5" y="78"/>
                </a:cxn>
                <a:cxn ang="0">
                  <a:pos x="21" y="51"/>
                </a:cxn>
                <a:cxn ang="0">
                  <a:pos x="24" y="38"/>
                </a:cxn>
                <a:cxn ang="0">
                  <a:pos x="17" y="19"/>
                </a:cxn>
              </a:cxnLst>
              <a:rect l="0" t="0" r="r" b="b"/>
              <a:pathLst>
                <a:path w="283" h="176">
                  <a:moveTo>
                    <a:pt x="17" y="17"/>
                  </a:moveTo>
                  <a:lnTo>
                    <a:pt x="21" y="16"/>
                  </a:lnTo>
                  <a:lnTo>
                    <a:pt x="26" y="19"/>
                  </a:lnTo>
                  <a:lnTo>
                    <a:pt x="27" y="17"/>
                  </a:lnTo>
                  <a:lnTo>
                    <a:pt x="41" y="16"/>
                  </a:lnTo>
                  <a:lnTo>
                    <a:pt x="47" y="16"/>
                  </a:lnTo>
                  <a:lnTo>
                    <a:pt x="48" y="12"/>
                  </a:lnTo>
                  <a:lnTo>
                    <a:pt x="52" y="12"/>
                  </a:lnTo>
                  <a:lnTo>
                    <a:pt x="57" y="16"/>
                  </a:lnTo>
                  <a:lnTo>
                    <a:pt x="66" y="16"/>
                  </a:lnTo>
                  <a:lnTo>
                    <a:pt x="71" y="19"/>
                  </a:lnTo>
                  <a:lnTo>
                    <a:pt x="71" y="19"/>
                  </a:lnTo>
                  <a:lnTo>
                    <a:pt x="76" y="19"/>
                  </a:lnTo>
                  <a:lnTo>
                    <a:pt x="80" y="19"/>
                  </a:lnTo>
                  <a:lnTo>
                    <a:pt x="81" y="19"/>
                  </a:lnTo>
                  <a:lnTo>
                    <a:pt x="85" y="19"/>
                  </a:lnTo>
                  <a:lnTo>
                    <a:pt x="88" y="19"/>
                  </a:lnTo>
                  <a:lnTo>
                    <a:pt x="90" y="19"/>
                  </a:lnTo>
                  <a:lnTo>
                    <a:pt x="97" y="17"/>
                  </a:lnTo>
                  <a:lnTo>
                    <a:pt x="100" y="19"/>
                  </a:lnTo>
                  <a:lnTo>
                    <a:pt x="102" y="23"/>
                  </a:lnTo>
                  <a:lnTo>
                    <a:pt x="104" y="23"/>
                  </a:lnTo>
                  <a:lnTo>
                    <a:pt x="109" y="19"/>
                  </a:lnTo>
                  <a:lnTo>
                    <a:pt x="113" y="19"/>
                  </a:lnTo>
                  <a:lnTo>
                    <a:pt x="116" y="19"/>
                  </a:lnTo>
                  <a:lnTo>
                    <a:pt x="120" y="19"/>
                  </a:lnTo>
                  <a:lnTo>
                    <a:pt x="121" y="23"/>
                  </a:lnTo>
                  <a:lnTo>
                    <a:pt x="127" y="19"/>
                  </a:lnTo>
                  <a:lnTo>
                    <a:pt x="127" y="16"/>
                  </a:lnTo>
                  <a:lnTo>
                    <a:pt x="128" y="9"/>
                  </a:lnTo>
                  <a:lnTo>
                    <a:pt x="133" y="7"/>
                  </a:lnTo>
                  <a:lnTo>
                    <a:pt x="140" y="5"/>
                  </a:lnTo>
                  <a:lnTo>
                    <a:pt x="144" y="7"/>
                  </a:lnTo>
                  <a:lnTo>
                    <a:pt x="149" y="5"/>
                  </a:lnTo>
                  <a:lnTo>
                    <a:pt x="149" y="4"/>
                  </a:lnTo>
                  <a:lnTo>
                    <a:pt x="153" y="0"/>
                  </a:lnTo>
                  <a:lnTo>
                    <a:pt x="160" y="4"/>
                  </a:lnTo>
                  <a:lnTo>
                    <a:pt x="168" y="4"/>
                  </a:lnTo>
                  <a:lnTo>
                    <a:pt x="172" y="0"/>
                  </a:lnTo>
                  <a:lnTo>
                    <a:pt x="177" y="0"/>
                  </a:lnTo>
                  <a:lnTo>
                    <a:pt x="180" y="9"/>
                  </a:lnTo>
                  <a:lnTo>
                    <a:pt x="182" y="12"/>
                  </a:lnTo>
                  <a:lnTo>
                    <a:pt x="180" y="16"/>
                  </a:lnTo>
                  <a:lnTo>
                    <a:pt x="186" y="23"/>
                  </a:lnTo>
                  <a:lnTo>
                    <a:pt x="194" y="19"/>
                  </a:lnTo>
                  <a:lnTo>
                    <a:pt x="199" y="23"/>
                  </a:lnTo>
                  <a:lnTo>
                    <a:pt x="199" y="28"/>
                  </a:lnTo>
                  <a:lnTo>
                    <a:pt x="203" y="28"/>
                  </a:lnTo>
                  <a:lnTo>
                    <a:pt x="203" y="31"/>
                  </a:lnTo>
                  <a:lnTo>
                    <a:pt x="205" y="38"/>
                  </a:lnTo>
                  <a:lnTo>
                    <a:pt x="212" y="45"/>
                  </a:lnTo>
                  <a:lnTo>
                    <a:pt x="217" y="42"/>
                  </a:lnTo>
                  <a:lnTo>
                    <a:pt x="220" y="45"/>
                  </a:lnTo>
                  <a:lnTo>
                    <a:pt x="224" y="44"/>
                  </a:lnTo>
                  <a:lnTo>
                    <a:pt x="227" y="44"/>
                  </a:lnTo>
                  <a:lnTo>
                    <a:pt x="232" y="40"/>
                  </a:lnTo>
                  <a:lnTo>
                    <a:pt x="236" y="38"/>
                  </a:lnTo>
                  <a:lnTo>
                    <a:pt x="241" y="49"/>
                  </a:lnTo>
                  <a:lnTo>
                    <a:pt x="245" y="51"/>
                  </a:lnTo>
                  <a:lnTo>
                    <a:pt x="246" y="54"/>
                  </a:lnTo>
                  <a:lnTo>
                    <a:pt x="248" y="51"/>
                  </a:lnTo>
                  <a:lnTo>
                    <a:pt x="255" y="54"/>
                  </a:lnTo>
                  <a:lnTo>
                    <a:pt x="260" y="54"/>
                  </a:lnTo>
                  <a:lnTo>
                    <a:pt x="264" y="54"/>
                  </a:lnTo>
                  <a:lnTo>
                    <a:pt x="267" y="54"/>
                  </a:lnTo>
                  <a:lnTo>
                    <a:pt x="272" y="59"/>
                  </a:lnTo>
                  <a:lnTo>
                    <a:pt x="276" y="59"/>
                  </a:lnTo>
                  <a:lnTo>
                    <a:pt x="281" y="56"/>
                  </a:lnTo>
                  <a:lnTo>
                    <a:pt x="281" y="59"/>
                  </a:lnTo>
                  <a:lnTo>
                    <a:pt x="283" y="61"/>
                  </a:lnTo>
                  <a:lnTo>
                    <a:pt x="283" y="66"/>
                  </a:lnTo>
                  <a:lnTo>
                    <a:pt x="281" y="70"/>
                  </a:lnTo>
                  <a:lnTo>
                    <a:pt x="276" y="70"/>
                  </a:lnTo>
                  <a:lnTo>
                    <a:pt x="274" y="78"/>
                  </a:lnTo>
                  <a:lnTo>
                    <a:pt x="281" y="82"/>
                  </a:lnTo>
                  <a:lnTo>
                    <a:pt x="281" y="85"/>
                  </a:lnTo>
                  <a:lnTo>
                    <a:pt x="281" y="92"/>
                  </a:lnTo>
                  <a:lnTo>
                    <a:pt x="281" y="97"/>
                  </a:lnTo>
                  <a:lnTo>
                    <a:pt x="276" y="99"/>
                  </a:lnTo>
                  <a:lnTo>
                    <a:pt x="269" y="99"/>
                  </a:lnTo>
                  <a:lnTo>
                    <a:pt x="264" y="106"/>
                  </a:lnTo>
                  <a:lnTo>
                    <a:pt x="262" y="106"/>
                  </a:lnTo>
                  <a:lnTo>
                    <a:pt x="262" y="113"/>
                  </a:lnTo>
                  <a:lnTo>
                    <a:pt x="259" y="115"/>
                  </a:lnTo>
                  <a:lnTo>
                    <a:pt x="259" y="113"/>
                  </a:lnTo>
                  <a:lnTo>
                    <a:pt x="257" y="113"/>
                  </a:lnTo>
                  <a:lnTo>
                    <a:pt x="252" y="115"/>
                  </a:lnTo>
                  <a:lnTo>
                    <a:pt x="246" y="115"/>
                  </a:lnTo>
                  <a:lnTo>
                    <a:pt x="245" y="117"/>
                  </a:lnTo>
                  <a:lnTo>
                    <a:pt x="245" y="120"/>
                  </a:lnTo>
                  <a:lnTo>
                    <a:pt x="241" y="120"/>
                  </a:lnTo>
                  <a:lnTo>
                    <a:pt x="239" y="122"/>
                  </a:lnTo>
                  <a:lnTo>
                    <a:pt x="232" y="127"/>
                  </a:lnTo>
                  <a:lnTo>
                    <a:pt x="232" y="125"/>
                  </a:lnTo>
                  <a:lnTo>
                    <a:pt x="231" y="127"/>
                  </a:lnTo>
                  <a:lnTo>
                    <a:pt x="227" y="129"/>
                  </a:lnTo>
                  <a:lnTo>
                    <a:pt x="222" y="127"/>
                  </a:lnTo>
                  <a:lnTo>
                    <a:pt x="219" y="130"/>
                  </a:lnTo>
                  <a:lnTo>
                    <a:pt x="217" y="130"/>
                  </a:lnTo>
                  <a:lnTo>
                    <a:pt x="213" y="125"/>
                  </a:lnTo>
                  <a:lnTo>
                    <a:pt x="212" y="125"/>
                  </a:lnTo>
                  <a:lnTo>
                    <a:pt x="213" y="129"/>
                  </a:lnTo>
                  <a:lnTo>
                    <a:pt x="217" y="130"/>
                  </a:lnTo>
                  <a:lnTo>
                    <a:pt x="217" y="132"/>
                  </a:lnTo>
                  <a:lnTo>
                    <a:pt x="210" y="137"/>
                  </a:lnTo>
                  <a:lnTo>
                    <a:pt x="208" y="137"/>
                  </a:lnTo>
                  <a:lnTo>
                    <a:pt x="208" y="137"/>
                  </a:lnTo>
                  <a:lnTo>
                    <a:pt x="208" y="137"/>
                  </a:lnTo>
                  <a:lnTo>
                    <a:pt x="213" y="132"/>
                  </a:lnTo>
                  <a:lnTo>
                    <a:pt x="212" y="132"/>
                  </a:lnTo>
                  <a:lnTo>
                    <a:pt x="210" y="130"/>
                  </a:lnTo>
                  <a:lnTo>
                    <a:pt x="210" y="132"/>
                  </a:lnTo>
                  <a:lnTo>
                    <a:pt x="205" y="137"/>
                  </a:lnTo>
                  <a:lnTo>
                    <a:pt x="203" y="137"/>
                  </a:lnTo>
                  <a:lnTo>
                    <a:pt x="199" y="141"/>
                  </a:lnTo>
                  <a:lnTo>
                    <a:pt x="198" y="141"/>
                  </a:lnTo>
                  <a:lnTo>
                    <a:pt x="196" y="137"/>
                  </a:lnTo>
                  <a:lnTo>
                    <a:pt x="193" y="141"/>
                  </a:lnTo>
                  <a:lnTo>
                    <a:pt x="189" y="141"/>
                  </a:lnTo>
                  <a:lnTo>
                    <a:pt x="189" y="141"/>
                  </a:lnTo>
                  <a:lnTo>
                    <a:pt x="191" y="141"/>
                  </a:lnTo>
                  <a:lnTo>
                    <a:pt x="196" y="141"/>
                  </a:lnTo>
                  <a:lnTo>
                    <a:pt x="199" y="144"/>
                  </a:lnTo>
                  <a:lnTo>
                    <a:pt x="199" y="146"/>
                  </a:lnTo>
                  <a:lnTo>
                    <a:pt x="203" y="144"/>
                  </a:lnTo>
                  <a:lnTo>
                    <a:pt x="205" y="146"/>
                  </a:lnTo>
                  <a:lnTo>
                    <a:pt x="203" y="148"/>
                  </a:lnTo>
                  <a:lnTo>
                    <a:pt x="203" y="150"/>
                  </a:lnTo>
                  <a:lnTo>
                    <a:pt x="205" y="150"/>
                  </a:lnTo>
                  <a:lnTo>
                    <a:pt x="205" y="150"/>
                  </a:lnTo>
                  <a:lnTo>
                    <a:pt x="205" y="151"/>
                  </a:lnTo>
                  <a:lnTo>
                    <a:pt x="208" y="150"/>
                  </a:lnTo>
                  <a:lnTo>
                    <a:pt x="208" y="151"/>
                  </a:lnTo>
                  <a:lnTo>
                    <a:pt x="208" y="155"/>
                  </a:lnTo>
                  <a:lnTo>
                    <a:pt x="210" y="157"/>
                  </a:lnTo>
                  <a:lnTo>
                    <a:pt x="217" y="158"/>
                  </a:lnTo>
                  <a:lnTo>
                    <a:pt x="217" y="158"/>
                  </a:lnTo>
                  <a:lnTo>
                    <a:pt x="210" y="151"/>
                  </a:lnTo>
                  <a:lnTo>
                    <a:pt x="205" y="144"/>
                  </a:lnTo>
                  <a:lnTo>
                    <a:pt x="205" y="141"/>
                  </a:lnTo>
                  <a:lnTo>
                    <a:pt x="205" y="141"/>
                  </a:lnTo>
                  <a:lnTo>
                    <a:pt x="208" y="143"/>
                  </a:lnTo>
                  <a:lnTo>
                    <a:pt x="208" y="148"/>
                  </a:lnTo>
                  <a:lnTo>
                    <a:pt x="217" y="157"/>
                  </a:lnTo>
                  <a:lnTo>
                    <a:pt x="219" y="158"/>
                  </a:lnTo>
                  <a:lnTo>
                    <a:pt x="222" y="155"/>
                  </a:lnTo>
                  <a:lnTo>
                    <a:pt x="224" y="155"/>
                  </a:lnTo>
                  <a:lnTo>
                    <a:pt x="227" y="157"/>
                  </a:lnTo>
                  <a:lnTo>
                    <a:pt x="229" y="153"/>
                  </a:lnTo>
                  <a:lnTo>
                    <a:pt x="232" y="151"/>
                  </a:lnTo>
                  <a:lnTo>
                    <a:pt x="239" y="153"/>
                  </a:lnTo>
                  <a:lnTo>
                    <a:pt x="236" y="155"/>
                  </a:lnTo>
                  <a:lnTo>
                    <a:pt x="236" y="157"/>
                  </a:lnTo>
                  <a:lnTo>
                    <a:pt x="236" y="160"/>
                  </a:lnTo>
                  <a:lnTo>
                    <a:pt x="236" y="160"/>
                  </a:lnTo>
                  <a:lnTo>
                    <a:pt x="229" y="160"/>
                  </a:lnTo>
                  <a:lnTo>
                    <a:pt x="222" y="160"/>
                  </a:lnTo>
                  <a:lnTo>
                    <a:pt x="219" y="164"/>
                  </a:lnTo>
                  <a:lnTo>
                    <a:pt x="217" y="169"/>
                  </a:lnTo>
                  <a:lnTo>
                    <a:pt x="210" y="169"/>
                  </a:lnTo>
                  <a:lnTo>
                    <a:pt x="203" y="172"/>
                  </a:lnTo>
                  <a:lnTo>
                    <a:pt x="196" y="176"/>
                  </a:lnTo>
                  <a:lnTo>
                    <a:pt x="189" y="176"/>
                  </a:lnTo>
                  <a:lnTo>
                    <a:pt x="187" y="172"/>
                  </a:lnTo>
                  <a:lnTo>
                    <a:pt x="187" y="170"/>
                  </a:lnTo>
                  <a:lnTo>
                    <a:pt x="189" y="165"/>
                  </a:lnTo>
                  <a:lnTo>
                    <a:pt x="189" y="164"/>
                  </a:lnTo>
                  <a:lnTo>
                    <a:pt x="184" y="160"/>
                  </a:lnTo>
                  <a:lnTo>
                    <a:pt x="182" y="160"/>
                  </a:lnTo>
                  <a:lnTo>
                    <a:pt x="177" y="158"/>
                  </a:lnTo>
                  <a:lnTo>
                    <a:pt x="177" y="160"/>
                  </a:lnTo>
                  <a:lnTo>
                    <a:pt x="172" y="158"/>
                  </a:lnTo>
                  <a:lnTo>
                    <a:pt x="177" y="153"/>
                  </a:lnTo>
                  <a:lnTo>
                    <a:pt x="182" y="150"/>
                  </a:lnTo>
                  <a:lnTo>
                    <a:pt x="187" y="148"/>
                  </a:lnTo>
                  <a:lnTo>
                    <a:pt x="189" y="146"/>
                  </a:lnTo>
                  <a:lnTo>
                    <a:pt x="187" y="144"/>
                  </a:lnTo>
                  <a:lnTo>
                    <a:pt x="186" y="141"/>
                  </a:lnTo>
                  <a:lnTo>
                    <a:pt x="184" y="141"/>
                  </a:lnTo>
                  <a:lnTo>
                    <a:pt x="184" y="141"/>
                  </a:lnTo>
                  <a:lnTo>
                    <a:pt x="180" y="141"/>
                  </a:lnTo>
                  <a:lnTo>
                    <a:pt x="177" y="137"/>
                  </a:lnTo>
                  <a:lnTo>
                    <a:pt x="172" y="141"/>
                  </a:lnTo>
                  <a:lnTo>
                    <a:pt x="168" y="141"/>
                  </a:lnTo>
                  <a:lnTo>
                    <a:pt x="166" y="141"/>
                  </a:lnTo>
                  <a:lnTo>
                    <a:pt x="163" y="141"/>
                  </a:lnTo>
                  <a:lnTo>
                    <a:pt x="161" y="137"/>
                  </a:lnTo>
                  <a:lnTo>
                    <a:pt x="163" y="137"/>
                  </a:lnTo>
                  <a:lnTo>
                    <a:pt x="163" y="136"/>
                  </a:lnTo>
                  <a:lnTo>
                    <a:pt x="158" y="132"/>
                  </a:lnTo>
                  <a:lnTo>
                    <a:pt x="153" y="132"/>
                  </a:lnTo>
                  <a:lnTo>
                    <a:pt x="153" y="132"/>
                  </a:lnTo>
                  <a:lnTo>
                    <a:pt x="154" y="132"/>
                  </a:lnTo>
                  <a:lnTo>
                    <a:pt x="161" y="130"/>
                  </a:lnTo>
                  <a:lnTo>
                    <a:pt x="165" y="132"/>
                  </a:lnTo>
                  <a:lnTo>
                    <a:pt x="166" y="130"/>
                  </a:lnTo>
                  <a:lnTo>
                    <a:pt x="168" y="129"/>
                  </a:lnTo>
                  <a:lnTo>
                    <a:pt x="165" y="130"/>
                  </a:lnTo>
                  <a:lnTo>
                    <a:pt x="161" y="129"/>
                  </a:lnTo>
                  <a:lnTo>
                    <a:pt x="160" y="127"/>
                  </a:lnTo>
                  <a:lnTo>
                    <a:pt x="158" y="125"/>
                  </a:lnTo>
                  <a:lnTo>
                    <a:pt x="156" y="127"/>
                  </a:lnTo>
                  <a:lnTo>
                    <a:pt x="156" y="129"/>
                  </a:lnTo>
                  <a:lnTo>
                    <a:pt x="153" y="129"/>
                  </a:lnTo>
                  <a:lnTo>
                    <a:pt x="153" y="129"/>
                  </a:lnTo>
                  <a:lnTo>
                    <a:pt x="153" y="127"/>
                  </a:lnTo>
                  <a:lnTo>
                    <a:pt x="149" y="130"/>
                  </a:lnTo>
                  <a:lnTo>
                    <a:pt x="144" y="132"/>
                  </a:lnTo>
                  <a:lnTo>
                    <a:pt x="140" y="132"/>
                  </a:lnTo>
                  <a:lnTo>
                    <a:pt x="140" y="137"/>
                  </a:lnTo>
                  <a:lnTo>
                    <a:pt x="137" y="141"/>
                  </a:lnTo>
                  <a:lnTo>
                    <a:pt x="135" y="141"/>
                  </a:lnTo>
                  <a:lnTo>
                    <a:pt x="137" y="143"/>
                  </a:lnTo>
                  <a:lnTo>
                    <a:pt x="130" y="151"/>
                  </a:lnTo>
                  <a:lnTo>
                    <a:pt x="128" y="151"/>
                  </a:lnTo>
                  <a:lnTo>
                    <a:pt x="127" y="150"/>
                  </a:lnTo>
                  <a:lnTo>
                    <a:pt x="127" y="151"/>
                  </a:lnTo>
                  <a:lnTo>
                    <a:pt x="125" y="155"/>
                  </a:lnTo>
                  <a:lnTo>
                    <a:pt x="128" y="157"/>
                  </a:lnTo>
                  <a:lnTo>
                    <a:pt x="127" y="160"/>
                  </a:lnTo>
                  <a:lnTo>
                    <a:pt x="127" y="160"/>
                  </a:lnTo>
                  <a:lnTo>
                    <a:pt x="123" y="157"/>
                  </a:lnTo>
                  <a:lnTo>
                    <a:pt x="118" y="158"/>
                  </a:lnTo>
                  <a:lnTo>
                    <a:pt x="116" y="160"/>
                  </a:lnTo>
                  <a:lnTo>
                    <a:pt x="111" y="160"/>
                  </a:lnTo>
                  <a:lnTo>
                    <a:pt x="104" y="158"/>
                  </a:lnTo>
                  <a:lnTo>
                    <a:pt x="102" y="153"/>
                  </a:lnTo>
                  <a:lnTo>
                    <a:pt x="104" y="151"/>
                  </a:lnTo>
                  <a:lnTo>
                    <a:pt x="107" y="153"/>
                  </a:lnTo>
                  <a:lnTo>
                    <a:pt x="107" y="150"/>
                  </a:lnTo>
                  <a:lnTo>
                    <a:pt x="111" y="143"/>
                  </a:lnTo>
                  <a:lnTo>
                    <a:pt x="113" y="143"/>
                  </a:lnTo>
                  <a:lnTo>
                    <a:pt x="113" y="141"/>
                  </a:lnTo>
                  <a:lnTo>
                    <a:pt x="113" y="132"/>
                  </a:lnTo>
                  <a:lnTo>
                    <a:pt x="116" y="132"/>
                  </a:lnTo>
                  <a:lnTo>
                    <a:pt x="120" y="132"/>
                  </a:lnTo>
                  <a:lnTo>
                    <a:pt x="123" y="132"/>
                  </a:lnTo>
                  <a:lnTo>
                    <a:pt x="128" y="132"/>
                  </a:lnTo>
                  <a:lnTo>
                    <a:pt x="128" y="132"/>
                  </a:lnTo>
                  <a:lnTo>
                    <a:pt x="127" y="129"/>
                  </a:lnTo>
                  <a:lnTo>
                    <a:pt x="128" y="127"/>
                  </a:lnTo>
                  <a:lnTo>
                    <a:pt x="127" y="124"/>
                  </a:lnTo>
                  <a:lnTo>
                    <a:pt x="121" y="120"/>
                  </a:lnTo>
                  <a:lnTo>
                    <a:pt x="118" y="117"/>
                  </a:lnTo>
                  <a:lnTo>
                    <a:pt x="116" y="113"/>
                  </a:lnTo>
                  <a:lnTo>
                    <a:pt x="113" y="113"/>
                  </a:lnTo>
                  <a:lnTo>
                    <a:pt x="113" y="110"/>
                  </a:lnTo>
                  <a:lnTo>
                    <a:pt x="113" y="101"/>
                  </a:lnTo>
                  <a:lnTo>
                    <a:pt x="109" y="101"/>
                  </a:lnTo>
                  <a:lnTo>
                    <a:pt x="104" y="94"/>
                  </a:lnTo>
                  <a:lnTo>
                    <a:pt x="102" y="94"/>
                  </a:lnTo>
                  <a:lnTo>
                    <a:pt x="100" y="97"/>
                  </a:lnTo>
                  <a:lnTo>
                    <a:pt x="95" y="96"/>
                  </a:lnTo>
                  <a:lnTo>
                    <a:pt x="88" y="91"/>
                  </a:lnTo>
                  <a:lnTo>
                    <a:pt x="85" y="91"/>
                  </a:lnTo>
                  <a:lnTo>
                    <a:pt x="81" y="87"/>
                  </a:lnTo>
                  <a:lnTo>
                    <a:pt x="80" y="91"/>
                  </a:lnTo>
                  <a:lnTo>
                    <a:pt x="76" y="91"/>
                  </a:lnTo>
                  <a:lnTo>
                    <a:pt x="76" y="91"/>
                  </a:lnTo>
                  <a:lnTo>
                    <a:pt x="73" y="91"/>
                  </a:lnTo>
                  <a:lnTo>
                    <a:pt x="73" y="91"/>
                  </a:lnTo>
                  <a:lnTo>
                    <a:pt x="69" y="91"/>
                  </a:lnTo>
                  <a:lnTo>
                    <a:pt x="71" y="92"/>
                  </a:lnTo>
                  <a:lnTo>
                    <a:pt x="69" y="96"/>
                  </a:lnTo>
                  <a:lnTo>
                    <a:pt x="71" y="99"/>
                  </a:lnTo>
                  <a:lnTo>
                    <a:pt x="66" y="101"/>
                  </a:lnTo>
                  <a:lnTo>
                    <a:pt x="62" y="101"/>
                  </a:lnTo>
                  <a:lnTo>
                    <a:pt x="52" y="104"/>
                  </a:lnTo>
                  <a:lnTo>
                    <a:pt x="48" y="106"/>
                  </a:lnTo>
                  <a:lnTo>
                    <a:pt x="45" y="110"/>
                  </a:lnTo>
                  <a:lnTo>
                    <a:pt x="40" y="110"/>
                  </a:lnTo>
                  <a:lnTo>
                    <a:pt x="34" y="110"/>
                  </a:lnTo>
                  <a:lnTo>
                    <a:pt x="33" y="106"/>
                  </a:lnTo>
                  <a:lnTo>
                    <a:pt x="29" y="104"/>
                  </a:lnTo>
                  <a:lnTo>
                    <a:pt x="24" y="101"/>
                  </a:lnTo>
                  <a:lnTo>
                    <a:pt x="17" y="99"/>
                  </a:lnTo>
                  <a:lnTo>
                    <a:pt x="15" y="99"/>
                  </a:lnTo>
                  <a:lnTo>
                    <a:pt x="12" y="101"/>
                  </a:lnTo>
                  <a:lnTo>
                    <a:pt x="10" y="101"/>
                  </a:lnTo>
                  <a:lnTo>
                    <a:pt x="8" y="99"/>
                  </a:lnTo>
                  <a:lnTo>
                    <a:pt x="3" y="96"/>
                  </a:lnTo>
                  <a:lnTo>
                    <a:pt x="0" y="92"/>
                  </a:lnTo>
                  <a:lnTo>
                    <a:pt x="0" y="91"/>
                  </a:lnTo>
                  <a:lnTo>
                    <a:pt x="1" y="85"/>
                  </a:lnTo>
                  <a:lnTo>
                    <a:pt x="5" y="78"/>
                  </a:lnTo>
                  <a:lnTo>
                    <a:pt x="8" y="78"/>
                  </a:lnTo>
                  <a:lnTo>
                    <a:pt x="8" y="73"/>
                  </a:lnTo>
                  <a:lnTo>
                    <a:pt x="7" y="68"/>
                  </a:lnTo>
                  <a:lnTo>
                    <a:pt x="17" y="56"/>
                  </a:lnTo>
                  <a:lnTo>
                    <a:pt x="21" y="51"/>
                  </a:lnTo>
                  <a:lnTo>
                    <a:pt x="21" y="49"/>
                  </a:lnTo>
                  <a:lnTo>
                    <a:pt x="24" y="49"/>
                  </a:lnTo>
                  <a:lnTo>
                    <a:pt x="26" y="44"/>
                  </a:lnTo>
                  <a:lnTo>
                    <a:pt x="24" y="42"/>
                  </a:lnTo>
                  <a:lnTo>
                    <a:pt x="24" y="38"/>
                  </a:lnTo>
                  <a:lnTo>
                    <a:pt x="24" y="37"/>
                  </a:lnTo>
                  <a:lnTo>
                    <a:pt x="21" y="35"/>
                  </a:lnTo>
                  <a:lnTo>
                    <a:pt x="21" y="28"/>
                  </a:lnTo>
                  <a:lnTo>
                    <a:pt x="17" y="28"/>
                  </a:lnTo>
                  <a:lnTo>
                    <a:pt x="17" y="19"/>
                  </a:lnTo>
                  <a:lnTo>
                    <a:pt x="17" y="17"/>
                  </a:lnTo>
                  <a:lnTo>
                    <a:pt x="17" y="17"/>
                  </a:lnTo>
                  <a:lnTo>
                    <a:pt x="1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9" name="Freeform 85">
              <a:extLst>
                <a:ext uri="{FF2B5EF4-FFF2-40B4-BE49-F238E27FC236}">
                  <a16:creationId xmlns:a16="http://schemas.microsoft.com/office/drawing/2014/main" id="{255EC7F1-F9EA-4C8F-877D-545B29BE039E}"/>
                </a:ext>
              </a:extLst>
            </p:cNvPr>
            <p:cNvSpPr>
              <a:spLocks/>
            </p:cNvSpPr>
            <p:nvPr/>
          </p:nvSpPr>
          <p:spPr bwMode="auto">
            <a:xfrm>
              <a:off x="5111750" y="2817813"/>
              <a:ext cx="93663" cy="98425"/>
            </a:xfrm>
            <a:custGeom>
              <a:avLst/>
              <a:gdLst/>
              <a:ahLst/>
              <a:cxnLst>
                <a:cxn ang="0">
                  <a:pos x="1" y="10"/>
                </a:cxn>
                <a:cxn ang="0">
                  <a:pos x="0" y="8"/>
                </a:cxn>
                <a:cxn ang="0">
                  <a:pos x="1" y="5"/>
                </a:cxn>
                <a:cxn ang="0">
                  <a:pos x="0" y="2"/>
                </a:cxn>
                <a:cxn ang="0">
                  <a:pos x="3" y="2"/>
                </a:cxn>
                <a:cxn ang="0">
                  <a:pos x="3" y="2"/>
                </a:cxn>
                <a:cxn ang="0">
                  <a:pos x="7" y="3"/>
                </a:cxn>
                <a:cxn ang="0">
                  <a:pos x="8" y="2"/>
                </a:cxn>
                <a:cxn ang="0">
                  <a:pos x="12" y="2"/>
                </a:cxn>
                <a:cxn ang="0">
                  <a:pos x="12" y="0"/>
                </a:cxn>
                <a:cxn ang="0">
                  <a:pos x="15" y="3"/>
                </a:cxn>
                <a:cxn ang="0">
                  <a:pos x="19" y="3"/>
                </a:cxn>
                <a:cxn ang="0">
                  <a:pos x="26" y="8"/>
                </a:cxn>
                <a:cxn ang="0">
                  <a:pos x="31" y="8"/>
                </a:cxn>
                <a:cxn ang="0">
                  <a:pos x="33" y="7"/>
                </a:cxn>
                <a:cxn ang="0">
                  <a:pos x="34" y="7"/>
                </a:cxn>
                <a:cxn ang="0">
                  <a:pos x="38" y="12"/>
                </a:cxn>
                <a:cxn ang="0">
                  <a:pos x="41" y="14"/>
                </a:cxn>
                <a:cxn ang="0">
                  <a:pos x="43" y="21"/>
                </a:cxn>
                <a:cxn ang="0">
                  <a:pos x="43" y="24"/>
                </a:cxn>
                <a:cxn ang="0">
                  <a:pos x="47" y="24"/>
                </a:cxn>
                <a:cxn ang="0">
                  <a:pos x="48" y="28"/>
                </a:cxn>
                <a:cxn ang="0">
                  <a:pos x="52" y="31"/>
                </a:cxn>
                <a:cxn ang="0">
                  <a:pos x="57" y="35"/>
                </a:cxn>
                <a:cxn ang="0">
                  <a:pos x="59" y="38"/>
                </a:cxn>
                <a:cxn ang="0">
                  <a:pos x="57" y="38"/>
                </a:cxn>
                <a:cxn ang="0">
                  <a:pos x="59" y="41"/>
                </a:cxn>
                <a:cxn ang="0">
                  <a:pos x="59" y="43"/>
                </a:cxn>
                <a:cxn ang="0">
                  <a:pos x="54" y="43"/>
                </a:cxn>
                <a:cxn ang="0">
                  <a:pos x="50" y="41"/>
                </a:cxn>
                <a:cxn ang="0">
                  <a:pos x="47" y="43"/>
                </a:cxn>
                <a:cxn ang="0">
                  <a:pos x="43" y="43"/>
                </a:cxn>
                <a:cxn ang="0">
                  <a:pos x="41" y="50"/>
                </a:cxn>
                <a:cxn ang="0">
                  <a:pos x="41" y="52"/>
                </a:cxn>
                <a:cxn ang="0">
                  <a:pos x="41" y="52"/>
                </a:cxn>
                <a:cxn ang="0">
                  <a:pos x="38" y="59"/>
                </a:cxn>
                <a:cxn ang="0">
                  <a:pos x="38" y="62"/>
                </a:cxn>
                <a:cxn ang="0">
                  <a:pos x="34" y="61"/>
                </a:cxn>
                <a:cxn ang="0">
                  <a:pos x="33" y="62"/>
                </a:cxn>
                <a:cxn ang="0">
                  <a:pos x="33" y="62"/>
                </a:cxn>
                <a:cxn ang="0">
                  <a:pos x="29" y="57"/>
                </a:cxn>
                <a:cxn ang="0">
                  <a:pos x="31" y="41"/>
                </a:cxn>
                <a:cxn ang="0">
                  <a:pos x="27" y="38"/>
                </a:cxn>
                <a:cxn ang="0">
                  <a:pos x="26" y="33"/>
                </a:cxn>
                <a:cxn ang="0">
                  <a:pos x="19" y="26"/>
                </a:cxn>
                <a:cxn ang="0">
                  <a:pos x="15" y="24"/>
                </a:cxn>
                <a:cxn ang="0">
                  <a:pos x="10" y="17"/>
                </a:cxn>
                <a:cxn ang="0">
                  <a:pos x="8" y="8"/>
                </a:cxn>
                <a:cxn ang="0">
                  <a:pos x="1" y="10"/>
                </a:cxn>
                <a:cxn ang="0">
                  <a:pos x="1" y="10"/>
                </a:cxn>
                <a:cxn ang="0">
                  <a:pos x="1" y="10"/>
                </a:cxn>
              </a:cxnLst>
              <a:rect l="0" t="0" r="r" b="b"/>
              <a:pathLst>
                <a:path w="59" h="62">
                  <a:moveTo>
                    <a:pt x="1" y="10"/>
                  </a:moveTo>
                  <a:lnTo>
                    <a:pt x="0" y="8"/>
                  </a:lnTo>
                  <a:lnTo>
                    <a:pt x="1" y="5"/>
                  </a:lnTo>
                  <a:lnTo>
                    <a:pt x="0" y="2"/>
                  </a:lnTo>
                  <a:lnTo>
                    <a:pt x="3" y="2"/>
                  </a:lnTo>
                  <a:lnTo>
                    <a:pt x="3" y="2"/>
                  </a:lnTo>
                  <a:lnTo>
                    <a:pt x="7" y="3"/>
                  </a:lnTo>
                  <a:lnTo>
                    <a:pt x="8" y="2"/>
                  </a:lnTo>
                  <a:lnTo>
                    <a:pt x="12" y="2"/>
                  </a:lnTo>
                  <a:lnTo>
                    <a:pt x="12" y="0"/>
                  </a:lnTo>
                  <a:lnTo>
                    <a:pt x="15" y="3"/>
                  </a:lnTo>
                  <a:lnTo>
                    <a:pt x="19" y="3"/>
                  </a:lnTo>
                  <a:lnTo>
                    <a:pt x="26" y="8"/>
                  </a:lnTo>
                  <a:lnTo>
                    <a:pt x="31" y="8"/>
                  </a:lnTo>
                  <a:lnTo>
                    <a:pt x="33" y="7"/>
                  </a:lnTo>
                  <a:lnTo>
                    <a:pt x="34" y="7"/>
                  </a:lnTo>
                  <a:lnTo>
                    <a:pt x="38" y="12"/>
                  </a:lnTo>
                  <a:lnTo>
                    <a:pt x="41" y="14"/>
                  </a:lnTo>
                  <a:lnTo>
                    <a:pt x="43" y="21"/>
                  </a:lnTo>
                  <a:lnTo>
                    <a:pt x="43" y="24"/>
                  </a:lnTo>
                  <a:lnTo>
                    <a:pt x="47" y="24"/>
                  </a:lnTo>
                  <a:lnTo>
                    <a:pt x="48" y="28"/>
                  </a:lnTo>
                  <a:lnTo>
                    <a:pt x="52" y="31"/>
                  </a:lnTo>
                  <a:lnTo>
                    <a:pt x="57" y="35"/>
                  </a:lnTo>
                  <a:lnTo>
                    <a:pt x="59" y="38"/>
                  </a:lnTo>
                  <a:lnTo>
                    <a:pt x="57" y="38"/>
                  </a:lnTo>
                  <a:lnTo>
                    <a:pt x="59" y="41"/>
                  </a:lnTo>
                  <a:lnTo>
                    <a:pt x="59" y="43"/>
                  </a:lnTo>
                  <a:lnTo>
                    <a:pt x="54" y="43"/>
                  </a:lnTo>
                  <a:lnTo>
                    <a:pt x="50" y="41"/>
                  </a:lnTo>
                  <a:lnTo>
                    <a:pt x="47" y="43"/>
                  </a:lnTo>
                  <a:lnTo>
                    <a:pt x="43" y="43"/>
                  </a:lnTo>
                  <a:lnTo>
                    <a:pt x="41" y="50"/>
                  </a:lnTo>
                  <a:lnTo>
                    <a:pt x="41" y="52"/>
                  </a:lnTo>
                  <a:lnTo>
                    <a:pt x="41" y="52"/>
                  </a:lnTo>
                  <a:lnTo>
                    <a:pt x="38" y="59"/>
                  </a:lnTo>
                  <a:lnTo>
                    <a:pt x="38" y="62"/>
                  </a:lnTo>
                  <a:lnTo>
                    <a:pt x="34" y="61"/>
                  </a:lnTo>
                  <a:lnTo>
                    <a:pt x="33" y="62"/>
                  </a:lnTo>
                  <a:lnTo>
                    <a:pt x="33" y="62"/>
                  </a:lnTo>
                  <a:lnTo>
                    <a:pt x="29" y="57"/>
                  </a:lnTo>
                  <a:lnTo>
                    <a:pt x="31" y="41"/>
                  </a:lnTo>
                  <a:lnTo>
                    <a:pt x="27" y="38"/>
                  </a:lnTo>
                  <a:lnTo>
                    <a:pt x="26" y="33"/>
                  </a:lnTo>
                  <a:lnTo>
                    <a:pt x="19" y="26"/>
                  </a:lnTo>
                  <a:lnTo>
                    <a:pt x="15" y="24"/>
                  </a:lnTo>
                  <a:lnTo>
                    <a:pt x="10" y="17"/>
                  </a:lnTo>
                  <a:lnTo>
                    <a:pt x="8" y="8"/>
                  </a:lnTo>
                  <a:lnTo>
                    <a:pt x="1" y="10"/>
                  </a:lnTo>
                  <a:lnTo>
                    <a:pt x="1" y="10"/>
                  </a:lnTo>
                  <a:lnTo>
                    <a:pt x="1"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0" name="Freeform 86">
              <a:extLst>
                <a:ext uri="{FF2B5EF4-FFF2-40B4-BE49-F238E27FC236}">
                  <a16:creationId xmlns:a16="http://schemas.microsoft.com/office/drawing/2014/main" id="{462E8FD0-C355-45FA-8127-32B10B053793}"/>
                </a:ext>
              </a:extLst>
            </p:cNvPr>
            <p:cNvSpPr>
              <a:spLocks/>
            </p:cNvSpPr>
            <p:nvPr/>
          </p:nvSpPr>
          <p:spPr bwMode="auto">
            <a:xfrm>
              <a:off x="5019675" y="2963863"/>
              <a:ext cx="155575" cy="101600"/>
            </a:xfrm>
            <a:custGeom>
              <a:avLst/>
              <a:gdLst/>
              <a:ahLst/>
              <a:cxnLst>
                <a:cxn ang="0">
                  <a:pos x="7" y="0"/>
                </a:cxn>
                <a:cxn ang="0">
                  <a:pos x="9" y="5"/>
                </a:cxn>
                <a:cxn ang="0">
                  <a:pos x="9" y="10"/>
                </a:cxn>
                <a:cxn ang="0">
                  <a:pos x="18" y="7"/>
                </a:cxn>
                <a:cxn ang="0">
                  <a:pos x="21" y="9"/>
                </a:cxn>
                <a:cxn ang="0">
                  <a:pos x="32" y="9"/>
                </a:cxn>
                <a:cxn ang="0">
                  <a:pos x="39" y="9"/>
                </a:cxn>
                <a:cxn ang="0">
                  <a:pos x="44" y="10"/>
                </a:cxn>
                <a:cxn ang="0">
                  <a:pos x="52" y="9"/>
                </a:cxn>
                <a:cxn ang="0">
                  <a:pos x="58" y="5"/>
                </a:cxn>
                <a:cxn ang="0">
                  <a:pos x="73" y="0"/>
                </a:cxn>
                <a:cxn ang="0">
                  <a:pos x="84" y="3"/>
                </a:cxn>
                <a:cxn ang="0">
                  <a:pos x="89" y="3"/>
                </a:cxn>
                <a:cxn ang="0">
                  <a:pos x="94" y="7"/>
                </a:cxn>
                <a:cxn ang="0">
                  <a:pos x="98" y="9"/>
                </a:cxn>
                <a:cxn ang="0">
                  <a:pos x="96" y="17"/>
                </a:cxn>
                <a:cxn ang="0">
                  <a:pos x="87" y="21"/>
                </a:cxn>
                <a:cxn ang="0">
                  <a:pos x="87" y="31"/>
                </a:cxn>
                <a:cxn ang="0">
                  <a:pos x="84" y="36"/>
                </a:cxn>
                <a:cxn ang="0">
                  <a:pos x="89" y="43"/>
                </a:cxn>
                <a:cxn ang="0">
                  <a:pos x="91" y="47"/>
                </a:cxn>
                <a:cxn ang="0">
                  <a:pos x="85" y="49"/>
                </a:cxn>
                <a:cxn ang="0">
                  <a:pos x="77" y="45"/>
                </a:cxn>
                <a:cxn ang="0">
                  <a:pos x="72" y="47"/>
                </a:cxn>
                <a:cxn ang="0">
                  <a:pos x="68" y="50"/>
                </a:cxn>
                <a:cxn ang="0">
                  <a:pos x="61" y="54"/>
                </a:cxn>
                <a:cxn ang="0">
                  <a:pos x="63" y="61"/>
                </a:cxn>
                <a:cxn ang="0">
                  <a:pos x="54" y="63"/>
                </a:cxn>
                <a:cxn ang="0">
                  <a:pos x="47" y="63"/>
                </a:cxn>
                <a:cxn ang="0">
                  <a:pos x="42" y="64"/>
                </a:cxn>
                <a:cxn ang="0">
                  <a:pos x="39" y="61"/>
                </a:cxn>
                <a:cxn ang="0">
                  <a:pos x="30" y="61"/>
                </a:cxn>
                <a:cxn ang="0">
                  <a:pos x="23" y="64"/>
                </a:cxn>
                <a:cxn ang="0">
                  <a:pos x="16" y="64"/>
                </a:cxn>
                <a:cxn ang="0">
                  <a:pos x="16" y="61"/>
                </a:cxn>
                <a:cxn ang="0">
                  <a:pos x="11" y="47"/>
                </a:cxn>
                <a:cxn ang="0">
                  <a:pos x="4" y="42"/>
                </a:cxn>
                <a:cxn ang="0">
                  <a:pos x="2" y="36"/>
                </a:cxn>
                <a:cxn ang="0">
                  <a:pos x="9" y="28"/>
                </a:cxn>
                <a:cxn ang="0">
                  <a:pos x="7" y="19"/>
                </a:cxn>
                <a:cxn ang="0">
                  <a:pos x="0" y="7"/>
                </a:cxn>
                <a:cxn ang="0">
                  <a:pos x="2" y="0"/>
                </a:cxn>
                <a:cxn ang="0">
                  <a:pos x="2" y="0"/>
                </a:cxn>
              </a:cxnLst>
              <a:rect l="0" t="0" r="r" b="b"/>
              <a:pathLst>
                <a:path w="98" h="64">
                  <a:moveTo>
                    <a:pt x="2" y="0"/>
                  </a:moveTo>
                  <a:lnTo>
                    <a:pt x="7" y="0"/>
                  </a:lnTo>
                  <a:lnTo>
                    <a:pt x="9" y="3"/>
                  </a:lnTo>
                  <a:lnTo>
                    <a:pt x="9" y="5"/>
                  </a:lnTo>
                  <a:lnTo>
                    <a:pt x="7" y="7"/>
                  </a:lnTo>
                  <a:lnTo>
                    <a:pt x="9" y="10"/>
                  </a:lnTo>
                  <a:lnTo>
                    <a:pt x="12" y="7"/>
                  </a:lnTo>
                  <a:lnTo>
                    <a:pt x="18" y="7"/>
                  </a:lnTo>
                  <a:lnTo>
                    <a:pt x="19" y="10"/>
                  </a:lnTo>
                  <a:lnTo>
                    <a:pt x="21" y="9"/>
                  </a:lnTo>
                  <a:lnTo>
                    <a:pt x="26" y="12"/>
                  </a:lnTo>
                  <a:lnTo>
                    <a:pt x="32" y="9"/>
                  </a:lnTo>
                  <a:lnTo>
                    <a:pt x="35" y="10"/>
                  </a:lnTo>
                  <a:lnTo>
                    <a:pt x="39" y="9"/>
                  </a:lnTo>
                  <a:lnTo>
                    <a:pt x="40" y="10"/>
                  </a:lnTo>
                  <a:lnTo>
                    <a:pt x="44" y="10"/>
                  </a:lnTo>
                  <a:lnTo>
                    <a:pt x="51" y="10"/>
                  </a:lnTo>
                  <a:lnTo>
                    <a:pt x="52" y="9"/>
                  </a:lnTo>
                  <a:lnTo>
                    <a:pt x="58" y="9"/>
                  </a:lnTo>
                  <a:lnTo>
                    <a:pt x="58" y="5"/>
                  </a:lnTo>
                  <a:lnTo>
                    <a:pt x="68" y="0"/>
                  </a:lnTo>
                  <a:lnTo>
                    <a:pt x="73" y="0"/>
                  </a:lnTo>
                  <a:lnTo>
                    <a:pt x="78" y="0"/>
                  </a:lnTo>
                  <a:lnTo>
                    <a:pt x="84" y="3"/>
                  </a:lnTo>
                  <a:lnTo>
                    <a:pt x="85" y="5"/>
                  </a:lnTo>
                  <a:lnTo>
                    <a:pt x="89" y="3"/>
                  </a:lnTo>
                  <a:lnTo>
                    <a:pt x="92" y="5"/>
                  </a:lnTo>
                  <a:lnTo>
                    <a:pt x="94" y="7"/>
                  </a:lnTo>
                  <a:lnTo>
                    <a:pt x="98" y="7"/>
                  </a:lnTo>
                  <a:lnTo>
                    <a:pt x="98" y="9"/>
                  </a:lnTo>
                  <a:lnTo>
                    <a:pt x="98" y="16"/>
                  </a:lnTo>
                  <a:lnTo>
                    <a:pt x="96" y="17"/>
                  </a:lnTo>
                  <a:lnTo>
                    <a:pt x="92" y="17"/>
                  </a:lnTo>
                  <a:lnTo>
                    <a:pt x="87" y="21"/>
                  </a:lnTo>
                  <a:lnTo>
                    <a:pt x="87" y="28"/>
                  </a:lnTo>
                  <a:lnTo>
                    <a:pt x="87" y="31"/>
                  </a:lnTo>
                  <a:lnTo>
                    <a:pt x="84" y="36"/>
                  </a:lnTo>
                  <a:lnTo>
                    <a:pt x="84" y="36"/>
                  </a:lnTo>
                  <a:lnTo>
                    <a:pt x="85" y="40"/>
                  </a:lnTo>
                  <a:lnTo>
                    <a:pt x="89" y="43"/>
                  </a:lnTo>
                  <a:lnTo>
                    <a:pt x="91" y="47"/>
                  </a:lnTo>
                  <a:lnTo>
                    <a:pt x="91" y="47"/>
                  </a:lnTo>
                  <a:lnTo>
                    <a:pt x="87" y="47"/>
                  </a:lnTo>
                  <a:lnTo>
                    <a:pt x="85" y="49"/>
                  </a:lnTo>
                  <a:lnTo>
                    <a:pt x="80" y="45"/>
                  </a:lnTo>
                  <a:lnTo>
                    <a:pt x="77" y="45"/>
                  </a:lnTo>
                  <a:lnTo>
                    <a:pt x="75" y="47"/>
                  </a:lnTo>
                  <a:lnTo>
                    <a:pt x="72" y="47"/>
                  </a:lnTo>
                  <a:lnTo>
                    <a:pt x="68" y="50"/>
                  </a:lnTo>
                  <a:lnTo>
                    <a:pt x="68" y="50"/>
                  </a:lnTo>
                  <a:lnTo>
                    <a:pt x="66" y="50"/>
                  </a:lnTo>
                  <a:lnTo>
                    <a:pt x="61" y="54"/>
                  </a:lnTo>
                  <a:lnTo>
                    <a:pt x="61" y="57"/>
                  </a:lnTo>
                  <a:lnTo>
                    <a:pt x="63" y="61"/>
                  </a:lnTo>
                  <a:lnTo>
                    <a:pt x="61" y="63"/>
                  </a:lnTo>
                  <a:lnTo>
                    <a:pt x="54" y="63"/>
                  </a:lnTo>
                  <a:lnTo>
                    <a:pt x="51" y="64"/>
                  </a:lnTo>
                  <a:lnTo>
                    <a:pt x="47" y="63"/>
                  </a:lnTo>
                  <a:lnTo>
                    <a:pt x="44" y="63"/>
                  </a:lnTo>
                  <a:lnTo>
                    <a:pt x="42" y="64"/>
                  </a:lnTo>
                  <a:lnTo>
                    <a:pt x="39" y="64"/>
                  </a:lnTo>
                  <a:lnTo>
                    <a:pt x="39" y="61"/>
                  </a:lnTo>
                  <a:lnTo>
                    <a:pt x="35" y="61"/>
                  </a:lnTo>
                  <a:lnTo>
                    <a:pt x="30" y="61"/>
                  </a:lnTo>
                  <a:lnTo>
                    <a:pt x="28" y="64"/>
                  </a:lnTo>
                  <a:lnTo>
                    <a:pt x="23" y="64"/>
                  </a:lnTo>
                  <a:lnTo>
                    <a:pt x="18" y="64"/>
                  </a:lnTo>
                  <a:lnTo>
                    <a:pt x="16" y="64"/>
                  </a:lnTo>
                  <a:lnTo>
                    <a:pt x="16" y="64"/>
                  </a:lnTo>
                  <a:lnTo>
                    <a:pt x="16" y="61"/>
                  </a:lnTo>
                  <a:lnTo>
                    <a:pt x="16" y="56"/>
                  </a:lnTo>
                  <a:lnTo>
                    <a:pt x="11" y="47"/>
                  </a:lnTo>
                  <a:lnTo>
                    <a:pt x="4" y="42"/>
                  </a:lnTo>
                  <a:lnTo>
                    <a:pt x="4" y="42"/>
                  </a:lnTo>
                  <a:lnTo>
                    <a:pt x="4" y="40"/>
                  </a:lnTo>
                  <a:lnTo>
                    <a:pt x="2" y="36"/>
                  </a:lnTo>
                  <a:lnTo>
                    <a:pt x="2" y="31"/>
                  </a:lnTo>
                  <a:lnTo>
                    <a:pt x="9" y="28"/>
                  </a:lnTo>
                  <a:lnTo>
                    <a:pt x="9" y="24"/>
                  </a:lnTo>
                  <a:lnTo>
                    <a:pt x="7" y="19"/>
                  </a:lnTo>
                  <a:lnTo>
                    <a:pt x="2" y="14"/>
                  </a:lnTo>
                  <a:lnTo>
                    <a:pt x="0" y="7"/>
                  </a:lnTo>
                  <a:lnTo>
                    <a:pt x="2" y="3"/>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1" name="Freeform 87">
              <a:extLst>
                <a:ext uri="{FF2B5EF4-FFF2-40B4-BE49-F238E27FC236}">
                  <a16:creationId xmlns:a16="http://schemas.microsoft.com/office/drawing/2014/main" id="{6A04D636-8ED0-4F32-95F7-3DE3B222046D}"/>
                </a:ext>
              </a:extLst>
            </p:cNvPr>
            <p:cNvSpPr>
              <a:spLocks/>
            </p:cNvSpPr>
            <p:nvPr/>
          </p:nvSpPr>
          <p:spPr bwMode="auto">
            <a:xfrm>
              <a:off x="4973638" y="3032126"/>
              <a:ext cx="68263" cy="55563"/>
            </a:xfrm>
            <a:custGeom>
              <a:avLst/>
              <a:gdLst/>
              <a:ahLst/>
              <a:cxnLst>
                <a:cxn ang="0">
                  <a:pos x="31" y="0"/>
                </a:cxn>
                <a:cxn ang="0">
                  <a:pos x="38" y="6"/>
                </a:cxn>
                <a:cxn ang="0">
                  <a:pos x="43" y="14"/>
                </a:cxn>
                <a:cxn ang="0">
                  <a:pos x="43" y="20"/>
                </a:cxn>
                <a:cxn ang="0">
                  <a:pos x="43" y="23"/>
                </a:cxn>
                <a:cxn ang="0">
                  <a:pos x="41" y="23"/>
                </a:cxn>
                <a:cxn ang="0">
                  <a:pos x="38" y="23"/>
                </a:cxn>
                <a:cxn ang="0">
                  <a:pos x="35" y="26"/>
                </a:cxn>
                <a:cxn ang="0">
                  <a:pos x="26" y="26"/>
                </a:cxn>
                <a:cxn ang="0">
                  <a:pos x="22" y="26"/>
                </a:cxn>
                <a:cxn ang="0">
                  <a:pos x="22" y="28"/>
                </a:cxn>
                <a:cxn ang="0">
                  <a:pos x="17" y="30"/>
                </a:cxn>
                <a:cxn ang="0">
                  <a:pos x="10" y="35"/>
                </a:cxn>
                <a:cxn ang="0">
                  <a:pos x="10" y="35"/>
                </a:cxn>
                <a:cxn ang="0">
                  <a:pos x="7" y="33"/>
                </a:cxn>
                <a:cxn ang="0">
                  <a:pos x="5" y="28"/>
                </a:cxn>
                <a:cxn ang="0">
                  <a:pos x="2" y="23"/>
                </a:cxn>
                <a:cxn ang="0">
                  <a:pos x="0" y="18"/>
                </a:cxn>
                <a:cxn ang="0">
                  <a:pos x="2" y="13"/>
                </a:cxn>
                <a:cxn ang="0">
                  <a:pos x="2" y="13"/>
                </a:cxn>
                <a:cxn ang="0">
                  <a:pos x="3" y="11"/>
                </a:cxn>
                <a:cxn ang="0">
                  <a:pos x="3" y="9"/>
                </a:cxn>
                <a:cxn ang="0">
                  <a:pos x="7" y="6"/>
                </a:cxn>
                <a:cxn ang="0">
                  <a:pos x="10" y="6"/>
                </a:cxn>
                <a:cxn ang="0">
                  <a:pos x="14" y="4"/>
                </a:cxn>
                <a:cxn ang="0">
                  <a:pos x="21" y="0"/>
                </a:cxn>
                <a:cxn ang="0">
                  <a:pos x="22" y="4"/>
                </a:cxn>
                <a:cxn ang="0">
                  <a:pos x="28" y="0"/>
                </a:cxn>
                <a:cxn ang="0">
                  <a:pos x="31" y="0"/>
                </a:cxn>
                <a:cxn ang="0">
                  <a:pos x="31" y="0"/>
                </a:cxn>
                <a:cxn ang="0">
                  <a:pos x="31" y="0"/>
                </a:cxn>
              </a:cxnLst>
              <a:rect l="0" t="0" r="r" b="b"/>
              <a:pathLst>
                <a:path w="43" h="35">
                  <a:moveTo>
                    <a:pt x="31" y="0"/>
                  </a:moveTo>
                  <a:lnTo>
                    <a:pt x="38" y="6"/>
                  </a:lnTo>
                  <a:lnTo>
                    <a:pt x="43" y="14"/>
                  </a:lnTo>
                  <a:lnTo>
                    <a:pt x="43" y="20"/>
                  </a:lnTo>
                  <a:lnTo>
                    <a:pt x="43" y="23"/>
                  </a:lnTo>
                  <a:lnTo>
                    <a:pt x="41" y="23"/>
                  </a:lnTo>
                  <a:lnTo>
                    <a:pt x="38" y="23"/>
                  </a:lnTo>
                  <a:lnTo>
                    <a:pt x="35" y="26"/>
                  </a:lnTo>
                  <a:lnTo>
                    <a:pt x="26" y="26"/>
                  </a:lnTo>
                  <a:lnTo>
                    <a:pt x="22" y="26"/>
                  </a:lnTo>
                  <a:lnTo>
                    <a:pt x="22" y="28"/>
                  </a:lnTo>
                  <a:lnTo>
                    <a:pt x="17" y="30"/>
                  </a:lnTo>
                  <a:lnTo>
                    <a:pt x="10" y="35"/>
                  </a:lnTo>
                  <a:lnTo>
                    <a:pt x="10" y="35"/>
                  </a:lnTo>
                  <a:lnTo>
                    <a:pt x="7" y="33"/>
                  </a:lnTo>
                  <a:lnTo>
                    <a:pt x="5" y="28"/>
                  </a:lnTo>
                  <a:lnTo>
                    <a:pt x="2" y="23"/>
                  </a:lnTo>
                  <a:lnTo>
                    <a:pt x="0" y="18"/>
                  </a:lnTo>
                  <a:lnTo>
                    <a:pt x="2" y="13"/>
                  </a:lnTo>
                  <a:lnTo>
                    <a:pt x="2" y="13"/>
                  </a:lnTo>
                  <a:lnTo>
                    <a:pt x="3" y="11"/>
                  </a:lnTo>
                  <a:lnTo>
                    <a:pt x="3" y="9"/>
                  </a:lnTo>
                  <a:lnTo>
                    <a:pt x="7" y="6"/>
                  </a:lnTo>
                  <a:lnTo>
                    <a:pt x="10" y="6"/>
                  </a:lnTo>
                  <a:lnTo>
                    <a:pt x="14" y="4"/>
                  </a:lnTo>
                  <a:lnTo>
                    <a:pt x="21" y="0"/>
                  </a:lnTo>
                  <a:lnTo>
                    <a:pt x="22" y="4"/>
                  </a:lnTo>
                  <a:lnTo>
                    <a:pt x="28" y="0"/>
                  </a:lnTo>
                  <a:lnTo>
                    <a:pt x="31" y="0"/>
                  </a:lnTo>
                  <a:lnTo>
                    <a:pt x="31" y="0"/>
                  </a:lnTo>
                  <a:lnTo>
                    <a:pt x="3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2" name="Freeform 88">
              <a:extLst>
                <a:ext uri="{FF2B5EF4-FFF2-40B4-BE49-F238E27FC236}">
                  <a16:creationId xmlns:a16="http://schemas.microsoft.com/office/drawing/2014/main" id="{489303E6-5A2A-484C-AEEB-FFF88A93495B}"/>
                </a:ext>
              </a:extLst>
            </p:cNvPr>
            <p:cNvSpPr>
              <a:spLocks/>
            </p:cNvSpPr>
            <p:nvPr/>
          </p:nvSpPr>
          <p:spPr bwMode="auto">
            <a:xfrm>
              <a:off x="4943475" y="3027363"/>
              <a:ext cx="46038" cy="90488"/>
            </a:xfrm>
            <a:custGeom>
              <a:avLst/>
              <a:gdLst/>
              <a:ahLst/>
              <a:cxnLst>
                <a:cxn ang="0">
                  <a:pos x="22" y="17"/>
                </a:cxn>
                <a:cxn ang="0">
                  <a:pos x="19" y="21"/>
                </a:cxn>
                <a:cxn ang="0">
                  <a:pos x="22" y="28"/>
                </a:cxn>
                <a:cxn ang="0">
                  <a:pos x="24" y="31"/>
                </a:cxn>
                <a:cxn ang="0">
                  <a:pos x="26" y="36"/>
                </a:cxn>
                <a:cxn ang="0">
                  <a:pos x="29" y="38"/>
                </a:cxn>
                <a:cxn ang="0">
                  <a:pos x="29" y="43"/>
                </a:cxn>
                <a:cxn ang="0">
                  <a:pos x="26" y="47"/>
                </a:cxn>
                <a:cxn ang="0">
                  <a:pos x="19" y="49"/>
                </a:cxn>
                <a:cxn ang="0">
                  <a:pos x="19" y="54"/>
                </a:cxn>
                <a:cxn ang="0">
                  <a:pos x="17" y="57"/>
                </a:cxn>
                <a:cxn ang="0">
                  <a:pos x="15" y="57"/>
                </a:cxn>
                <a:cxn ang="0">
                  <a:pos x="12" y="57"/>
                </a:cxn>
                <a:cxn ang="0">
                  <a:pos x="8" y="49"/>
                </a:cxn>
                <a:cxn ang="0">
                  <a:pos x="1" y="49"/>
                </a:cxn>
                <a:cxn ang="0">
                  <a:pos x="1" y="47"/>
                </a:cxn>
                <a:cxn ang="0">
                  <a:pos x="1" y="43"/>
                </a:cxn>
                <a:cxn ang="0">
                  <a:pos x="1" y="42"/>
                </a:cxn>
                <a:cxn ang="0">
                  <a:pos x="1" y="36"/>
                </a:cxn>
                <a:cxn ang="0">
                  <a:pos x="1" y="33"/>
                </a:cxn>
                <a:cxn ang="0">
                  <a:pos x="1" y="28"/>
                </a:cxn>
                <a:cxn ang="0">
                  <a:pos x="1" y="21"/>
                </a:cxn>
                <a:cxn ang="0">
                  <a:pos x="5" y="21"/>
                </a:cxn>
                <a:cxn ang="0">
                  <a:pos x="5" y="17"/>
                </a:cxn>
                <a:cxn ang="0">
                  <a:pos x="0" y="14"/>
                </a:cxn>
                <a:cxn ang="0">
                  <a:pos x="0" y="9"/>
                </a:cxn>
                <a:cxn ang="0">
                  <a:pos x="1" y="3"/>
                </a:cxn>
                <a:cxn ang="0">
                  <a:pos x="5" y="0"/>
                </a:cxn>
                <a:cxn ang="0">
                  <a:pos x="5" y="0"/>
                </a:cxn>
                <a:cxn ang="0">
                  <a:pos x="8" y="3"/>
                </a:cxn>
                <a:cxn ang="0">
                  <a:pos x="10" y="0"/>
                </a:cxn>
                <a:cxn ang="0">
                  <a:pos x="12" y="0"/>
                </a:cxn>
                <a:cxn ang="0">
                  <a:pos x="12" y="0"/>
                </a:cxn>
                <a:cxn ang="0">
                  <a:pos x="15" y="3"/>
                </a:cxn>
                <a:cxn ang="0">
                  <a:pos x="17" y="5"/>
                </a:cxn>
                <a:cxn ang="0">
                  <a:pos x="19" y="7"/>
                </a:cxn>
                <a:cxn ang="0">
                  <a:pos x="19" y="9"/>
                </a:cxn>
                <a:cxn ang="0">
                  <a:pos x="19" y="14"/>
                </a:cxn>
                <a:cxn ang="0">
                  <a:pos x="22" y="17"/>
                </a:cxn>
                <a:cxn ang="0">
                  <a:pos x="22" y="17"/>
                </a:cxn>
                <a:cxn ang="0">
                  <a:pos x="22" y="17"/>
                </a:cxn>
              </a:cxnLst>
              <a:rect l="0" t="0" r="r" b="b"/>
              <a:pathLst>
                <a:path w="29" h="57">
                  <a:moveTo>
                    <a:pt x="22" y="17"/>
                  </a:moveTo>
                  <a:lnTo>
                    <a:pt x="19" y="21"/>
                  </a:lnTo>
                  <a:lnTo>
                    <a:pt x="22" y="28"/>
                  </a:lnTo>
                  <a:lnTo>
                    <a:pt x="24" y="31"/>
                  </a:lnTo>
                  <a:lnTo>
                    <a:pt x="26" y="36"/>
                  </a:lnTo>
                  <a:lnTo>
                    <a:pt x="29" y="38"/>
                  </a:lnTo>
                  <a:lnTo>
                    <a:pt x="29" y="43"/>
                  </a:lnTo>
                  <a:lnTo>
                    <a:pt x="26" y="47"/>
                  </a:lnTo>
                  <a:lnTo>
                    <a:pt x="19" y="49"/>
                  </a:lnTo>
                  <a:lnTo>
                    <a:pt x="19" y="54"/>
                  </a:lnTo>
                  <a:lnTo>
                    <a:pt x="17" y="57"/>
                  </a:lnTo>
                  <a:lnTo>
                    <a:pt x="15" y="57"/>
                  </a:lnTo>
                  <a:lnTo>
                    <a:pt x="12" y="57"/>
                  </a:lnTo>
                  <a:lnTo>
                    <a:pt x="8" y="49"/>
                  </a:lnTo>
                  <a:lnTo>
                    <a:pt x="1" y="49"/>
                  </a:lnTo>
                  <a:lnTo>
                    <a:pt x="1" y="47"/>
                  </a:lnTo>
                  <a:lnTo>
                    <a:pt x="1" y="43"/>
                  </a:lnTo>
                  <a:lnTo>
                    <a:pt x="1" y="42"/>
                  </a:lnTo>
                  <a:lnTo>
                    <a:pt x="1" y="36"/>
                  </a:lnTo>
                  <a:lnTo>
                    <a:pt x="1" y="33"/>
                  </a:lnTo>
                  <a:lnTo>
                    <a:pt x="1" y="28"/>
                  </a:lnTo>
                  <a:lnTo>
                    <a:pt x="1" y="21"/>
                  </a:lnTo>
                  <a:lnTo>
                    <a:pt x="5" y="21"/>
                  </a:lnTo>
                  <a:lnTo>
                    <a:pt x="5" y="17"/>
                  </a:lnTo>
                  <a:lnTo>
                    <a:pt x="0" y="14"/>
                  </a:lnTo>
                  <a:lnTo>
                    <a:pt x="0" y="9"/>
                  </a:lnTo>
                  <a:lnTo>
                    <a:pt x="1" y="3"/>
                  </a:lnTo>
                  <a:lnTo>
                    <a:pt x="5" y="0"/>
                  </a:lnTo>
                  <a:lnTo>
                    <a:pt x="5" y="0"/>
                  </a:lnTo>
                  <a:lnTo>
                    <a:pt x="8" y="3"/>
                  </a:lnTo>
                  <a:lnTo>
                    <a:pt x="10" y="0"/>
                  </a:lnTo>
                  <a:lnTo>
                    <a:pt x="12" y="0"/>
                  </a:lnTo>
                  <a:lnTo>
                    <a:pt x="12" y="0"/>
                  </a:lnTo>
                  <a:lnTo>
                    <a:pt x="15" y="3"/>
                  </a:lnTo>
                  <a:lnTo>
                    <a:pt x="17" y="5"/>
                  </a:lnTo>
                  <a:lnTo>
                    <a:pt x="19" y="7"/>
                  </a:lnTo>
                  <a:lnTo>
                    <a:pt x="19" y="9"/>
                  </a:lnTo>
                  <a:lnTo>
                    <a:pt x="19" y="14"/>
                  </a:lnTo>
                  <a:lnTo>
                    <a:pt x="22" y="17"/>
                  </a:lnTo>
                  <a:lnTo>
                    <a:pt x="22" y="17"/>
                  </a:lnTo>
                  <a:lnTo>
                    <a:pt x="22"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3" name="Freeform 89">
              <a:extLst>
                <a:ext uri="{FF2B5EF4-FFF2-40B4-BE49-F238E27FC236}">
                  <a16:creationId xmlns:a16="http://schemas.microsoft.com/office/drawing/2014/main" id="{BD164C5D-FB8C-4BBC-8261-13445590B6F1}"/>
                </a:ext>
              </a:extLst>
            </p:cNvPr>
            <p:cNvSpPr>
              <a:spLocks/>
            </p:cNvSpPr>
            <p:nvPr/>
          </p:nvSpPr>
          <p:spPr bwMode="auto">
            <a:xfrm>
              <a:off x="4926013" y="2911476"/>
              <a:ext cx="107950" cy="138113"/>
            </a:xfrm>
            <a:custGeom>
              <a:avLst/>
              <a:gdLst/>
              <a:ahLst/>
              <a:cxnLst>
                <a:cxn ang="0">
                  <a:pos x="2" y="5"/>
                </a:cxn>
                <a:cxn ang="0">
                  <a:pos x="9" y="3"/>
                </a:cxn>
                <a:cxn ang="0">
                  <a:pos x="14" y="0"/>
                </a:cxn>
                <a:cxn ang="0">
                  <a:pos x="19" y="0"/>
                </a:cxn>
                <a:cxn ang="0">
                  <a:pos x="26" y="3"/>
                </a:cxn>
                <a:cxn ang="0">
                  <a:pos x="33" y="14"/>
                </a:cxn>
                <a:cxn ang="0">
                  <a:pos x="42" y="19"/>
                </a:cxn>
                <a:cxn ang="0">
                  <a:pos x="42" y="24"/>
                </a:cxn>
                <a:cxn ang="0">
                  <a:pos x="49" y="29"/>
                </a:cxn>
                <a:cxn ang="0">
                  <a:pos x="54" y="31"/>
                </a:cxn>
                <a:cxn ang="0">
                  <a:pos x="65" y="28"/>
                </a:cxn>
                <a:cxn ang="0">
                  <a:pos x="61" y="35"/>
                </a:cxn>
                <a:cxn ang="0">
                  <a:pos x="61" y="43"/>
                </a:cxn>
                <a:cxn ang="0">
                  <a:pos x="68" y="54"/>
                </a:cxn>
                <a:cxn ang="0">
                  <a:pos x="68" y="61"/>
                </a:cxn>
                <a:cxn ang="0">
                  <a:pos x="63" y="69"/>
                </a:cxn>
                <a:cxn ang="0">
                  <a:pos x="65" y="75"/>
                </a:cxn>
                <a:cxn ang="0">
                  <a:pos x="56" y="78"/>
                </a:cxn>
                <a:cxn ang="0">
                  <a:pos x="45" y="78"/>
                </a:cxn>
                <a:cxn ang="0">
                  <a:pos x="40" y="80"/>
                </a:cxn>
                <a:cxn ang="0">
                  <a:pos x="37" y="85"/>
                </a:cxn>
                <a:cxn ang="0">
                  <a:pos x="33" y="85"/>
                </a:cxn>
                <a:cxn ang="0">
                  <a:pos x="33" y="78"/>
                </a:cxn>
                <a:cxn ang="0">
                  <a:pos x="28" y="75"/>
                </a:cxn>
                <a:cxn ang="0">
                  <a:pos x="26" y="69"/>
                </a:cxn>
                <a:cxn ang="0">
                  <a:pos x="26" y="66"/>
                </a:cxn>
                <a:cxn ang="0">
                  <a:pos x="23" y="61"/>
                </a:cxn>
                <a:cxn ang="0">
                  <a:pos x="18" y="61"/>
                </a:cxn>
                <a:cxn ang="0">
                  <a:pos x="14" y="56"/>
                </a:cxn>
                <a:cxn ang="0">
                  <a:pos x="12" y="50"/>
                </a:cxn>
                <a:cxn ang="0">
                  <a:pos x="9" y="43"/>
                </a:cxn>
                <a:cxn ang="0">
                  <a:pos x="14" y="43"/>
                </a:cxn>
                <a:cxn ang="0">
                  <a:pos x="12" y="40"/>
                </a:cxn>
                <a:cxn ang="0">
                  <a:pos x="5" y="35"/>
                </a:cxn>
                <a:cxn ang="0">
                  <a:pos x="9" y="29"/>
                </a:cxn>
                <a:cxn ang="0">
                  <a:pos x="7" y="24"/>
                </a:cxn>
                <a:cxn ang="0">
                  <a:pos x="4" y="24"/>
                </a:cxn>
                <a:cxn ang="0">
                  <a:pos x="7" y="19"/>
                </a:cxn>
                <a:cxn ang="0">
                  <a:pos x="9" y="19"/>
                </a:cxn>
                <a:cxn ang="0">
                  <a:pos x="4" y="17"/>
                </a:cxn>
                <a:cxn ang="0">
                  <a:pos x="0" y="7"/>
                </a:cxn>
                <a:cxn ang="0">
                  <a:pos x="0" y="7"/>
                </a:cxn>
              </a:cxnLst>
              <a:rect l="0" t="0" r="r" b="b"/>
              <a:pathLst>
                <a:path w="68" h="87">
                  <a:moveTo>
                    <a:pt x="0" y="7"/>
                  </a:moveTo>
                  <a:lnTo>
                    <a:pt x="2" y="5"/>
                  </a:lnTo>
                  <a:lnTo>
                    <a:pt x="7" y="3"/>
                  </a:lnTo>
                  <a:lnTo>
                    <a:pt x="9" y="3"/>
                  </a:lnTo>
                  <a:lnTo>
                    <a:pt x="11" y="2"/>
                  </a:lnTo>
                  <a:lnTo>
                    <a:pt x="14" y="0"/>
                  </a:lnTo>
                  <a:lnTo>
                    <a:pt x="18" y="0"/>
                  </a:lnTo>
                  <a:lnTo>
                    <a:pt x="19" y="0"/>
                  </a:lnTo>
                  <a:lnTo>
                    <a:pt x="26" y="2"/>
                  </a:lnTo>
                  <a:lnTo>
                    <a:pt x="26" y="3"/>
                  </a:lnTo>
                  <a:lnTo>
                    <a:pt x="33" y="10"/>
                  </a:lnTo>
                  <a:lnTo>
                    <a:pt x="33" y="14"/>
                  </a:lnTo>
                  <a:lnTo>
                    <a:pt x="38" y="14"/>
                  </a:lnTo>
                  <a:lnTo>
                    <a:pt x="42" y="19"/>
                  </a:lnTo>
                  <a:lnTo>
                    <a:pt x="42" y="22"/>
                  </a:lnTo>
                  <a:lnTo>
                    <a:pt x="42" y="24"/>
                  </a:lnTo>
                  <a:lnTo>
                    <a:pt x="45" y="26"/>
                  </a:lnTo>
                  <a:lnTo>
                    <a:pt x="49" y="29"/>
                  </a:lnTo>
                  <a:lnTo>
                    <a:pt x="54" y="28"/>
                  </a:lnTo>
                  <a:lnTo>
                    <a:pt x="54" y="31"/>
                  </a:lnTo>
                  <a:lnTo>
                    <a:pt x="58" y="26"/>
                  </a:lnTo>
                  <a:lnTo>
                    <a:pt x="65" y="28"/>
                  </a:lnTo>
                  <a:lnTo>
                    <a:pt x="61" y="31"/>
                  </a:lnTo>
                  <a:lnTo>
                    <a:pt x="61" y="35"/>
                  </a:lnTo>
                  <a:lnTo>
                    <a:pt x="63" y="40"/>
                  </a:lnTo>
                  <a:lnTo>
                    <a:pt x="61" y="43"/>
                  </a:lnTo>
                  <a:lnTo>
                    <a:pt x="63" y="49"/>
                  </a:lnTo>
                  <a:lnTo>
                    <a:pt x="68" y="54"/>
                  </a:lnTo>
                  <a:lnTo>
                    <a:pt x="68" y="57"/>
                  </a:lnTo>
                  <a:lnTo>
                    <a:pt x="68" y="61"/>
                  </a:lnTo>
                  <a:lnTo>
                    <a:pt x="63" y="66"/>
                  </a:lnTo>
                  <a:lnTo>
                    <a:pt x="63" y="69"/>
                  </a:lnTo>
                  <a:lnTo>
                    <a:pt x="65" y="73"/>
                  </a:lnTo>
                  <a:lnTo>
                    <a:pt x="65" y="75"/>
                  </a:lnTo>
                  <a:lnTo>
                    <a:pt x="61" y="75"/>
                  </a:lnTo>
                  <a:lnTo>
                    <a:pt x="56" y="78"/>
                  </a:lnTo>
                  <a:lnTo>
                    <a:pt x="54" y="75"/>
                  </a:lnTo>
                  <a:lnTo>
                    <a:pt x="45" y="78"/>
                  </a:lnTo>
                  <a:lnTo>
                    <a:pt x="42" y="78"/>
                  </a:lnTo>
                  <a:lnTo>
                    <a:pt x="40" y="80"/>
                  </a:lnTo>
                  <a:lnTo>
                    <a:pt x="37" y="82"/>
                  </a:lnTo>
                  <a:lnTo>
                    <a:pt x="37" y="85"/>
                  </a:lnTo>
                  <a:lnTo>
                    <a:pt x="35" y="87"/>
                  </a:lnTo>
                  <a:lnTo>
                    <a:pt x="33" y="85"/>
                  </a:lnTo>
                  <a:lnTo>
                    <a:pt x="33" y="78"/>
                  </a:lnTo>
                  <a:lnTo>
                    <a:pt x="33" y="78"/>
                  </a:lnTo>
                  <a:lnTo>
                    <a:pt x="30" y="75"/>
                  </a:lnTo>
                  <a:lnTo>
                    <a:pt x="28" y="75"/>
                  </a:lnTo>
                  <a:lnTo>
                    <a:pt x="26" y="71"/>
                  </a:lnTo>
                  <a:lnTo>
                    <a:pt x="26" y="69"/>
                  </a:lnTo>
                  <a:lnTo>
                    <a:pt x="26" y="68"/>
                  </a:lnTo>
                  <a:lnTo>
                    <a:pt x="26" y="66"/>
                  </a:lnTo>
                  <a:lnTo>
                    <a:pt x="26" y="62"/>
                  </a:lnTo>
                  <a:lnTo>
                    <a:pt x="23" y="61"/>
                  </a:lnTo>
                  <a:lnTo>
                    <a:pt x="19" y="61"/>
                  </a:lnTo>
                  <a:lnTo>
                    <a:pt x="18" y="61"/>
                  </a:lnTo>
                  <a:lnTo>
                    <a:pt x="14" y="57"/>
                  </a:lnTo>
                  <a:lnTo>
                    <a:pt x="14" y="56"/>
                  </a:lnTo>
                  <a:lnTo>
                    <a:pt x="11" y="52"/>
                  </a:lnTo>
                  <a:lnTo>
                    <a:pt x="12" y="50"/>
                  </a:lnTo>
                  <a:lnTo>
                    <a:pt x="9" y="45"/>
                  </a:lnTo>
                  <a:lnTo>
                    <a:pt x="9" y="43"/>
                  </a:lnTo>
                  <a:lnTo>
                    <a:pt x="11" y="40"/>
                  </a:lnTo>
                  <a:lnTo>
                    <a:pt x="14" y="43"/>
                  </a:lnTo>
                  <a:lnTo>
                    <a:pt x="14" y="40"/>
                  </a:lnTo>
                  <a:lnTo>
                    <a:pt x="12" y="40"/>
                  </a:lnTo>
                  <a:lnTo>
                    <a:pt x="11" y="40"/>
                  </a:lnTo>
                  <a:lnTo>
                    <a:pt x="5" y="35"/>
                  </a:lnTo>
                  <a:lnTo>
                    <a:pt x="4" y="35"/>
                  </a:lnTo>
                  <a:lnTo>
                    <a:pt x="9" y="29"/>
                  </a:lnTo>
                  <a:lnTo>
                    <a:pt x="9" y="24"/>
                  </a:lnTo>
                  <a:lnTo>
                    <a:pt x="7" y="24"/>
                  </a:lnTo>
                  <a:lnTo>
                    <a:pt x="5" y="26"/>
                  </a:lnTo>
                  <a:lnTo>
                    <a:pt x="4" y="24"/>
                  </a:lnTo>
                  <a:lnTo>
                    <a:pt x="4" y="21"/>
                  </a:lnTo>
                  <a:lnTo>
                    <a:pt x="7" y="19"/>
                  </a:lnTo>
                  <a:lnTo>
                    <a:pt x="9" y="19"/>
                  </a:lnTo>
                  <a:lnTo>
                    <a:pt x="9" y="19"/>
                  </a:lnTo>
                  <a:lnTo>
                    <a:pt x="5" y="17"/>
                  </a:lnTo>
                  <a:lnTo>
                    <a:pt x="4" y="17"/>
                  </a:lnTo>
                  <a:lnTo>
                    <a:pt x="2" y="14"/>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4" name="Freeform 90">
              <a:extLst>
                <a:ext uri="{FF2B5EF4-FFF2-40B4-BE49-F238E27FC236}">
                  <a16:creationId xmlns:a16="http://schemas.microsoft.com/office/drawing/2014/main" id="{2CA5CCDE-A90F-4032-8B94-B3281E2BFC60}"/>
                </a:ext>
              </a:extLst>
            </p:cNvPr>
            <p:cNvSpPr>
              <a:spLocks/>
            </p:cNvSpPr>
            <p:nvPr/>
          </p:nvSpPr>
          <p:spPr bwMode="auto">
            <a:xfrm>
              <a:off x="4918075" y="2989263"/>
              <a:ext cx="47625" cy="60325"/>
            </a:xfrm>
            <a:custGeom>
              <a:avLst/>
              <a:gdLst/>
              <a:ahLst/>
              <a:cxnLst>
                <a:cxn ang="0">
                  <a:pos x="16" y="38"/>
                </a:cxn>
                <a:cxn ang="0">
                  <a:pos x="16" y="31"/>
                </a:cxn>
                <a:cxn ang="0">
                  <a:pos x="17" y="27"/>
                </a:cxn>
                <a:cxn ang="0">
                  <a:pos x="23" y="22"/>
                </a:cxn>
                <a:cxn ang="0">
                  <a:pos x="23" y="22"/>
                </a:cxn>
                <a:cxn ang="0">
                  <a:pos x="26" y="27"/>
                </a:cxn>
                <a:cxn ang="0">
                  <a:pos x="26" y="22"/>
                </a:cxn>
                <a:cxn ang="0">
                  <a:pos x="30" y="20"/>
                </a:cxn>
                <a:cxn ang="0">
                  <a:pos x="30" y="17"/>
                </a:cxn>
                <a:cxn ang="0">
                  <a:pos x="30" y="13"/>
                </a:cxn>
                <a:cxn ang="0">
                  <a:pos x="26" y="13"/>
                </a:cxn>
                <a:cxn ang="0">
                  <a:pos x="23" y="12"/>
                </a:cxn>
                <a:cxn ang="0">
                  <a:pos x="21" y="12"/>
                </a:cxn>
                <a:cxn ang="0">
                  <a:pos x="19" y="8"/>
                </a:cxn>
                <a:cxn ang="0">
                  <a:pos x="19" y="7"/>
                </a:cxn>
                <a:cxn ang="0">
                  <a:pos x="14" y="3"/>
                </a:cxn>
                <a:cxn ang="0">
                  <a:pos x="14" y="3"/>
                </a:cxn>
                <a:cxn ang="0">
                  <a:pos x="12" y="1"/>
                </a:cxn>
                <a:cxn ang="0">
                  <a:pos x="7" y="0"/>
                </a:cxn>
                <a:cxn ang="0">
                  <a:pos x="5" y="1"/>
                </a:cxn>
                <a:cxn ang="0">
                  <a:pos x="5" y="3"/>
                </a:cxn>
                <a:cxn ang="0">
                  <a:pos x="9" y="7"/>
                </a:cxn>
                <a:cxn ang="0">
                  <a:pos x="10" y="8"/>
                </a:cxn>
                <a:cxn ang="0">
                  <a:pos x="7" y="8"/>
                </a:cxn>
                <a:cxn ang="0">
                  <a:pos x="5" y="8"/>
                </a:cxn>
                <a:cxn ang="0">
                  <a:pos x="3" y="13"/>
                </a:cxn>
                <a:cxn ang="0">
                  <a:pos x="3" y="17"/>
                </a:cxn>
                <a:cxn ang="0">
                  <a:pos x="3" y="22"/>
                </a:cxn>
                <a:cxn ang="0">
                  <a:pos x="0" y="22"/>
                </a:cxn>
                <a:cxn ang="0">
                  <a:pos x="0" y="26"/>
                </a:cxn>
                <a:cxn ang="0">
                  <a:pos x="3" y="27"/>
                </a:cxn>
                <a:cxn ang="0">
                  <a:pos x="10" y="36"/>
                </a:cxn>
                <a:cxn ang="0">
                  <a:pos x="12" y="36"/>
                </a:cxn>
                <a:cxn ang="0">
                  <a:pos x="16" y="38"/>
                </a:cxn>
                <a:cxn ang="0">
                  <a:pos x="16" y="38"/>
                </a:cxn>
                <a:cxn ang="0">
                  <a:pos x="16" y="38"/>
                </a:cxn>
              </a:cxnLst>
              <a:rect l="0" t="0" r="r" b="b"/>
              <a:pathLst>
                <a:path w="30" h="38">
                  <a:moveTo>
                    <a:pt x="16" y="38"/>
                  </a:moveTo>
                  <a:lnTo>
                    <a:pt x="16" y="31"/>
                  </a:lnTo>
                  <a:lnTo>
                    <a:pt x="17" y="27"/>
                  </a:lnTo>
                  <a:lnTo>
                    <a:pt x="23" y="22"/>
                  </a:lnTo>
                  <a:lnTo>
                    <a:pt x="23" y="22"/>
                  </a:lnTo>
                  <a:lnTo>
                    <a:pt x="26" y="27"/>
                  </a:lnTo>
                  <a:lnTo>
                    <a:pt x="26" y="22"/>
                  </a:lnTo>
                  <a:lnTo>
                    <a:pt x="30" y="20"/>
                  </a:lnTo>
                  <a:lnTo>
                    <a:pt x="30" y="17"/>
                  </a:lnTo>
                  <a:lnTo>
                    <a:pt x="30" y="13"/>
                  </a:lnTo>
                  <a:lnTo>
                    <a:pt x="26" y="13"/>
                  </a:lnTo>
                  <a:lnTo>
                    <a:pt x="23" y="12"/>
                  </a:lnTo>
                  <a:lnTo>
                    <a:pt x="21" y="12"/>
                  </a:lnTo>
                  <a:lnTo>
                    <a:pt x="19" y="8"/>
                  </a:lnTo>
                  <a:lnTo>
                    <a:pt x="19" y="7"/>
                  </a:lnTo>
                  <a:lnTo>
                    <a:pt x="14" y="3"/>
                  </a:lnTo>
                  <a:lnTo>
                    <a:pt x="14" y="3"/>
                  </a:lnTo>
                  <a:lnTo>
                    <a:pt x="12" y="1"/>
                  </a:lnTo>
                  <a:lnTo>
                    <a:pt x="7" y="0"/>
                  </a:lnTo>
                  <a:lnTo>
                    <a:pt x="5" y="1"/>
                  </a:lnTo>
                  <a:lnTo>
                    <a:pt x="5" y="3"/>
                  </a:lnTo>
                  <a:lnTo>
                    <a:pt x="9" y="7"/>
                  </a:lnTo>
                  <a:lnTo>
                    <a:pt x="10" y="8"/>
                  </a:lnTo>
                  <a:lnTo>
                    <a:pt x="7" y="8"/>
                  </a:lnTo>
                  <a:lnTo>
                    <a:pt x="5" y="8"/>
                  </a:lnTo>
                  <a:lnTo>
                    <a:pt x="3" y="13"/>
                  </a:lnTo>
                  <a:lnTo>
                    <a:pt x="3" y="17"/>
                  </a:lnTo>
                  <a:lnTo>
                    <a:pt x="3" y="22"/>
                  </a:lnTo>
                  <a:lnTo>
                    <a:pt x="0" y="22"/>
                  </a:lnTo>
                  <a:lnTo>
                    <a:pt x="0" y="26"/>
                  </a:lnTo>
                  <a:lnTo>
                    <a:pt x="3" y="27"/>
                  </a:lnTo>
                  <a:lnTo>
                    <a:pt x="10" y="36"/>
                  </a:lnTo>
                  <a:lnTo>
                    <a:pt x="12" y="36"/>
                  </a:lnTo>
                  <a:lnTo>
                    <a:pt x="16" y="38"/>
                  </a:lnTo>
                  <a:lnTo>
                    <a:pt x="16" y="38"/>
                  </a:lnTo>
                  <a:lnTo>
                    <a:pt x="16"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5" name="Freeform 91">
              <a:extLst>
                <a:ext uri="{FF2B5EF4-FFF2-40B4-BE49-F238E27FC236}">
                  <a16:creationId xmlns:a16="http://schemas.microsoft.com/office/drawing/2014/main" id="{67EF8ADB-FA3B-4C3D-930A-35804F0FDCAF}"/>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6" name="Freeform 92">
              <a:extLst>
                <a:ext uri="{FF2B5EF4-FFF2-40B4-BE49-F238E27FC236}">
                  <a16:creationId xmlns:a16="http://schemas.microsoft.com/office/drawing/2014/main" id="{06AE3670-33B5-428B-92AC-ABBFE8050554}"/>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7" name="Freeform 93">
              <a:extLst>
                <a:ext uri="{FF2B5EF4-FFF2-40B4-BE49-F238E27FC236}">
                  <a16:creationId xmlns:a16="http://schemas.microsoft.com/office/drawing/2014/main" id="{6581FC19-BD8F-4093-B901-7E49A4A2748B}"/>
                </a:ext>
              </a:extLst>
            </p:cNvPr>
            <p:cNvSpPr>
              <a:spLocks/>
            </p:cNvSpPr>
            <p:nvPr/>
          </p:nvSpPr>
          <p:spPr bwMode="auto">
            <a:xfrm>
              <a:off x="4840288" y="2933701"/>
              <a:ext cx="103188" cy="93663"/>
            </a:xfrm>
            <a:custGeom>
              <a:avLst/>
              <a:gdLst/>
              <a:ahLst/>
              <a:cxnLst>
                <a:cxn ang="0">
                  <a:pos x="35" y="50"/>
                </a:cxn>
                <a:cxn ang="0">
                  <a:pos x="9" y="24"/>
                </a:cxn>
                <a:cxn ang="0">
                  <a:pos x="9" y="19"/>
                </a:cxn>
                <a:cxn ang="0">
                  <a:pos x="7" y="15"/>
                </a:cxn>
                <a:cxn ang="0">
                  <a:pos x="0" y="10"/>
                </a:cxn>
                <a:cxn ang="0">
                  <a:pos x="2" y="7"/>
                </a:cxn>
                <a:cxn ang="0">
                  <a:pos x="4" y="0"/>
                </a:cxn>
                <a:cxn ang="0">
                  <a:pos x="9" y="5"/>
                </a:cxn>
                <a:cxn ang="0">
                  <a:pos x="11" y="2"/>
                </a:cxn>
                <a:cxn ang="0">
                  <a:pos x="18" y="2"/>
                </a:cxn>
                <a:cxn ang="0">
                  <a:pos x="19" y="2"/>
                </a:cxn>
                <a:cxn ang="0">
                  <a:pos x="25" y="2"/>
                </a:cxn>
                <a:cxn ang="0">
                  <a:pos x="28" y="2"/>
                </a:cxn>
                <a:cxn ang="0">
                  <a:pos x="35" y="2"/>
                </a:cxn>
                <a:cxn ang="0">
                  <a:pos x="40" y="2"/>
                </a:cxn>
                <a:cxn ang="0">
                  <a:pos x="47" y="5"/>
                </a:cxn>
                <a:cxn ang="0">
                  <a:pos x="54" y="7"/>
                </a:cxn>
                <a:cxn ang="0">
                  <a:pos x="58" y="7"/>
                </a:cxn>
                <a:cxn ang="0">
                  <a:pos x="59" y="14"/>
                </a:cxn>
                <a:cxn ang="0">
                  <a:pos x="56" y="19"/>
                </a:cxn>
                <a:cxn ang="0">
                  <a:pos x="63" y="24"/>
                </a:cxn>
                <a:cxn ang="0">
                  <a:pos x="65" y="28"/>
                </a:cxn>
                <a:cxn ang="0">
                  <a:pos x="59" y="28"/>
                </a:cxn>
                <a:cxn ang="0">
                  <a:pos x="63" y="36"/>
                </a:cxn>
                <a:cxn ang="0">
                  <a:pos x="59" y="36"/>
                </a:cxn>
                <a:cxn ang="0">
                  <a:pos x="52" y="36"/>
                </a:cxn>
                <a:cxn ang="0">
                  <a:pos x="56" y="42"/>
                </a:cxn>
                <a:cxn ang="0">
                  <a:pos x="54" y="45"/>
                </a:cxn>
                <a:cxn ang="0">
                  <a:pos x="51" y="48"/>
                </a:cxn>
                <a:cxn ang="0">
                  <a:pos x="51" y="57"/>
                </a:cxn>
                <a:cxn ang="0">
                  <a:pos x="42" y="54"/>
                </a:cxn>
                <a:cxn ang="0">
                  <a:pos x="35" y="54"/>
                </a:cxn>
                <a:cxn ang="0">
                  <a:pos x="33" y="52"/>
                </a:cxn>
                <a:cxn ang="0">
                  <a:pos x="33" y="52"/>
                </a:cxn>
              </a:cxnLst>
              <a:rect l="0" t="0" r="r" b="b"/>
              <a:pathLst>
                <a:path w="65" h="59">
                  <a:moveTo>
                    <a:pt x="33" y="52"/>
                  </a:moveTo>
                  <a:lnTo>
                    <a:pt x="35" y="50"/>
                  </a:lnTo>
                  <a:lnTo>
                    <a:pt x="23" y="35"/>
                  </a:lnTo>
                  <a:lnTo>
                    <a:pt x="9" y="24"/>
                  </a:lnTo>
                  <a:lnTo>
                    <a:pt x="9" y="21"/>
                  </a:lnTo>
                  <a:lnTo>
                    <a:pt x="9" y="19"/>
                  </a:lnTo>
                  <a:lnTo>
                    <a:pt x="7" y="15"/>
                  </a:lnTo>
                  <a:lnTo>
                    <a:pt x="7" y="15"/>
                  </a:lnTo>
                  <a:lnTo>
                    <a:pt x="2" y="10"/>
                  </a:lnTo>
                  <a:lnTo>
                    <a:pt x="0" y="10"/>
                  </a:lnTo>
                  <a:lnTo>
                    <a:pt x="0" y="7"/>
                  </a:lnTo>
                  <a:lnTo>
                    <a:pt x="2" y="7"/>
                  </a:lnTo>
                  <a:lnTo>
                    <a:pt x="2" y="2"/>
                  </a:lnTo>
                  <a:lnTo>
                    <a:pt x="4" y="0"/>
                  </a:lnTo>
                  <a:lnTo>
                    <a:pt x="7" y="2"/>
                  </a:lnTo>
                  <a:lnTo>
                    <a:pt x="9" y="5"/>
                  </a:lnTo>
                  <a:lnTo>
                    <a:pt x="11" y="5"/>
                  </a:lnTo>
                  <a:lnTo>
                    <a:pt x="11" y="2"/>
                  </a:lnTo>
                  <a:lnTo>
                    <a:pt x="14" y="2"/>
                  </a:lnTo>
                  <a:lnTo>
                    <a:pt x="18" y="2"/>
                  </a:lnTo>
                  <a:lnTo>
                    <a:pt x="19" y="0"/>
                  </a:lnTo>
                  <a:lnTo>
                    <a:pt x="19" y="2"/>
                  </a:lnTo>
                  <a:lnTo>
                    <a:pt x="23" y="2"/>
                  </a:lnTo>
                  <a:lnTo>
                    <a:pt x="25" y="2"/>
                  </a:lnTo>
                  <a:lnTo>
                    <a:pt x="28" y="5"/>
                  </a:lnTo>
                  <a:lnTo>
                    <a:pt x="28" y="2"/>
                  </a:lnTo>
                  <a:lnTo>
                    <a:pt x="32" y="2"/>
                  </a:lnTo>
                  <a:lnTo>
                    <a:pt x="35" y="2"/>
                  </a:lnTo>
                  <a:lnTo>
                    <a:pt x="37" y="2"/>
                  </a:lnTo>
                  <a:lnTo>
                    <a:pt x="40" y="2"/>
                  </a:lnTo>
                  <a:lnTo>
                    <a:pt x="42" y="5"/>
                  </a:lnTo>
                  <a:lnTo>
                    <a:pt x="47" y="5"/>
                  </a:lnTo>
                  <a:lnTo>
                    <a:pt x="51" y="7"/>
                  </a:lnTo>
                  <a:lnTo>
                    <a:pt x="54" y="7"/>
                  </a:lnTo>
                  <a:lnTo>
                    <a:pt x="56" y="10"/>
                  </a:lnTo>
                  <a:lnTo>
                    <a:pt x="58" y="7"/>
                  </a:lnTo>
                  <a:lnTo>
                    <a:pt x="59" y="7"/>
                  </a:lnTo>
                  <a:lnTo>
                    <a:pt x="59" y="14"/>
                  </a:lnTo>
                  <a:lnTo>
                    <a:pt x="54" y="19"/>
                  </a:lnTo>
                  <a:lnTo>
                    <a:pt x="56" y="19"/>
                  </a:lnTo>
                  <a:lnTo>
                    <a:pt x="61" y="24"/>
                  </a:lnTo>
                  <a:lnTo>
                    <a:pt x="63" y="24"/>
                  </a:lnTo>
                  <a:lnTo>
                    <a:pt x="65" y="26"/>
                  </a:lnTo>
                  <a:lnTo>
                    <a:pt x="65" y="28"/>
                  </a:lnTo>
                  <a:lnTo>
                    <a:pt x="61" y="26"/>
                  </a:lnTo>
                  <a:lnTo>
                    <a:pt x="59" y="28"/>
                  </a:lnTo>
                  <a:lnTo>
                    <a:pt x="59" y="31"/>
                  </a:lnTo>
                  <a:lnTo>
                    <a:pt x="63" y="36"/>
                  </a:lnTo>
                  <a:lnTo>
                    <a:pt x="61" y="38"/>
                  </a:lnTo>
                  <a:lnTo>
                    <a:pt x="59" y="36"/>
                  </a:lnTo>
                  <a:lnTo>
                    <a:pt x="54" y="35"/>
                  </a:lnTo>
                  <a:lnTo>
                    <a:pt x="52" y="36"/>
                  </a:lnTo>
                  <a:lnTo>
                    <a:pt x="52" y="38"/>
                  </a:lnTo>
                  <a:lnTo>
                    <a:pt x="56" y="42"/>
                  </a:lnTo>
                  <a:lnTo>
                    <a:pt x="58" y="43"/>
                  </a:lnTo>
                  <a:lnTo>
                    <a:pt x="54" y="45"/>
                  </a:lnTo>
                  <a:lnTo>
                    <a:pt x="52" y="45"/>
                  </a:lnTo>
                  <a:lnTo>
                    <a:pt x="51" y="48"/>
                  </a:lnTo>
                  <a:lnTo>
                    <a:pt x="51" y="54"/>
                  </a:lnTo>
                  <a:lnTo>
                    <a:pt x="51" y="57"/>
                  </a:lnTo>
                  <a:lnTo>
                    <a:pt x="47" y="59"/>
                  </a:lnTo>
                  <a:lnTo>
                    <a:pt x="42" y="54"/>
                  </a:lnTo>
                  <a:lnTo>
                    <a:pt x="42" y="54"/>
                  </a:lnTo>
                  <a:lnTo>
                    <a:pt x="35" y="54"/>
                  </a:lnTo>
                  <a:lnTo>
                    <a:pt x="33" y="52"/>
                  </a:lnTo>
                  <a:lnTo>
                    <a:pt x="33" y="52"/>
                  </a:lnTo>
                  <a:lnTo>
                    <a:pt x="33" y="52"/>
                  </a:lnTo>
                  <a:lnTo>
                    <a:pt x="33"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8" name="Freeform 94">
              <a:extLst>
                <a:ext uri="{FF2B5EF4-FFF2-40B4-BE49-F238E27FC236}">
                  <a16:creationId xmlns:a16="http://schemas.microsoft.com/office/drawing/2014/main" id="{5058D1F0-243A-432F-B361-420298BA188C}"/>
                </a:ext>
              </a:extLst>
            </p:cNvPr>
            <p:cNvSpPr>
              <a:spLocks/>
            </p:cNvSpPr>
            <p:nvPr/>
          </p:nvSpPr>
          <p:spPr bwMode="auto">
            <a:xfrm>
              <a:off x="4787900" y="2886076"/>
              <a:ext cx="77788" cy="47625"/>
            </a:xfrm>
            <a:custGeom>
              <a:avLst/>
              <a:gdLst/>
              <a:ahLst/>
              <a:cxnLst>
                <a:cxn ang="0">
                  <a:pos x="0" y="30"/>
                </a:cxn>
                <a:cxn ang="0">
                  <a:pos x="7" y="30"/>
                </a:cxn>
                <a:cxn ang="0">
                  <a:pos x="11" y="26"/>
                </a:cxn>
                <a:cxn ang="0">
                  <a:pos x="14" y="25"/>
                </a:cxn>
                <a:cxn ang="0">
                  <a:pos x="21" y="28"/>
                </a:cxn>
                <a:cxn ang="0">
                  <a:pos x="25" y="28"/>
                </a:cxn>
                <a:cxn ang="0">
                  <a:pos x="25" y="21"/>
                </a:cxn>
                <a:cxn ang="0">
                  <a:pos x="30" y="21"/>
                </a:cxn>
                <a:cxn ang="0">
                  <a:pos x="32" y="16"/>
                </a:cxn>
                <a:cxn ang="0">
                  <a:pos x="40" y="9"/>
                </a:cxn>
                <a:cxn ang="0">
                  <a:pos x="49" y="9"/>
                </a:cxn>
                <a:cxn ang="0">
                  <a:pos x="47" y="5"/>
                </a:cxn>
                <a:cxn ang="0">
                  <a:pos x="44" y="0"/>
                </a:cxn>
                <a:cxn ang="0">
                  <a:pos x="39" y="0"/>
                </a:cxn>
                <a:cxn ang="0">
                  <a:pos x="32" y="5"/>
                </a:cxn>
                <a:cxn ang="0">
                  <a:pos x="30" y="5"/>
                </a:cxn>
                <a:cxn ang="0">
                  <a:pos x="28" y="5"/>
                </a:cxn>
                <a:cxn ang="0">
                  <a:pos x="25" y="5"/>
                </a:cxn>
                <a:cxn ang="0">
                  <a:pos x="21" y="5"/>
                </a:cxn>
                <a:cxn ang="0">
                  <a:pos x="18" y="9"/>
                </a:cxn>
                <a:cxn ang="0">
                  <a:pos x="14" y="5"/>
                </a:cxn>
                <a:cxn ang="0">
                  <a:pos x="7" y="5"/>
                </a:cxn>
                <a:cxn ang="0">
                  <a:pos x="4" y="5"/>
                </a:cxn>
                <a:cxn ang="0">
                  <a:pos x="0" y="11"/>
                </a:cxn>
                <a:cxn ang="0">
                  <a:pos x="0" y="12"/>
                </a:cxn>
                <a:cxn ang="0">
                  <a:pos x="0" y="18"/>
                </a:cxn>
                <a:cxn ang="0">
                  <a:pos x="0" y="21"/>
                </a:cxn>
                <a:cxn ang="0">
                  <a:pos x="0" y="21"/>
                </a:cxn>
                <a:cxn ang="0">
                  <a:pos x="4" y="23"/>
                </a:cxn>
                <a:cxn ang="0">
                  <a:pos x="4" y="26"/>
                </a:cxn>
                <a:cxn ang="0">
                  <a:pos x="0" y="26"/>
                </a:cxn>
                <a:cxn ang="0">
                  <a:pos x="0" y="30"/>
                </a:cxn>
                <a:cxn ang="0">
                  <a:pos x="0" y="30"/>
                </a:cxn>
                <a:cxn ang="0">
                  <a:pos x="0" y="30"/>
                </a:cxn>
              </a:cxnLst>
              <a:rect l="0" t="0" r="r" b="b"/>
              <a:pathLst>
                <a:path w="49" h="30">
                  <a:moveTo>
                    <a:pt x="0" y="30"/>
                  </a:moveTo>
                  <a:lnTo>
                    <a:pt x="7" y="30"/>
                  </a:lnTo>
                  <a:lnTo>
                    <a:pt x="11" y="26"/>
                  </a:lnTo>
                  <a:lnTo>
                    <a:pt x="14" y="25"/>
                  </a:lnTo>
                  <a:lnTo>
                    <a:pt x="21" y="28"/>
                  </a:lnTo>
                  <a:lnTo>
                    <a:pt x="25" y="28"/>
                  </a:lnTo>
                  <a:lnTo>
                    <a:pt x="25" y="21"/>
                  </a:lnTo>
                  <a:lnTo>
                    <a:pt x="30" y="21"/>
                  </a:lnTo>
                  <a:lnTo>
                    <a:pt x="32" y="16"/>
                  </a:lnTo>
                  <a:lnTo>
                    <a:pt x="40" y="9"/>
                  </a:lnTo>
                  <a:lnTo>
                    <a:pt x="49" y="9"/>
                  </a:lnTo>
                  <a:lnTo>
                    <a:pt x="47" y="5"/>
                  </a:lnTo>
                  <a:lnTo>
                    <a:pt x="44" y="0"/>
                  </a:lnTo>
                  <a:lnTo>
                    <a:pt x="39" y="0"/>
                  </a:lnTo>
                  <a:lnTo>
                    <a:pt x="32" y="5"/>
                  </a:lnTo>
                  <a:lnTo>
                    <a:pt x="30" y="5"/>
                  </a:lnTo>
                  <a:lnTo>
                    <a:pt x="28" y="5"/>
                  </a:lnTo>
                  <a:lnTo>
                    <a:pt x="25" y="5"/>
                  </a:lnTo>
                  <a:lnTo>
                    <a:pt x="21" y="5"/>
                  </a:lnTo>
                  <a:lnTo>
                    <a:pt x="18" y="9"/>
                  </a:lnTo>
                  <a:lnTo>
                    <a:pt x="14" y="5"/>
                  </a:lnTo>
                  <a:lnTo>
                    <a:pt x="7" y="5"/>
                  </a:lnTo>
                  <a:lnTo>
                    <a:pt x="4" y="5"/>
                  </a:lnTo>
                  <a:lnTo>
                    <a:pt x="0" y="11"/>
                  </a:lnTo>
                  <a:lnTo>
                    <a:pt x="0" y="12"/>
                  </a:lnTo>
                  <a:lnTo>
                    <a:pt x="0" y="18"/>
                  </a:lnTo>
                  <a:lnTo>
                    <a:pt x="0" y="21"/>
                  </a:lnTo>
                  <a:lnTo>
                    <a:pt x="0" y="21"/>
                  </a:lnTo>
                  <a:lnTo>
                    <a:pt x="4" y="23"/>
                  </a:lnTo>
                  <a:lnTo>
                    <a:pt x="4" y="26"/>
                  </a:lnTo>
                  <a:lnTo>
                    <a:pt x="0" y="26"/>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9" name="Freeform 95">
              <a:extLst>
                <a:ext uri="{FF2B5EF4-FFF2-40B4-BE49-F238E27FC236}">
                  <a16:creationId xmlns:a16="http://schemas.microsoft.com/office/drawing/2014/main" id="{50E8A1BE-29A5-45F6-BB10-B2D5073252BF}"/>
                </a:ext>
              </a:extLst>
            </p:cNvPr>
            <p:cNvSpPr>
              <a:spLocks noEditPoints="1"/>
            </p:cNvSpPr>
            <p:nvPr/>
          </p:nvSpPr>
          <p:spPr bwMode="auto">
            <a:xfrm>
              <a:off x="4951413" y="3041651"/>
              <a:ext cx="236538" cy="233363"/>
            </a:xfrm>
            <a:custGeom>
              <a:avLst/>
              <a:gdLst/>
              <a:ahLst/>
              <a:cxnLst>
                <a:cxn ang="0">
                  <a:pos x="87" y="12"/>
                </a:cxn>
                <a:cxn ang="0">
                  <a:pos x="55" y="15"/>
                </a:cxn>
                <a:cxn ang="0">
                  <a:pos x="14" y="38"/>
                </a:cxn>
                <a:cxn ang="0">
                  <a:pos x="26" y="73"/>
                </a:cxn>
                <a:cxn ang="0">
                  <a:pos x="50" y="80"/>
                </a:cxn>
                <a:cxn ang="0">
                  <a:pos x="36" y="81"/>
                </a:cxn>
                <a:cxn ang="0">
                  <a:pos x="36" y="106"/>
                </a:cxn>
                <a:cxn ang="0">
                  <a:pos x="52" y="116"/>
                </a:cxn>
                <a:cxn ang="0">
                  <a:pos x="55" y="97"/>
                </a:cxn>
                <a:cxn ang="0">
                  <a:pos x="64" y="95"/>
                </a:cxn>
                <a:cxn ang="0">
                  <a:pos x="76" y="90"/>
                </a:cxn>
                <a:cxn ang="0">
                  <a:pos x="54" y="69"/>
                </a:cxn>
                <a:cxn ang="0">
                  <a:pos x="59" y="60"/>
                </a:cxn>
                <a:cxn ang="0">
                  <a:pos x="47" y="33"/>
                </a:cxn>
                <a:cxn ang="0">
                  <a:pos x="64" y="40"/>
                </a:cxn>
                <a:cxn ang="0">
                  <a:pos x="73" y="36"/>
                </a:cxn>
                <a:cxn ang="0">
                  <a:pos x="78" y="20"/>
                </a:cxn>
                <a:cxn ang="0">
                  <a:pos x="109" y="17"/>
                </a:cxn>
                <a:cxn ang="0">
                  <a:pos x="73" y="133"/>
                </a:cxn>
                <a:cxn ang="0">
                  <a:pos x="92" y="147"/>
                </a:cxn>
                <a:cxn ang="0">
                  <a:pos x="118" y="139"/>
                </a:cxn>
                <a:cxn ang="0">
                  <a:pos x="99" y="133"/>
                </a:cxn>
                <a:cxn ang="0">
                  <a:pos x="78" y="133"/>
                </a:cxn>
                <a:cxn ang="0">
                  <a:pos x="73" y="133"/>
                </a:cxn>
                <a:cxn ang="0">
                  <a:pos x="0" y="50"/>
                </a:cxn>
                <a:cxn ang="0">
                  <a:pos x="19" y="69"/>
                </a:cxn>
                <a:cxn ang="0">
                  <a:pos x="17" y="73"/>
                </a:cxn>
                <a:cxn ang="0">
                  <a:pos x="17" y="81"/>
                </a:cxn>
                <a:cxn ang="0">
                  <a:pos x="17" y="78"/>
                </a:cxn>
                <a:cxn ang="0">
                  <a:pos x="24" y="90"/>
                </a:cxn>
                <a:cxn ang="0">
                  <a:pos x="132" y="128"/>
                </a:cxn>
                <a:cxn ang="0">
                  <a:pos x="132" y="137"/>
                </a:cxn>
                <a:cxn ang="0">
                  <a:pos x="149" y="114"/>
                </a:cxn>
                <a:cxn ang="0">
                  <a:pos x="141" y="127"/>
                </a:cxn>
                <a:cxn ang="0">
                  <a:pos x="118" y="114"/>
                </a:cxn>
                <a:cxn ang="0">
                  <a:pos x="125" y="92"/>
                </a:cxn>
                <a:cxn ang="0">
                  <a:pos x="118" y="90"/>
                </a:cxn>
                <a:cxn ang="0">
                  <a:pos x="106" y="73"/>
                </a:cxn>
                <a:cxn ang="0">
                  <a:pos x="109" y="57"/>
                </a:cxn>
                <a:cxn ang="0">
                  <a:pos x="109" y="60"/>
                </a:cxn>
                <a:cxn ang="0">
                  <a:pos x="106" y="60"/>
                </a:cxn>
                <a:cxn ang="0">
                  <a:pos x="97" y="31"/>
                </a:cxn>
                <a:cxn ang="0">
                  <a:pos x="90" y="43"/>
                </a:cxn>
                <a:cxn ang="0">
                  <a:pos x="83" y="27"/>
                </a:cxn>
                <a:cxn ang="0">
                  <a:pos x="69" y="60"/>
                </a:cxn>
                <a:cxn ang="0">
                  <a:pos x="62" y="60"/>
                </a:cxn>
                <a:cxn ang="0">
                  <a:pos x="85" y="66"/>
                </a:cxn>
                <a:cxn ang="0">
                  <a:pos x="113" y="95"/>
                </a:cxn>
                <a:cxn ang="0">
                  <a:pos x="82" y="114"/>
                </a:cxn>
                <a:cxn ang="0">
                  <a:pos x="83" y="102"/>
                </a:cxn>
                <a:cxn ang="0">
                  <a:pos x="82" y="97"/>
                </a:cxn>
                <a:cxn ang="0">
                  <a:pos x="95" y="102"/>
                </a:cxn>
                <a:cxn ang="0">
                  <a:pos x="104" y="102"/>
                </a:cxn>
                <a:cxn ang="0">
                  <a:pos x="101" y="97"/>
                </a:cxn>
                <a:cxn ang="0">
                  <a:pos x="95" y="94"/>
                </a:cxn>
                <a:cxn ang="0">
                  <a:pos x="87" y="88"/>
                </a:cxn>
                <a:cxn ang="0">
                  <a:pos x="71" y="69"/>
                </a:cxn>
                <a:cxn ang="0">
                  <a:pos x="82" y="83"/>
                </a:cxn>
                <a:cxn ang="0">
                  <a:pos x="73" y="74"/>
                </a:cxn>
                <a:cxn ang="0">
                  <a:pos x="55" y="66"/>
                </a:cxn>
                <a:cxn ang="0">
                  <a:pos x="61" y="121"/>
                </a:cxn>
                <a:cxn ang="0">
                  <a:pos x="61" y="114"/>
                </a:cxn>
              </a:cxnLst>
              <a:rect l="0" t="0" r="r" b="b"/>
              <a:pathLst>
                <a:path w="149" h="147">
                  <a:moveTo>
                    <a:pt x="111" y="0"/>
                  </a:moveTo>
                  <a:lnTo>
                    <a:pt x="109" y="0"/>
                  </a:lnTo>
                  <a:lnTo>
                    <a:pt x="106" y="3"/>
                  </a:lnTo>
                  <a:lnTo>
                    <a:pt x="106" y="7"/>
                  </a:lnTo>
                  <a:lnTo>
                    <a:pt x="106" y="10"/>
                  </a:lnTo>
                  <a:lnTo>
                    <a:pt x="106" y="12"/>
                  </a:lnTo>
                  <a:lnTo>
                    <a:pt x="97" y="12"/>
                  </a:lnTo>
                  <a:lnTo>
                    <a:pt x="94" y="14"/>
                  </a:lnTo>
                  <a:lnTo>
                    <a:pt x="90" y="12"/>
                  </a:lnTo>
                  <a:lnTo>
                    <a:pt x="87" y="12"/>
                  </a:lnTo>
                  <a:lnTo>
                    <a:pt x="85" y="14"/>
                  </a:lnTo>
                  <a:lnTo>
                    <a:pt x="82" y="14"/>
                  </a:lnTo>
                  <a:lnTo>
                    <a:pt x="82" y="10"/>
                  </a:lnTo>
                  <a:lnTo>
                    <a:pt x="76" y="10"/>
                  </a:lnTo>
                  <a:lnTo>
                    <a:pt x="73" y="10"/>
                  </a:lnTo>
                  <a:lnTo>
                    <a:pt x="71" y="14"/>
                  </a:lnTo>
                  <a:lnTo>
                    <a:pt x="64" y="14"/>
                  </a:lnTo>
                  <a:lnTo>
                    <a:pt x="61" y="14"/>
                  </a:lnTo>
                  <a:lnTo>
                    <a:pt x="57" y="14"/>
                  </a:lnTo>
                  <a:lnTo>
                    <a:pt x="55" y="15"/>
                  </a:lnTo>
                  <a:lnTo>
                    <a:pt x="52" y="15"/>
                  </a:lnTo>
                  <a:lnTo>
                    <a:pt x="49" y="17"/>
                  </a:lnTo>
                  <a:lnTo>
                    <a:pt x="40" y="17"/>
                  </a:lnTo>
                  <a:lnTo>
                    <a:pt x="36" y="19"/>
                  </a:lnTo>
                  <a:lnTo>
                    <a:pt x="36" y="20"/>
                  </a:lnTo>
                  <a:lnTo>
                    <a:pt x="31" y="22"/>
                  </a:lnTo>
                  <a:lnTo>
                    <a:pt x="24" y="27"/>
                  </a:lnTo>
                  <a:lnTo>
                    <a:pt x="24" y="33"/>
                  </a:lnTo>
                  <a:lnTo>
                    <a:pt x="21" y="36"/>
                  </a:lnTo>
                  <a:lnTo>
                    <a:pt x="14" y="38"/>
                  </a:lnTo>
                  <a:lnTo>
                    <a:pt x="14" y="43"/>
                  </a:lnTo>
                  <a:lnTo>
                    <a:pt x="12" y="48"/>
                  </a:lnTo>
                  <a:lnTo>
                    <a:pt x="9" y="48"/>
                  </a:lnTo>
                  <a:lnTo>
                    <a:pt x="9" y="50"/>
                  </a:lnTo>
                  <a:lnTo>
                    <a:pt x="9" y="55"/>
                  </a:lnTo>
                  <a:lnTo>
                    <a:pt x="16" y="59"/>
                  </a:lnTo>
                  <a:lnTo>
                    <a:pt x="19" y="64"/>
                  </a:lnTo>
                  <a:lnTo>
                    <a:pt x="21" y="64"/>
                  </a:lnTo>
                  <a:lnTo>
                    <a:pt x="21" y="66"/>
                  </a:lnTo>
                  <a:lnTo>
                    <a:pt x="26" y="73"/>
                  </a:lnTo>
                  <a:lnTo>
                    <a:pt x="28" y="78"/>
                  </a:lnTo>
                  <a:lnTo>
                    <a:pt x="29" y="78"/>
                  </a:lnTo>
                  <a:lnTo>
                    <a:pt x="33" y="74"/>
                  </a:lnTo>
                  <a:lnTo>
                    <a:pt x="35" y="78"/>
                  </a:lnTo>
                  <a:lnTo>
                    <a:pt x="40" y="78"/>
                  </a:lnTo>
                  <a:lnTo>
                    <a:pt x="40" y="78"/>
                  </a:lnTo>
                  <a:lnTo>
                    <a:pt x="45" y="78"/>
                  </a:lnTo>
                  <a:lnTo>
                    <a:pt x="47" y="80"/>
                  </a:lnTo>
                  <a:lnTo>
                    <a:pt x="50" y="78"/>
                  </a:lnTo>
                  <a:lnTo>
                    <a:pt x="50" y="80"/>
                  </a:lnTo>
                  <a:lnTo>
                    <a:pt x="54" y="80"/>
                  </a:lnTo>
                  <a:lnTo>
                    <a:pt x="55" y="81"/>
                  </a:lnTo>
                  <a:lnTo>
                    <a:pt x="59" y="81"/>
                  </a:lnTo>
                  <a:lnTo>
                    <a:pt x="55" y="83"/>
                  </a:lnTo>
                  <a:lnTo>
                    <a:pt x="54" y="87"/>
                  </a:lnTo>
                  <a:lnTo>
                    <a:pt x="52" y="85"/>
                  </a:lnTo>
                  <a:lnTo>
                    <a:pt x="49" y="83"/>
                  </a:lnTo>
                  <a:lnTo>
                    <a:pt x="42" y="78"/>
                  </a:lnTo>
                  <a:lnTo>
                    <a:pt x="40" y="80"/>
                  </a:lnTo>
                  <a:lnTo>
                    <a:pt x="36" y="81"/>
                  </a:lnTo>
                  <a:lnTo>
                    <a:pt x="33" y="80"/>
                  </a:lnTo>
                  <a:lnTo>
                    <a:pt x="31" y="83"/>
                  </a:lnTo>
                  <a:lnTo>
                    <a:pt x="29" y="85"/>
                  </a:lnTo>
                  <a:lnTo>
                    <a:pt x="28" y="87"/>
                  </a:lnTo>
                  <a:lnTo>
                    <a:pt x="31" y="92"/>
                  </a:lnTo>
                  <a:lnTo>
                    <a:pt x="35" y="94"/>
                  </a:lnTo>
                  <a:lnTo>
                    <a:pt x="40" y="97"/>
                  </a:lnTo>
                  <a:lnTo>
                    <a:pt x="40" y="100"/>
                  </a:lnTo>
                  <a:lnTo>
                    <a:pt x="36" y="102"/>
                  </a:lnTo>
                  <a:lnTo>
                    <a:pt x="36" y="106"/>
                  </a:lnTo>
                  <a:lnTo>
                    <a:pt x="40" y="107"/>
                  </a:lnTo>
                  <a:lnTo>
                    <a:pt x="42" y="109"/>
                  </a:lnTo>
                  <a:lnTo>
                    <a:pt x="45" y="107"/>
                  </a:lnTo>
                  <a:lnTo>
                    <a:pt x="42" y="106"/>
                  </a:lnTo>
                  <a:lnTo>
                    <a:pt x="45" y="102"/>
                  </a:lnTo>
                  <a:lnTo>
                    <a:pt x="45" y="107"/>
                  </a:lnTo>
                  <a:lnTo>
                    <a:pt x="50" y="109"/>
                  </a:lnTo>
                  <a:lnTo>
                    <a:pt x="50" y="111"/>
                  </a:lnTo>
                  <a:lnTo>
                    <a:pt x="50" y="114"/>
                  </a:lnTo>
                  <a:lnTo>
                    <a:pt x="52" y="116"/>
                  </a:lnTo>
                  <a:lnTo>
                    <a:pt x="52" y="111"/>
                  </a:lnTo>
                  <a:lnTo>
                    <a:pt x="54" y="107"/>
                  </a:lnTo>
                  <a:lnTo>
                    <a:pt x="57" y="107"/>
                  </a:lnTo>
                  <a:lnTo>
                    <a:pt x="59" y="111"/>
                  </a:lnTo>
                  <a:lnTo>
                    <a:pt x="64" y="114"/>
                  </a:lnTo>
                  <a:lnTo>
                    <a:pt x="61" y="111"/>
                  </a:lnTo>
                  <a:lnTo>
                    <a:pt x="62" y="107"/>
                  </a:lnTo>
                  <a:lnTo>
                    <a:pt x="61" y="106"/>
                  </a:lnTo>
                  <a:lnTo>
                    <a:pt x="57" y="100"/>
                  </a:lnTo>
                  <a:lnTo>
                    <a:pt x="55" y="97"/>
                  </a:lnTo>
                  <a:lnTo>
                    <a:pt x="55" y="95"/>
                  </a:lnTo>
                  <a:lnTo>
                    <a:pt x="57" y="95"/>
                  </a:lnTo>
                  <a:lnTo>
                    <a:pt x="62" y="97"/>
                  </a:lnTo>
                  <a:lnTo>
                    <a:pt x="61" y="97"/>
                  </a:lnTo>
                  <a:lnTo>
                    <a:pt x="62" y="100"/>
                  </a:lnTo>
                  <a:lnTo>
                    <a:pt x="64" y="97"/>
                  </a:lnTo>
                  <a:lnTo>
                    <a:pt x="68" y="97"/>
                  </a:lnTo>
                  <a:lnTo>
                    <a:pt x="68" y="97"/>
                  </a:lnTo>
                  <a:lnTo>
                    <a:pt x="64" y="97"/>
                  </a:lnTo>
                  <a:lnTo>
                    <a:pt x="64" y="95"/>
                  </a:lnTo>
                  <a:lnTo>
                    <a:pt x="64" y="95"/>
                  </a:lnTo>
                  <a:lnTo>
                    <a:pt x="62" y="94"/>
                  </a:lnTo>
                  <a:lnTo>
                    <a:pt x="62" y="92"/>
                  </a:lnTo>
                  <a:lnTo>
                    <a:pt x="59" y="88"/>
                  </a:lnTo>
                  <a:lnTo>
                    <a:pt x="62" y="87"/>
                  </a:lnTo>
                  <a:lnTo>
                    <a:pt x="64" y="87"/>
                  </a:lnTo>
                  <a:lnTo>
                    <a:pt x="68" y="85"/>
                  </a:lnTo>
                  <a:lnTo>
                    <a:pt x="71" y="88"/>
                  </a:lnTo>
                  <a:lnTo>
                    <a:pt x="73" y="90"/>
                  </a:lnTo>
                  <a:lnTo>
                    <a:pt x="76" y="90"/>
                  </a:lnTo>
                  <a:lnTo>
                    <a:pt x="76" y="88"/>
                  </a:lnTo>
                  <a:lnTo>
                    <a:pt x="73" y="85"/>
                  </a:lnTo>
                  <a:lnTo>
                    <a:pt x="73" y="80"/>
                  </a:lnTo>
                  <a:lnTo>
                    <a:pt x="73" y="78"/>
                  </a:lnTo>
                  <a:lnTo>
                    <a:pt x="64" y="73"/>
                  </a:lnTo>
                  <a:lnTo>
                    <a:pt x="62" y="73"/>
                  </a:lnTo>
                  <a:lnTo>
                    <a:pt x="61" y="69"/>
                  </a:lnTo>
                  <a:lnTo>
                    <a:pt x="59" y="73"/>
                  </a:lnTo>
                  <a:lnTo>
                    <a:pt x="57" y="69"/>
                  </a:lnTo>
                  <a:lnTo>
                    <a:pt x="54" y="69"/>
                  </a:lnTo>
                  <a:lnTo>
                    <a:pt x="50" y="64"/>
                  </a:lnTo>
                  <a:lnTo>
                    <a:pt x="54" y="64"/>
                  </a:lnTo>
                  <a:lnTo>
                    <a:pt x="55" y="64"/>
                  </a:lnTo>
                  <a:lnTo>
                    <a:pt x="55" y="60"/>
                  </a:lnTo>
                  <a:lnTo>
                    <a:pt x="52" y="60"/>
                  </a:lnTo>
                  <a:lnTo>
                    <a:pt x="54" y="57"/>
                  </a:lnTo>
                  <a:lnTo>
                    <a:pt x="54" y="55"/>
                  </a:lnTo>
                  <a:lnTo>
                    <a:pt x="57" y="57"/>
                  </a:lnTo>
                  <a:lnTo>
                    <a:pt x="59" y="59"/>
                  </a:lnTo>
                  <a:lnTo>
                    <a:pt x="59" y="60"/>
                  </a:lnTo>
                  <a:lnTo>
                    <a:pt x="59" y="60"/>
                  </a:lnTo>
                  <a:lnTo>
                    <a:pt x="61" y="60"/>
                  </a:lnTo>
                  <a:lnTo>
                    <a:pt x="62" y="57"/>
                  </a:lnTo>
                  <a:lnTo>
                    <a:pt x="59" y="55"/>
                  </a:lnTo>
                  <a:lnTo>
                    <a:pt x="54" y="48"/>
                  </a:lnTo>
                  <a:lnTo>
                    <a:pt x="52" y="47"/>
                  </a:lnTo>
                  <a:lnTo>
                    <a:pt x="50" y="43"/>
                  </a:lnTo>
                  <a:lnTo>
                    <a:pt x="47" y="40"/>
                  </a:lnTo>
                  <a:lnTo>
                    <a:pt x="49" y="38"/>
                  </a:lnTo>
                  <a:lnTo>
                    <a:pt x="47" y="33"/>
                  </a:lnTo>
                  <a:lnTo>
                    <a:pt x="50" y="27"/>
                  </a:lnTo>
                  <a:lnTo>
                    <a:pt x="54" y="27"/>
                  </a:lnTo>
                  <a:lnTo>
                    <a:pt x="55" y="33"/>
                  </a:lnTo>
                  <a:lnTo>
                    <a:pt x="52" y="33"/>
                  </a:lnTo>
                  <a:lnTo>
                    <a:pt x="54" y="33"/>
                  </a:lnTo>
                  <a:lnTo>
                    <a:pt x="59" y="36"/>
                  </a:lnTo>
                  <a:lnTo>
                    <a:pt x="59" y="40"/>
                  </a:lnTo>
                  <a:lnTo>
                    <a:pt x="62" y="41"/>
                  </a:lnTo>
                  <a:lnTo>
                    <a:pt x="68" y="41"/>
                  </a:lnTo>
                  <a:lnTo>
                    <a:pt x="64" y="40"/>
                  </a:lnTo>
                  <a:lnTo>
                    <a:pt x="62" y="38"/>
                  </a:lnTo>
                  <a:lnTo>
                    <a:pt x="62" y="36"/>
                  </a:lnTo>
                  <a:lnTo>
                    <a:pt x="68" y="36"/>
                  </a:lnTo>
                  <a:lnTo>
                    <a:pt x="69" y="40"/>
                  </a:lnTo>
                  <a:lnTo>
                    <a:pt x="73" y="41"/>
                  </a:lnTo>
                  <a:lnTo>
                    <a:pt x="73" y="38"/>
                  </a:lnTo>
                  <a:lnTo>
                    <a:pt x="71" y="36"/>
                  </a:lnTo>
                  <a:lnTo>
                    <a:pt x="68" y="36"/>
                  </a:lnTo>
                  <a:lnTo>
                    <a:pt x="69" y="33"/>
                  </a:lnTo>
                  <a:lnTo>
                    <a:pt x="73" y="36"/>
                  </a:lnTo>
                  <a:lnTo>
                    <a:pt x="76" y="36"/>
                  </a:lnTo>
                  <a:lnTo>
                    <a:pt x="76" y="36"/>
                  </a:lnTo>
                  <a:lnTo>
                    <a:pt x="73" y="33"/>
                  </a:lnTo>
                  <a:lnTo>
                    <a:pt x="71" y="33"/>
                  </a:lnTo>
                  <a:lnTo>
                    <a:pt x="68" y="27"/>
                  </a:lnTo>
                  <a:lnTo>
                    <a:pt x="69" y="24"/>
                  </a:lnTo>
                  <a:lnTo>
                    <a:pt x="73" y="27"/>
                  </a:lnTo>
                  <a:lnTo>
                    <a:pt x="76" y="24"/>
                  </a:lnTo>
                  <a:lnTo>
                    <a:pt x="76" y="20"/>
                  </a:lnTo>
                  <a:lnTo>
                    <a:pt x="78" y="20"/>
                  </a:lnTo>
                  <a:lnTo>
                    <a:pt x="82" y="24"/>
                  </a:lnTo>
                  <a:lnTo>
                    <a:pt x="85" y="24"/>
                  </a:lnTo>
                  <a:lnTo>
                    <a:pt x="88" y="20"/>
                  </a:lnTo>
                  <a:lnTo>
                    <a:pt x="88" y="19"/>
                  </a:lnTo>
                  <a:lnTo>
                    <a:pt x="90" y="19"/>
                  </a:lnTo>
                  <a:lnTo>
                    <a:pt x="92" y="20"/>
                  </a:lnTo>
                  <a:lnTo>
                    <a:pt x="101" y="20"/>
                  </a:lnTo>
                  <a:lnTo>
                    <a:pt x="106" y="22"/>
                  </a:lnTo>
                  <a:lnTo>
                    <a:pt x="109" y="22"/>
                  </a:lnTo>
                  <a:lnTo>
                    <a:pt x="109" y="17"/>
                  </a:lnTo>
                  <a:lnTo>
                    <a:pt x="109" y="14"/>
                  </a:lnTo>
                  <a:lnTo>
                    <a:pt x="115" y="10"/>
                  </a:lnTo>
                  <a:lnTo>
                    <a:pt x="115" y="7"/>
                  </a:lnTo>
                  <a:lnTo>
                    <a:pt x="111" y="5"/>
                  </a:lnTo>
                  <a:lnTo>
                    <a:pt x="111" y="0"/>
                  </a:lnTo>
                  <a:lnTo>
                    <a:pt x="111" y="0"/>
                  </a:lnTo>
                  <a:lnTo>
                    <a:pt x="111" y="0"/>
                  </a:lnTo>
                  <a:lnTo>
                    <a:pt x="111" y="0"/>
                  </a:lnTo>
                  <a:close/>
                  <a:moveTo>
                    <a:pt x="73" y="133"/>
                  </a:moveTo>
                  <a:lnTo>
                    <a:pt x="73" y="133"/>
                  </a:lnTo>
                  <a:lnTo>
                    <a:pt x="73" y="133"/>
                  </a:lnTo>
                  <a:lnTo>
                    <a:pt x="71" y="139"/>
                  </a:lnTo>
                  <a:lnTo>
                    <a:pt x="73" y="139"/>
                  </a:lnTo>
                  <a:lnTo>
                    <a:pt x="73" y="142"/>
                  </a:lnTo>
                  <a:lnTo>
                    <a:pt x="82" y="142"/>
                  </a:lnTo>
                  <a:lnTo>
                    <a:pt x="82" y="142"/>
                  </a:lnTo>
                  <a:lnTo>
                    <a:pt x="83" y="139"/>
                  </a:lnTo>
                  <a:lnTo>
                    <a:pt x="87" y="142"/>
                  </a:lnTo>
                  <a:lnTo>
                    <a:pt x="92" y="142"/>
                  </a:lnTo>
                  <a:lnTo>
                    <a:pt x="92" y="147"/>
                  </a:lnTo>
                  <a:lnTo>
                    <a:pt x="97" y="147"/>
                  </a:lnTo>
                  <a:lnTo>
                    <a:pt x="101" y="142"/>
                  </a:lnTo>
                  <a:lnTo>
                    <a:pt x="104" y="142"/>
                  </a:lnTo>
                  <a:lnTo>
                    <a:pt x="109" y="142"/>
                  </a:lnTo>
                  <a:lnTo>
                    <a:pt x="115" y="142"/>
                  </a:lnTo>
                  <a:lnTo>
                    <a:pt x="118" y="142"/>
                  </a:lnTo>
                  <a:lnTo>
                    <a:pt x="118" y="139"/>
                  </a:lnTo>
                  <a:lnTo>
                    <a:pt x="118" y="139"/>
                  </a:lnTo>
                  <a:lnTo>
                    <a:pt x="118" y="137"/>
                  </a:lnTo>
                  <a:lnTo>
                    <a:pt x="118" y="139"/>
                  </a:lnTo>
                  <a:lnTo>
                    <a:pt x="118" y="139"/>
                  </a:lnTo>
                  <a:lnTo>
                    <a:pt x="115" y="142"/>
                  </a:lnTo>
                  <a:lnTo>
                    <a:pt x="113" y="139"/>
                  </a:lnTo>
                  <a:lnTo>
                    <a:pt x="111" y="139"/>
                  </a:lnTo>
                  <a:lnTo>
                    <a:pt x="109" y="139"/>
                  </a:lnTo>
                  <a:lnTo>
                    <a:pt x="109" y="139"/>
                  </a:lnTo>
                  <a:lnTo>
                    <a:pt x="109" y="137"/>
                  </a:lnTo>
                  <a:lnTo>
                    <a:pt x="106" y="137"/>
                  </a:lnTo>
                  <a:lnTo>
                    <a:pt x="101" y="133"/>
                  </a:lnTo>
                  <a:lnTo>
                    <a:pt x="99" y="133"/>
                  </a:lnTo>
                  <a:lnTo>
                    <a:pt x="94" y="133"/>
                  </a:lnTo>
                  <a:lnTo>
                    <a:pt x="90" y="137"/>
                  </a:lnTo>
                  <a:lnTo>
                    <a:pt x="87" y="139"/>
                  </a:lnTo>
                  <a:lnTo>
                    <a:pt x="83" y="137"/>
                  </a:lnTo>
                  <a:lnTo>
                    <a:pt x="82" y="133"/>
                  </a:lnTo>
                  <a:lnTo>
                    <a:pt x="82" y="133"/>
                  </a:lnTo>
                  <a:lnTo>
                    <a:pt x="82" y="133"/>
                  </a:lnTo>
                  <a:lnTo>
                    <a:pt x="82" y="130"/>
                  </a:lnTo>
                  <a:lnTo>
                    <a:pt x="78" y="130"/>
                  </a:lnTo>
                  <a:lnTo>
                    <a:pt x="78" y="133"/>
                  </a:lnTo>
                  <a:lnTo>
                    <a:pt x="82" y="133"/>
                  </a:lnTo>
                  <a:lnTo>
                    <a:pt x="78" y="133"/>
                  </a:lnTo>
                  <a:lnTo>
                    <a:pt x="76" y="133"/>
                  </a:lnTo>
                  <a:lnTo>
                    <a:pt x="76" y="130"/>
                  </a:lnTo>
                  <a:lnTo>
                    <a:pt x="73" y="130"/>
                  </a:lnTo>
                  <a:lnTo>
                    <a:pt x="73" y="133"/>
                  </a:lnTo>
                  <a:lnTo>
                    <a:pt x="76" y="133"/>
                  </a:lnTo>
                  <a:lnTo>
                    <a:pt x="73" y="133"/>
                  </a:lnTo>
                  <a:lnTo>
                    <a:pt x="73" y="133"/>
                  </a:lnTo>
                  <a:lnTo>
                    <a:pt x="73" y="133"/>
                  </a:lnTo>
                  <a:lnTo>
                    <a:pt x="73" y="133"/>
                  </a:lnTo>
                  <a:close/>
                  <a:moveTo>
                    <a:pt x="3" y="47"/>
                  </a:moveTo>
                  <a:lnTo>
                    <a:pt x="3" y="50"/>
                  </a:lnTo>
                  <a:lnTo>
                    <a:pt x="7" y="54"/>
                  </a:lnTo>
                  <a:lnTo>
                    <a:pt x="9" y="54"/>
                  </a:lnTo>
                  <a:lnTo>
                    <a:pt x="9" y="55"/>
                  </a:lnTo>
                  <a:lnTo>
                    <a:pt x="9" y="55"/>
                  </a:lnTo>
                  <a:lnTo>
                    <a:pt x="3" y="55"/>
                  </a:lnTo>
                  <a:lnTo>
                    <a:pt x="3" y="52"/>
                  </a:lnTo>
                  <a:lnTo>
                    <a:pt x="0" y="50"/>
                  </a:lnTo>
                  <a:lnTo>
                    <a:pt x="0" y="50"/>
                  </a:lnTo>
                  <a:lnTo>
                    <a:pt x="0" y="48"/>
                  </a:lnTo>
                  <a:lnTo>
                    <a:pt x="3" y="47"/>
                  </a:lnTo>
                  <a:lnTo>
                    <a:pt x="3" y="47"/>
                  </a:lnTo>
                  <a:lnTo>
                    <a:pt x="3" y="47"/>
                  </a:lnTo>
                  <a:lnTo>
                    <a:pt x="3" y="47"/>
                  </a:lnTo>
                  <a:lnTo>
                    <a:pt x="3" y="47"/>
                  </a:lnTo>
                  <a:close/>
                  <a:moveTo>
                    <a:pt x="17" y="73"/>
                  </a:moveTo>
                  <a:lnTo>
                    <a:pt x="17" y="73"/>
                  </a:lnTo>
                  <a:lnTo>
                    <a:pt x="19" y="69"/>
                  </a:lnTo>
                  <a:lnTo>
                    <a:pt x="21" y="69"/>
                  </a:lnTo>
                  <a:lnTo>
                    <a:pt x="21" y="73"/>
                  </a:lnTo>
                  <a:lnTo>
                    <a:pt x="19" y="73"/>
                  </a:lnTo>
                  <a:lnTo>
                    <a:pt x="19" y="73"/>
                  </a:lnTo>
                  <a:lnTo>
                    <a:pt x="17" y="73"/>
                  </a:lnTo>
                  <a:lnTo>
                    <a:pt x="17" y="73"/>
                  </a:lnTo>
                  <a:lnTo>
                    <a:pt x="17" y="73"/>
                  </a:lnTo>
                  <a:lnTo>
                    <a:pt x="17" y="73"/>
                  </a:lnTo>
                  <a:close/>
                  <a:moveTo>
                    <a:pt x="17" y="78"/>
                  </a:moveTo>
                  <a:lnTo>
                    <a:pt x="17" y="73"/>
                  </a:lnTo>
                  <a:lnTo>
                    <a:pt x="19" y="74"/>
                  </a:lnTo>
                  <a:lnTo>
                    <a:pt x="21" y="78"/>
                  </a:lnTo>
                  <a:lnTo>
                    <a:pt x="21" y="80"/>
                  </a:lnTo>
                  <a:lnTo>
                    <a:pt x="22" y="80"/>
                  </a:lnTo>
                  <a:lnTo>
                    <a:pt x="22" y="81"/>
                  </a:lnTo>
                  <a:lnTo>
                    <a:pt x="22" y="83"/>
                  </a:lnTo>
                  <a:lnTo>
                    <a:pt x="22" y="85"/>
                  </a:lnTo>
                  <a:lnTo>
                    <a:pt x="19" y="83"/>
                  </a:lnTo>
                  <a:lnTo>
                    <a:pt x="17" y="83"/>
                  </a:lnTo>
                  <a:lnTo>
                    <a:pt x="17" y="81"/>
                  </a:lnTo>
                  <a:lnTo>
                    <a:pt x="17" y="80"/>
                  </a:lnTo>
                  <a:lnTo>
                    <a:pt x="17" y="83"/>
                  </a:lnTo>
                  <a:lnTo>
                    <a:pt x="16" y="83"/>
                  </a:lnTo>
                  <a:lnTo>
                    <a:pt x="14" y="81"/>
                  </a:lnTo>
                  <a:lnTo>
                    <a:pt x="14" y="78"/>
                  </a:lnTo>
                  <a:lnTo>
                    <a:pt x="16" y="78"/>
                  </a:lnTo>
                  <a:lnTo>
                    <a:pt x="17" y="78"/>
                  </a:lnTo>
                  <a:lnTo>
                    <a:pt x="17" y="78"/>
                  </a:lnTo>
                  <a:lnTo>
                    <a:pt x="17" y="78"/>
                  </a:lnTo>
                  <a:lnTo>
                    <a:pt x="17" y="78"/>
                  </a:lnTo>
                  <a:close/>
                  <a:moveTo>
                    <a:pt x="24" y="90"/>
                  </a:moveTo>
                  <a:lnTo>
                    <a:pt x="26" y="92"/>
                  </a:lnTo>
                  <a:lnTo>
                    <a:pt x="24" y="92"/>
                  </a:lnTo>
                  <a:lnTo>
                    <a:pt x="22" y="94"/>
                  </a:lnTo>
                  <a:lnTo>
                    <a:pt x="21" y="92"/>
                  </a:lnTo>
                  <a:lnTo>
                    <a:pt x="19" y="90"/>
                  </a:lnTo>
                  <a:lnTo>
                    <a:pt x="19" y="88"/>
                  </a:lnTo>
                  <a:lnTo>
                    <a:pt x="21" y="87"/>
                  </a:lnTo>
                  <a:lnTo>
                    <a:pt x="22" y="88"/>
                  </a:lnTo>
                  <a:lnTo>
                    <a:pt x="24" y="90"/>
                  </a:lnTo>
                  <a:lnTo>
                    <a:pt x="24" y="90"/>
                  </a:lnTo>
                  <a:lnTo>
                    <a:pt x="24" y="90"/>
                  </a:lnTo>
                  <a:lnTo>
                    <a:pt x="24" y="90"/>
                  </a:lnTo>
                  <a:close/>
                  <a:moveTo>
                    <a:pt x="132" y="128"/>
                  </a:moveTo>
                  <a:lnTo>
                    <a:pt x="132" y="128"/>
                  </a:lnTo>
                  <a:lnTo>
                    <a:pt x="132" y="127"/>
                  </a:lnTo>
                  <a:lnTo>
                    <a:pt x="132" y="128"/>
                  </a:lnTo>
                  <a:lnTo>
                    <a:pt x="132" y="128"/>
                  </a:lnTo>
                  <a:lnTo>
                    <a:pt x="132" y="128"/>
                  </a:lnTo>
                  <a:lnTo>
                    <a:pt x="132" y="128"/>
                  </a:lnTo>
                  <a:lnTo>
                    <a:pt x="132" y="128"/>
                  </a:lnTo>
                  <a:close/>
                  <a:moveTo>
                    <a:pt x="132" y="137"/>
                  </a:moveTo>
                  <a:lnTo>
                    <a:pt x="130" y="133"/>
                  </a:lnTo>
                  <a:lnTo>
                    <a:pt x="130" y="130"/>
                  </a:lnTo>
                  <a:lnTo>
                    <a:pt x="132" y="130"/>
                  </a:lnTo>
                  <a:lnTo>
                    <a:pt x="132" y="130"/>
                  </a:lnTo>
                  <a:lnTo>
                    <a:pt x="134" y="133"/>
                  </a:lnTo>
                  <a:lnTo>
                    <a:pt x="132" y="137"/>
                  </a:lnTo>
                  <a:lnTo>
                    <a:pt x="132" y="137"/>
                  </a:lnTo>
                  <a:lnTo>
                    <a:pt x="132" y="137"/>
                  </a:lnTo>
                  <a:lnTo>
                    <a:pt x="132" y="137"/>
                  </a:lnTo>
                  <a:lnTo>
                    <a:pt x="132" y="137"/>
                  </a:lnTo>
                  <a:close/>
                  <a:moveTo>
                    <a:pt x="141" y="127"/>
                  </a:moveTo>
                  <a:lnTo>
                    <a:pt x="137" y="127"/>
                  </a:lnTo>
                  <a:lnTo>
                    <a:pt x="141" y="123"/>
                  </a:lnTo>
                  <a:lnTo>
                    <a:pt x="141" y="123"/>
                  </a:lnTo>
                  <a:lnTo>
                    <a:pt x="141" y="121"/>
                  </a:lnTo>
                  <a:lnTo>
                    <a:pt x="142" y="118"/>
                  </a:lnTo>
                  <a:lnTo>
                    <a:pt x="146" y="116"/>
                  </a:lnTo>
                  <a:lnTo>
                    <a:pt x="149" y="114"/>
                  </a:lnTo>
                  <a:lnTo>
                    <a:pt x="149" y="116"/>
                  </a:lnTo>
                  <a:lnTo>
                    <a:pt x="148" y="118"/>
                  </a:lnTo>
                  <a:lnTo>
                    <a:pt x="148" y="120"/>
                  </a:lnTo>
                  <a:lnTo>
                    <a:pt x="146" y="121"/>
                  </a:lnTo>
                  <a:lnTo>
                    <a:pt x="146" y="123"/>
                  </a:lnTo>
                  <a:lnTo>
                    <a:pt x="146" y="123"/>
                  </a:lnTo>
                  <a:lnTo>
                    <a:pt x="142" y="125"/>
                  </a:lnTo>
                  <a:lnTo>
                    <a:pt x="142" y="127"/>
                  </a:lnTo>
                  <a:lnTo>
                    <a:pt x="141" y="127"/>
                  </a:lnTo>
                  <a:lnTo>
                    <a:pt x="141" y="127"/>
                  </a:lnTo>
                  <a:lnTo>
                    <a:pt x="141" y="127"/>
                  </a:lnTo>
                  <a:lnTo>
                    <a:pt x="141" y="127"/>
                  </a:lnTo>
                  <a:close/>
                  <a:moveTo>
                    <a:pt x="118" y="114"/>
                  </a:moveTo>
                  <a:lnTo>
                    <a:pt x="115" y="114"/>
                  </a:lnTo>
                  <a:lnTo>
                    <a:pt x="118" y="113"/>
                  </a:lnTo>
                  <a:lnTo>
                    <a:pt x="118" y="111"/>
                  </a:lnTo>
                  <a:lnTo>
                    <a:pt x="120" y="113"/>
                  </a:lnTo>
                  <a:lnTo>
                    <a:pt x="118" y="114"/>
                  </a:lnTo>
                  <a:lnTo>
                    <a:pt x="118" y="114"/>
                  </a:lnTo>
                  <a:lnTo>
                    <a:pt x="118" y="114"/>
                  </a:lnTo>
                  <a:lnTo>
                    <a:pt x="118" y="114"/>
                  </a:lnTo>
                  <a:lnTo>
                    <a:pt x="118" y="114"/>
                  </a:lnTo>
                  <a:lnTo>
                    <a:pt x="118" y="114"/>
                  </a:lnTo>
                  <a:close/>
                  <a:moveTo>
                    <a:pt x="118" y="90"/>
                  </a:moveTo>
                  <a:lnTo>
                    <a:pt x="120" y="88"/>
                  </a:lnTo>
                  <a:lnTo>
                    <a:pt x="121" y="88"/>
                  </a:lnTo>
                  <a:lnTo>
                    <a:pt x="123" y="90"/>
                  </a:lnTo>
                  <a:lnTo>
                    <a:pt x="123" y="90"/>
                  </a:lnTo>
                  <a:lnTo>
                    <a:pt x="125" y="90"/>
                  </a:lnTo>
                  <a:lnTo>
                    <a:pt x="125" y="92"/>
                  </a:lnTo>
                  <a:lnTo>
                    <a:pt x="123" y="92"/>
                  </a:lnTo>
                  <a:lnTo>
                    <a:pt x="123" y="94"/>
                  </a:lnTo>
                  <a:lnTo>
                    <a:pt x="121" y="94"/>
                  </a:lnTo>
                  <a:lnTo>
                    <a:pt x="120" y="92"/>
                  </a:lnTo>
                  <a:lnTo>
                    <a:pt x="118" y="92"/>
                  </a:lnTo>
                  <a:lnTo>
                    <a:pt x="115" y="92"/>
                  </a:lnTo>
                  <a:lnTo>
                    <a:pt x="118" y="90"/>
                  </a:lnTo>
                  <a:lnTo>
                    <a:pt x="118" y="90"/>
                  </a:lnTo>
                  <a:lnTo>
                    <a:pt x="118" y="90"/>
                  </a:lnTo>
                  <a:lnTo>
                    <a:pt x="118" y="90"/>
                  </a:lnTo>
                  <a:close/>
                  <a:moveTo>
                    <a:pt x="109" y="73"/>
                  </a:moveTo>
                  <a:lnTo>
                    <a:pt x="111" y="78"/>
                  </a:lnTo>
                  <a:lnTo>
                    <a:pt x="109" y="80"/>
                  </a:lnTo>
                  <a:lnTo>
                    <a:pt x="109" y="80"/>
                  </a:lnTo>
                  <a:lnTo>
                    <a:pt x="106" y="80"/>
                  </a:lnTo>
                  <a:lnTo>
                    <a:pt x="106" y="78"/>
                  </a:lnTo>
                  <a:lnTo>
                    <a:pt x="109" y="78"/>
                  </a:lnTo>
                  <a:lnTo>
                    <a:pt x="109" y="74"/>
                  </a:lnTo>
                  <a:lnTo>
                    <a:pt x="106" y="73"/>
                  </a:lnTo>
                  <a:lnTo>
                    <a:pt x="106" y="73"/>
                  </a:lnTo>
                  <a:lnTo>
                    <a:pt x="109" y="69"/>
                  </a:lnTo>
                  <a:lnTo>
                    <a:pt x="109" y="73"/>
                  </a:lnTo>
                  <a:lnTo>
                    <a:pt x="109" y="73"/>
                  </a:lnTo>
                  <a:lnTo>
                    <a:pt x="109" y="73"/>
                  </a:lnTo>
                  <a:lnTo>
                    <a:pt x="109" y="73"/>
                  </a:lnTo>
                  <a:lnTo>
                    <a:pt x="109" y="73"/>
                  </a:lnTo>
                  <a:close/>
                  <a:moveTo>
                    <a:pt x="106" y="60"/>
                  </a:moveTo>
                  <a:lnTo>
                    <a:pt x="104" y="60"/>
                  </a:lnTo>
                  <a:lnTo>
                    <a:pt x="106" y="57"/>
                  </a:lnTo>
                  <a:lnTo>
                    <a:pt x="109" y="57"/>
                  </a:lnTo>
                  <a:lnTo>
                    <a:pt x="109" y="55"/>
                  </a:lnTo>
                  <a:lnTo>
                    <a:pt x="115" y="55"/>
                  </a:lnTo>
                  <a:lnTo>
                    <a:pt x="115" y="55"/>
                  </a:lnTo>
                  <a:lnTo>
                    <a:pt x="115" y="57"/>
                  </a:lnTo>
                  <a:lnTo>
                    <a:pt x="115" y="57"/>
                  </a:lnTo>
                  <a:lnTo>
                    <a:pt x="115" y="60"/>
                  </a:lnTo>
                  <a:lnTo>
                    <a:pt x="115" y="64"/>
                  </a:lnTo>
                  <a:lnTo>
                    <a:pt x="111" y="64"/>
                  </a:lnTo>
                  <a:lnTo>
                    <a:pt x="109" y="64"/>
                  </a:lnTo>
                  <a:lnTo>
                    <a:pt x="109" y="60"/>
                  </a:lnTo>
                  <a:lnTo>
                    <a:pt x="111" y="60"/>
                  </a:lnTo>
                  <a:lnTo>
                    <a:pt x="111" y="59"/>
                  </a:lnTo>
                  <a:lnTo>
                    <a:pt x="109" y="59"/>
                  </a:lnTo>
                  <a:lnTo>
                    <a:pt x="109" y="60"/>
                  </a:lnTo>
                  <a:lnTo>
                    <a:pt x="109" y="60"/>
                  </a:lnTo>
                  <a:lnTo>
                    <a:pt x="106" y="60"/>
                  </a:lnTo>
                  <a:lnTo>
                    <a:pt x="106" y="60"/>
                  </a:lnTo>
                  <a:lnTo>
                    <a:pt x="106" y="60"/>
                  </a:lnTo>
                  <a:lnTo>
                    <a:pt x="106" y="60"/>
                  </a:lnTo>
                  <a:lnTo>
                    <a:pt x="106" y="60"/>
                  </a:lnTo>
                  <a:close/>
                  <a:moveTo>
                    <a:pt x="97" y="31"/>
                  </a:moveTo>
                  <a:lnTo>
                    <a:pt x="99" y="31"/>
                  </a:lnTo>
                  <a:lnTo>
                    <a:pt x="101" y="27"/>
                  </a:lnTo>
                  <a:lnTo>
                    <a:pt x="101" y="31"/>
                  </a:lnTo>
                  <a:lnTo>
                    <a:pt x="101" y="33"/>
                  </a:lnTo>
                  <a:lnTo>
                    <a:pt x="101" y="33"/>
                  </a:lnTo>
                  <a:lnTo>
                    <a:pt x="97" y="31"/>
                  </a:lnTo>
                  <a:lnTo>
                    <a:pt x="97" y="31"/>
                  </a:lnTo>
                  <a:lnTo>
                    <a:pt x="97" y="31"/>
                  </a:lnTo>
                  <a:lnTo>
                    <a:pt x="97" y="31"/>
                  </a:lnTo>
                  <a:close/>
                  <a:moveTo>
                    <a:pt x="90" y="40"/>
                  </a:moveTo>
                  <a:lnTo>
                    <a:pt x="92" y="40"/>
                  </a:lnTo>
                  <a:lnTo>
                    <a:pt x="94" y="40"/>
                  </a:lnTo>
                  <a:lnTo>
                    <a:pt x="95" y="38"/>
                  </a:lnTo>
                  <a:lnTo>
                    <a:pt x="97" y="40"/>
                  </a:lnTo>
                  <a:lnTo>
                    <a:pt x="95" y="41"/>
                  </a:lnTo>
                  <a:lnTo>
                    <a:pt x="95" y="45"/>
                  </a:lnTo>
                  <a:lnTo>
                    <a:pt x="92" y="45"/>
                  </a:lnTo>
                  <a:lnTo>
                    <a:pt x="92" y="45"/>
                  </a:lnTo>
                  <a:lnTo>
                    <a:pt x="90" y="43"/>
                  </a:lnTo>
                  <a:lnTo>
                    <a:pt x="88" y="40"/>
                  </a:lnTo>
                  <a:lnTo>
                    <a:pt x="90" y="40"/>
                  </a:lnTo>
                  <a:lnTo>
                    <a:pt x="90" y="40"/>
                  </a:lnTo>
                  <a:lnTo>
                    <a:pt x="90" y="40"/>
                  </a:lnTo>
                  <a:lnTo>
                    <a:pt x="90" y="40"/>
                  </a:lnTo>
                  <a:close/>
                  <a:moveTo>
                    <a:pt x="82" y="24"/>
                  </a:moveTo>
                  <a:lnTo>
                    <a:pt x="83" y="24"/>
                  </a:lnTo>
                  <a:lnTo>
                    <a:pt x="85" y="24"/>
                  </a:lnTo>
                  <a:lnTo>
                    <a:pt x="85" y="27"/>
                  </a:lnTo>
                  <a:lnTo>
                    <a:pt x="83" y="27"/>
                  </a:lnTo>
                  <a:lnTo>
                    <a:pt x="82" y="27"/>
                  </a:lnTo>
                  <a:lnTo>
                    <a:pt x="82" y="27"/>
                  </a:lnTo>
                  <a:lnTo>
                    <a:pt x="82" y="24"/>
                  </a:lnTo>
                  <a:lnTo>
                    <a:pt x="82" y="24"/>
                  </a:lnTo>
                  <a:lnTo>
                    <a:pt x="82" y="24"/>
                  </a:lnTo>
                  <a:lnTo>
                    <a:pt x="82" y="24"/>
                  </a:lnTo>
                  <a:close/>
                  <a:moveTo>
                    <a:pt x="64" y="60"/>
                  </a:moveTo>
                  <a:lnTo>
                    <a:pt x="68" y="60"/>
                  </a:lnTo>
                  <a:lnTo>
                    <a:pt x="69" y="60"/>
                  </a:lnTo>
                  <a:lnTo>
                    <a:pt x="69" y="60"/>
                  </a:lnTo>
                  <a:lnTo>
                    <a:pt x="69" y="64"/>
                  </a:lnTo>
                  <a:lnTo>
                    <a:pt x="64" y="60"/>
                  </a:lnTo>
                  <a:lnTo>
                    <a:pt x="64" y="60"/>
                  </a:lnTo>
                  <a:lnTo>
                    <a:pt x="64" y="60"/>
                  </a:lnTo>
                  <a:lnTo>
                    <a:pt x="64" y="60"/>
                  </a:lnTo>
                  <a:close/>
                  <a:moveTo>
                    <a:pt x="62" y="60"/>
                  </a:moveTo>
                  <a:lnTo>
                    <a:pt x="64" y="59"/>
                  </a:lnTo>
                  <a:lnTo>
                    <a:pt x="64" y="60"/>
                  </a:lnTo>
                  <a:lnTo>
                    <a:pt x="64" y="60"/>
                  </a:lnTo>
                  <a:lnTo>
                    <a:pt x="62" y="60"/>
                  </a:lnTo>
                  <a:lnTo>
                    <a:pt x="62" y="60"/>
                  </a:lnTo>
                  <a:lnTo>
                    <a:pt x="62" y="60"/>
                  </a:lnTo>
                  <a:lnTo>
                    <a:pt x="62" y="60"/>
                  </a:lnTo>
                  <a:close/>
                  <a:moveTo>
                    <a:pt x="82" y="64"/>
                  </a:moveTo>
                  <a:lnTo>
                    <a:pt x="83" y="64"/>
                  </a:lnTo>
                  <a:lnTo>
                    <a:pt x="85" y="64"/>
                  </a:lnTo>
                  <a:lnTo>
                    <a:pt x="87" y="64"/>
                  </a:lnTo>
                  <a:lnTo>
                    <a:pt x="87" y="69"/>
                  </a:lnTo>
                  <a:lnTo>
                    <a:pt x="85" y="69"/>
                  </a:lnTo>
                  <a:lnTo>
                    <a:pt x="85" y="66"/>
                  </a:lnTo>
                  <a:lnTo>
                    <a:pt x="83" y="66"/>
                  </a:lnTo>
                  <a:lnTo>
                    <a:pt x="82" y="64"/>
                  </a:lnTo>
                  <a:lnTo>
                    <a:pt x="82" y="64"/>
                  </a:lnTo>
                  <a:lnTo>
                    <a:pt x="82" y="64"/>
                  </a:lnTo>
                  <a:lnTo>
                    <a:pt x="82" y="64"/>
                  </a:lnTo>
                  <a:close/>
                  <a:moveTo>
                    <a:pt x="109" y="97"/>
                  </a:moveTo>
                  <a:lnTo>
                    <a:pt x="109" y="95"/>
                  </a:lnTo>
                  <a:lnTo>
                    <a:pt x="109" y="94"/>
                  </a:lnTo>
                  <a:lnTo>
                    <a:pt x="113" y="94"/>
                  </a:lnTo>
                  <a:lnTo>
                    <a:pt x="113" y="95"/>
                  </a:lnTo>
                  <a:lnTo>
                    <a:pt x="109" y="97"/>
                  </a:lnTo>
                  <a:lnTo>
                    <a:pt x="109" y="97"/>
                  </a:lnTo>
                  <a:lnTo>
                    <a:pt x="109" y="97"/>
                  </a:lnTo>
                  <a:lnTo>
                    <a:pt x="109" y="97"/>
                  </a:lnTo>
                  <a:close/>
                  <a:moveTo>
                    <a:pt x="82" y="114"/>
                  </a:moveTo>
                  <a:lnTo>
                    <a:pt x="83" y="111"/>
                  </a:lnTo>
                  <a:lnTo>
                    <a:pt x="85" y="111"/>
                  </a:lnTo>
                  <a:lnTo>
                    <a:pt x="85" y="113"/>
                  </a:lnTo>
                  <a:lnTo>
                    <a:pt x="83" y="114"/>
                  </a:lnTo>
                  <a:lnTo>
                    <a:pt x="82" y="114"/>
                  </a:lnTo>
                  <a:lnTo>
                    <a:pt x="82" y="114"/>
                  </a:lnTo>
                  <a:lnTo>
                    <a:pt x="82" y="114"/>
                  </a:lnTo>
                  <a:lnTo>
                    <a:pt x="82" y="114"/>
                  </a:lnTo>
                  <a:close/>
                  <a:moveTo>
                    <a:pt x="83" y="102"/>
                  </a:moveTo>
                  <a:lnTo>
                    <a:pt x="85" y="102"/>
                  </a:lnTo>
                  <a:lnTo>
                    <a:pt x="85" y="106"/>
                  </a:lnTo>
                  <a:lnTo>
                    <a:pt x="83" y="102"/>
                  </a:lnTo>
                  <a:lnTo>
                    <a:pt x="83" y="102"/>
                  </a:lnTo>
                  <a:lnTo>
                    <a:pt x="83" y="102"/>
                  </a:lnTo>
                  <a:lnTo>
                    <a:pt x="83" y="102"/>
                  </a:lnTo>
                  <a:close/>
                  <a:moveTo>
                    <a:pt x="82" y="100"/>
                  </a:moveTo>
                  <a:lnTo>
                    <a:pt x="82" y="97"/>
                  </a:lnTo>
                  <a:lnTo>
                    <a:pt x="83" y="97"/>
                  </a:lnTo>
                  <a:lnTo>
                    <a:pt x="83" y="100"/>
                  </a:lnTo>
                  <a:lnTo>
                    <a:pt x="83" y="100"/>
                  </a:lnTo>
                  <a:lnTo>
                    <a:pt x="82" y="100"/>
                  </a:lnTo>
                  <a:lnTo>
                    <a:pt x="82" y="100"/>
                  </a:lnTo>
                  <a:lnTo>
                    <a:pt x="82" y="100"/>
                  </a:lnTo>
                  <a:lnTo>
                    <a:pt x="82" y="100"/>
                  </a:lnTo>
                  <a:close/>
                  <a:moveTo>
                    <a:pt x="82" y="97"/>
                  </a:moveTo>
                  <a:lnTo>
                    <a:pt x="82" y="95"/>
                  </a:lnTo>
                  <a:lnTo>
                    <a:pt x="82" y="94"/>
                  </a:lnTo>
                  <a:lnTo>
                    <a:pt x="82" y="95"/>
                  </a:lnTo>
                  <a:lnTo>
                    <a:pt x="82" y="97"/>
                  </a:lnTo>
                  <a:lnTo>
                    <a:pt x="82" y="97"/>
                  </a:lnTo>
                  <a:lnTo>
                    <a:pt x="82" y="97"/>
                  </a:lnTo>
                  <a:lnTo>
                    <a:pt x="82" y="97"/>
                  </a:lnTo>
                  <a:close/>
                  <a:moveTo>
                    <a:pt x="97" y="106"/>
                  </a:moveTo>
                  <a:lnTo>
                    <a:pt x="95" y="106"/>
                  </a:lnTo>
                  <a:lnTo>
                    <a:pt x="95" y="102"/>
                  </a:lnTo>
                  <a:lnTo>
                    <a:pt x="97" y="102"/>
                  </a:lnTo>
                  <a:lnTo>
                    <a:pt x="99" y="106"/>
                  </a:lnTo>
                  <a:lnTo>
                    <a:pt x="97" y="106"/>
                  </a:lnTo>
                  <a:lnTo>
                    <a:pt x="97" y="106"/>
                  </a:lnTo>
                  <a:lnTo>
                    <a:pt x="97" y="106"/>
                  </a:lnTo>
                  <a:lnTo>
                    <a:pt x="97" y="106"/>
                  </a:lnTo>
                  <a:close/>
                  <a:moveTo>
                    <a:pt x="101" y="106"/>
                  </a:moveTo>
                  <a:lnTo>
                    <a:pt x="101" y="102"/>
                  </a:lnTo>
                  <a:lnTo>
                    <a:pt x="101" y="102"/>
                  </a:lnTo>
                  <a:lnTo>
                    <a:pt x="104" y="102"/>
                  </a:lnTo>
                  <a:lnTo>
                    <a:pt x="104" y="102"/>
                  </a:lnTo>
                  <a:lnTo>
                    <a:pt x="101" y="106"/>
                  </a:lnTo>
                  <a:lnTo>
                    <a:pt x="101" y="106"/>
                  </a:lnTo>
                  <a:lnTo>
                    <a:pt x="101" y="106"/>
                  </a:lnTo>
                  <a:lnTo>
                    <a:pt x="101" y="106"/>
                  </a:lnTo>
                  <a:lnTo>
                    <a:pt x="101" y="106"/>
                  </a:lnTo>
                  <a:close/>
                  <a:moveTo>
                    <a:pt x="101" y="97"/>
                  </a:moveTo>
                  <a:lnTo>
                    <a:pt x="101" y="97"/>
                  </a:lnTo>
                  <a:lnTo>
                    <a:pt x="101" y="97"/>
                  </a:lnTo>
                  <a:lnTo>
                    <a:pt x="101" y="97"/>
                  </a:lnTo>
                  <a:lnTo>
                    <a:pt x="101" y="97"/>
                  </a:lnTo>
                  <a:lnTo>
                    <a:pt x="101" y="97"/>
                  </a:lnTo>
                  <a:lnTo>
                    <a:pt x="101" y="97"/>
                  </a:lnTo>
                  <a:close/>
                  <a:moveTo>
                    <a:pt x="95" y="94"/>
                  </a:moveTo>
                  <a:lnTo>
                    <a:pt x="97" y="94"/>
                  </a:lnTo>
                  <a:lnTo>
                    <a:pt x="99" y="95"/>
                  </a:lnTo>
                  <a:lnTo>
                    <a:pt x="99" y="97"/>
                  </a:lnTo>
                  <a:lnTo>
                    <a:pt x="97" y="95"/>
                  </a:lnTo>
                  <a:lnTo>
                    <a:pt x="95" y="94"/>
                  </a:lnTo>
                  <a:lnTo>
                    <a:pt x="95" y="94"/>
                  </a:lnTo>
                  <a:lnTo>
                    <a:pt x="95" y="94"/>
                  </a:lnTo>
                  <a:lnTo>
                    <a:pt x="95" y="94"/>
                  </a:lnTo>
                  <a:close/>
                  <a:moveTo>
                    <a:pt x="87" y="87"/>
                  </a:moveTo>
                  <a:lnTo>
                    <a:pt x="88" y="87"/>
                  </a:lnTo>
                  <a:lnTo>
                    <a:pt x="90" y="88"/>
                  </a:lnTo>
                  <a:lnTo>
                    <a:pt x="94" y="92"/>
                  </a:lnTo>
                  <a:lnTo>
                    <a:pt x="94" y="94"/>
                  </a:lnTo>
                  <a:lnTo>
                    <a:pt x="92" y="94"/>
                  </a:lnTo>
                  <a:lnTo>
                    <a:pt x="88" y="90"/>
                  </a:lnTo>
                  <a:lnTo>
                    <a:pt x="87" y="88"/>
                  </a:lnTo>
                  <a:lnTo>
                    <a:pt x="87" y="87"/>
                  </a:lnTo>
                  <a:lnTo>
                    <a:pt x="87" y="87"/>
                  </a:lnTo>
                  <a:lnTo>
                    <a:pt x="87" y="87"/>
                  </a:lnTo>
                  <a:lnTo>
                    <a:pt x="87" y="87"/>
                  </a:lnTo>
                  <a:close/>
                  <a:moveTo>
                    <a:pt x="55" y="66"/>
                  </a:moveTo>
                  <a:lnTo>
                    <a:pt x="57" y="64"/>
                  </a:lnTo>
                  <a:lnTo>
                    <a:pt x="62" y="64"/>
                  </a:lnTo>
                  <a:lnTo>
                    <a:pt x="64" y="66"/>
                  </a:lnTo>
                  <a:lnTo>
                    <a:pt x="68" y="66"/>
                  </a:lnTo>
                  <a:lnTo>
                    <a:pt x="71" y="69"/>
                  </a:lnTo>
                  <a:lnTo>
                    <a:pt x="71" y="69"/>
                  </a:lnTo>
                  <a:lnTo>
                    <a:pt x="73" y="69"/>
                  </a:lnTo>
                  <a:lnTo>
                    <a:pt x="73" y="69"/>
                  </a:lnTo>
                  <a:lnTo>
                    <a:pt x="76" y="73"/>
                  </a:lnTo>
                  <a:lnTo>
                    <a:pt x="78" y="74"/>
                  </a:lnTo>
                  <a:lnTo>
                    <a:pt x="78" y="78"/>
                  </a:lnTo>
                  <a:lnTo>
                    <a:pt x="78" y="78"/>
                  </a:lnTo>
                  <a:lnTo>
                    <a:pt x="78" y="81"/>
                  </a:lnTo>
                  <a:lnTo>
                    <a:pt x="82" y="83"/>
                  </a:lnTo>
                  <a:lnTo>
                    <a:pt x="82" y="83"/>
                  </a:lnTo>
                  <a:lnTo>
                    <a:pt x="85" y="83"/>
                  </a:lnTo>
                  <a:lnTo>
                    <a:pt x="83" y="87"/>
                  </a:lnTo>
                  <a:lnTo>
                    <a:pt x="82" y="87"/>
                  </a:lnTo>
                  <a:lnTo>
                    <a:pt x="82" y="87"/>
                  </a:lnTo>
                  <a:lnTo>
                    <a:pt x="78" y="85"/>
                  </a:lnTo>
                  <a:lnTo>
                    <a:pt x="76" y="83"/>
                  </a:lnTo>
                  <a:lnTo>
                    <a:pt x="78" y="81"/>
                  </a:lnTo>
                  <a:lnTo>
                    <a:pt x="76" y="80"/>
                  </a:lnTo>
                  <a:lnTo>
                    <a:pt x="73" y="78"/>
                  </a:lnTo>
                  <a:lnTo>
                    <a:pt x="73" y="74"/>
                  </a:lnTo>
                  <a:lnTo>
                    <a:pt x="73" y="74"/>
                  </a:lnTo>
                  <a:lnTo>
                    <a:pt x="69" y="73"/>
                  </a:lnTo>
                  <a:lnTo>
                    <a:pt x="68" y="73"/>
                  </a:lnTo>
                  <a:lnTo>
                    <a:pt x="64" y="73"/>
                  </a:lnTo>
                  <a:lnTo>
                    <a:pt x="64" y="69"/>
                  </a:lnTo>
                  <a:lnTo>
                    <a:pt x="62" y="69"/>
                  </a:lnTo>
                  <a:lnTo>
                    <a:pt x="61" y="69"/>
                  </a:lnTo>
                  <a:lnTo>
                    <a:pt x="59" y="66"/>
                  </a:lnTo>
                  <a:lnTo>
                    <a:pt x="57" y="66"/>
                  </a:lnTo>
                  <a:lnTo>
                    <a:pt x="55" y="66"/>
                  </a:lnTo>
                  <a:lnTo>
                    <a:pt x="55" y="66"/>
                  </a:lnTo>
                  <a:lnTo>
                    <a:pt x="55" y="66"/>
                  </a:lnTo>
                  <a:lnTo>
                    <a:pt x="55" y="66"/>
                  </a:lnTo>
                  <a:close/>
                  <a:moveTo>
                    <a:pt x="61" y="118"/>
                  </a:moveTo>
                  <a:lnTo>
                    <a:pt x="61" y="116"/>
                  </a:lnTo>
                  <a:lnTo>
                    <a:pt x="61" y="120"/>
                  </a:lnTo>
                  <a:lnTo>
                    <a:pt x="62" y="121"/>
                  </a:lnTo>
                  <a:lnTo>
                    <a:pt x="62" y="123"/>
                  </a:lnTo>
                  <a:lnTo>
                    <a:pt x="61" y="123"/>
                  </a:lnTo>
                  <a:lnTo>
                    <a:pt x="61" y="121"/>
                  </a:lnTo>
                  <a:lnTo>
                    <a:pt x="59" y="120"/>
                  </a:lnTo>
                  <a:lnTo>
                    <a:pt x="61" y="118"/>
                  </a:lnTo>
                  <a:lnTo>
                    <a:pt x="61" y="118"/>
                  </a:lnTo>
                  <a:lnTo>
                    <a:pt x="61" y="118"/>
                  </a:lnTo>
                  <a:lnTo>
                    <a:pt x="61" y="118"/>
                  </a:lnTo>
                  <a:close/>
                  <a:moveTo>
                    <a:pt x="61" y="114"/>
                  </a:moveTo>
                  <a:lnTo>
                    <a:pt x="61" y="114"/>
                  </a:lnTo>
                  <a:lnTo>
                    <a:pt x="59" y="114"/>
                  </a:lnTo>
                  <a:lnTo>
                    <a:pt x="61" y="114"/>
                  </a:lnTo>
                  <a:lnTo>
                    <a:pt x="61" y="114"/>
                  </a:lnTo>
                  <a:lnTo>
                    <a:pt x="61" y="1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0" name="Freeform 96">
              <a:extLst>
                <a:ext uri="{FF2B5EF4-FFF2-40B4-BE49-F238E27FC236}">
                  <a16:creationId xmlns:a16="http://schemas.microsoft.com/office/drawing/2014/main" id="{3C02845F-2FD1-43D2-8AE4-1550813DD42B}"/>
                </a:ext>
              </a:extLst>
            </p:cNvPr>
            <p:cNvSpPr>
              <a:spLocks noEditPoints="1"/>
            </p:cNvSpPr>
            <p:nvPr/>
          </p:nvSpPr>
          <p:spPr bwMode="auto">
            <a:xfrm>
              <a:off x="5853113" y="3516313"/>
              <a:ext cx="201613" cy="284163"/>
            </a:xfrm>
            <a:custGeom>
              <a:avLst/>
              <a:gdLst/>
              <a:ahLst/>
              <a:cxnLst>
                <a:cxn ang="0">
                  <a:pos x="50" y="116"/>
                </a:cxn>
                <a:cxn ang="0">
                  <a:pos x="50" y="66"/>
                </a:cxn>
                <a:cxn ang="0">
                  <a:pos x="68" y="21"/>
                </a:cxn>
                <a:cxn ang="0">
                  <a:pos x="73" y="38"/>
                </a:cxn>
                <a:cxn ang="0">
                  <a:pos x="83" y="48"/>
                </a:cxn>
                <a:cxn ang="0">
                  <a:pos x="90" y="48"/>
                </a:cxn>
                <a:cxn ang="0">
                  <a:pos x="99" y="50"/>
                </a:cxn>
                <a:cxn ang="0">
                  <a:pos x="108" y="50"/>
                </a:cxn>
                <a:cxn ang="0">
                  <a:pos x="113" y="61"/>
                </a:cxn>
                <a:cxn ang="0">
                  <a:pos x="118" y="66"/>
                </a:cxn>
                <a:cxn ang="0">
                  <a:pos x="127" y="71"/>
                </a:cxn>
                <a:cxn ang="0">
                  <a:pos x="127" y="76"/>
                </a:cxn>
                <a:cxn ang="0">
                  <a:pos x="127" y="83"/>
                </a:cxn>
                <a:cxn ang="0">
                  <a:pos x="118" y="94"/>
                </a:cxn>
                <a:cxn ang="0">
                  <a:pos x="113" y="102"/>
                </a:cxn>
                <a:cxn ang="0">
                  <a:pos x="110" y="111"/>
                </a:cxn>
                <a:cxn ang="0">
                  <a:pos x="108" y="109"/>
                </a:cxn>
                <a:cxn ang="0">
                  <a:pos x="108" y="106"/>
                </a:cxn>
                <a:cxn ang="0">
                  <a:pos x="103" y="107"/>
                </a:cxn>
                <a:cxn ang="0">
                  <a:pos x="101" y="111"/>
                </a:cxn>
                <a:cxn ang="0">
                  <a:pos x="99" y="113"/>
                </a:cxn>
                <a:cxn ang="0">
                  <a:pos x="96" y="121"/>
                </a:cxn>
                <a:cxn ang="0">
                  <a:pos x="96" y="125"/>
                </a:cxn>
                <a:cxn ang="0">
                  <a:pos x="96" y="128"/>
                </a:cxn>
                <a:cxn ang="0">
                  <a:pos x="101" y="135"/>
                </a:cxn>
                <a:cxn ang="0">
                  <a:pos x="92" y="139"/>
                </a:cxn>
                <a:cxn ang="0">
                  <a:pos x="87" y="139"/>
                </a:cxn>
                <a:cxn ang="0">
                  <a:pos x="77" y="147"/>
                </a:cxn>
                <a:cxn ang="0">
                  <a:pos x="77" y="153"/>
                </a:cxn>
                <a:cxn ang="0">
                  <a:pos x="71" y="156"/>
                </a:cxn>
                <a:cxn ang="0">
                  <a:pos x="61" y="156"/>
                </a:cxn>
                <a:cxn ang="0">
                  <a:pos x="56" y="160"/>
                </a:cxn>
                <a:cxn ang="0">
                  <a:pos x="57" y="165"/>
                </a:cxn>
                <a:cxn ang="0">
                  <a:pos x="57" y="168"/>
                </a:cxn>
                <a:cxn ang="0">
                  <a:pos x="57" y="168"/>
                </a:cxn>
                <a:cxn ang="0">
                  <a:pos x="50" y="175"/>
                </a:cxn>
                <a:cxn ang="0">
                  <a:pos x="45" y="172"/>
                </a:cxn>
                <a:cxn ang="0">
                  <a:pos x="37" y="175"/>
                </a:cxn>
                <a:cxn ang="0">
                  <a:pos x="31" y="179"/>
                </a:cxn>
                <a:cxn ang="0">
                  <a:pos x="26" y="179"/>
                </a:cxn>
                <a:cxn ang="0">
                  <a:pos x="14" y="168"/>
                </a:cxn>
                <a:cxn ang="0">
                  <a:pos x="0" y="141"/>
                </a:cxn>
                <a:cxn ang="0">
                  <a:pos x="4" y="132"/>
                </a:cxn>
                <a:cxn ang="0">
                  <a:pos x="4" y="132"/>
                </a:cxn>
                <a:cxn ang="0">
                  <a:pos x="64" y="10"/>
                </a:cxn>
                <a:cxn ang="0">
                  <a:pos x="66" y="3"/>
                </a:cxn>
                <a:cxn ang="0">
                  <a:pos x="66" y="1"/>
                </a:cxn>
                <a:cxn ang="0">
                  <a:pos x="66" y="0"/>
                </a:cxn>
                <a:cxn ang="0">
                  <a:pos x="64" y="0"/>
                </a:cxn>
                <a:cxn ang="0">
                  <a:pos x="63" y="0"/>
                </a:cxn>
                <a:cxn ang="0">
                  <a:pos x="61" y="3"/>
                </a:cxn>
                <a:cxn ang="0">
                  <a:pos x="59" y="7"/>
                </a:cxn>
                <a:cxn ang="0">
                  <a:pos x="61" y="7"/>
                </a:cxn>
                <a:cxn ang="0">
                  <a:pos x="64" y="15"/>
                </a:cxn>
                <a:cxn ang="0">
                  <a:pos x="64" y="15"/>
                </a:cxn>
              </a:cxnLst>
              <a:rect l="0" t="0" r="r" b="b"/>
              <a:pathLst>
                <a:path w="127" h="179">
                  <a:moveTo>
                    <a:pt x="4" y="132"/>
                  </a:moveTo>
                  <a:lnTo>
                    <a:pt x="50" y="116"/>
                  </a:lnTo>
                  <a:lnTo>
                    <a:pt x="54" y="81"/>
                  </a:lnTo>
                  <a:lnTo>
                    <a:pt x="50" y="66"/>
                  </a:lnTo>
                  <a:lnTo>
                    <a:pt x="64" y="22"/>
                  </a:lnTo>
                  <a:lnTo>
                    <a:pt x="68" y="21"/>
                  </a:lnTo>
                  <a:lnTo>
                    <a:pt x="68" y="33"/>
                  </a:lnTo>
                  <a:lnTo>
                    <a:pt x="73" y="38"/>
                  </a:lnTo>
                  <a:lnTo>
                    <a:pt x="73" y="40"/>
                  </a:lnTo>
                  <a:lnTo>
                    <a:pt x="83" y="48"/>
                  </a:lnTo>
                  <a:lnTo>
                    <a:pt x="87" y="50"/>
                  </a:lnTo>
                  <a:lnTo>
                    <a:pt x="90" y="48"/>
                  </a:lnTo>
                  <a:lnTo>
                    <a:pt x="94" y="48"/>
                  </a:lnTo>
                  <a:lnTo>
                    <a:pt x="99" y="50"/>
                  </a:lnTo>
                  <a:lnTo>
                    <a:pt x="104" y="48"/>
                  </a:lnTo>
                  <a:lnTo>
                    <a:pt x="108" y="50"/>
                  </a:lnTo>
                  <a:lnTo>
                    <a:pt x="111" y="55"/>
                  </a:lnTo>
                  <a:lnTo>
                    <a:pt x="113" y="61"/>
                  </a:lnTo>
                  <a:lnTo>
                    <a:pt x="116" y="62"/>
                  </a:lnTo>
                  <a:lnTo>
                    <a:pt x="118" y="66"/>
                  </a:lnTo>
                  <a:lnTo>
                    <a:pt x="123" y="71"/>
                  </a:lnTo>
                  <a:lnTo>
                    <a:pt x="127" y="71"/>
                  </a:lnTo>
                  <a:lnTo>
                    <a:pt x="127" y="73"/>
                  </a:lnTo>
                  <a:lnTo>
                    <a:pt x="127" y="76"/>
                  </a:lnTo>
                  <a:lnTo>
                    <a:pt x="127" y="80"/>
                  </a:lnTo>
                  <a:lnTo>
                    <a:pt x="127" y="83"/>
                  </a:lnTo>
                  <a:lnTo>
                    <a:pt x="127" y="85"/>
                  </a:lnTo>
                  <a:lnTo>
                    <a:pt x="118" y="94"/>
                  </a:lnTo>
                  <a:lnTo>
                    <a:pt x="115" y="99"/>
                  </a:lnTo>
                  <a:lnTo>
                    <a:pt x="113" y="102"/>
                  </a:lnTo>
                  <a:lnTo>
                    <a:pt x="111" y="104"/>
                  </a:lnTo>
                  <a:lnTo>
                    <a:pt x="110" y="111"/>
                  </a:lnTo>
                  <a:lnTo>
                    <a:pt x="108" y="111"/>
                  </a:lnTo>
                  <a:lnTo>
                    <a:pt x="108" y="109"/>
                  </a:lnTo>
                  <a:lnTo>
                    <a:pt x="108" y="107"/>
                  </a:lnTo>
                  <a:lnTo>
                    <a:pt x="108" y="106"/>
                  </a:lnTo>
                  <a:lnTo>
                    <a:pt x="104" y="106"/>
                  </a:lnTo>
                  <a:lnTo>
                    <a:pt x="103" y="107"/>
                  </a:lnTo>
                  <a:lnTo>
                    <a:pt x="101" y="111"/>
                  </a:lnTo>
                  <a:lnTo>
                    <a:pt x="101" y="111"/>
                  </a:lnTo>
                  <a:lnTo>
                    <a:pt x="101" y="113"/>
                  </a:lnTo>
                  <a:lnTo>
                    <a:pt x="99" y="113"/>
                  </a:lnTo>
                  <a:lnTo>
                    <a:pt x="96" y="120"/>
                  </a:lnTo>
                  <a:lnTo>
                    <a:pt x="96" y="121"/>
                  </a:lnTo>
                  <a:lnTo>
                    <a:pt x="96" y="125"/>
                  </a:lnTo>
                  <a:lnTo>
                    <a:pt x="96" y="125"/>
                  </a:lnTo>
                  <a:lnTo>
                    <a:pt x="99" y="128"/>
                  </a:lnTo>
                  <a:lnTo>
                    <a:pt x="96" y="128"/>
                  </a:lnTo>
                  <a:lnTo>
                    <a:pt x="99" y="134"/>
                  </a:lnTo>
                  <a:lnTo>
                    <a:pt x="101" y="135"/>
                  </a:lnTo>
                  <a:lnTo>
                    <a:pt x="99" y="137"/>
                  </a:lnTo>
                  <a:lnTo>
                    <a:pt x="92" y="139"/>
                  </a:lnTo>
                  <a:lnTo>
                    <a:pt x="90" y="139"/>
                  </a:lnTo>
                  <a:lnTo>
                    <a:pt x="87" y="139"/>
                  </a:lnTo>
                  <a:lnTo>
                    <a:pt x="83" y="139"/>
                  </a:lnTo>
                  <a:lnTo>
                    <a:pt x="77" y="147"/>
                  </a:lnTo>
                  <a:lnTo>
                    <a:pt x="77" y="153"/>
                  </a:lnTo>
                  <a:lnTo>
                    <a:pt x="77" y="153"/>
                  </a:lnTo>
                  <a:lnTo>
                    <a:pt x="73" y="156"/>
                  </a:lnTo>
                  <a:lnTo>
                    <a:pt x="71" y="156"/>
                  </a:lnTo>
                  <a:lnTo>
                    <a:pt x="66" y="156"/>
                  </a:lnTo>
                  <a:lnTo>
                    <a:pt x="61" y="156"/>
                  </a:lnTo>
                  <a:lnTo>
                    <a:pt x="59" y="158"/>
                  </a:lnTo>
                  <a:lnTo>
                    <a:pt x="56" y="160"/>
                  </a:lnTo>
                  <a:lnTo>
                    <a:pt x="57" y="161"/>
                  </a:lnTo>
                  <a:lnTo>
                    <a:pt x="57" y="165"/>
                  </a:lnTo>
                  <a:lnTo>
                    <a:pt x="59" y="165"/>
                  </a:lnTo>
                  <a:lnTo>
                    <a:pt x="57" y="168"/>
                  </a:lnTo>
                  <a:lnTo>
                    <a:pt x="57" y="168"/>
                  </a:lnTo>
                  <a:lnTo>
                    <a:pt x="57" y="168"/>
                  </a:lnTo>
                  <a:lnTo>
                    <a:pt x="54" y="175"/>
                  </a:lnTo>
                  <a:lnTo>
                    <a:pt x="50" y="175"/>
                  </a:lnTo>
                  <a:lnTo>
                    <a:pt x="50" y="172"/>
                  </a:lnTo>
                  <a:lnTo>
                    <a:pt x="45" y="172"/>
                  </a:lnTo>
                  <a:lnTo>
                    <a:pt x="43" y="172"/>
                  </a:lnTo>
                  <a:lnTo>
                    <a:pt x="37" y="175"/>
                  </a:lnTo>
                  <a:lnTo>
                    <a:pt x="33" y="175"/>
                  </a:lnTo>
                  <a:lnTo>
                    <a:pt x="31" y="179"/>
                  </a:lnTo>
                  <a:lnTo>
                    <a:pt x="26" y="179"/>
                  </a:lnTo>
                  <a:lnTo>
                    <a:pt x="26" y="179"/>
                  </a:lnTo>
                  <a:lnTo>
                    <a:pt x="23" y="179"/>
                  </a:lnTo>
                  <a:lnTo>
                    <a:pt x="14" y="168"/>
                  </a:lnTo>
                  <a:lnTo>
                    <a:pt x="17" y="161"/>
                  </a:lnTo>
                  <a:lnTo>
                    <a:pt x="0" y="141"/>
                  </a:lnTo>
                  <a:lnTo>
                    <a:pt x="4" y="132"/>
                  </a:lnTo>
                  <a:lnTo>
                    <a:pt x="4" y="132"/>
                  </a:lnTo>
                  <a:lnTo>
                    <a:pt x="4" y="132"/>
                  </a:lnTo>
                  <a:lnTo>
                    <a:pt x="4" y="132"/>
                  </a:lnTo>
                  <a:close/>
                  <a:moveTo>
                    <a:pt x="64" y="15"/>
                  </a:moveTo>
                  <a:lnTo>
                    <a:pt x="64" y="10"/>
                  </a:lnTo>
                  <a:lnTo>
                    <a:pt x="64" y="10"/>
                  </a:lnTo>
                  <a:lnTo>
                    <a:pt x="66" y="3"/>
                  </a:lnTo>
                  <a:lnTo>
                    <a:pt x="64" y="3"/>
                  </a:lnTo>
                  <a:lnTo>
                    <a:pt x="66" y="1"/>
                  </a:lnTo>
                  <a:lnTo>
                    <a:pt x="64" y="1"/>
                  </a:lnTo>
                  <a:lnTo>
                    <a:pt x="66" y="0"/>
                  </a:lnTo>
                  <a:lnTo>
                    <a:pt x="66" y="1"/>
                  </a:lnTo>
                  <a:lnTo>
                    <a:pt x="64" y="0"/>
                  </a:lnTo>
                  <a:lnTo>
                    <a:pt x="64" y="0"/>
                  </a:lnTo>
                  <a:lnTo>
                    <a:pt x="63" y="0"/>
                  </a:lnTo>
                  <a:lnTo>
                    <a:pt x="61" y="3"/>
                  </a:lnTo>
                  <a:lnTo>
                    <a:pt x="61" y="3"/>
                  </a:lnTo>
                  <a:lnTo>
                    <a:pt x="59" y="3"/>
                  </a:lnTo>
                  <a:lnTo>
                    <a:pt x="59" y="7"/>
                  </a:lnTo>
                  <a:lnTo>
                    <a:pt x="59" y="7"/>
                  </a:lnTo>
                  <a:lnTo>
                    <a:pt x="61" y="7"/>
                  </a:lnTo>
                  <a:lnTo>
                    <a:pt x="63" y="15"/>
                  </a:lnTo>
                  <a:lnTo>
                    <a:pt x="64" y="15"/>
                  </a:lnTo>
                  <a:lnTo>
                    <a:pt x="64" y="15"/>
                  </a:lnTo>
                  <a:lnTo>
                    <a:pt x="64"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1" name="Freeform 97">
              <a:extLst>
                <a:ext uri="{FF2B5EF4-FFF2-40B4-BE49-F238E27FC236}">
                  <a16:creationId xmlns:a16="http://schemas.microsoft.com/office/drawing/2014/main" id="{82F4C6F6-3C35-4B9E-A317-0EB0213291AB}"/>
                </a:ext>
              </a:extLst>
            </p:cNvPr>
            <p:cNvSpPr>
              <a:spLocks noEditPoints="1"/>
            </p:cNvSpPr>
            <p:nvPr/>
          </p:nvSpPr>
          <p:spPr bwMode="auto">
            <a:xfrm>
              <a:off x="5607050" y="3722688"/>
              <a:ext cx="323850" cy="209550"/>
            </a:xfrm>
            <a:custGeom>
              <a:avLst/>
              <a:gdLst/>
              <a:ahLst/>
              <a:cxnLst>
                <a:cxn ang="0">
                  <a:pos x="6" y="51"/>
                </a:cxn>
                <a:cxn ang="0">
                  <a:pos x="11" y="49"/>
                </a:cxn>
                <a:cxn ang="0">
                  <a:pos x="13" y="42"/>
                </a:cxn>
                <a:cxn ang="0">
                  <a:pos x="18" y="30"/>
                </a:cxn>
                <a:cxn ang="0">
                  <a:pos x="33" y="35"/>
                </a:cxn>
                <a:cxn ang="0">
                  <a:pos x="63" y="47"/>
                </a:cxn>
                <a:cxn ang="0">
                  <a:pos x="92" y="21"/>
                </a:cxn>
                <a:cxn ang="0">
                  <a:pos x="155" y="9"/>
                </a:cxn>
                <a:cxn ang="0">
                  <a:pos x="169" y="37"/>
                </a:cxn>
                <a:cxn ang="0">
                  <a:pos x="176" y="51"/>
                </a:cxn>
                <a:cxn ang="0">
                  <a:pos x="164" y="59"/>
                </a:cxn>
                <a:cxn ang="0">
                  <a:pos x="164" y="66"/>
                </a:cxn>
                <a:cxn ang="0">
                  <a:pos x="164" y="68"/>
                </a:cxn>
                <a:cxn ang="0">
                  <a:pos x="153" y="73"/>
                </a:cxn>
                <a:cxn ang="0">
                  <a:pos x="138" y="78"/>
                </a:cxn>
                <a:cxn ang="0">
                  <a:pos x="115" y="85"/>
                </a:cxn>
                <a:cxn ang="0">
                  <a:pos x="112" y="87"/>
                </a:cxn>
                <a:cxn ang="0">
                  <a:pos x="103" y="97"/>
                </a:cxn>
                <a:cxn ang="0">
                  <a:pos x="101" y="96"/>
                </a:cxn>
                <a:cxn ang="0">
                  <a:pos x="96" y="99"/>
                </a:cxn>
                <a:cxn ang="0">
                  <a:pos x="92" y="96"/>
                </a:cxn>
                <a:cxn ang="0">
                  <a:pos x="86" y="104"/>
                </a:cxn>
                <a:cxn ang="0">
                  <a:pos x="75" y="106"/>
                </a:cxn>
                <a:cxn ang="0">
                  <a:pos x="65" y="110"/>
                </a:cxn>
                <a:cxn ang="0">
                  <a:pos x="59" y="106"/>
                </a:cxn>
                <a:cxn ang="0">
                  <a:pos x="56" y="106"/>
                </a:cxn>
                <a:cxn ang="0">
                  <a:pos x="51" y="110"/>
                </a:cxn>
                <a:cxn ang="0">
                  <a:pos x="46" y="115"/>
                </a:cxn>
                <a:cxn ang="0">
                  <a:pos x="39" y="120"/>
                </a:cxn>
                <a:cxn ang="0">
                  <a:pos x="33" y="118"/>
                </a:cxn>
                <a:cxn ang="0">
                  <a:pos x="28" y="124"/>
                </a:cxn>
                <a:cxn ang="0">
                  <a:pos x="23" y="124"/>
                </a:cxn>
                <a:cxn ang="0">
                  <a:pos x="18" y="118"/>
                </a:cxn>
                <a:cxn ang="0">
                  <a:pos x="13" y="111"/>
                </a:cxn>
                <a:cxn ang="0">
                  <a:pos x="13" y="106"/>
                </a:cxn>
                <a:cxn ang="0">
                  <a:pos x="7" y="96"/>
                </a:cxn>
                <a:cxn ang="0">
                  <a:pos x="4" y="73"/>
                </a:cxn>
                <a:cxn ang="0">
                  <a:pos x="0" y="73"/>
                </a:cxn>
                <a:cxn ang="0">
                  <a:pos x="2" y="70"/>
                </a:cxn>
                <a:cxn ang="0">
                  <a:pos x="6" y="70"/>
                </a:cxn>
                <a:cxn ang="0">
                  <a:pos x="4" y="54"/>
                </a:cxn>
                <a:cxn ang="0">
                  <a:pos x="2" y="51"/>
                </a:cxn>
                <a:cxn ang="0">
                  <a:pos x="2" y="51"/>
                </a:cxn>
                <a:cxn ang="0">
                  <a:pos x="167" y="131"/>
                </a:cxn>
                <a:cxn ang="0">
                  <a:pos x="167" y="132"/>
                </a:cxn>
                <a:cxn ang="0">
                  <a:pos x="164" y="131"/>
                </a:cxn>
                <a:cxn ang="0">
                  <a:pos x="164" y="131"/>
                </a:cxn>
                <a:cxn ang="0">
                  <a:pos x="186" y="124"/>
                </a:cxn>
                <a:cxn ang="0">
                  <a:pos x="188" y="120"/>
                </a:cxn>
                <a:cxn ang="0">
                  <a:pos x="192" y="124"/>
                </a:cxn>
                <a:cxn ang="0">
                  <a:pos x="197" y="124"/>
                </a:cxn>
                <a:cxn ang="0">
                  <a:pos x="200" y="124"/>
                </a:cxn>
                <a:cxn ang="0">
                  <a:pos x="204" y="124"/>
                </a:cxn>
                <a:cxn ang="0">
                  <a:pos x="200" y="125"/>
                </a:cxn>
                <a:cxn ang="0">
                  <a:pos x="192" y="129"/>
                </a:cxn>
                <a:cxn ang="0">
                  <a:pos x="186" y="127"/>
                </a:cxn>
                <a:cxn ang="0">
                  <a:pos x="183" y="125"/>
                </a:cxn>
              </a:cxnLst>
              <a:rect l="0" t="0" r="r" b="b"/>
              <a:pathLst>
                <a:path w="204" h="132">
                  <a:moveTo>
                    <a:pt x="2" y="51"/>
                  </a:moveTo>
                  <a:lnTo>
                    <a:pt x="6" y="51"/>
                  </a:lnTo>
                  <a:lnTo>
                    <a:pt x="7" y="54"/>
                  </a:lnTo>
                  <a:lnTo>
                    <a:pt x="11" y="49"/>
                  </a:lnTo>
                  <a:lnTo>
                    <a:pt x="13" y="45"/>
                  </a:lnTo>
                  <a:lnTo>
                    <a:pt x="13" y="42"/>
                  </a:lnTo>
                  <a:lnTo>
                    <a:pt x="13" y="33"/>
                  </a:lnTo>
                  <a:lnTo>
                    <a:pt x="18" y="30"/>
                  </a:lnTo>
                  <a:lnTo>
                    <a:pt x="23" y="35"/>
                  </a:lnTo>
                  <a:lnTo>
                    <a:pt x="33" y="35"/>
                  </a:lnTo>
                  <a:lnTo>
                    <a:pt x="47" y="42"/>
                  </a:lnTo>
                  <a:lnTo>
                    <a:pt x="63" y="47"/>
                  </a:lnTo>
                  <a:lnTo>
                    <a:pt x="63" y="64"/>
                  </a:lnTo>
                  <a:lnTo>
                    <a:pt x="92" y="21"/>
                  </a:lnTo>
                  <a:lnTo>
                    <a:pt x="159" y="0"/>
                  </a:lnTo>
                  <a:lnTo>
                    <a:pt x="155" y="9"/>
                  </a:lnTo>
                  <a:lnTo>
                    <a:pt x="172" y="31"/>
                  </a:lnTo>
                  <a:lnTo>
                    <a:pt x="169" y="37"/>
                  </a:lnTo>
                  <a:lnTo>
                    <a:pt x="178" y="49"/>
                  </a:lnTo>
                  <a:lnTo>
                    <a:pt x="176" y="51"/>
                  </a:lnTo>
                  <a:lnTo>
                    <a:pt x="169" y="54"/>
                  </a:lnTo>
                  <a:lnTo>
                    <a:pt x="164" y="59"/>
                  </a:lnTo>
                  <a:lnTo>
                    <a:pt x="164" y="64"/>
                  </a:lnTo>
                  <a:lnTo>
                    <a:pt x="164" y="66"/>
                  </a:lnTo>
                  <a:lnTo>
                    <a:pt x="164" y="66"/>
                  </a:lnTo>
                  <a:lnTo>
                    <a:pt x="164" y="68"/>
                  </a:lnTo>
                  <a:lnTo>
                    <a:pt x="159" y="70"/>
                  </a:lnTo>
                  <a:lnTo>
                    <a:pt x="153" y="73"/>
                  </a:lnTo>
                  <a:lnTo>
                    <a:pt x="146" y="77"/>
                  </a:lnTo>
                  <a:lnTo>
                    <a:pt x="138" y="78"/>
                  </a:lnTo>
                  <a:lnTo>
                    <a:pt x="136" y="82"/>
                  </a:lnTo>
                  <a:lnTo>
                    <a:pt x="115" y="85"/>
                  </a:lnTo>
                  <a:lnTo>
                    <a:pt x="115" y="85"/>
                  </a:lnTo>
                  <a:lnTo>
                    <a:pt x="112" y="87"/>
                  </a:lnTo>
                  <a:lnTo>
                    <a:pt x="108" y="92"/>
                  </a:lnTo>
                  <a:lnTo>
                    <a:pt x="103" y="97"/>
                  </a:lnTo>
                  <a:lnTo>
                    <a:pt x="101" y="97"/>
                  </a:lnTo>
                  <a:lnTo>
                    <a:pt x="101" y="96"/>
                  </a:lnTo>
                  <a:lnTo>
                    <a:pt x="98" y="97"/>
                  </a:lnTo>
                  <a:lnTo>
                    <a:pt x="96" y="99"/>
                  </a:lnTo>
                  <a:lnTo>
                    <a:pt x="92" y="97"/>
                  </a:lnTo>
                  <a:lnTo>
                    <a:pt x="92" y="96"/>
                  </a:lnTo>
                  <a:lnTo>
                    <a:pt x="86" y="101"/>
                  </a:lnTo>
                  <a:lnTo>
                    <a:pt x="86" y="104"/>
                  </a:lnTo>
                  <a:lnTo>
                    <a:pt x="82" y="106"/>
                  </a:lnTo>
                  <a:lnTo>
                    <a:pt x="75" y="106"/>
                  </a:lnTo>
                  <a:lnTo>
                    <a:pt x="68" y="110"/>
                  </a:lnTo>
                  <a:lnTo>
                    <a:pt x="65" y="110"/>
                  </a:lnTo>
                  <a:lnTo>
                    <a:pt x="65" y="106"/>
                  </a:lnTo>
                  <a:lnTo>
                    <a:pt x="59" y="106"/>
                  </a:lnTo>
                  <a:lnTo>
                    <a:pt x="58" y="106"/>
                  </a:lnTo>
                  <a:lnTo>
                    <a:pt x="56" y="106"/>
                  </a:lnTo>
                  <a:lnTo>
                    <a:pt x="53" y="106"/>
                  </a:lnTo>
                  <a:lnTo>
                    <a:pt x="51" y="110"/>
                  </a:lnTo>
                  <a:lnTo>
                    <a:pt x="47" y="115"/>
                  </a:lnTo>
                  <a:lnTo>
                    <a:pt x="46" y="115"/>
                  </a:lnTo>
                  <a:lnTo>
                    <a:pt x="42" y="118"/>
                  </a:lnTo>
                  <a:lnTo>
                    <a:pt x="39" y="120"/>
                  </a:lnTo>
                  <a:lnTo>
                    <a:pt x="37" y="118"/>
                  </a:lnTo>
                  <a:lnTo>
                    <a:pt x="33" y="118"/>
                  </a:lnTo>
                  <a:lnTo>
                    <a:pt x="30" y="124"/>
                  </a:lnTo>
                  <a:lnTo>
                    <a:pt x="28" y="124"/>
                  </a:lnTo>
                  <a:lnTo>
                    <a:pt x="23" y="120"/>
                  </a:lnTo>
                  <a:lnTo>
                    <a:pt x="23" y="124"/>
                  </a:lnTo>
                  <a:lnTo>
                    <a:pt x="20" y="124"/>
                  </a:lnTo>
                  <a:lnTo>
                    <a:pt x="18" y="118"/>
                  </a:lnTo>
                  <a:lnTo>
                    <a:pt x="18" y="115"/>
                  </a:lnTo>
                  <a:lnTo>
                    <a:pt x="13" y="111"/>
                  </a:lnTo>
                  <a:lnTo>
                    <a:pt x="13" y="106"/>
                  </a:lnTo>
                  <a:lnTo>
                    <a:pt x="13" y="106"/>
                  </a:lnTo>
                  <a:lnTo>
                    <a:pt x="13" y="101"/>
                  </a:lnTo>
                  <a:lnTo>
                    <a:pt x="7" y="96"/>
                  </a:lnTo>
                  <a:lnTo>
                    <a:pt x="7" y="82"/>
                  </a:lnTo>
                  <a:lnTo>
                    <a:pt x="4" y="73"/>
                  </a:lnTo>
                  <a:lnTo>
                    <a:pt x="2" y="73"/>
                  </a:lnTo>
                  <a:lnTo>
                    <a:pt x="0" y="73"/>
                  </a:lnTo>
                  <a:lnTo>
                    <a:pt x="0" y="70"/>
                  </a:lnTo>
                  <a:lnTo>
                    <a:pt x="2" y="70"/>
                  </a:lnTo>
                  <a:lnTo>
                    <a:pt x="2" y="70"/>
                  </a:lnTo>
                  <a:lnTo>
                    <a:pt x="6" y="70"/>
                  </a:lnTo>
                  <a:lnTo>
                    <a:pt x="6" y="63"/>
                  </a:lnTo>
                  <a:lnTo>
                    <a:pt x="4" y="54"/>
                  </a:lnTo>
                  <a:lnTo>
                    <a:pt x="2" y="51"/>
                  </a:lnTo>
                  <a:lnTo>
                    <a:pt x="2" y="51"/>
                  </a:lnTo>
                  <a:lnTo>
                    <a:pt x="2" y="51"/>
                  </a:lnTo>
                  <a:lnTo>
                    <a:pt x="2" y="51"/>
                  </a:lnTo>
                  <a:close/>
                  <a:moveTo>
                    <a:pt x="164" y="131"/>
                  </a:moveTo>
                  <a:lnTo>
                    <a:pt x="167" y="131"/>
                  </a:lnTo>
                  <a:lnTo>
                    <a:pt x="171" y="131"/>
                  </a:lnTo>
                  <a:lnTo>
                    <a:pt x="167" y="132"/>
                  </a:lnTo>
                  <a:lnTo>
                    <a:pt x="164" y="131"/>
                  </a:lnTo>
                  <a:lnTo>
                    <a:pt x="164" y="131"/>
                  </a:lnTo>
                  <a:lnTo>
                    <a:pt x="164" y="131"/>
                  </a:lnTo>
                  <a:lnTo>
                    <a:pt x="164" y="131"/>
                  </a:lnTo>
                  <a:close/>
                  <a:moveTo>
                    <a:pt x="183" y="125"/>
                  </a:moveTo>
                  <a:lnTo>
                    <a:pt x="186" y="124"/>
                  </a:lnTo>
                  <a:lnTo>
                    <a:pt x="186" y="124"/>
                  </a:lnTo>
                  <a:lnTo>
                    <a:pt x="188" y="120"/>
                  </a:lnTo>
                  <a:lnTo>
                    <a:pt x="190" y="120"/>
                  </a:lnTo>
                  <a:lnTo>
                    <a:pt x="192" y="124"/>
                  </a:lnTo>
                  <a:lnTo>
                    <a:pt x="193" y="124"/>
                  </a:lnTo>
                  <a:lnTo>
                    <a:pt x="197" y="124"/>
                  </a:lnTo>
                  <a:lnTo>
                    <a:pt x="200" y="120"/>
                  </a:lnTo>
                  <a:lnTo>
                    <a:pt x="200" y="124"/>
                  </a:lnTo>
                  <a:lnTo>
                    <a:pt x="204" y="124"/>
                  </a:lnTo>
                  <a:lnTo>
                    <a:pt x="204" y="124"/>
                  </a:lnTo>
                  <a:lnTo>
                    <a:pt x="204" y="125"/>
                  </a:lnTo>
                  <a:lnTo>
                    <a:pt x="200" y="125"/>
                  </a:lnTo>
                  <a:lnTo>
                    <a:pt x="197" y="129"/>
                  </a:lnTo>
                  <a:lnTo>
                    <a:pt x="192" y="129"/>
                  </a:lnTo>
                  <a:lnTo>
                    <a:pt x="188" y="129"/>
                  </a:lnTo>
                  <a:lnTo>
                    <a:pt x="186" y="127"/>
                  </a:lnTo>
                  <a:lnTo>
                    <a:pt x="183" y="125"/>
                  </a:lnTo>
                  <a:lnTo>
                    <a:pt x="183" y="125"/>
                  </a:lnTo>
                  <a:lnTo>
                    <a:pt x="183" y="12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2" name="Freeform 98">
              <a:extLst>
                <a:ext uri="{FF2B5EF4-FFF2-40B4-BE49-F238E27FC236}">
                  <a16:creationId xmlns:a16="http://schemas.microsoft.com/office/drawing/2014/main" id="{ABE0F346-6CCF-45B3-B2C5-57F5169185A5}"/>
                </a:ext>
              </a:extLst>
            </p:cNvPr>
            <p:cNvSpPr>
              <a:spLocks/>
            </p:cNvSpPr>
            <p:nvPr/>
          </p:nvSpPr>
          <p:spPr bwMode="auto">
            <a:xfrm>
              <a:off x="5105400" y="3367088"/>
              <a:ext cx="339725" cy="287338"/>
            </a:xfrm>
            <a:custGeom>
              <a:avLst/>
              <a:gdLst/>
              <a:ahLst/>
              <a:cxnLst>
                <a:cxn ang="0">
                  <a:pos x="172" y="33"/>
                </a:cxn>
                <a:cxn ang="0">
                  <a:pos x="160" y="10"/>
                </a:cxn>
                <a:cxn ang="0">
                  <a:pos x="153" y="7"/>
                </a:cxn>
                <a:cxn ang="0">
                  <a:pos x="129" y="10"/>
                </a:cxn>
                <a:cxn ang="0">
                  <a:pos x="124" y="10"/>
                </a:cxn>
                <a:cxn ang="0">
                  <a:pos x="118" y="8"/>
                </a:cxn>
                <a:cxn ang="0">
                  <a:pos x="118" y="3"/>
                </a:cxn>
                <a:cxn ang="0">
                  <a:pos x="106" y="0"/>
                </a:cxn>
                <a:cxn ang="0">
                  <a:pos x="108" y="3"/>
                </a:cxn>
                <a:cxn ang="0">
                  <a:pos x="97" y="5"/>
                </a:cxn>
                <a:cxn ang="0">
                  <a:pos x="99" y="3"/>
                </a:cxn>
                <a:cxn ang="0">
                  <a:pos x="94" y="2"/>
                </a:cxn>
                <a:cxn ang="0">
                  <a:pos x="85" y="7"/>
                </a:cxn>
                <a:cxn ang="0">
                  <a:pos x="77" y="14"/>
                </a:cxn>
                <a:cxn ang="0">
                  <a:pos x="61" y="10"/>
                </a:cxn>
                <a:cxn ang="0">
                  <a:pos x="47" y="7"/>
                </a:cxn>
                <a:cxn ang="0">
                  <a:pos x="35" y="3"/>
                </a:cxn>
                <a:cxn ang="0">
                  <a:pos x="7" y="0"/>
                </a:cxn>
                <a:cxn ang="0">
                  <a:pos x="4" y="3"/>
                </a:cxn>
                <a:cxn ang="0">
                  <a:pos x="4" y="19"/>
                </a:cxn>
                <a:cxn ang="0">
                  <a:pos x="4" y="36"/>
                </a:cxn>
                <a:cxn ang="0">
                  <a:pos x="214" y="179"/>
                </a:cxn>
                <a:cxn ang="0">
                  <a:pos x="207" y="175"/>
                </a:cxn>
                <a:cxn ang="0">
                  <a:pos x="200" y="167"/>
                </a:cxn>
                <a:cxn ang="0">
                  <a:pos x="191" y="163"/>
                </a:cxn>
                <a:cxn ang="0">
                  <a:pos x="188" y="148"/>
                </a:cxn>
                <a:cxn ang="0">
                  <a:pos x="190" y="144"/>
                </a:cxn>
                <a:cxn ang="0">
                  <a:pos x="190" y="142"/>
                </a:cxn>
                <a:cxn ang="0">
                  <a:pos x="186" y="139"/>
                </a:cxn>
                <a:cxn ang="0">
                  <a:pos x="176" y="122"/>
                </a:cxn>
                <a:cxn ang="0">
                  <a:pos x="162" y="99"/>
                </a:cxn>
                <a:cxn ang="0">
                  <a:pos x="158" y="87"/>
                </a:cxn>
                <a:cxn ang="0">
                  <a:pos x="153" y="75"/>
                </a:cxn>
                <a:cxn ang="0">
                  <a:pos x="150" y="68"/>
                </a:cxn>
                <a:cxn ang="0">
                  <a:pos x="134" y="50"/>
                </a:cxn>
                <a:cxn ang="0">
                  <a:pos x="130" y="38"/>
                </a:cxn>
                <a:cxn ang="0">
                  <a:pos x="130" y="36"/>
                </a:cxn>
                <a:cxn ang="0">
                  <a:pos x="136" y="42"/>
                </a:cxn>
                <a:cxn ang="0">
                  <a:pos x="141" y="52"/>
                </a:cxn>
                <a:cxn ang="0">
                  <a:pos x="150" y="62"/>
                </a:cxn>
                <a:cxn ang="0">
                  <a:pos x="163" y="75"/>
                </a:cxn>
                <a:cxn ang="0">
                  <a:pos x="169" y="64"/>
                </a:cxn>
                <a:cxn ang="0">
                  <a:pos x="169" y="52"/>
                </a:cxn>
                <a:cxn ang="0">
                  <a:pos x="172" y="43"/>
                </a:cxn>
              </a:cxnLst>
              <a:rect l="0" t="0" r="r" b="b"/>
              <a:pathLst>
                <a:path w="214" h="181">
                  <a:moveTo>
                    <a:pt x="172" y="43"/>
                  </a:moveTo>
                  <a:lnTo>
                    <a:pt x="170" y="36"/>
                  </a:lnTo>
                  <a:lnTo>
                    <a:pt x="172" y="33"/>
                  </a:lnTo>
                  <a:lnTo>
                    <a:pt x="167" y="22"/>
                  </a:lnTo>
                  <a:lnTo>
                    <a:pt x="162" y="17"/>
                  </a:lnTo>
                  <a:lnTo>
                    <a:pt x="160" y="10"/>
                  </a:lnTo>
                  <a:lnTo>
                    <a:pt x="157" y="5"/>
                  </a:lnTo>
                  <a:lnTo>
                    <a:pt x="155" y="3"/>
                  </a:lnTo>
                  <a:lnTo>
                    <a:pt x="153" y="7"/>
                  </a:lnTo>
                  <a:lnTo>
                    <a:pt x="150" y="8"/>
                  </a:lnTo>
                  <a:lnTo>
                    <a:pt x="137" y="7"/>
                  </a:lnTo>
                  <a:lnTo>
                    <a:pt x="129" y="10"/>
                  </a:lnTo>
                  <a:lnTo>
                    <a:pt x="122" y="5"/>
                  </a:lnTo>
                  <a:lnTo>
                    <a:pt x="122" y="8"/>
                  </a:lnTo>
                  <a:lnTo>
                    <a:pt x="124" y="10"/>
                  </a:lnTo>
                  <a:lnTo>
                    <a:pt x="124" y="14"/>
                  </a:lnTo>
                  <a:lnTo>
                    <a:pt x="122" y="10"/>
                  </a:lnTo>
                  <a:lnTo>
                    <a:pt x="118" y="8"/>
                  </a:lnTo>
                  <a:lnTo>
                    <a:pt x="118" y="5"/>
                  </a:lnTo>
                  <a:lnTo>
                    <a:pt x="118" y="5"/>
                  </a:lnTo>
                  <a:lnTo>
                    <a:pt x="118" y="3"/>
                  </a:lnTo>
                  <a:lnTo>
                    <a:pt x="113" y="3"/>
                  </a:lnTo>
                  <a:lnTo>
                    <a:pt x="111" y="2"/>
                  </a:lnTo>
                  <a:lnTo>
                    <a:pt x="106" y="0"/>
                  </a:lnTo>
                  <a:lnTo>
                    <a:pt x="104" y="2"/>
                  </a:lnTo>
                  <a:lnTo>
                    <a:pt x="108" y="2"/>
                  </a:lnTo>
                  <a:lnTo>
                    <a:pt x="108" y="3"/>
                  </a:lnTo>
                  <a:lnTo>
                    <a:pt x="104" y="3"/>
                  </a:lnTo>
                  <a:lnTo>
                    <a:pt x="101" y="3"/>
                  </a:lnTo>
                  <a:lnTo>
                    <a:pt x="97" y="5"/>
                  </a:lnTo>
                  <a:lnTo>
                    <a:pt x="96" y="3"/>
                  </a:lnTo>
                  <a:lnTo>
                    <a:pt x="96" y="3"/>
                  </a:lnTo>
                  <a:lnTo>
                    <a:pt x="99" y="3"/>
                  </a:lnTo>
                  <a:lnTo>
                    <a:pt x="103" y="2"/>
                  </a:lnTo>
                  <a:lnTo>
                    <a:pt x="99" y="2"/>
                  </a:lnTo>
                  <a:lnTo>
                    <a:pt x="94" y="2"/>
                  </a:lnTo>
                  <a:lnTo>
                    <a:pt x="91" y="3"/>
                  </a:lnTo>
                  <a:lnTo>
                    <a:pt x="89" y="7"/>
                  </a:lnTo>
                  <a:lnTo>
                    <a:pt x="85" y="7"/>
                  </a:lnTo>
                  <a:lnTo>
                    <a:pt x="82" y="8"/>
                  </a:lnTo>
                  <a:lnTo>
                    <a:pt x="77" y="10"/>
                  </a:lnTo>
                  <a:lnTo>
                    <a:pt x="77" y="14"/>
                  </a:lnTo>
                  <a:lnTo>
                    <a:pt x="71" y="14"/>
                  </a:lnTo>
                  <a:lnTo>
                    <a:pt x="66" y="10"/>
                  </a:lnTo>
                  <a:lnTo>
                    <a:pt x="61" y="10"/>
                  </a:lnTo>
                  <a:lnTo>
                    <a:pt x="56" y="10"/>
                  </a:lnTo>
                  <a:lnTo>
                    <a:pt x="51" y="7"/>
                  </a:lnTo>
                  <a:lnTo>
                    <a:pt x="47" y="7"/>
                  </a:lnTo>
                  <a:lnTo>
                    <a:pt x="45" y="8"/>
                  </a:lnTo>
                  <a:lnTo>
                    <a:pt x="40" y="5"/>
                  </a:lnTo>
                  <a:lnTo>
                    <a:pt x="35" y="3"/>
                  </a:lnTo>
                  <a:lnTo>
                    <a:pt x="23" y="2"/>
                  </a:lnTo>
                  <a:lnTo>
                    <a:pt x="16" y="0"/>
                  </a:lnTo>
                  <a:lnTo>
                    <a:pt x="7" y="0"/>
                  </a:lnTo>
                  <a:lnTo>
                    <a:pt x="4" y="2"/>
                  </a:lnTo>
                  <a:lnTo>
                    <a:pt x="4" y="2"/>
                  </a:lnTo>
                  <a:lnTo>
                    <a:pt x="4" y="3"/>
                  </a:lnTo>
                  <a:lnTo>
                    <a:pt x="4" y="10"/>
                  </a:lnTo>
                  <a:lnTo>
                    <a:pt x="4" y="17"/>
                  </a:lnTo>
                  <a:lnTo>
                    <a:pt x="4" y="19"/>
                  </a:lnTo>
                  <a:lnTo>
                    <a:pt x="4" y="28"/>
                  </a:lnTo>
                  <a:lnTo>
                    <a:pt x="0" y="31"/>
                  </a:lnTo>
                  <a:lnTo>
                    <a:pt x="4" y="36"/>
                  </a:lnTo>
                  <a:lnTo>
                    <a:pt x="4" y="45"/>
                  </a:lnTo>
                  <a:lnTo>
                    <a:pt x="9" y="181"/>
                  </a:lnTo>
                  <a:lnTo>
                    <a:pt x="214" y="179"/>
                  </a:lnTo>
                  <a:lnTo>
                    <a:pt x="214" y="179"/>
                  </a:lnTo>
                  <a:lnTo>
                    <a:pt x="212" y="179"/>
                  </a:lnTo>
                  <a:lnTo>
                    <a:pt x="207" y="175"/>
                  </a:lnTo>
                  <a:lnTo>
                    <a:pt x="207" y="172"/>
                  </a:lnTo>
                  <a:lnTo>
                    <a:pt x="203" y="172"/>
                  </a:lnTo>
                  <a:lnTo>
                    <a:pt x="200" y="167"/>
                  </a:lnTo>
                  <a:lnTo>
                    <a:pt x="200" y="167"/>
                  </a:lnTo>
                  <a:lnTo>
                    <a:pt x="197" y="167"/>
                  </a:lnTo>
                  <a:lnTo>
                    <a:pt x="191" y="163"/>
                  </a:lnTo>
                  <a:lnTo>
                    <a:pt x="188" y="155"/>
                  </a:lnTo>
                  <a:lnTo>
                    <a:pt x="188" y="151"/>
                  </a:lnTo>
                  <a:lnTo>
                    <a:pt x="188" y="148"/>
                  </a:lnTo>
                  <a:lnTo>
                    <a:pt x="188" y="144"/>
                  </a:lnTo>
                  <a:lnTo>
                    <a:pt x="188" y="144"/>
                  </a:lnTo>
                  <a:lnTo>
                    <a:pt x="190" y="144"/>
                  </a:lnTo>
                  <a:lnTo>
                    <a:pt x="195" y="144"/>
                  </a:lnTo>
                  <a:lnTo>
                    <a:pt x="191" y="142"/>
                  </a:lnTo>
                  <a:lnTo>
                    <a:pt x="190" y="142"/>
                  </a:lnTo>
                  <a:lnTo>
                    <a:pt x="188" y="139"/>
                  </a:lnTo>
                  <a:lnTo>
                    <a:pt x="186" y="139"/>
                  </a:lnTo>
                  <a:lnTo>
                    <a:pt x="186" y="139"/>
                  </a:lnTo>
                  <a:lnTo>
                    <a:pt x="184" y="137"/>
                  </a:lnTo>
                  <a:lnTo>
                    <a:pt x="183" y="132"/>
                  </a:lnTo>
                  <a:lnTo>
                    <a:pt x="176" y="122"/>
                  </a:lnTo>
                  <a:lnTo>
                    <a:pt x="172" y="120"/>
                  </a:lnTo>
                  <a:lnTo>
                    <a:pt x="172" y="115"/>
                  </a:lnTo>
                  <a:lnTo>
                    <a:pt x="162" y="99"/>
                  </a:lnTo>
                  <a:lnTo>
                    <a:pt x="162" y="95"/>
                  </a:lnTo>
                  <a:lnTo>
                    <a:pt x="160" y="92"/>
                  </a:lnTo>
                  <a:lnTo>
                    <a:pt x="158" y="87"/>
                  </a:lnTo>
                  <a:lnTo>
                    <a:pt x="157" y="83"/>
                  </a:lnTo>
                  <a:lnTo>
                    <a:pt x="157" y="83"/>
                  </a:lnTo>
                  <a:lnTo>
                    <a:pt x="153" y="75"/>
                  </a:lnTo>
                  <a:lnTo>
                    <a:pt x="153" y="75"/>
                  </a:lnTo>
                  <a:lnTo>
                    <a:pt x="153" y="71"/>
                  </a:lnTo>
                  <a:lnTo>
                    <a:pt x="150" y="68"/>
                  </a:lnTo>
                  <a:lnTo>
                    <a:pt x="141" y="59"/>
                  </a:lnTo>
                  <a:lnTo>
                    <a:pt x="141" y="55"/>
                  </a:lnTo>
                  <a:lnTo>
                    <a:pt x="134" y="50"/>
                  </a:lnTo>
                  <a:lnTo>
                    <a:pt x="134" y="45"/>
                  </a:lnTo>
                  <a:lnTo>
                    <a:pt x="129" y="42"/>
                  </a:lnTo>
                  <a:lnTo>
                    <a:pt x="130" y="38"/>
                  </a:lnTo>
                  <a:lnTo>
                    <a:pt x="130" y="36"/>
                  </a:lnTo>
                  <a:lnTo>
                    <a:pt x="130" y="35"/>
                  </a:lnTo>
                  <a:lnTo>
                    <a:pt x="130" y="36"/>
                  </a:lnTo>
                  <a:lnTo>
                    <a:pt x="132" y="36"/>
                  </a:lnTo>
                  <a:lnTo>
                    <a:pt x="134" y="40"/>
                  </a:lnTo>
                  <a:lnTo>
                    <a:pt x="136" y="42"/>
                  </a:lnTo>
                  <a:lnTo>
                    <a:pt x="136" y="45"/>
                  </a:lnTo>
                  <a:lnTo>
                    <a:pt x="141" y="50"/>
                  </a:lnTo>
                  <a:lnTo>
                    <a:pt x="141" y="52"/>
                  </a:lnTo>
                  <a:lnTo>
                    <a:pt x="144" y="55"/>
                  </a:lnTo>
                  <a:lnTo>
                    <a:pt x="150" y="59"/>
                  </a:lnTo>
                  <a:lnTo>
                    <a:pt x="150" y="62"/>
                  </a:lnTo>
                  <a:lnTo>
                    <a:pt x="158" y="71"/>
                  </a:lnTo>
                  <a:lnTo>
                    <a:pt x="163" y="73"/>
                  </a:lnTo>
                  <a:lnTo>
                    <a:pt x="163" y="75"/>
                  </a:lnTo>
                  <a:lnTo>
                    <a:pt x="163" y="73"/>
                  </a:lnTo>
                  <a:lnTo>
                    <a:pt x="167" y="69"/>
                  </a:lnTo>
                  <a:lnTo>
                    <a:pt x="169" y="64"/>
                  </a:lnTo>
                  <a:lnTo>
                    <a:pt x="167" y="62"/>
                  </a:lnTo>
                  <a:lnTo>
                    <a:pt x="169" y="57"/>
                  </a:lnTo>
                  <a:lnTo>
                    <a:pt x="169" y="52"/>
                  </a:lnTo>
                  <a:lnTo>
                    <a:pt x="172" y="45"/>
                  </a:lnTo>
                  <a:lnTo>
                    <a:pt x="172" y="43"/>
                  </a:lnTo>
                  <a:lnTo>
                    <a:pt x="172" y="43"/>
                  </a:lnTo>
                  <a:lnTo>
                    <a:pt x="172" y="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3" name="Freeform 99">
              <a:extLst>
                <a:ext uri="{FF2B5EF4-FFF2-40B4-BE49-F238E27FC236}">
                  <a16:creationId xmlns:a16="http://schemas.microsoft.com/office/drawing/2014/main" id="{6461CB99-D59A-47BF-A0EA-5836A2F13B9D}"/>
                </a:ext>
              </a:extLst>
            </p:cNvPr>
            <p:cNvSpPr>
              <a:spLocks/>
            </p:cNvSpPr>
            <p:nvPr/>
          </p:nvSpPr>
          <p:spPr bwMode="auto">
            <a:xfrm>
              <a:off x="5041900" y="3654426"/>
              <a:ext cx="449263" cy="509588"/>
            </a:xfrm>
            <a:custGeom>
              <a:avLst/>
              <a:gdLst/>
              <a:ahLst/>
              <a:cxnLst>
                <a:cxn ang="0">
                  <a:pos x="254" y="5"/>
                </a:cxn>
                <a:cxn ang="0">
                  <a:pos x="256" y="14"/>
                </a:cxn>
                <a:cxn ang="0">
                  <a:pos x="256" y="14"/>
                </a:cxn>
                <a:cxn ang="0">
                  <a:pos x="261" y="43"/>
                </a:cxn>
                <a:cxn ang="0">
                  <a:pos x="275" y="67"/>
                </a:cxn>
                <a:cxn ang="0">
                  <a:pos x="282" y="73"/>
                </a:cxn>
                <a:cxn ang="0">
                  <a:pos x="268" y="80"/>
                </a:cxn>
                <a:cxn ang="0">
                  <a:pos x="261" y="87"/>
                </a:cxn>
                <a:cxn ang="0">
                  <a:pos x="261" y="97"/>
                </a:cxn>
                <a:cxn ang="0">
                  <a:pos x="252" y="118"/>
                </a:cxn>
                <a:cxn ang="0">
                  <a:pos x="254" y="135"/>
                </a:cxn>
                <a:cxn ang="0">
                  <a:pos x="243" y="161"/>
                </a:cxn>
                <a:cxn ang="0">
                  <a:pos x="233" y="174"/>
                </a:cxn>
                <a:cxn ang="0">
                  <a:pos x="221" y="194"/>
                </a:cxn>
                <a:cxn ang="0">
                  <a:pos x="217" y="212"/>
                </a:cxn>
                <a:cxn ang="0">
                  <a:pos x="210" y="236"/>
                </a:cxn>
                <a:cxn ang="0">
                  <a:pos x="198" y="236"/>
                </a:cxn>
                <a:cxn ang="0">
                  <a:pos x="198" y="248"/>
                </a:cxn>
                <a:cxn ang="0">
                  <a:pos x="210" y="257"/>
                </a:cxn>
                <a:cxn ang="0">
                  <a:pos x="223" y="266"/>
                </a:cxn>
                <a:cxn ang="0">
                  <a:pos x="231" y="283"/>
                </a:cxn>
                <a:cxn ang="0">
                  <a:pos x="217" y="304"/>
                </a:cxn>
                <a:cxn ang="0">
                  <a:pos x="210" y="313"/>
                </a:cxn>
                <a:cxn ang="0">
                  <a:pos x="190" y="318"/>
                </a:cxn>
                <a:cxn ang="0">
                  <a:pos x="179" y="321"/>
                </a:cxn>
                <a:cxn ang="0">
                  <a:pos x="169" y="320"/>
                </a:cxn>
                <a:cxn ang="0">
                  <a:pos x="160" y="321"/>
                </a:cxn>
                <a:cxn ang="0">
                  <a:pos x="151" y="320"/>
                </a:cxn>
                <a:cxn ang="0">
                  <a:pos x="143" y="309"/>
                </a:cxn>
                <a:cxn ang="0">
                  <a:pos x="132" y="299"/>
                </a:cxn>
                <a:cxn ang="0">
                  <a:pos x="124" y="304"/>
                </a:cxn>
                <a:cxn ang="0">
                  <a:pos x="113" y="307"/>
                </a:cxn>
                <a:cxn ang="0">
                  <a:pos x="101" y="299"/>
                </a:cxn>
                <a:cxn ang="0">
                  <a:pos x="96" y="292"/>
                </a:cxn>
                <a:cxn ang="0">
                  <a:pos x="84" y="280"/>
                </a:cxn>
                <a:cxn ang="0">
                  <a:pos x="78" y="271"/>
                </a:cxn>
                <a:cxn ang="0">
                  <a:pos x="66" y="259"/>
                </a:cxn>
                <a:cxn ang="0">
                  <a:pos x="59" y="253"/>
                </a:cxn>
                <a:cxn ang="0">
                  <a:pos x="54" y="247"/>
                </a:cxn>
                <a:cxn ang="0">
                  <a:pos x="42" y="238"/>
                </a:cxn>
                <a:cxn ang="0">
                  <a:pos x="35" y="234"/>
                </a:cxn>
                <a:cxn ang="0">
                  <a:pos x="30" y="220"/>
                </a:cxn>
                <a:cxn ang="0">
                  <a:pos x="23" y="200"/>
                </a:cxn>
                <a:cxn ang="0">
                  <a:pos x="18" y="191"/>
                </a:cxn>
                <a:cxn ang="0">
                  <a:pos x="11" y="177"/>
                </a:cxn>
                <a:cxn ang="0">
                  <a:pos x="9" y="165"/>
                </a:cxn>
                <a:cxn ang="0">
                  <a:pos x="0" y="161"/>
                </a:cxn>
                <a:cxn ang="0">
                  <a:pos x="5" y="144"/>
                </a:cxn>
                <a:cxn ang="0">
                  <a:pos x="11" y="132"/>
                </a:cxn>
                <a:cxn ang="0">
                  <a:pos x="19" y="113"/>
                </a:cxn>
                <a:cxn ang="0">
                  <a:pos x="35" y="109"/>
                </a:cxn>
                <a:cxn ang="0">
                  <a:pos x="47" y="1"/>
                </a:cxn>
              </a:cxnLst>
              <a:rect l="0" t="0" r="r" b="b"/>
              <a:pathLst>
                <a:path w="283" h="321">
                  <a:moveTo>
                    <a:pt x="47" y="1"/>
                  </a:moveTo>
                  <a:lnTo>
                    <a:pt x="252" y="0"/>
                  </a:lnTo>
                  <a:lnTo>
                    <a:pt x="252" y="1"/>
                  </a:lnTo>
                  <a:lnTo>
                    <a:pt x="252" y="3"/>
                  </a:lnTo>
                  <a:lnTo>
                    <a:pt x="254" y="5"/>
                  </a:lnTo>
                  <a:lnTo>
                    <a:pt x="252" y="5"/>
                  </a:lnTo>
                  <a:lnTo>
                    <a:pt x="254" y="7"/>
                  </a:lnTo>
                  <a:lnTo>
                    <a:pt x="254" y="7"/>
                  </a:lnTo>
                  <a:lnTo>
                    <a:pt x="254" y="8"/>
                  </a:lnTo>
                  <a:lnTo>
                    <a:pt x="256" y="14"/>
                  </a:lnTo>
                  <a:lnTo>
                    <a:pt x="259" y="17"/>
                  </a:lnTo>
                  <a:lnTo>
                    <a:pt x="259" y="17"/>
                  </a:lnTo>
                  <a:lnTo>
                    <a:pt x="257" y="17"/>
                  </a:lnTo>
                  <a:lnTo>
                    <a:pt x="257" y="17"/>
                  </a:lnTo>
                  <a:lnTo>
                    <a:pt x="256" y="14"/>
                  </a:lnTo>
                  <a:lnTo>
                    <a:pt x="256" y="17"/>
                  </a:lnTo>
                  <a:lnTo>
                    <a:pt x="256" y="19"/>
                  </a:lnTo>
                  <a:lnTo>
                    <a:pt x="261" y="31"/>
                  </a:lnTo>
                  <a:lnTo>
                    <a:pt x="261" y="36"/>
                  </a:lnTo>
                  <a:lnTo>
                    <a:pt x="261" y="43"/>
                  </a:lnTo>
                  <a:lnTo>
                    <a:pt x="261" y="52"/>
                  </a:lnTo>
                  <a:lnTo>
                    <a:pt x="264" y="57"/>
                  </a:lnTo>
                  <a:lnTo>
                    <a:pt x="268" y="59"/>
                  </a:lnTo>
                  <a:lnTo>
                    <a:pt x="275" y="62"/>
                  </a:lnTo>
                  <a:lnTo>
                    <a:pt x="275" y="67"/>
                  </a:lnTo>
                  <a:lnTo>
                    <a:pt x="278" y="67"/>
                  </a:lnTo>
                  <a:lnTo>
                    <a:pt x="283" y="67"/>
                  </a:lnTo>
                  <a:lnTo>
                    <a:pt x="283" y="69"/>
                  </a:lnTo>
                  <a:lnTo>
                    <a:pt x="283" y="69"/>
                  </a:lnTo>
                  <a:lnTo>
                    <a:pt x="282" y="73"/>
                  </a:lnTo>
                  <a:lnTo>
                    <a:pt x="278" y="74"/>
                  </a:lnTo>
                  <a:lnTo>
                    <a:pt x="276" y="76"/>
                  </a:lnTo>
                  <a:lnTo>
                    <a:pt x="275" y="78"/>
                  </a:lnTo>
                  <a:lnTo>
                    <a:pt x="270" y="78"/>
                  </a:lnTo>
                  <a:lnTo>
                    <a:pt x="268" y="80"/>
                  </a:lnTo>
                  <a:lnTo>
                    <a:pt x="264" y="80"/>
                  </a:lnTo>
                  <a:lnTo>
                    <a:pt x="264" y="81"/>
                  </a:lnTo>
                  <a:lnTo>
                    <a:pt x="264" y="85"/>
                  </a:lnTo>
                  <a:lnTo>
                    <a:pt x="264" y="87"/>
                  </a:lnTo>
                  <a:lnTo>
                    <a:pt x="261" y="87"/>
                  </a:lnTo>
                  <a:lnTo>
                    <a:pt x="259" y="87"/>
                  </a:lnTo>
                  <a:lnTo>
                    <a:pt x="259" y="90"/>
                  </a:lnTo>
                  <a:lnTo>
                    <a:pt x="257" y="94"/>
                  </a:lnTo>
                  <a:lnTo>
                    <a:pt x="259" y="95"/>
                  </a:lnTo>
                  <a:lnTo>
                    <a:pt x="261" y="97"/>
                  </a:lnTo>
                  <a:lnTo>
                    <a:pt x="259" y="99"/>
                  </a:lnTo>
                  <a:lnTo>
                    <a:pt x="257" y="104"/>
                  </a:lnTo>
                  <a:lnTo>
                    <a:pt x="256" y="113"/>
                  </a:lnTo>
                  <a:lnTo>
                    <a:pt x="252" y="116"/>
                  </a:lnTo>
                  <a:lnTo>
                    <a:pt x="252" y="118"/>
                  </a:lnTo>
                  <a:lnTo>
                    <a:pt x="250" y="121"/>
                  </a:lnTo>
                  <a:lnTo>
                    <a:pt x="250" y="125"/>
                  </a:lnTo>
                  <a:lnTo>
                    <a:pt x="252" y="132"/>
                  </a:lnTo>
                  <a:lnTo>
                    <a:pt x="252" y="135"/>
                  </a:lnTo>
                  <a:lnTo>
                    <a:pt x="254" y="135"/>
                  </a:lnTo>
                  <a:lnTo>
                    <a:pt x="252" y="137"/>
                  </a:lnTo>
                  <a:lnTo>
                    <a:pt x="250" y="142"/>
                  </a:lnTo>
                  <a:lnTo>
                    <a:pt x="250" y="147"/>
                  </a:lnTo>
                  <a:lnTo>
                    <a:pt x="245" y="154"/>
                  </a:lnTo>
                  <a:lnTo>
                    <a:pt x="243" y="161"/>
                  </a:lnTo>
                  <a:lnTo>
                    <a:pt x="242" y="161"/>
                  </a:lnTo>
                  <a:lnTo>
                    <a:pt x="238" y="161"/>
                  </a:lnTo>
                  <a:lnTo>
                    <a:pt x="238" y="165"/>
                  </a:lnTo>
                  <a:lnTo>
                    <a:pt x="237" y="172"/>
                  </a:lnTo>
                  <a:lnTo>
                    <a:pt x="233" y="174"/>
                  </a:lnTo>
                  <a:lnTo>
                    <a:pt x="231" y="177"/>
                  </a:lnTo>
                  <a:lnTo>
                    <a:pt x="228" y="184"/>
                  </a:lnTo>
                  <a:lnTo>
                    <a:pt x="224" y="196"/>
                  </a:lnTo>
                  <a:lnTo>
                    <a:pt x="223" y="194"/>
                  </a:lnTo>
                  <a:lnTo>
                    <a:pt x="221" y="194"/>
                  </a:lnTo>
                  <a:lnTo>
                    <a:pt x="221" y="198"/>
                  </a:lnTo>
                  <a:lnTo>
                    <a:pt x="217" y="203"/>
                  </a:lnTo>
                  <a:lnTo>
                    <a:pt x="216" y="207"/>
                  </a:lnTo>
                  <a:lnTo>
                    <a:pt x="216" y="208"/>
                  </a:lnTo>
                  <a:lnTo>
                    <a:pt x="217" y="212"/>
                  </a:lnTo>
                  <a:lnTo>
                    <a:pt x="214" y="215"/>
                  </a:lnTo>
                  <a:lnTo>
                    <a:pt x="214" y="220"/>
                  </a:lnTo>
                  <a:lnTo>
                    <a:pt x="214" y="226"/>
                  </a:lnTo>
                  <a:lnTo>
                    <a:pt x="214" y="234"/>
                  </a:lnTo>
                  <a:lnTo>
                    <a:pt x="210" y="236"/>
                  </a:lnTo>
                  <a:lnTo>
                    <a:pt x="210" y="238"/>
                  </a:lnTo>
                  <a:lnTo>
                    <a:pt x="209" y="238"/>
                  </a:lnTo>
                  <a:lnTo>
                    <a:pt x="205" y="236"/>
                  </a:lnTo>
                  <a:lnTo>
                    <a:pt x="202" y="236"/>
                  </a:lnTo>
                  <a:lnTo>
                    <a:pt x="198" y="236"/>
                  </a:lnTo>
                  <a:lnTo>
                    <a:pt x="198" y="240"/>
                  </a:lnTo>
                  <a:lnTo>
                    <a:pt x="197" y="241"/>
                  </a:lnTo>
                  <a:lnTo>
                    <a:pt x="193" y="245"/>
                  </a:lnTo>
                  <a:lnTo>
                    <a:pt x="195" y="248"/>
                  </a:lnTo>
                  <a:lnTo>
                    <a:pt x="198" y="248"/>
                  </a:lnTo>
                  <a:lnTo>
                    <a:pt x="205" y="248"/>
                  </a:lnTo>
                  <a:lnTo>
                    <a:pt x="205" y="250"/>
                  </a:lnTo>
                  <a:lnTo>
                    <a:pt x="210" y="253"/>
                  </a:lnTo>
                  <a:lnTo>
                    <a:pt x="210" y="257"/>
                  </a:lnTo>
                  <a:lnTo>
                    <a:pt x="210" y="257"/>
                  </a:lnTo>
                  <a:lnTo>
                    <a:pt x="214" y="262"/>
                  </a:lnTo>
                  <a:lnTo>
                    <a:pt x="217" y="264"/>
                  </a:lnTo>
                  <a:lnTo>
                    <a:pt x="217" y="266"/>
                  </a:lnTo>
                  <a:lnTo>
                    <a:pt x="219" y="266"/>
                  </a:lnTo>
                  <a:lnTo>
                    <a:pt x="223" y="266"/>
                  </a:lnTo>
                  <a:lnTo>
                    <a:pt x="224" y="269"/>
                  </a:lnTo>
                  <a:lnTo>
                    <a:pt x="226" y="273"/>
                  </a:lnTo>
                  <a:lnTo>
                    <a:pt x="230" y="276"/>
                  </a:lnTo>
                  <a:lnTo>
                    <a:pt x="230" y="280"/>
                  </a:lnTo>
                  <a:lnTo>
                    <a:pt x="231" y="283"/>
                  </a:lnTo>
                  <a:lnTo>
                    <a:pt x="233" y="288"/>
                  </a:lnTo>
                  <a:lnTo>
                    <a:pt x="228" y="295"/>
                  </a:lnTo>
                  <a:lnTo>
                    <a:pt x="223" y="302"/>
                  </a:lnTo>
                  <a:lnTo>
                    <a:pt x="221" y="302"/>
                  </a:lnTo>
                  <a:lnTo>
                    <a:pt x="217" y="304"/>
                  </a:lnTo>
                  <a:lnTo>
                    <a:pt x="216" y="306"/>
                  </a:lnTo>
                  <a:lnTo>
                    <a:pt x="214" y="306"/>
                  </a:lnTo>
                  <a:lnTo>
                    <a:pt x="214" y="309"/>
                  </a:lnTo>
                  <a:lnTo>
                    <a:pt x="214" y="309"/>
                  </a:lnTo>
                  <a:lnTo>
                    <a:pt x="210" y="313"/>
                  </a:lnTo>
                  <a:lnTo>
                    <a:pt x="205" y="314"/>
                  </a:lnTo>
                  <a:lnTo>
                    <a:pt x="202" y="316"/>
                  </a:lnTo>
                  <a:lnTo>
                    <a:pt x="200" y="316"/>
                  </a:lnTo>
                  <a:lnTo>
                    <a:pt x="193" y="316"/>
                  </a:lnTo>
                  <a:lnTo>
                    <a:pt x="190" y="318"/>
                  </a:lnTo>
                  <a:lnTo>
                    <a:pt x="186" y="318"/>
                  </a:lnTo>
                  <a:lnTo>
                    <a:pt x="186" y="318"/>
                  </a:lnTo>
                  <a:lnTo>
                    <a:pt x="183" y="318"/>
                  </a:lnTo>
                  <a:lnTo>
                    <a:pt x="179" y="320"/>
                  </a:lnTo>
                  <a:lnTo>
                    <a:pt x="179" y="321"/>
                  </a:lnTo>
                  <a:lnTo>
                    <a:pt x="179" y="321"/>
                  </a:lnTo>
                  <a:lnTo>
                    <a:pt x="174" y="321"/>
                  </a:lnTo>
                  <a:lnTo>
                    <a:pt x="174" y="320"/>
                  </a:lnTo>
                  <a:lnTo>
                    <a:pt x="172" y="318"/>
                  </a:lnTo>
                  <a:lnTo>
                    <a:pt x="169" y="320"/>
                  </a:lnTo>
                  <a:lnTo>
                    <a:pt x="164" y="318"/>
                  </a:lnTo>
                  <a:lnTo>
                    <a:pt x="160" y="316"/>
                  </a:lnTo>
                  <a:lnTo>
                    <a:pt x="160" y="318"/>
                  </a:lnTo>
                  <a:lnTo>
                    <a:pt x="160" y="320"/>
                  </a:lnTo>
                  <a:lnTo>
                    <a:pt x="160" y="321"/>
                  </a:lnTo>
                  <a:lnTo>
                    <a:pt x="160" y="321"/>
                  </a:lnTo>
                  <a:lnTo>
                    <a:pt x="157" y="321"/>
                  </a:lnTo>
                  <a:lnTo>
                    <a:pt x="155" y="321"/>
                  </a:lnTo>
                  <a:lnTo>
                    <a:pt x="151" y="321"/>
                  </a:lnTo>
                  <a:lnTo>
                    <a:pt x="151" y="320"/>
                  </a:lnTo>
                  <a:lnTo>
                    <a:pt x="151" y="318"/>
                  </a:lnTo>
                  <a:lnTo>
                    <a:pt x="151" y="316"/>
                  </a:lnTo>
                  <a:lnTo>
                    <a:pt x="150" y="313"/>
                  </a:lnTo>
                  <a:lnTo>
                    <a:pt x="148" y="311"/>
                  </a:lnTo>
                  <a:lnTo>
                    <a:pt x="143" y="309"/>
                  </a:lnTo>
                  <a:lnTo>
                    <a:pt x="143" y="307"/>
                  </a:lnTo>
                  <a:lnTo>
                    <a:pt x="141" y="306"/>
                  </a:lnTo>
                  <a:lnTo>
                    <a:pt x="137" y="302"/>
                  </a:lnTo>
                  <a:lnTo>
                    <a:pt x="137" y="302"/>
                  </a:lnTo>
                  <a:lnTo>
                    <a:pt x="132" y="299"/>
                  </a:lnTo>
                  <a:lnTo>
                    <a:pt x="132" y="302"/>
                  </a:lnTo>
                  <a:lnTo>
                    <a:pt x="129" y="304"/>
                  </a:lnTo>
                  <a:lnTo>
                    <a:pt x="127" y="306"/>
                  </a:lnTo>
                  <a:lnTo>
                    <a:pt x="124" y="306"/>
                  </a:lnTo>
                  <a:lnTo>
                    <a:pt x="124" y="304"/>
                  </a:lnTo>
                  <a:lnTo>
                    <a:pt x="122" y="304"/>
                  </a:lnTo>
                  <a:lnTo>
                    <a:pt x="118" y="304"/>
                  </a:lnTo>
                  <a:lnTo>
                    <a:pt x="117" y="306"/>
                  </a:lnTo>
                  <a:lnTo>
                    <a:pt x="115" y="307"/>
                  </a:lnTo>
                  <a:lnTo>
                    <a:pt x="113" y="307"/>
                  </a:lnTo>
                  <a:lnTo>
                    <a:pt x="110" y="306"/>
                  </a:lnTo>
                  <a:lnTo>
                    <a:pt x="104" y="304"/>
                  </a:lnTo>
                  <a:lnTo>
                    <a:pt x="104" y="302"/>
                  </a:lnTo>
                  <a:lnTo>
                    <a:pt x="101" y="302"/>
                  </a:lnTo>
                  <a:lnTo>
                    <a:pt x="101" y="299"/>
                  </a:lnTo>
                  <a:lnTo>
                    <a:pt x="101" y="297"/>
                  </a:lnTo>
                  <a:lnTo>
                    <a:pt x="99" y="297"/>
                  </a:lnTo>
                  <a:lnTo>
                    <a:pt x="99" y="297"/>
                  </a:lnTo>
                  <a:lnTo>
                    <a:pt x="98" y="293"/>
                  </a:lnTo>
                  <a:lnTo>
                    <a:pt x="96" y="292"/>
                  </a:lnTo>
                  <a:lnTo>
                    <a:pt x="92" y="290"/>
                  </a:lnTo>
                  <a:lnTo>
                    <a:pt x="92" y="285"/>
                  </a:lnTo>
                  <a:lnTo>
                    <a:pt x="92" y="283"/>
                  </a:lnTo>
                  <a:lnTo>
                    <a:pt x="91" y="281"/>
                  </a:lnTo>
                  <a:lnTo>
                    <a:pt x="84" y="280"/>
                  </a:lnTo>
                  <a:lnTo>
                    <a:pt x="82" y="280"/>
                  </a:lnTo>
                  <a:lnTo>
                    <a:pt x="82" y="276"/>
                  </a:lnTo>
                  <a:lnTo>
                    <a:pt x="82" y="274"/>
                  </a:lnTo>
                  <a:lnTo>
                    <a:pt x="78" y="273"/>
                  </a:lnTo>
                  <a:lnTo>
                    <a:pt x="78" y="271"/>
                  </a:lnTo>
                  <a:lnTo>
                    <a:pt x="75" y="266"/>
                  </a:lnTo>
                  <a:lnTo>
                    <a:pt x="75" y="264"/>
                  </a:lnTo>
                  <a:lnTo>
                    <a:pt x="70" y="260"/>
                  </a:lnTo>
                  <a:lnTo>
                    <a:pt x="68" y="260"/>
                  </a:lnTo>
                  <a:lnTo>
                    <a:pt x="66" y="259"/>
                  </a:lnTo>
                  <a:lnTo>
                    <a:pt x="64" y="260"/>
                  </a:lnTo>
                  <a:lnTo>
                    <a:pt x="61" y="259"/>
                  </a:lnTo>
                  <a:lnTo>
                    <a:pt x="58" y="257"/>
                  </a:lnTo>
                  <a:lnTo>
                    <a:pt x="59" y="253"/>
                  </a:lnTo>
                  <a:lnTo>
                    <a:pt x="59" y="253"/>
                  </a:lnTo>
                  <a:lnTo>
                    <a:pt x="63" y="252"/>
                  </a:lnTo>
                  <a:lnTo>
                    <a:pt x="63" y="250"/>
                  </a:lnTo>
                  <a:lnTo>
                    <a:pt x="61" y="248"/>
                  </a:lnTo>
                  <a:lnTo>
                    <a:pt x="58" y="248"/>
                  </a:lnTo>
                  <a:lnTo>
                    <a:pt x="54" y="247"/>
                  </a:lnTo>
                  <a:lnTo>
                    <a:pt x="54" y="243"/>
                  </a:lnTo>
                  <a:lnTo>
                    <a:pt x="51" y="241"/>
                  </a:lnTo>
                  <a:lnTo>
                    <a:pt x="47" y="241"/>
                  </a:lnTo>
                  <a:lnTo>
                    <a:pt x="45" y="240"/>
                  </a:lnTo>
                  <a:lnTo>
                    <a:pt x="42" y="238"/>
                  </a:lnTo>
                  <a:lnTo>
                    <a:pt x="42" y="234"/>
                  </a:lnTo>
                  <a:lnTo>
                    <a:pt x="42" y="231"/>
                  </a:lnTo>
                  <a:lnTo>
                    <a:pt x="42" y="231"/>
                  </a:lnTo>
                  <a:lnTo>
                    <a:pt x="35" y="231"/>
                  </a:lnTo>
                  <a:lnTo>
                    <a:pt x="35" y="234"/>
                  </a:lnTo>
                  <a:lnTo>
                    <a:pt x="30" y="231"/>
                  </a:lnTo>
                  <a:lnTo>
                    <a:pt x="28" y="231"/>
                  </a:lnTo>
                  <a:lnTo>
                    <a:pt x="26" y="226"/>
                  </a:lnTo>
                  <a:lnTo>
                    <a:pt x="28" y="222"/>
                  </a:lnTo>
                  <a:lnTo>
                    <a:pt x="30" y="220"/>
                  </a:lnTo>
                  <a:lnTo>
                    <a:pt x="30" y="217"/>
                  </a:lnTo>
                  <a:lnTo>
                    <a:pt x="30" y="214"/>
                  </a:lnTo>
                  <a:lnTo>
                    <a:pt x="26" y="208"/>
                  </a:lnTo>
                  <a:lnTo>
                    <a:pt x="23" y="200"/>
                  </a:lnTo>
                  <a:lnTo>
                    <a:pt x="23" y="200"/>
                  </a:lnTo>
                  <a:lnTo>
                    <a:pt x="18" y="198"/>
                  </a:lnTo>
                  <a:lnTo>
                    <a:pt x="19" y="196"/>
                  </a:lnTo>
                  <a:lnTo>
                    <a:pt x="19" y="193"/>
                  </a:lnTo>
                  <a:lnTo>
                    <a:pt x="18" y="191"/>
                  </a:lnTo>
                  <a:lnTo>
                    <a:pt x="18" y="191"/>
                  </a:lnTo>
                  <a:lnTo>
                    <a:pt x="18" y="189"/>
                  </a:lnTo>
                  <a:lnTo>
                    <a:pt x="19" y="186"/>
                  </a:lnTo>
                  <a:lnTo>
                    <a:pt x="18" y="184"/>
                  </a:lnTo>
                  <a:lnTo>
                    <a:pt x="11" y="180"/>
                  </a:lnTo>
                  <a:lnTo>
                    <a:pt x="11" y="177"/>
                  </a:lnTo>
                  <a:lnTo>
                    <a:pt x="11" y="174"/>
                  </a:lnTo>
                  <a:lnTo>
                    <a:pt x="9" y="172"/>
                  </a:lnTo>
                  <a:lnTo>
                    <a:pt x="9" y="168"/>
                  </a:lnTo>
                  <a:lnTo>
                    <a:pt x="7" y="167"/>
                  </a:lnTo>
                  <a:lnTo>
                    <a:pt x="9" y="165"/>
                  </a:lnTo>
                  <a:lnTo>
                    <a:pt x="9" y="163"/>
                  </a:lnTo>
                  <a:lnTo>
                    <a:pt x="7" y="163"/>
                  </a:lnTo>
                  <a:lnTo>
                    <a:pt x="2" y="165"/>
                  </a:lnTo>
                  <a:lnTo>
                    <a:pt x="0" y="163"/>
                  </a:lnTo>
                  <a:lnTo>
                    <a:pt x="0" y="161"/>
                  </a:lnTo>
                  <a:lnTo>
                    <a:pt x="5" y="154"/>
                  </a:lnTo>
                  <a:lnTo>
                    <a:pt x="7" y="151"/>
                  </a:lnTo>
                  <a:lnTo>
                    <a:pt x="7" y="147"/>
                  </a:lnTo>
                  <a:lnTo>
                    <a:pt x="4" y="146"/>
                  </a:lnTo>
                  <a:lnTo>
                    <a:pt x="5" y="144"/>
                  </a:lnTo>
                  <a:lnTo>
                    <a:pt x="9" y="142"/>
                  </a:lnTo>
                  <a:lnTo>
                    <a:pt x="11" y="137"/>
                  </a:lnTo>
                  <a:lnTo>
                    <a:pt x="9" y="135"/>
                  </a:lnTo>
                  <a:lnTo>
                    <a:pt x="9" y="135"/>
                  </a:lnTo>
                  <a:lnTo>
                    <a:pt x="11" y="132"/>
                  </a:lnTo>
                  <a:lnTo>
                    <a:pt x="14" y="132"/>
                  </a:lnTo>
                  <a:lnTo>
                    <a:pt x="19" y="123"/>
                  </a:lnTo>
                  <a:lnTo>
                    <a:pt x="19" y="120"/>
                  </a:lnTo>
                  <a:lnTo>
                    <a:pt x="19" y="118"/>
                  </a:lnTo>
                  <a:lnTo>
                    <a:pt x="19" y="113"/>
                  </a:lnTo>
                  <a:lnTo>
                    <a:pt x="23" y="109"/>
                  </a:lnTo>
                  <a:lnTo>
                    <a:pt x="26" y="109"/>
                  </a:lnTo>
                  <a:lnTo>
                    <a:pt x="28" y="113"/>
                  </a:lnTo>
                  <a:lnTo>
                    <a:pt x="31" y="109"/>
                  </a:lnTo>
                  <a:lnTo>
                    <a:pt x="35" y="109"/>
                  </a:lnTo>
                  <a:lnTo>
                    <a:pt x="33" y="41"/>
                  </a:lnTo>
                  <a:lnTo>
                    <a:pt x="33" y="41"/>
                  </a:lnTo>
                  <a:lnTo>
                    <a:pt x="33" y="36"/>
                  </a:lnTo>
                  <a:lnTo>
                    <a:pt x="51" y="36"/>
                  </a:lnTo>
                  <a:lnTo>
                    <a:pt x="47" y="1"/>
                  </a:lnTo>
                  <a:lnTo>
                    <a:pt x="47" y="1"/>
                  </a:lnTo>
                  <a:lnTo>
                    <a:pt x="47" y="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4" name="Freeform 100">
              <a:extLst>
                <a:ext uri="{FF2B5EF4-FFF2-40B4-BE49-F238E27FC236}">
                  <a16:creationId xmlns:a16="http://schemas.microsoft.com/office/drawing/2014/main" id="{8DB99EC4-DC3E-4022-AA2A-3D8DAC93A4B2}"/>
                </a:ext>
              </a:extLst>
            </p:cNvPr>
            <p:cNvSpPr>
              <a:spLocks/>
            </p:cNvSpPr>
            <p:nvPr/>
          </p:nvSpPr>
          <p:spPr bwMode="auto">
            <a:xfrm>
              <a:off x="5351463" y="3856038"/>
              <a:ext cx="411163" cy="307975"/>
            </a:xfrm>
            <a:custGeom>
              <a:avLst/>
              <a:gdLst/>
              <a:ahLst/>
              <a:cxnLst>
                <a:cxn ang="0">
                  <a:pos x="36" y="154"/>
                </a:cxn>
                <a:cxn ang="0">
                  <a:pos x="31" y="144"/>
                </a:cxn>
                <a:cxn ang="0">
                  <a:pos x="26" y="140"/>
                </a:cxn>
                <a:cxn ang="0">
                  <a:pos x="19" y="130"/>
                </a:cxn>
                <a:cxn ang="0">
                  <a:pos x="14" y="123"/>
                </a:cxn>
                <a:cxn ang="0">
                  <a:pos x="3" y="123"/>
                </a:cxn>
                <a:cxn ang="0">
                  <a:pos x="5" y="114"/>
                </a:cxn>
                <a:cxn ang="0">
                  <a:pos x="14" y="111"/>
                </a:cxn>
                <a:cxn ang="0">
                  <a:pos x="19" y="111"/>
                </a:cxn>
                <a:cxn ang="0">
                  <a:pos x="21" y="95"/>
                </a:cxn>
                <a:cxn ang="0">
                  <a:pos x="22" y="81"/>
                </a:cxn>
                <a:cxn ang="0">
                  <a:pos x="28" y="73"/>
                </a:cxn>
                <a:cxn ang="0">
                  <a:pos x="31" y="69"/>
                </a:cxn>
                <a:cxn ang="0">
                  <a:pos x="40" y="47"/>
                </a:cxn>
                <a:cxn ang="0">
                  <a:pos x="45" y="36"/>
                </a:cxn>
                <a:cxn ang="0">
                  <a:pos x="52" y="29"/>
                </a:cxn>
                <a:cxn ang="0">
                  <a:pos x="59" y="12"/>
                </a:cxn>
                <a:cxn ang="0">
                  <a:pos x="66" y="12"/>
                </a:cxn>
                <a:cxn ang="0">
                  <a:pos x="75" y="0"/>
                </a:cxn>
                <a:cxn ang="0">
                  <a:pos x="85" y="7"/>
                </a:cxn>
                <a:cxn ang="0">
                  <a:pos x="94" y="1"/>
                </a:cxn>
                <a:cxn ang="0">
                  <a:pos x="101" y="1"/>
                </a:cxn>
                <a:cxn ang="0">
                  <a:pos x="108" y="7"/>
                </a:cxn>
                <a:cxn ang="0">
                  <a:pos x="118" y="10"/>
                </a:cxn>
                <a:cxn ang="0">
                  <a:pos x="130" y="19"/>
                </a:cxn>
                <a:cxn ang="0">
                  <a:pos x="134" y="22"/>
                </a:cxn>
                <a:cxn ang="0">
                  <a:pos x="148" y="29"/>
                </a:cxn>
                <a:cxn ang="0">
                  <a:pos x="151" y="40"/>
                </a:cxn>
                <a:cxn ang="0">
                  <a:pos x="156" y="47"/>
                </a:cxn>
                <a:cxn ang="0">
                  <a:pos x="153" y="59"/>
                </a:cxn>
                <a:cxn ang="0">
                  <a:pos x="148" y="67"/>
                </a:cxn>
                <a:cxn ang="0">
                  <a:pos x="160" y="67"/>
                </a:cxn>
                <a:cxn ang="0">
                  <a:pos x="167" y="69"/>
                </a:cxn>
                <a:cxn ang="0">
                  <a:pos x="175" y="88"/>
                </a:cxn>
                <a:cxn ang="0">
                  <a:pos x="182" y="100"/>
                </a:cxn>
                <a:cxn ang="0">
                  <a:pos x="259" y="118"/>
                </a:cxn>
                <a:cxn ang="0">
                  <a:pos x="186" y="172"/>
                </a:cxn>
                <a:cxn ang="0">
                  <a:pos x="174" y="173"/>
                </a:cxn>
                <a:cxn ang="0">
                  <a:pos x="167" y="182"/>
                </a:cxn>
                <a:cxn ang="0">
                  <a:pos x="153" y="189"/>
                </a:cxn>
                <a:cxn ang="0">
                  <a:pos x="142" y="191"/>
                </a:cxn>
                <a:cxn ang="0">
                  <a:pos x="135" y="182"/>
                </a:cxn>
                <a:cxn ang="0">
                  <a:pos x="123" y="186"/>
                </a:cxn>
                <a:cxn ang="0">
                  <a:pos x="113" y="194"/>
                </a:cxn>
                <a:cxn ang="0">
                  <a:pos x="106" y="194"/>
                </a:cxn>
                <a:cxn ang="0">
                  <a:pos x="90" y="194"/>
                </a:cxn>
                <a:cxn ang="0">
                  <a:pos x="81" y="187"/>
                </a:cxn>
                <a:cxn ang="0">
                  <a:pos x="62" y="179"/>
                </a:cxn>
                <a:cxn ang="0">
                  <a:pos x="50" y="179"/>
                </a:cxn>
                <a:cxn ang="0">
                  <a:pos x="45" y="165"/>
                </a:cxn>
                <a:cxn ang="0">
                  <a:pos x="40" y="163"/>
                </a:cxn>
              </a:cxnLst>
              <a:rect l="0" t="0" r="r" b="b"/>
              <a:pathLst>
                <a:path w="259" h="194">
                  <a:moveTo>
                    <a:pt x="40" y="163"/>
                  </a:moveTo>
                  <a:lnTo>
                    <a:pt x="38" y="158"/>
                  </a:lnTo>
                  <a:lnTo>
                    <a:pt x="36" y="154"/>
                  </a:lnTo>
                  <a:lnTo>
                    <a:pt x="36" y="149"/>
                  </a:lnTo>
                  <a:lnTo>
                    <a:pt x="33" y="146"/>
                  </a:lnTo>
                  <a:lnTo>
                    <a:pt x="31" y="144"/>
                  </a:lnTo>
                  <a:lnTo>
                    <a:pt x="29" y="140"/>
                  </a:lnTo>
                  <a:lnTo>
                    <a:pt x="26" y="140"/>
                  </a:lnTo>
                  <a:lnTo>
                    <a:pt x="26" y="140"/>
                  </a:lnTo>
                  <a:lnTo>
                    <a:pt x="26" y="139"/>
                  </a:lnTo>
                  <a:lnTo>
                    <a:pt x="22" y="137"/>
                  </a:lnTo>
                  <a:lnTo>
                    <a:pt x="19" y="130"/>
                  </a:lnTo>
                  <a:lnTo>
                    <a:pt x="19" y="130"/>
                  </a:lnTo>
                  <a:lnTo>
                    <a:pt x="17" y="126"/>
                  </a:lnTo>
                  <a:lnTo>
                    <a:pt x="14" y="123"/>
                  </a:lnTo>
                  <a:lnTo>
                    <a:pt x="12" y="123"/>
                  </a:lnTo>
                  <a:lnTo>
                    <a:pt x="5" y="123"/>
                  </a:lnTo>
                  <a:lnTo>
                    <a:pt x="3" y="123"/>
                  </a:lnTo>
                  <a:lnTo>
                    <a:pt x="0" y="120"/>
                  </a:lnTo>
                  <a:lnTo>
                    <a:pt x="3" y="116"/>
                  </a:lnTo>
                  <a:lnTo>
                    <a:pt x="5" y="114"/>
                  </a:lnTo>
                  <a:lnTo>
                    <a:pt x="5" y="111"/>
                  </a:lnTo>
                  <a:lnTo>
                    <a:pt x="10" y="111"/>
                  </a:lnTo>
                  <a:lnTo>
                    <a:pt x="14" y="111"/>
                  </a:lnTo>
                  <a:lnTo>
                    <a:pt x="15" y="113"/>
                  </a:lnTo>
                  <a:lnTo>
                    <a:pt x="17" y="113"/>
                  </a:lnTo>
                  <a:lnTo>
                    <a:pt x="19" y="111"/>
                  </a:lnTo>
                  <a:lnTo>
                    <a:pt x="21" y="109"/>
                  </a:lnTo>
                  <a:lnTo>
                    <a:pt x="21" y="100"/>
                  </a:lnTo>
                  <a:lnTo>
                    <a:pt x="21" y="95"/>
                  </a:lnTo>
                  <a:lnTo>
                    <a:pt x="22" y="90"/>
                  </a:lnTo>
                  <a:lnTo>
                    <a:pt x="26" y="85"/>
                  </a:lnTo>
                  <a:lnTo>
                    <a:pt x="22" y="81"/>
                  </a:lnTo>
                  <a:lnTo>
                    <a:pt x="22" y="81"/>
                  </a:lnTo>
                  <a:lnTo>
                    <a:pt x="26" y="78"/>
                  </a:lnTo>
                  <a:lnTo>
                    <a:pt x="28" y="73"/>
                  </a:lnTo>
                  <a:lnTo>
                    <a:pt x="28" y="69"/>
                  </a:lnTo>
                  <a:lnTo>
                    <a:pt x="29" y="69"/>
                  </a:lnTo>
                  <a:lnTo>
                    <a:pt x="31" y="69"/>
                  </a:lnTo>
                  <a:lnTo>
                    <a:pt x="35" y="59"/>
                  </a:lnTo>
                  <a:lnTo>
                    <a:pt x="38" y="52"/>
                  </a:lnTo>
                  <a:lnTo>
                    <a:pt x="40" y="47"/>
                  </a:lnTo>
                  <a:lnTo>
                    <a:pt x="43" y="47"/>
                  </a:lnTo>
                  <a:lnTo>
                    <a:pt x="45" y="40"/>
                  </a:lnTo>
                  <a:lnTo>
                    <a:pt x="45" y="36"/>
                  </a:lnTo>
                  <a:lnTo>
                    <a:pt x="48" y="36"/>
                  </a:lnTo>
                  <a:lnTo>
                    <a:pt x="50" y="36"/>
                  </a:lnTo>
                  <a:lnTo>
                    <a:pt x="52" y="29"/>
                  </a:lnTo>
                  <a:lnTo>
                    <a:pt x="57" y="22"/>
                  </a:lnTo>
                  <a:lnTo>
                    <a:pt x="57" y="17"/>
                  </a:lnTo>
                  <a:lnTo>
                    <a:pt x="59" y="12"/>
                  </a:lnTo>
                  <a:lnTo>
                    <a:pt x="61" y="10"/>
                  </a:lnTo>
                  <a:lnTo>
                    <a:pt x="62" y="10"/>
                  </a:lnTo>
                  <a:lnTo>
                    <a:pt x="66" y="12"/>
                  </a:lnTo>
                  <a:lnTo>
                    <a:pt x="66" y="10"/>
                  </a:lnTo>
                  <a:lnTo>
                    <a:pt x="69" y="10"/>
                  </a:lnTo>
                  <a:lnTo>
                    <a:pt x="75" y="0"/>
                  </a:lnTo>
                  <a:lnTo>
                    <a:pt x="76" y="1"/>
                  </a:lnTo>
                  <a:lnTo>
                    <a:pt x="78" y="1"/>
                  </a:lnTo>
                  <a:lnTo>
                    <a:pt x="85" y="7"/>
                  </a:lnTo>
                  <a:lnTo>
                    <a:pt x="88" y="7"/>
                  </a:lnTo>
                  <a:lnTo>
                    <a:pt x="90" y="1"/>
                  </a:lnTo>
                  <a:lnTo>
                    <a:pt x="94" y="1"/>
                  </a:lnTo>
                  <a:lnTo>
                    <a:pt x="95" y="5"/>
                  </a:lnTo>
                  <a:lnTo>
                    <a:pt x="97" y="1"/>
                  </a:lnTo>
                  <a:lnTo>
                    <a:pt x="101" y="1"/>
                  </a:lnTo>
                  <a:lnTo>
                    <a:pt x="106" y="7"/>
                  </a:lnTo>
                  <a:lnTo>
                    <a:pt x="106" y="7"/>
                  </a:lnTo>
                  <a:lnTo>
                    <a:pt x="108" y="7"/>
                  </a:lnTo>
                  <a:lnTo>
                    <a:pt x="111" y="7"/>
                  </a:lnTo>
                  <a:lnTo>
                    <a:pt x="114" y="10"/>
                  </a:lnTo>
                  <a:lnTo>
                    <a:pt x="118" y="10"/>
                  </a:lnTo>
                  <a:lnTo>
                    <a:pt x="123" y="15"/>
                  </a:lnTo>
                  <a:lnTo>
                    <a:pt x="125" y="17"/>
                  </a:lnTo>
                  <a:lnTo>
                    <a:pt x="130" y="19"/>
                  </a:lnTo>
                  <a:lnTo>
                    <a:pt x="130" y="19"/>
                  </a:lnTo>
                  <a:lnTo>
                    <a:pt x="134" y="20"/>
                  </a:lnTo>
                  <a:lnTo>
                    <a:pt x="134" y="22"/>
                  </a:lnTo>
                  <a:lnTo>
                    <a:pt x="139" y="24"/>
                  </a:lnTo>
                  <a:lnTo>
                    <a:pt x="144" y="29"/>
                  </a:lnTo>
                  <a:lnTo>
                    <a:pt x="148" y="29"/>
                  </a:lnTo>
                  <a:lnTo>
                    <a:pt x="151" y="33"/>
                  </a:lnTo>
                  <a:lnTo>
                    <a:pt x="151" y="36"/>
                  </a:lnTo>
                  <a:lnTo>
                    <a:pt x="151" y="40"/>
                  </a:lnTo>
                  <a:lnTo>
                    <a:pt x="153" y="40"/>
                  </a:lnTo>
                  <a:lnTo>
                    <a:pt x="158" y="47"/>
                  </a:lnTo>
                  <a:lnTo>
                    <a:pt x="156" y="47"/>
                  </a:lnTo>
                  <a:lnTo>
                    <a:pt x="153" y="52"/>
                  </a:lnTo>
                  <a:lnTo>
                    <a:pt x="151" y="55"/>
                  </a:lnTo>
                  <a:lnTo>
                    <a:pt x="153" y="59"/>
                  </a:lnTo>
                  <a:lnTo>
                    <a:pt x="151" y="60"/>
                  </a:lnTo>
                  <a:lnTo>
                    <a:pt x="151" y="64"/>
                  </a:lnTo>
                  <a:lnTo>
                    <a:pt x="148" y="67"/>
                  </a:lnTo>
                  <a:lnTo>
                    <a:pt x="151" y="69"/>
                  </a:lnTo>
                  <a:lnTo>
                    <a:pt x="156" y="69"/>
                  </a:lnTo>
                  <a:lnTo>
                    <a:pt x="160" y="67"/>
                  </a:lnTo>
                  <a:lnTo>
                    <a:pt x="165" y="66"/>
                  </a:lnTo>
                  <a:lnTo>
                    <a:pt x="168" y="67"/>
                  </a:lnTo>
                  <a:lnTo>
                    <a:pt x="167" y="69"/>
                  </a:lnTo>
                  <a:lnTo>
                    <a:pt x="168" y="78"/>
                  </a:lnTo>
                  <a:lnTo>
                    <a:pt x="170" y="85"/>
                  </a:lnTo>
                  <a:lnTo>
                    <a:pt x="175" y="88"/>
                  </a:lnTo>
                  <a:lnTo>
                    <a:pt x="174" y="93"/>
                  </a:lnTo>
                  <a:lnTo>
                    <a:pt x="177" y="97"/>
                  </a:lnTo>
                  <a:lnTo>
                    <a:pt x="182" y="100"/>
                  </a:lnTo>
                  <a:lnTo>
                    <a:pt x="187" y="104"/>
                  </a:lnTo>
                  <a:lnTo>
                    <a:pt x="236" y="118"/>
                  </a:lnTo>
                  <a:lnTo>
                    <a:pt x="259" y="118"/>
                  </a:lnTo>
                  <a:lnTo>
                    <a:pt x="207" y="172"/>
                  </a:lnTo>
                  <a:lnTo>
                    <a:pt x="196" y="168"/>
                  </a:lnTo>
                  <a:lnTo>
                    <a:pt x="186" y="172"/>
                  </a:lnTo>
                  <a:lnTo>
                    <a:pt x="182" y="172"/>
                  </a:lnTo>
                  <a:lnTo>
                    <a:pt x="179" y="172"/>
                  </a:lnTo>
                  <a:lnTo>
                    <a:pt x="174" y="173"/>
                  </a:lnTo>
                  <a:lnTo>
                    <a:pt x="174" y="179"/>
                  </a:lnTo>
                  <a:lnTo>
                    <a:pt x="170" y="180"/>
                  </a:lnTo>
                  <a:lnTo>
                    <a:pt x="167" y="182"/>
                  </a:lnTo>
                  <a:lnTo>
                    <a:pt x="160" y="184"/>
                  </a:lnTo>
                  <a:lnTo>
                    <a:pt x="156" y="186"/>
                  </a:lnTo>
                  <a:lnTo>
                    <a:pt x="153" y="189"/>
                  </a:lnTo>
                  <a:lnTo>
                    <a:pt x="153" y="189"/>
                  </a:lnTo>
                  <a:lnTo>
                    <a:pt x="148" y="189"/>
                  </a:lnTo>
                  <a:lnTo>
                    <a:pt x="142" y="191"/>
                  </a:lnTo>
                  <a:lnTo>
                    <a:pt x="139" y="189"/>
                  </a:lnTo>
                  <a:lnTo>
                    <a:pt x="137" y="184"/>
                  </a:lnTo>
                  <a:lnTo>
                    <a:pt x="135" y="182"/>
                  </a:lnTo>
                  <a:lnTo>
                    <a:pt x="128" y="184"/>
                  </a:lnTo>
                  <a:lnTo>
                    <a:pt x="125" y="186"/>
                  </a:lnTo>
                  <a:lnTo>
                    <a:pt x="123" y="186"/>
                  </a:lnTo>
                  <a:lnTo>
                    <a:pt x="120" y="187"/>
                  </a:lnTo>
                  <a:lnTo>
                    <a:pt x="118" y="189"/>
                  </a:lnTo>
                  <a:lnTo>
                    <a:pt x="113" y="194"/>
                  </a:lnTo>
                  <a:lnTo>
                    <a:pt x="111" y="194"/>
                  </a:lnTo>
                  <a:lnTo>
                    <a:pt x="108" y="194"/>
                  </a:lnTo>
                  <a:lnTo>
                    <a:pt x="106" y="194"/>
                  </a:lnTo>
                  <a:lnTo>
                    <a:pt x="101" y="194"/>
                  </a:lnTo>
                  <a:lnTo>
                    <a:pt x="97" y="194"/>
                  </a:lnTo>
                  <a:lnTo>
                    <a:pt x="90" y="194"/>
                  </a:lnTo>
                  <a:lnTo>
                    <a:pt x="88" y="194"/>
                  </a:lnTo>
                  <a:lnTo>
                    <a:pt x="85" y="191"/>
                  </a:lnTo>
                  <a:lnTo>
                    <a:pt x="81" y="187"/>
                  </a:lnTo>
                  <a:lnTo>
                    <a:pt x="75" y="180"/>
                  </a:lnTo>
                  <a:lnTo>
                    <a:pt x="71" y="177"/>
                  </a:lnTo>
                  <a:lnTo>
                    <a:pt x="62" y="179"/>
                  </a:lnTo>
                  <a:lnTo>
                    <a:pt x="59" y="177"/>
                  </a:lnTo>
                  <a:lnTo>
                    <a:pt x="54" y="179"/>
                  </a:lnTo>
                  <a:lnTo>
                    <a:pt x="50" y="179"/>
                  </a:lnTo>
                  <a:lnTo>
                    <a:pt x="48" y="173"/>
                  </a:lnTo>
                  <a:lnTo>
                    <a:pt x="48" y="165"/>
                  </a:lnTo>
                  <a:lnTo>
                    <a:pt x="45" y="165"/>
                  </a:lnTo>
                  <a:lnTo>
                    <a:pt x="43" y="165"/>
                  </a:lnTo>
                  <a:lnTo>
                    <a:pt x="40" y="161"/>
                  </a:lnTo>
                  <a:lnTo>
                    <a:pt x="40" y="163"/>
                  </a:lnTo>
                  <a:lnTo>
                    <a:pt x="40" y="163"/>
                  </a:lnTo>
                  <a:lnTo>
                    <a:pt x="40" y="16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5" name="Freeform 101">
              <a:extLst>
                <a:ext uri="{FF2B5EF4-FFF2-40B4-BE49-F238E27FC236}">
                  <a16:creationId xmlns:a16="http://schemas.microsoft.com/office/drawing/2014/main" id="{2667C7C2-84D9-4579-B660-835D2A9D934C}"/>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6" name="Freeform 102">
              <a:extLst>
                <a:ext uri="{FF2B5EF4-FFF2-40B4-BE49-F238E27FC236}">
                  <a16:creationId xmlns:a16="http://schemas.microsoft.com/office/drawing/2014/main" id="{D99953BD-9DA0-493A-B8A9-4190380BEA42}"/>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7" name="Freeform 103">
              <a:extLst>
                <a:ext uri="{FF2B5EF4-FFF2-40B4-BE49-F238E27FC236}">
                  <a16:creationId xmlns:a16="http://schemas.microsoft.com/office/drawing/2014/main" id="{DEA87769-A98A-4288-981C-863FC0D6D6C2}"/>
                </a:ext>
              </a:extLst>
            </p:cNvPr>
            <p:cNvSpPr>
              <a:spLocks/>
            </p:cNvSpPr>
            <p:nvPr/>
          </p:nvSpPr>
          <p:spPr bwMode="auto">
            <a:xfrm>
              <a:off x="5591175" y="3919538"/>
              <a:ext cx="38100" cy="42863"/>
            </a:xfrm>
            <a:custGeom>
              <a:avLst/>
              <a:gdLst/>
              <a:ahLst/>
              <a:cxnLst>
                <a:cxn ang="0">
                  <a:pos x="19" y="26"/>
                </a:cxn>
                <a:cxn ang="0">
                  <a:pos x="16" y="24"/>
                </a:cxn>
                <a:cxn ang="0">
                  <a:pos x="10" y="26"/>
                </a:cxn>
                <a:cxn ang="0">
                  <a:pos x="9" y="27"/>
                </a:cxn>
                <a:cxn ang="0">
                  <a:pos x="2" y="27"/>
                </a:cxn>
                <a:cxn ang="0">
                  <a:pos x="0" y="26"/>
                </a:cxn>
                <a:cxn ang="0">
                  <a:pos x="2" y="22"/>
                </a:cxn>
                <a:cxn ang="0">
                  <a:pos x="3" y="19"/>
                </a:cxn>
                <a:cxn ang="0">
                  <a:pos x="5" y="17"/>
                </a:cxn>
                <a:cxn ang="0">
                  <a:pos x="3" y="13"/>
                </a:cxn>
                <a:cxn ang="0">
                  <a:pos x="5" y="10"/>
                </a:cxn>
                <a:cxn ang="0">
                  <a:pos x="7" y="7"/>
                </a:cxn>
                <a:cxn ang="0">
                  <a:pos x="12" y="5"/>
                </a:cxn>
                <a:cxn ang="0">
                  <a:pos x="14" y="3"/>
                </a:cxn>
                <a:cxn ang="0">
                  <a:pos x="17" y="1"/>
                </a:cxn>
                <a:cxn ang="0">
                  <a:pos x="21" y="0"/>
                </a:cxn>
                <a:cxn ang="0">
                  <a:pos x="21" y="0"/>
                </a:cxn>
                <a:cxn ang="0">
                  <a:pos x="21" y="1"/>
                </a:cxn>
                <a:cxn ang="0">
                  <a:pos x="24" y="3"/>
                </a:cxn>
                <a:cxn ang="0">
                  <a:pos x="24" y="3"/>
                </a:cxn>
                <a:cxn ang="0">
                  <a:pos x="24" y="5"/>
                </a:cxn>
                <a:cxn ang="0">
                  <a:pos x="24" y="10"/>
                </a:cxn>
                <a:cxn ang="0">
                  <a:pos x="24" y="10"/>
                </a:cxn>
                <a:cxn ang="0">
                  <a:pos x="21" y="13"/>
                </a:cxn>
                <a:cxn ang="0">
                  <a:pos x="17" y="13"/>
                </a:cxn>
                <a:cxn ang="0">
                  <a:pos x="16" y="17"/>
                </a:cxn>
                <a:cxn ang="0">
                  <a:pos x="12" y="17"/>
                </a:cxn>
                <a:cxn ang="0">
                  <a:pos x="14" y="19"/>
                </a:cxn>
                <a:cxn ang="0">
                  <a:pos x="16" y="19"/>
                </a:cxn>
                <a:cxn ang="0">
                  <a:pos x="19" y="19"/>
                </a:cxn>
                <a:cxn ang="0">
                  <a:pos x="21" y="19"/>
                </a:cxn>
                <a:cxn ang="0">
                  <a:pos x="24" y="19"/>
                </a:cxn>
                <a:cxn ang="0">
                  <a:pos x="19" y="26"/>
                </a:cxn>
                <a:cxn ang="0">
                  <a:pos x="19" y="26"/>
                </a:cxn>
                <a:cxn ang="0">
                  <a:pos x="19" y="26"/>
                </a:cxn>
                <a:cxn ang="0">
                  <a:pos x="19" y="26"/>
                </a:cxn>
              </a:cxnLst>
              <a:rect l="0" t="0" r="r" b="b"/>
              <a:pathLst>
                <a:path w="24" h="27">
                  <a:moveTo>
                    <a:pt x="19" y="26"/>
                  </a:moveTo>
                  <a:lnTo>
                    <a:pt x="16" y="24"/>
                  </a:lnTo>
                  <a:lnTo>
                    <a:pt x="10" y="26"/>
                  </a:lnTo>
                  <a:lnTo>
                    <a:pt x="9" y="27"/>
                  </a:lnTo>
                  <a:lnTo>
                    <a:pt x="2" y="27"/>
                  </a:lnTo>
                  <a:lnTo>
                    <a:pt x="0" y="26"/>
                  </a:lnTo>
                  <a:lnTo>
                    <a:pt x="2" y="22"/>
                  </a:lnTo>
                  <a:lnTo>
                    <a:pt x="3" y="19"/>
                  </a:lnTo>
                  <a:lnTo>
                    <a:pt x="5" y="17"/>
                  </a:lnTo>
                  <a:lnTo>
                    <a:pt x="3" y="13"/>
                  </a:lnTo>
                  <a:lnTo>
                    <a:pt x="5" y="10"/>
                  </a:lnTo>
                  <a:lnTo>
                    <a:pt x="7" y="7"/>
                  </a:lnTo>
                  <a:lnTo>
                    <a:pt x="12" y="5"/>
                  </a:lnTo>
                  <a:lnTo>
                    <a:pt x="14" y="3"/>
                  </a:lnTo>
                  <a:lnTo>
                    <a:pt x="17" y="1"/>
                  </a:lnTo>
                  <a:lnTo>
                    <a:pt x="21" y="0"/>
                  </a:lnTo>
                  <a:lnTo>
                    <a:pt x="21" y="0"/>
                  </a:lnTo>
                  <a:lnTo>
                    <a:pt x="21" y="1"/>
                  </a:lnTo>
                  <a:lnTo>
                    <a:pt x="24" y="3"/>
                  </a:lnTo>
                  <a:lnTo>
                    <a:pt x="24" y="3"/>
                  </a:lnTo>
                  <a:lnTo>
                    <a:pt x="24" y="5"/>
                  </a:lnTo>
                  <a:lnTo>
                    <a:pt x="24" y="10"/>
                  </a:lnTo>
                  <a:lnTo>
                    <a:pt x="24" y="10"/>
                  </a:lnTo>
                  <a:lnTo>
                    <a:pt x="21" y="13"/>
                  </a:lnTo>
                  <a:lnTo>
                    <a:pt x="17" y="13"/>
                  </a:lnTo>
                  <a:lnTo>
                    <a:pt x="16" y="17"/>
                  </a:lnTo>
                  <a:lnTo>
                    <a:pt x="12" y="17"/>
                  </a:lnTo>
                  <a:lnTo>
                    <a:pt x="14" y="19"/>
                  </a:lnTo>
                  <a:lnTo>
                    <a:pt x="16" y="19"/>
                  </a:lnTo>
                  <a:lnTo>
                    <a:pt x="19" y="19"/>
                  </a:lnTo>
                  <a:lnTo>
                    <a:pt x="21" y="19"/>
                  </a:lnTo>
                  <a:lnTo>
                    <a:pt x="24" y="19"/>
                  </a:lnTo>
                  <a:lnTo>
                    <a:pt x="19" y="26"/>
                  </a:lnTo>
                  <a:lnTo>
                    <a:pt x="19" y="26"/>
                  </a:lnTo>
                  <a:lnTo>
                    <a:pt x="19" y="26"/>
                  </a:lnTo>
                  <a:lnTo>
                    <a:pt x="19"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8" name="Freeform 104">
              <a:extLst>
                <a:ext uri="{FF2B5EF4-FFF2-40B4-BE49-F238E27FC236}">
                  <a16:creationId xmlns:a16="http://schemas.microsoft.com/office/drawing/2014/main" id="{4F35D7CA-81EF-4DE7-8CF4-173B9CA286C9}"/>
                </a:ext>
              </a:extLst>
            </p:cNvPr>
            <p:cNvSpPr>
              <a:spLocks/>
            </p:cNvSpPr>
            <p:nvPr/>
          </p:nvSpPr>
          <p:spPr bwMode="auto">
            <a:xfrm>
              <a:off x="5568950" y="3932238"/>
              <a:ext cx="279400" cy="373063"/>
            </a:xfrm>
            <a:custGeom>
              <a:avLst/>
              <a:gdLst/>
              <a:ahLst/>
              <a:cxnLst>
                <a:cxn ang="0">
                  <a:pos x="17" y="138"/>
                </a:cxn>
                <a:cxn ang="0">
                  <a:pos x="33" y="132"/>
                </a:cxn>
                <a:cxn ang="0">
                  <a:pos x="42" y="124"/>
                </a:cxn>
                <a:cxn ang="0">
                  <a:pos x="59" y="120"/>
                </a:cxn>
                <a:cxn ang="0">
                  <a:pos x="101" y="68"/>
                </a:cxn>
                <a:cxn ang="0">
                  <a:pos x="40" y="47"/>
                </a:cxn>
                <a:cxn ang="0">
                  <a:pos x="33" y="35"/>
                </a:cxn>
                <a:cxn ang="0">
                  <a:pos x="31" y="18"/>
                </a:cxn>
                <a:cxn ang="0">
                  <a:pos x="37" y="12"/>
                </a:cxn>
                <a:cxn ang="0">
                  <a:pos x="50" y="28"/>
                </a:cxn>
                <a:cxn ang="0">
                  <a:pos x="64" y="32"/>
                </a:cxn>
                <a:cxn ang="0">
                  <a:pos x="73" y="28"/>
                </a:cxn>
                <a:cxn ang="0">
                  <a:pos x="82" y="23"/>
                </a:cxn>
                <a:cxn ang="0">
                  <a:pos x="92" y="23"/>
                </a:cxn>
                <a:cxn ang="0">
                  <a:pos x="110" y="16"/>
                </a:cxn>
                <a:cxn ang="0">
                  <a:pos x="120" y="18"/>
                </a:cxn>
                <a:cxn ang="0">
                  <a:pos x="132" y="16"/>
                </a:cxn>
                <a:cxn ang="0">
                  <a:pos x="146" y="11"/>
                </a:cxn>
                <a:cxn ang="0">
                  <a:pos x="151" y="11"/>
                </a:cxn>
                <a:cxn ang="0">
                  <a:pos x="162" y="7"/>
                </a:cxn>
                <a:cxn ang="0">
                  <a:pos x="163" y="2"/>
                </a:cxn>
                <a:cxn ang="0">
                  <a:pos x="167" y="2"/>
                </a:cxn>
                <a:cxn ang="0">
                  <a:pos x="176" y="4"/>
                </a:cxn>
                <a:cxn ang="0">
                  <a:pos x="170" y="12"/>
                </a:cxn>
                <a:cxn ang="0">
                  <a:pos x="174" y="16"/>
                </a:cxn>
                <a:cxn ang="0">
                  <a:pos x="170" y="23"/>
                </a:cxn>
                <a:cxn ang="0">
                  <a:pos x="170" y="32"/>
                </a:cxn>
                <a:cxn ang="0">
                  <a:pos x="176" y="28"/>
                </a:cxn>
                <a:cxn ang="0">
                  <a:pos x="174" y="32"/>
                </a:cxn>
                <a:cxn ang="0">
                  <a:pos x="169" y="35"/>
                </a:cxn>
                <a:cxn ang="0">
                  <a:pos x="167" y="44"/>
                </a:cxn>
                <a:cxn ang="0">
                  <a:pos x="156" y="65"/>
                </a:cxn>
                <a:cxn ang="0">
                  <a:pos x="151" y="72"/>
                </a:cxn>
                <a:cxn ang="0">
                  <a:pos x="148" y="78"/>
                </a:cxn>
                <a:cxn ang="0">
                  <a:pos x="132" y="112"/>
                </a:cxn>
                <a:cxn ang="0">
                  <a:pos x="120" y="134"/>
                </a:cxn>
                <a:cxn ang="0">
                  <a:pos x="87" y="167"/>
                </a:cxn>
                <a:cxn ang="0">
                  <a:pos x="68" y="179"/>
                </a:cxn>
                <a:cxn ang="0">
                  <a:pos x="47" y="197"/>
                </a:cxn>
                <a:cxn ang="0">
                  <a:pos x="33" y="211"/>
                </a:cxn>
                <a:cxn ang="0">
                  <a:pos x="26" y="218"/>
                </a:cxn>
                <a:cxn ang="0">
                  <a:pos x="0" y="225"/>
                </a:cxn>
                <a:cxn ang="0">
                  <a:pos x="16" y="141"/>
                </a:cxn>
              </a:cxnLst>
              <a:rect l="0" t="0" r="r" b="b"/>
              <a:pathLst>
                <a:path w="176" h="235">
                  <a:moveTo>
                    <a:pt x="16" y="141"/>
                  </a:moveTo>
                  <a:lnTo>
                    <a:pt x="16" y="141"/>
                  </a:lnTo>
                  <a:lnTo>
                    <a:pt x="17" y="138"/>
                  </a:lnTo>
                  <a:lnTo>
                    <a:pt x="23" y="136"/>
                  </a:lnTo>
                  <a:lnTo>
                    <a:pt x="28" y="134"/>
                  </a:lnTo>
                  <a:lnTo>
                    <a:pt x="33" y="132"/>
                  </a:lnTo>
                  <a:lnTo>
                    <a:pt x="37" y="131"/>
                  </a:lnTo>
                  <a:lnTo>
                    <a:pt x="37" y="125"/>
                  </a:lnTo>
                  <a:lnTo>
                    <a:pt x="42" y="124"/>
                  </a:lnTo>
                  <a:lnTo>
                    <a:pt x="45" y="124"/>
                  </a:lnTo>
                  <a:lnTo>
                    <a:pt x="49" y="124"/>
                  </a:lnTo>
                  <a:lnTo>
                    <a:pt x="59" y="120"/>
                  </a:lnTo>
                  <a:lnTo>
                    <a:pt x="70" y="124"/>
                  </a:lnTo>
                  <a:lnTo>
                    <a:pt x="123" y="68"/>
                  </a:lnTo>
                  <a:lnTo>
                    <a:pt x="101" y="68"/>
                  </a:lnTo>
                  <a:lnTo>
                    <a:pt x="50" y="54"/>
                  </a:lnTo>
                  <a:lnTo>
                    <a:pt x="45" y="51"/>
                  </a:lnTo>
                  <a:lnTo>
                    <a:pt x="40" y="47"/>
                  </a:lnTo>
                  <a:lnTo>
                    <a:pt x="37" y="44"/>
                  </a:lnTo>
                  <a:lnTo>
                    <a:pt x="38" y="39"/>
                  </a:lnTo>
                  <a:lnTo>
                    <a:pt x="33" y="35"/>
                  </a:lnTo>
                  <a:lnTo>
                    <a:pt x="31" y="28"/>
                  </a:lnTo>
                  <a:lnTo>
                    <a:pt x="28" y="19"/>
                  </a:lnTo>
                  <a:lnTo>
                    <a:pt x="31" y="18"/>
                  </a:lnTo>
                  <a:lnTo>
                    <a:pt x="37" y="9"/>
                  </a:lnTo>
                  <a:lnTo>
                    <a:pt x="37" y="12"/>
                  </a:lnTo>
                  <a:lnTo>
                    <a:pt x="37" y="12"/>
                  </a:lnTo>
                  <a:lnTo>
                    <a:pt x="47" y="23"/>
                  </a:lnTo>
                  <a:lnTo>
                    <a:pt x="49" y="25"/>
                  </a:lnTo>
                  <a:lnTo>
                    <a:pt x="50" y="28"/>
                  </a:lnTo>
                  <a:lnTo>
                    <a:pt x="56" y="32"/>
                  </a:lnTo>
                  <a:lnTo>
                    <a:pt x="59" y="32"/>
                  </a:lnTo>
                  <a:lnTo>
                    <a:pt x="64" y="32"/>
                  </a:lnTo>
                  <a:lnTo>
                    <a:pt x="64" y="28"/>
                  </a:lnTo>
                  <a:lnTo>
                    <a:pt x="70" y="28"/>
                  </a:lnTo>
                  <a:lnTo>
                    <a:pt x="73" y="28"/>
                  </a:lnTo>
                  <a:lnTo>
                    <a:pt x="78" y="23"/>
                  </a:lnTo>
                  <a:lnTo>
                    <a:pt x="80" y="23"/>
                  </a:lnTo>
                  <a:lnTo>
                    <a:pt x="82" y="23"/>
                  </a:lnTo>
                  <a:lnTo>
                    <a:pt x="87" y="23"/>
                  </a:lnTo>
                  <a:lnTo>
                    <a:pt x="87" y="23"/>
                  </a:lnTo>
                  <a:lnTo>
                    <a:pt x="92" y="23"/>
                  </a:lnTo>
                  <a:lnTo>
                    <a:pt x="96" y="23"/>
                  </a:lnTo>
                  <a:lnTo>
                    <a:pt x="106" y="16"/>
                  </a:lnTo>
                  <a:lnTo>
                    <a:pt x="110" y="16"/>
                  </a:lnTo>
                  <a:lnTo>
                    <a:pt x="113" y="18"/>
                  </a:lnTo>
                  <a:lnTo>
                    <a:pt x="115" y="16"/>
                  </a:lnTo>
                  <a:lnTo>
                    <a:pt x="120" y="18"/>
                  </a:lnTo>
                  <a:lnTo>
                    <a:pt x="125" y="14"/>
                  </a:lnTo>
                  <a:lnTo>
                    <a:pt x="130" y="14"/>
                  </a:lnTo>
                  <a:lnTo>
                    <a:pt x="132" y="16"/>
                  </a:lnTo>
                  <a:lnTo>
                    <a:pt x="134" y="16"/>
                  </a:lnTo>
                  <a:lnTo>
                    <a:pt x="143" y="14"/>
                  </a:lnTo>
                  <a:lnTo>
                    <a:pt x="146" y="11"/>
                  </a:lnTo>
                  <a:lnTo>
                    <a:pt x="151" y="11"/>
                  </a:lnTo>
                  <a:lnTo>
                    <a:pt x="151" y="11"/>
                  </a:lnTo>
                  <a:lnTo>
                    <a:pt x="151" y="11"/>
                  </a:lnTo>
                  <a:lnTo>
                    <a:pt x="156" y="9"/>
                  </a:lnTo>
                  <a:lnTo>
                    <a:pt x="160" y="5"/>
                  </a:lnTo>
                  <a:lnTo>
                    <a:pt x="162" y="7"/>
                  </a:lnTo>
                  <a:lnTo>
                    <a:pt x="162" y="4"/>
                  </a:lnTo>
                  <a:lnTo>
                    <a:pt x="162" y="4"/>
                  </a:lnTo>
                  <a:lnTo>
                    <a:pt x="163" y="2"/>
                  </a:lnTo>
                  <a:lnTo>
                    <a:pt x="165" y="2"/>
                  </a:lnTo>
                  <a:lnTo>
                    <a:pt x="165" y="0"/>
                  </a:lnTo>
                  <a:lnTo>
                    <a:pt x="167" y="2"/>
                  </a:lnTo>
                  <a:lnTo>
                    <a:pt x="170" y="4"/>
                  </a:lnTo>
                  <a:lnTo>
                    <a:pt x="174" y="4"/>
                  </a:lnTo>
                  <a:lnTo>
                    <a:pt x="176" y="4"/>
                  </a:lnTo>
                  <a:lnTo>
                    <a:pt x="174" y="7"/>
                  </a:lnTo>
                  <a:lnTo>
                    <a:pt x="170" y="9"/>
                  </a:lnTo>
                  <a:lnTo>
                    <a:pt x="170" y="12"/>
                  </a:lnTo>
                  <a:lnTo>
                    <a:pt x="170" y="14"/>
                  </a:lnTo>
                  <a:lnTo>
                    <a:pt x="170" y="16"/>
                  </a:lnTo>
                  <a:lnTo>
                    <a:pt x="174" y="16"/>
                  </a:lnTo>
                  <a:lnTo>
                    <a:pt x="174" y="18"/>
                  </a:lnTo>
                  <a:lnTo>
                    <a:pt x="170" y="19"/>
                  </a:lnTo>
                  <a:lnTo>
                    <a:pt x="170" y="23"/>
                  </a:lnTo>
                  <a:lnTo>
                    <a:pt x="170" y="23"/>
                  </a:lnTo>
                  <a:lnTo>
                    <a:pt x="174" y="28"/>
                  </a:lnTo>
                  <a:lnTo>
                    <a:pt x="170" y="32"/>
                  </a:lnTo>
                  <a:lnTo>
                    <a:pt x="174" y="28"/>
                  </a:lnTo>
                  <a:lnTo>
                    <a:pt x="174" y="28"/>
                  </a:lnTo>
                  <a:lnTo>
                    <a:pt x="176" y="28"/>
                  </a:lnTo>
                  <a:lnTo>
                    <a:pt x="176" y="32"/>
                  </a:lnTo>
                  <a:lnTo>
                    <a:pt x="176" y="32"/>
                  </a:lnTo>
                  <a:lnTo>
                    <a:pt x="174" y="32"/>
                  </a:lnTo>
                  <a:lnTo>
                    <a:pt x="170" y="32"/>
                  </a:lnTo>
                  <a:lnTo>
                    <a:pt x="170" y="32"/>
                  </a:lnTo>
                  <a:lnTo>
                    <a:pt x="169" y="35"/>
                  </a:lnTo>
                  <a:lnTo>
                    <a:pt x="169" y="37"/>
                  </a:lnTo>
                  <a:lnTo>
                    <a:pt x="169" y="42"/>
                  </a:lnTo>
                  <a:lnTo>
                    <a:pt x="167" y="44"/>
                  </a:lnTo>
                  <a:lnTo>
                    <a:pt x="169" y="47"/>
                  </a:lnTo>
                  <a:lnTo>
                    <a:pt x="162" y="56"/>
                  </a:lnTo>
                  <a:lnTo>
                    <a:pt x="156" y="65"/>
                  </a:lnTo>
                  <a:lnTo>
                    <a:pt x="155" y="68"/>
                  </a:lnTo>
                  <a:lnTo>
                    <a:pt x="153" y="68"/>
                  </a:lnTo>
                  <a:lnTo>
                    <a:pt x="151" y="72"/>
                  </a:lnTo>
                  <a:lnTo>
                    <a:pt x="151" y="73"/>
                  </a:lnTo>
                  <a:lnTo>
                    <a:pt x="151" y="77"/>
                  </a:lnTo>
                  <a:lnTo>
                    <a:pt x="148" y="78"/>
                  </a:lnTo>
                  <a:lnTo>
                    <a:pt x="139" y="96"/>
                  </a:lnTo>
                  <a:lnTo>
                    <a:pt x="139" y="103"/>
                  </a:lnTo>
                  <a:lnTo>
                    <a:pt x="132" y="112"/>
                  </a:lnTo>
                  <a:lnTo>
                    <a:pt x="132" y="115"/>
                  </a:lnTo>
                  <a:lnTo>
                    <a:pt x="120" y="129"/>
                  </a:lnTo>
                  <a:lnTo>
                    <a:pt x="120" y="134"/>
                  </a:lnTo>
                  <a:lnTo>
                    <a:pt x="115" y="139"/>
                  </a:lnTo>
                  <a:lnTo>
                    <a:pt x="106" y="152"/>
                  </a:lnTo>
                  <a:lnTo>
                    <a:pt x="87" y="167"/>
                  </a:lnTo>
                  <a:lnTo>
                    <a:pt x="78" y="174"/>
                  </a:lnTo>
                  <a:lnTo>
                    <a:pt x="73" y="176"/>
                  </a:lnTo>
                  <a:lnTo>
                    <a:pt x="68" y="179"/>
                  </a:lnTo>
                  <a:lnTo>
                    <a:pt x="61" y="185"/>
                  </a:lnTo>
                  <a:lnTo>
                    <a:pt x="50" y="195"/>
                  </a:lnTo>
                  <a:lnTo>
                    <a:pt x="47" y="197"/>
                  </a:lnTo>
                  <a:lnTo>
                    <a:pt x="37" y="207"/>
                  </a:lnTo>
                  <a:lnTo>
                    <a:pt x="37" y="209"/>
                  </a:lnTo>
                  <a:lnTo>
                    <a:pt x="33" y="211"/>
                  </a:lnTo>
                  <a:lnTo>
                    <a:pt x="31" y="212"/>
                  </a:lnTo>
                  <a:lnTo>
                    <a:pt x="28" y="216"/>
                  </a:lnTo>
                  <a:lnTo>
                    <a:pt x="26" y="218"/>
                  </a:lnTo>
                  <a:lnTo>
                    <a:pt x="12" y="235"/>
                  </a:lnTo>
                  <a:lnTo>
                    <a:pt x="11" y="235"/>
                  </a:lnTo>
                  <a:lnTo>
                    <a:pt x="0" y="225"/>
                  </a:lnTo>
                  <a:lnTo>
                    <a:pt x="0" y="157"/>
                  </a:lnTo>
                  <a:lnTo>
                    <a:pt x="16" y="141"/>
                  </a:lnTo>
                  <a:lnTo>
                    <a:pt x="16" y="141"/>
                  </a:lnTo>
                  <a:lnTo>
                    <a:pt x="16" y="141"/>
                  </a:lnTo>
                  <a:lnTo>
                    <a:pt x="16"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9" name="Freeform 105">
              <a:extLst>
                <a:ext uri="{FF2B5EF4-FFF2-40B4-BE49-F238E27FC236}">
                  <a16:creationId xmlns:a16="http://schemas.microsoft.com/office/drawing/2014/main" id="{33F47765-0401-4F8C-B7BC-E2EF80792B16}"/>
                </a:ext>
              </a:extLst>
            </p:cNvPr>
            <p:cNvSpPr>
              <a:spLocks noEditPoints="1"/>
            </p:cNvSpPr>
            <p:nvPr/>
          </p:nvSpPr>
          <p:spPr bwMode="auto">
            <a:xfrm>
              <a:off x="5311775" y="4111626"/>
              <a:ext cx="287338" cy="279400"/>
            </a:xfrm>
            <a:custGeom>
              <a:avLst/>
              <a:gdLst/>
              <a:ahLst/>
              <a:cxnLst>
                <a:cxn ang="0">
                  <a:pos x="47" y="21"/>
                </a:cxn>
                <a:cxn ang="0">
                  <a:pos x="51" y="18"/>
                </a:cxn>
                <a:cxn ang="0">
                  <a:pos x="56" y="16"/>
                </a:cxn>
                <a:cxn ang="0">
                  <a:pos x="67" y="0"/>
                </a:cxn>
                <a:cxn ang="0">
                  <a:pos x="72" y="4"/>
                </a:cxn>
                <a:cxn ang="0">
                  <a:pos x="75" y="12"/>
                </a:cxn>
                <a:cxn ang="0">
                  <a:pos x="80" y="18"/>
                </a:cxn>
                <a:cxn ang="0">
                  <a:pos x="87" y="18"/>
                </a:cxn>
                <a:cxn ang="0">
                  <a:pos x="101" y="21"/>
                </a:cxn>
                <a:cxn ang="0">
                  <a:pos x="112" y="30"/>
                </a:cxn>
                <a:cxn ang="0">
                  <a:pos x="117" y="33"/>
                </a:cxn>
                <a:cxn ang="0">
                  <a:pos x="127" y="35"/>
                </a:cxn>
                <a:cxn ang="0">
                  <a:pos x="136" y="35"/>
                </a:cxn>
                <a:cxn ang="0">
                  <a:pos x="139" y="35"/>
                </a:cxn>
                <a:cxn ang="0">
                  <a:pos x="146" y="26"/>
                </a:cxn>
                <a:cxn ang="0">
                  <a:pos x="153" y="25"/>
                </a:cxn>
                <a:cxn ang="0">
                  <a:pos x="164" y="21"/>
                </a:cxn>
                <a:cxn ang="0">
                  <a:pos x="167" y="28"/>
                </a:cxn>
                <a:cxn ang="0">
                  <a:pos x="176" y="28"/>
                </a:cxn>
                <a:cxn ang="0">
                  <a:pos x="166" y="44"/>
                </a:cxn>
                <a:cxn ang="0">
                  <a:pos x="176" y="122"/>
                </a:cxn>
                <a:cxn ang="0">
                  <a:pos x="171" y="131"/>
                </a:cxn>
                <a:cxn ang="0">
                  <a:pos x="169" y="134"/>
                </a:cxn>
                <a:cxn ang="0">
                  <a:pos x="164" y="136"/>
                </a:cxn>
                <a:cxn ang="0">
                  <a:pos x="155" y="141"/>
                </a:cxn>
                <a:cxn ang="0">
                  <a:pos x="152" y="143"/>
                </a:cxn>
                <a:cxn ang="0">
                  <a:pos x="152" y="148"/>
                </a:cxn>
                <a:cxn ang="0">
                  <a:pos x="148" y="153"/>
                </a:cxn>
                <a:cxn ang="0">
                  <a:pos x="145" y="162"/>
                </a:cxn>
                <a:cxn ang="0">
                  <a:pos x="138" y="172"/>
                </a:cxn>
                <a:cxn ang="0">
                  <a:pos x="133" y="176"/>
                </a:cxn>
                <a:cxn ang="0">
                  <a:pos x="110" y="159"/>
                </a:cxn>
                <a:cxn ang="0">
                  <a:pos x="110" y="157"/>
                </a:cxn>
                <a:cxn ang="0">
                  <a:pos x="42" y="113"/>
                </a:cxn>
                <a:cxn ang="0">
                  <a:pos x="42" y="98"/>
                </a:cxn>
                <a:cxn ang="0">
                  <a:pos x="46" y="89"/>
                </a:cxn>
                <a:cxn ang="0">
                  <a:pos x="51" y="82"/>
                </a:cxn>
                <a:cxn ang="0">
                  <a:pos x="53" y="77"/>
                </a:cxn>
                <a:cxn ang="0">
                  <a:pos x="60" y="75"/>
                </a:cxn>
                <a:cxn ang="0">
                  <a:pos x="61" y="70"/>
                </a:cxn>
                <a:cxn ang="0">
                  <a:pos x="65" y="61"/>
                </a:cxn>
                <a:cxn ang="0">
                  <a:pos x="61" y="54"/>
                </a:cxn>
                <a:cxn ang="0">
                  <a:pos x="61" y="52"/>
                </a:cxn>
                <a:cxn ang="0">
                  <a:pos x="56" y="44"/>
                </a:cxn>
                <a:cxn ang="0">
                  <a:pos x="53" y="39"/>
                </a:cxn>
                <a:cxn ang="0">
                  <a:pos x="51" y="33"/>
                </a:cxn>
                <a:cxn ang="0">
                  <a:pos x="47" y="30"/>
                </a:cxn>
                <a:cxn ang="0">
                  <a:pos x="46" y="23"/>
                </a:cxn>
                <a:cxn ang="0">
                  <a:pos x="46" y="23"/>
                </a:cxn>
                <a:cxn ang="0">
                  <a:pos x="46" y="23"/>
                </a:cxn>
                <a:cxn ang="0">
                  <a:pos x="0" y="115"/>
                </a:cxn>
                <a:cxn ang="0">
                  <a:pos x="14" y="115"/>
                </a:cxn>
                <a:cxn ang="0">
                  <a:pos x="0" y="115"/>
                </a:cxn>
                <a:cxn ang="0">
                  <a:pos x="0" y="115"/>
                </a:cxn>
              </a:cxnLst>
              <a:rect l="0" t="0" r="r" b="b"/>
              <a:pathLst>
                <a:path w="181" h="176">
                  <a:moveTo>
                    <a:pt x="46" y="23"/>
                  </a:moveTo>
                  <a:lnTo>
                    <a:pt x="47" y="21"/>
                  </a:lnTo>
                  <a:lnTo>
                    <a:pt x="47" y="21"/>
                  </a:lnTo>
                  <a:lnTo>
                    <a:pt x="51" y="18"/>
                  </a:lnTo>
                  <a:lnTo>
                    <a:pt x="53" y="16"/>
                  </a:lnTo>
                  <a:lnTo>
                    <a:pt x="56" y="16"/>
                  </a:lnTo>
                  <a:lnTo>
                    <a:pt x="60" y="9"/>
                  </a:lnTo>
                  <a:lnTo>
                    <a:pt x="67" y="0"/>
                  </a:lnTo>
                  <a:lnTo>
                    <a:pt x="68" y="4"/>
                  </a:lnTo>
                  <a:lnTo>
                    <a:pt x="72" y="4"/>
                  </a:lnTo>
                  <a:lnTo>
                    <a:pt x="75" y="4"/>
                  </a:lnTo>
                  <a:lnTo>
                    <a:pt x="75" y="12"/>
                  </a:lnTo>
                  <a:lnTo>
                    <a:pt x="75" y="18"/>
                  </a:lnTo>
                  <a:lnTo>
                    <a:pt x="80" y="18"/>
                  </a:lnTo>
                  <a:lnTo>
                    <a:pt x="84" y="16"/>
                  </a:lnTo>
                  <a:lnTo>
                    <a:pt x="87" y="18"/>
                  </a:lnTo>
                  <a:lnTo>
                    <a:pt x="98" y="16"/>
                  </a:lnTo>
                  <a:lnTo>
                    <a:pt x="101" y="21"/>
                  </a:lnTo>
                  <a:lnTo>
                    <a:pt x="108" y="26"/>
                  </a:lnTo>
                  <a:lnTo>
                    <a:pt x="112" y="30"/>
                  </a:lnTo>
                  <a:lnTo>
                    <a:pt x="115" y="33"/>
                  </a:lnTo>
                  <a:lnTo>
                    <a:pt x="117" y="33"/>
                  </a:lnTo>
                  <a:lnTo>
                    <a:pt x="124" y="33"/>
                  </a:lnTo>
                  <a:lnTo>
                    <a:pt x="127" y="35"/>
                  </a:lnTo>
                  <a:lnTo>
                    <a:pt x="133" y="35"/>
                  </a:lnTo>
                  <a:lnTo>
                    <a:pt x="136" y="35"/>
                  </a:lnTo>
                  <a:lnTo>
                    <a:pt x="138" y="35"/>
                  </a:lnTo>
                  <a:lnTo>
                    <a:pt x="139" y="35"/>
                  </a:lnTo>
                  <a:lnTo>
                    <a:pt x="145" y="28"/>
                  </a:lnTo>
                  <a:lnTo>
                    <a:pt x="146" y="26"/>
                  </a:lnTo>
                  <a:lnTo>
                    <a:pt x="152" y="25"/>
                  </a:lnTo>
                  <a:lnTo>
                    <a:pt x="153" y="25"/>
                  </a:lnTo>
                  <a:lnTo>
                    <a:pt x="155" y="23"/>
                  </a:lnTo>
                  <a:lnTo>
                    <a:pt x="164" y="21"/>
                  </a:lnTo>
                  <a:lnTo>
                    <a:pt x="166" y="23"/>
                  </a:lnTo>
                  <a:lnTo>
                    <a:pt x="167" y="28"/>
                  </a:lnTo>
                  <a:lnTo>
                    <a:pt x="171" y="30"/>
                  </a:lnTo>
                  <a:lnTo>
                    <a:pt x="176" y="28"/>
                  </a:lnTo>
                  <a:lnTo>
                    <a:pt x="181" y="28"/>
                  </a:lnTo>
                  <a:lnTo>
                    <a:pt x="166" y="44"/>
                  </a:lnTo>
                  <a:lnTo>
                    <a:pt x="166" y="112"/>
                  </a:lnTo>
                  <a:lnTo>
                    <a:pt x="176" y="122"/>
                  </a:lnTo>
                  <a:lnTo>
                    <a:pt x="176" y="122"/>
                  </a:lnTo>
                  <a:lnTo>
                    <a:pt x="171" y="131"/>
                  </a:lnTo>
                  <a:lnTo>
                    <a:pt x="171" y="131"/>
                  </a:lnTo>
                  <a:lnTo>
                    <a:pt x="169" y="134"/>
                  </a:lnTo>
                  <a:lnTo>
                    <a:pt x="169" y="134"/>
                  </a:lnTo>
                  <a:lnTo>
                    <a:pt x="164" y="136"/>
                  </a:lnTo>
                  <a:lnTo>
                    <a:pt x="160" y="141"/>
                  </a:lnTo>
                  <a:lnTo>
                    <a:pt x="155" y="141"/>
                  </a:lnTo>
                  <a:lnTo>
                    <a:pt x="153" y="141"/>
                  </a:lnTo>
                  <a:lnTo>
                    <a:pt x="152" y="143"/>
                  </a:lnTo>
                  <a:lnTo>
                    <a:pt x="152" y="146"/>
                  </a:lnTo>
                  <a:lnTo>
                    <a:pt x="152" y="148"/>
                  </a:lnTo>
                  <a:lnTo>
                    <a:pt x="152" y="148"/>
                  </a:lnTo>
                  <a:lnTo>
                    <a:pt x="148" y="153"/>
                  </a:lnTo>
                  <a:lnTo>
                    <a:pt x="145" y="157"/>
                  </a:lnTo>
                  <a:lnTo>
                    <a:pt x="145" y="162"/>
                  </a:lnTo>
                  <a:lnTo>
                    <a:pt x="143" y="165"/>
                  </a:lnTo>
                  <a:lnTo>
                    <a:pt x="138" y="172"/>
                  </a:lnTo>
                  <a:lnTo>
                    <a:pt x="133" y="176"/>
                  </a:lnTo>
                  <a:lnTo>
                    <a:pt x="133" y="176"/>
                  </a:lnTo>
                  <a:lnTo>
                    <a:pt x="112" y="162"/>
                  </a:lnTo>
                  <a:lnTo>
                    <a:pt x="110" y="159"/>
                  </a:lnTo>
                  <a:lnTo>
                    <a:pt x="108" y="157"/>
                  </a:lnTo>
                  <a:lnTo>
                    <a:pt x="110" y="157"/>
                  </a:lnTo>
                  <a:lnTo>
                    <a:pt x="106" y="150"/>
                  </a:lnTo>
                  <a:lnTo>
                    <a:pt x="42" y="113"/>
                  </a:lnTo>
                  <a:lnTo>
                    <a:pt x="37" y="113"/>
                  </a:lnTo>
                  <a:lnTo>
                    <a:pt x="42" y="98"/>
                  </a:lnTo>
                  <a:lnTo>
                    <a:pt x="42" y="92"/>
                  </a:lnTo>
                  <a:lnTo>
                    <a:pt x="46" y="89"/>
                  </a:lnTo>
                  <a:lnTo>
                    <a:pt x="47" y="84"/>
                  </a:lnTo>
                  <a:lnTo>
                    <a:pt x="51" y="82"/>
                  </a:lnTo>
                  <a:lnTo>
                    <a:pt x="53" y="79"/>
                  </a:lnTo>
                  <a:lnTo>
                    <a:pt x="53" y="77"/>
                  </a:lnTo>
                  <a:lnTo>
                    <a:pt x="53" y="75"/>
                  </a:lnTo>
                  <a:lnTo>
                    <a:pt x="60" y="75"/>
                  </a:lnTo>
                  <a:lnTo>
                    <a:pt x="61" y="72"/>
                  </a:lnTo>
                  <a:lnTo>
                    <a:pt x="61" y="70"/>
                  </a:lnTo>
                  <a:lnTo>
                    <a:pt x="65" y="63"/>
                  </a:lnTo>
                  <a:lnTo>
                    <a:pt x="65" y="61"/>
                  </a:lnTo>
                  <a:lnTo>
                    <a:pt x="65" y="58"/>
                  </a:lnTo>
                  <a:lnTo>
                    <a:pt x="61" y="54"/>
                  </a:lnTo>
                  <a:lnTo>
                    <a:pt x="63" y="52"/>
                  </a:lnTo>
                  <a:lnTo>
                    <a:pt x="61" y="52"/>
                  </a:lnTo>
                  <a:lnTo>
                    <a:pt x="58" y="49"/>
                  </a:lnTo>
                  <a:lnTo>
                    <a:pt x="56" y="44"/>
                  </a:lnTo>
                  <a:lnTo>
                    <a:pt x="53" y="40"/>
                  </a:lnTo>
                  <a:lnTo>
                    <a:pt x="53" y="39"/>
                  </a:lnTo>
                  <a:lnTo>
                    <a:pt x="53" y="35"/>
                  </a:lnTo>
                  <a:lnTo>
                    <a:pt x="51" y="33"/>
                  </a:lnTo>
                  <a:lnTo>
                    <a:pt x="51" y="30"/>
                  </a:lnTo>
                  <a:lnTo>
                    <a:pt x="47" y="30"/>
                  </a:lnTo>
                  <a:lnTo>
                    <a:pt x="47" y="25"/>
                  </a:lnTo>
                  <a:lnTo>
                    <a:pt x="46" y="23"/>
                  </a:lnTo>
                  <a:lnTo>
                    <a:pt x="46" y="23"/>
                  </a:lnTo>
                  <a:lnTo>
                    <a:pt x="46" y="23"/>
                  </a:lnTo>
                  <a:lnTo>
                    <a:pt x="46" y="23"/>
                  </a:lnTo>
                  <a:lnTo>
                    <a:pt x="46" y="23"/>
                  </a:lnTo>
                  <a:lnTo>
                    <a:pt x="46" y="23"/>
                  </a:lnTo>
                  <a:close/>
                  <a:moveTo>
                    <a:pt x="0" y="115"/>
                  </a:moveTo>
                  <a:lnTo>
                    <a:pt x="7" y="115"/>
                  </a:lnTo>
                  <a:lnTo>
                    <a:pt x="14" y="115"/>
                  </a:lnTo>
                  <a:lnTo>
                    <a:pt x="0" y="115"/>
                  </a:lnTo>
                  <a:lnTo>
                    <a:pt x="0" y="115"/>
                  </a:lnTo>
                  <a:lnTo>
                    <a:pt x="0" y="115"/>
                  </a:lnTo>
                  <a:lnTo>
                    <a:pt x="0" y="1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0" name="Freeform 106">
              <a:extLst>
                <a:ext uri="{FF2B5EF4-FFF2-40B4-BE49-F238E27FC236}">
                  <a16:creationId xmlns:a16="http://schemas.microsoft.com/office/drawing/2014/main" id="{11114F34-3720-4EF3-B0F4-81C1E10033CA}"/>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1" name="Freeform 107">
              <a:extLst>
                <a:ext uri="{FF2B5EF4-FFF2-40B4-BE49-F238E27FC236}">
                  <a16:creationId xmlns:a16="http://schemas.microsoft.com/office/drawing/2014/main" id="{BAC9FD85-8A34-4095-ABFC-1EE223EE3F86}"/>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2" name="Freeform 108">
              <a:extLst>
                <a:ext uri="{FF2B5EF4-FFF2-40B4-BE49-F238E27FC236}">
                  <a16:creationId xmlns:a16="http://schemas.microsoft.com/office/drawing/2014/main" id="{CC9DC1A9-C4EF-484C-A028-DACF36E9E8A8}"/>
                </a:ext>
              </a:extLst>
            </p:cNvPr>
            <p:cNvSpPr>
              <a:spLocks/>
            </p:cNvSpPr>
            <p:nvPr/>
          </p:nvSpPr>
          <p:spPr bwMode="auto">
            <a:xfrm>
              <a:off x="4849813" y="3957638"/>
              <a:ext cx="355600" cy="239713"/>
            </a:xfrm>
            <a:custGeom>
              <a:avLst/>
              <a:gdLst/>
              <a:ahLst/>
              <a:cxnLst>
                <a:cxn ang="0">
                  <a:pos x="142" y="7"/>
                </a:cxn>
                <a:cxn ang="0">
                  <a:pos x="154" y="23"/>
                </a:cxn>
                <a:cxn ang="0">
                  <a:pos x="151" y="35"/>
                </a:cxn>
                <a:cxn ang="0">
                  <a:pos x="159" y="40"/>
                </a:cxn>
                <a:cxn ang="0">
                  <a:pos x="166" y="47"/>
                </a:cxn>
                <a:cxn ang="0">
                  <a:pos x="179" y="52"/>
                </a:cxn>
                <a:cxn ang="0">
                  <a:pos x="187" y="59"/>
                </a:cxn>
                <a:cxn ang="0">
                  <a:pos x="182" y="66"/>
                </a:cxn>
                <a:cxn ang="0">
                  <a:pos x="192" y="71"/>
                </a:cxn>
                <a:cxn ang="0">
                  <a:pos x="203" y="80"/>
                </a:cxn>
                <a:cxn ang="0">
                  <a:pos x="206" y="89"/>
                </a:cxn>
                <a:cxn ang="0">
                  <a:pos x="217" y="96"/>
                </a:cxn>
                <a:cxn ang="0">
                  <a:pos x="224" y="108"/>
                </a:cxn>
                <a:cxn ang="0">
                  <a:pos x="217" y="102"/>
                </a:cxn>
                <a:cxn ang="0">
                  <a:pos x="199" y="104"/>
                </a:cxn>
                <a:cxn ang="0">
                  <a:pos x="191" y="102"/>
                </a:cxn>
                <a:cxn ang="0">
                  <a:pos x="187" y="102"/>
                </a:cxn>
                <a:cxn ang="0">
                  <a:pos x="177" y="108"/>
                </a:cxn>
                <a:cxn ang="0">
                  <a:pos x="170" y="108"/>
                </a:cxn>
                <a:cxn ang="0">
                  <a:pos x="159" y="109"/>
                </a:cxn>
                <a:cxn ang="0">
                  <a:pos x="147" y="111"/>
                </a:cxn>
                <a:cxn ang="0">
                  <a:pos x="135" y="116"/>
                </a:cxn>
                <a:cxn ang="0">
                  <a:pos x="130" y="122"/>
                </a:cxn>
                <a:cxn ang="0">
                  <a:pos x="119" y="118"/>
                </a:cxn>
                <a:cxn ang="0">
                  <a:pos x="107" y="116"/>
                </a:cxn>
                <a:cxn ang="0">
                  <a:pos x="97" y="111"/>
                </a:cxn>
                <a:cxn ang="0">
                  <a:pos x="85" y="104"/>
                </a:cxn>
                <a:cxn ang="0">
                  <a:pos x="78" y="108"/>
                </a:cxn>
                <a:cxn ang="0">
                  <a:pos x="74" y="116"/>
                </a:cxn>
                <a:cxn ang="0">
                  <a:pos x="73" y="123"/>
                </a:cxn>
                <a:cxn ang="0">
                  <a:pos x="69" y="130"/>
                </a:cxn>
                <a:cxn ang="0">
                  <a:pos x="60" y="127"/>
                </a:cxn>
                <a:cxn ang="0">
                  <a:pos x="46" y="130"/>
                </a:cxn>
                <a:cxn ang="0">
                  <a:pos x="29" y="151"/>
                </a:cxn>
                <a:cxn ang="0">
                  <a:pos x="27" y="142"/>
                </a:cxn>
                <a:cxn ang="0">
                  <a:pos x="13" y="127"/>
                </a:cxn>
                <a:cxn ang="0">
                  <a:pos x="3" y="115"/>
                </a:cxn>
                <a:cxn ang="0">
                  <a:pos x="1" y="96"/>
                </a:cxn>
                <a:cxn ang="0">
                  <a:pos x="3" y="85"/>
                </a:cxn>
                <a:cxn ang="0">
                  <a:pos x="13" y="66"/>
                </a:cxn>
                <a:cxn ang="0">
                  <a:pos x="20" y="62"/>
                </a:cxn>
                <a:cxn ang="0">
                  <a:pos x="31" y="62"/>
                </a:cxn>
                <a:cxn ang="0">
                  <a:pos x="38" y="57"/>
                </a:cxn>
                <a:cxn ang="0">
                  <a:pos x="46" y="59"/>
                </a:cxn>
                <a:cxn ang="0">
                  <a:pos x="73" y="50"/>
                </a:cxn>
                <a:cxn ang="0">
                  <a:pos x="78" y="43"/>
                </a:cxn>
                <a:cxn ang="0">
                  <a:pos x="80" y="35"/>
                </a:cxn>
                <a:cxn ang="0">
                  <a:pos x="95" y="35"/>
                </a:cxn>
                <a:cxn ang="0">
                  <a:pos x="107" y="29"/>
                </a:cxn>
                <a:cxn ang="0">
                  <a:pos x="111" y="19"/>
                </a:cxn>
                <a:cxn ang="0">
                  <a:pos x="119" y="12"/>
                </a:cxn>
                <a:cxn ang="0">
                  <a:pos x="126" y="3"/>
                </a:cxn>
                <a:cxn ang="0">
                  <a:pos x="139" y="2"/>
                </a:cxn>
              </a:cxnLst>
              <a:rect l="0" t="0" r="r" b="b"/>
              <a:pathLst>
                <a:path w="224" h="151">
                  <a:moveTo>
                    <a:pt x="142" y="0"/>
                  </a:moveTo>
                  <a:lnTo>
                    <a:pt x="142" y="2"/>
                  </a:lnTo>
                  <a:lnTo>
                    <a:pt x="142" y="3"/>
                  </a:lnTo>
                  <a:lnTo>
                    <a:pt x="142" y="7"/>
                  </a:lnTo>
                  <a:lnTo>
                    <a:pt x="147" y="7"/>
                  </a:lnTo>
                  <a:lnTo>
                    <a:pt x="147" y="9"/>
                  </a:lnTo>
                  <a:lnTo>
                    <a:pt x="151" y="16"/>
                  </a:lnTo>
                  <a:lnTo>
                    <a:pt x="154" y="23"/>
                  </a:lnTo>
                  <a:lnTo>
                    <a:pt x="154" y="26"/>
                  </a:lnTo>
                  <a:lnTo>
                    <a:pt x="154" y="29"/>
                  </a:lnTo>
                  <a:lnTo>
                    <a:pt x="152" y="31"/>
                  </a:lnTo>
                  <a:lnTo>
                    <a:pt x="151" y="35"/>
                  </a:lnTo>
                  <a:lnTo>
                    <a:pt x="152" y="40"/>
                  </a:lnTo>
                  <a:lnTo>
                    <a:pt x="154" y="40"/>
                  </a:lnTo>
                  <a:lnTo>
                    <a:pt x="159" y="43"/>
                  </a:lnTo>
                  <a:lnTo>
                    <a:pt x="159" y="40"/>
                  </a:lnTo>
                  <a:lnTo>
                    <a:pt x="166" y="40"/>
                  </a:lnTo>
                  <a:lnTo>
                    <a:pt x="166" y="40"/>
                  </a:lnTo>
                  <a:lnTo>
                    <a:pt x="166" y="43"/>
                  </a:lnTo>
                  <a:lnTo>
                    <a:pt x="166" y="47"/>
                  </a:lnTo>
                  <a:lnTo>
                    <a:pt x="170" y="49"/>
                  </a:lnTo>
                  <a:lnTo>
                    <a:pt x="172" y="50"/>
                  </a:lnTo>
                  <a:lnTo>
                    <a:pt x="175" y="50"/>
                  </a:lnTo>
                  <a:lnTo>
                    <a:pt x="179" y="52"/>
                  </a:lnTo>
                  <a:lnTo>
                    <a:pt x="179" y="56"/>
                  </a:lnTo>
                  <a:lnTo>
                    <a:pt x="182" y="57"/>
                  </a:lnTo>
                  <a:lnTo>
                    <a:pt x="185" y="57"/>
                  </a:lnTo>
                  <a:lnTo>
                    <a:pt x="187" y="59"/>
                  </a:lnTo>
                  <a:lnTo>
                    <a:pt x="187" y="61"/>
                  </a:lnTo>
                  <a:lnTo>
                    <a:pt x="184" y="62"/>
                  </a:lnTo>
                  <a:lnTo>
                    <a:pt x="184" y="62"/>
                  </a:lnTo>
                  <a:lnTo>
                    <a:pt x="182" y="66"/>
                  </a:lnTo>
                  <a:lnTo>
                    <a:pt x="185" y="68"/>
                  </a:lnTo>
                  <a:lnTo>
                    <a:pt x="189" y="71"/>
                  </a:lnTo>
                  <a:lnTo>
                    <a:pt x="191" y="68"/>
                  </a:lnTo>
                  <a:lnTo>
                    <a:pt x="192" y="71"/>
                  </a:lnTo>
                  <a:lnTo>
                    <a:pt x="194" y="71"/>
                  </a:lnTo>
                  <a:lnTo>
                    <a:pt x="199" y="73"/>
                  </a:lnTo>
                  <a:lnTo>
                    <a:pt x="199" y="75"/>
                  </a:lnTo>
                  <a:lnTo>
                    <a:pt x="203" y="80"/>
                  </a:lnTo>
                  <a:lnTo>
                    <a:pt x="203" y="82"/>
                  </a:lnTo>
                  <a:lnTo>
                    <a:pt x="206" y="83"/>
                  </a:lnTo>
                  <a:lnTo>
                    <a:pt x="206" y="85"/>
                  </a:lnTo>
                  <a:lnTo>
                    <a:pt x="206" y="89"/>
                  </a:lnTo>
                  <a:lnTo>
                    <a:pt x="208" y="90"/>
                  </a:lnTo>
                  <a:lnTo>
                    <a:pt x="215" y="92"/>
                  </a:lnTo>
                  <a:lnTo>
                    <a:pt x="217" y="94"/>
                  </a:lnTo>
                  <a:lnTo>
                    <a:pt x="217" y="96"/>
                  </a:lnTo>
                  <a:lnTo>
                    <a:pt x="217" y="99"/>
                  </a:lnTo>
                  <a:lnTo>
                    <a:pt x="220" y="102"/>
                  </a:lnTo>
                  <a:lnTo>
                    <a:pt x="222" y="102"/>
                  </a:lnTo>
                  <a:lnTo>
                    <a:pt x="224" y="108"/>
                  </a:lnTo>
                  <a:lnTo>
                    <a:pt x="224" y="108"/>
                  </a:lnTo>
                  <a:lnTo>
                    <a:pt x="224" y="108"/>
                  </a:lnTo>
                  <a:lnTo>
                    <a:pt x="220" y="104"/>
                  </a:lnTo>
                  <a:lnTo>
                    <a:pt x="217" y="102"/>
                  </a:lnTo>
                  <a:lnTo>
                    <a:pt x="210" y="108"/>
                  </a:lnTo>
                  <a:lnTo>
                    <a:pt x="210" y="108"/>
                  </a:lnTo>
                  <a:lnTo>
                    <a:pt x="203" y="108"/>
                  </a:lnTo>
                  <a:lnTo>
                    <a:pt x="199" y="104"/>
                  </a:lnTo>
                  <a:lnTo>
                    <a:pt x="198" y="102"/>
                  </a:lnTo>
                  <a:lnTo>
                    <a:pt x="198" y="102"/>
                  </a:lnTo>
                  <a:lnTo>
                    <a:pt x="194" y="102"/>
                  </a:lnTo>
                  <a:lnTo>
                    <a:pt x="191" y="102"/>
                  </a:lnTo>
                  <a:lnTo>
                    <a:pt x="189" y="102"/>
                  </a:lnTo>
                  <a:lnTo>
                    <a:pt x="187" y="102"/>
                  </a:lnTo>
                  <a:lnTo>
                    <a:pt x="187" y="102"/>
                  </a:lnTo>
                  <a:lnTo>
                    <a:pt x="187" y="102"/>
                  </a:lnTo>
                  <a:lnTo>
                    <a:pt x="185" y="108"/>
                  </a:lnTo>
                  <a:lnTo>
                    <a:pt x="184" y="108"/>
                  </a:lnTo>
                  <a:lnTo>
                    <a:pt x="180" y="108"/>
                  </a:lnTo>
                  <a:lnTo>
                    <a:pt x="177" y="108"/>
                  </a:lnTo>
                  <a:lnTo>
                    <a:pt x="175" y="109"/>
                  </a:lnTo>
                  <a:lnTo>
                    <a:pt x="172" y="109"/>
                  </a:lnTo>
                  <a:lnTo>
                    <a:pt x="172" y="108"/>
                  </a:lnTo>
                  <a:lnTo>
                    <a:pt x="170" y="108"/>
                  </a:lnTo>
                  <a:lnTo>
                    <a:pt x="170" y="104"/>
                  </a:lnTo>
                  <a:lnTo>
                    <a:pt x="170" y="104"/>
                  </a:lnTo>
                  <a:lnTo>
                    <a:pt x="161" y="108"/>
                  </a:lnTo>
                  <a:lnTo>
                    <a:pt x="159" y="109"/>
                  </a:lnTo>
                  <a:lnTo>
                    <a:pt x="158" y="111"/>
                  </a:lnTo>
                  <a:lnTo>
                    <a:pt x="149" y="111"/>
                  </a:lnTo>
                  <a:lnTo>
                    <a:pt x="147" y="113"/>
                  </a:lnTo>
                  <a:lnTo>
                    <a:pt x="147" y="111"/>
                  </a:lnTo>
                  <a:lnTo>
                    <a:pt x="142" y="109"/>
                  </a:lnTo>
                  <a:lnTo>
                    <a:pt x="139" y="109"/>
                  </a:lnTo>
                  <a:lnTo>
                    <a:pt x="137" y="113"/>
                  </a:lnTo>
                  <a:lnTo>
                    <a:pt x="135" y="116"/>
                  </a:lnTo>
                  <a:lnTo>
                    <a:pt x="135" y="118"/>
                  </a:lnTo>
                  <a:lnTo>
                    <a:pt x="137" y="120"/>
                  </a:lnTo>
                  <a:lnTo>
                    <a:pt x="135" y="122"/>
                  </a:lnTo>
                  <a:lnTo>
                    <a:pt x="130" y="122"/>
                  </a:lnTo>
                  <a:lnTo>
                    <a:pt x="130" y="122"/>
                  </a:lnTo>
                  <a:lnTo>
                    <a:pt x="126" y="120"/>
                  </a:lnTo>
                  <a:lnTo>
                    <a:pt x="123" y="118"/>
                  </a:lnTo>
                  <a:lnTo>
                    <a:pt x="119" y="118"/>
                  </a:lnTo>
                  <a:lnTo>
                    <a:pt x="118" y="120"/>
                  </a:lnTo>
                  <a:lnTo>
                    <a:pt x="114" y="120"/>
                  </a:lnTo>
                  <a:lnTo>
                    <a:pt x="111" y="120"/>
                  </a:lnTo>
                  <a:lnTo>
                    <a:pt x="107" y="116"/>
                  </a:lnTo>
                  <a:lnTo>
                    <a:pt x="102" y="118"/>
                  </a:lnTo>
                  <a:lnTo>
                    <a:pt x="102" y="116"/>
                  </a:lnTo>
                  <a:lnTo>
                    <a:pt x="99" y="113"/>
                  </a:lnTo>
                  <a:lnTo>
                    <a:pt x="97" y="111"/>
                  </a:lnTo>
                  <a:lnTo>
                    <a:pt x="90" y="108"/>
                  </a:lnTo>
                  <a:lnTo>
                    <a:pt x="88" y="108"/>
                  </a:lnTo>
                  <a:lnTo>
                    <a:pt x="86" y="104"/>
                  </a:lnTo>
                  <a:lnTo>
                    <a:pt x="85" y="104"/>
                  </a:lnTo>
                  <a:lnTo>
                    <a:pt x="83" y="108"/>
                  </a:lnTo>
                  <a:lnTo>
                    <a:pt x="83" y="108"/>
                  </a:lnTo>
                  <a:lnTo>
                    <a:pt x="80" y="108"/>
                  </a:lnTo>
                  <a:lnTo>
                    <a:pt x="78" y="108"/>
                  </a:lnTo>
                  <a:lnTo>
                    <a:pt x="74" y="109"/>
                  </a:lnTo>
                  <a:lnTo>
                    <a:pt x="74" y="111"/>
                  </a:lnTo>
                  <a:lnTo>
                    <a:pt x="74" y="115"/>
                  </a:lnTo>
                  <a:lnTo>
                    <a:pt x="74" y="116"/>
                  </a:lnTo>
                  <a:lnTo>
                    <a:pt x="73" y="118"/>
                  </a:lnTo>
                  <a:lnTo>
                    <a:pt x="71" y="118"/>
                  </a:lnTo>
                  <a:lnTo>
                    <a:pt x="71" y="120"/>
                  </a:lnTo>
                  <a:lnTo>
                    <a:pt x="73" y="123"/>
                  </a:lnTo>
                  <a:lnTo>
                    <a:pt x="71" y="125"/>
                  </a:lnTo>
                  <a:lnTo>
                    <a:pt x="71" y="127"/>
                  </a:lnTo>
                  <a:lnTo>
                    <a:pt x="71" y="130"/>
                  </a:lnTo>
                  <a:lnTo>
                    <a:pt x="69" y="130"/>
                  </a:lnTo>
                  <a:lnTo>
                    <a:pt x="67" y="130"/>
                  </a:lnTo>
                  <a:lnTo>
                    <a:pt x="64" y="130"/>
                  </a:lnTo>
                  <a:lnTo>
                    <a:pt x="62" y="127"/>
                  </a:lnTo>
                  <a:lnTo>
                    <a:pt x="60" y="127"/>
                  </a:lnTo>
                  <a:lnTo>
                    <a:pt x="57" y="127"/>
                  </a:lnTo>
                  <a:lnTo>
                    <a:pt x="55" y="130"/>
                  </a:lnTo>
                  <a:lnTo>
                    <a:pt x="52" y="127"/>
                  </a:lnTo>
                  <a:lnTo>
                    <a:pt x="46" y="130"/>
                  </a:lnTo>
                  <a:lnTo>
                    <a:pt x="43" y="132"/>
                  </a:lnTo>
                  <a:lnTo>
                    <a:pt x="41" y="136"/>
                  </a:lnTo>
                  <a:lnTo>
                    <a:pt x="36" y="137"/>
                  </a:lnTo>
                  <a:lnTo>
                    <a:pt x="29" y="151"/>
                  </a:lnTo>
                  <a:lnTo>
                    <a:pt x="27" y="151"/>
                  </a:lnTo>
                  <a:lnTo>
                    <a:pt x="27" y="149"/>
                  </a:lnTo>
                  <a:lnTo>
                    <a:pt x="27" y="148"/>
                  </a:lnTo>
                  <a:lnTo>
                    <a:pt x="27" y="142"/>
                  </a:lnTo>
                  <a:lnTo>
                    <a:pt x="20" y="139"/>
                  </a:lnTo>
                  <a:lnTo>
                    <a:pt x="19" y="137"/>
                  </a:lnTo>
                  <a:lnTo>
                    <a:pt x="19" y="132"/>
                  </a:lnTo>
                  <a:lnTo>
                    <a:pt x="13" y="127"/>
                  </a:lnTo>
                  <a:lnTo>
                    <a:pt x="10" y="123"/>
                  </a:lnTo>
                  <a:lnTo>
                    <a:pt x="10" y="118"/>
                  </a:lnTo>
                  <a:lnTo>
                    <a:pt x="5" y="116"/>
                  </a:lnTo>
                  <a:lnTo>
                    <a:pt x="3" y="115"/>
                  </a:lnTo>
                  <a:lnTo>
                    <a:pt x="3" y="108"/>
                  </a:lnTo>
                  <a:lnTo>
                    <a:pt x="1" y="104"/>
                  </a:lnTo>
                  <a:lnTo>
                    <a:pt x="1" y="99"/>
                  </a:lnTo>
                  <a:lnTo>
                    <a:pt x="1" y="96"/>
                  </a:lnTo>
                  <a:lnTo>
                    <a:pt x="0" y="92"/>
                  </a:lnTo>
                  <a:lnTo>
                    <a:pt x="0" y="87"/>
                  </a:lnTo>
                  <a:lnTo>
                    <a:pt x="1" y="85"/>
                  </a:lnTo>
                  <a:lnTo>
                    <a:pt x="3" y="85"/>
                  </a:lnTo>
                  <a:lnTo>
                    <a:pt x="7" y="80"/>
                  </a:lnTo>
                  <a:lnTo>
                    <a:pt x="8" y="75"/>
                  </a:lnTo>
                  <a:lnTo>
                    <a:pt x="10" y="71"/>
                  </a:lnTo>
                  <a:lnTo>
                    <a:pt x="13" y="66"/>
                  </a:lnTo>
                  <a:lnTo>
                    <a:pt x="15" y="66"/>
                  </a:lnTo>
                  <a:lnTo>
                    <a:pt x="19" y="61"/>
                  </a:lnTo>
                  <a:lnTo>
                    <a:pt x="19" y="59"/>
                  </a:lnTo>
                  <a:lnTo>
                    <a:pt x="20" y="62"/>
                  </a:lnTo>
                  <a:lnTo>
                    <a:pt x="20" y="66"/>
                  </a:lnTo>
                  <a:lnTo>
                    <a:pt x="24" y="66"/>
                  </a:lnTo>
                  <a:lnTo>
                    <a:pt x="27" y="62"/>
                  </a:lnTo>
                  <a:lnTo>
                    <a:pt x="31" y="62"/>
                  </a:lnTo>
                  <a:lnTo>
                    <a:pt x="34" y="61"/>
                  </a:lnTo>
                  <a:lnTo>
                    <a:pt x="34" y="57"/>
                  </a:lnTo>
                  <a:lnTo>
                    <a:pt x="36" y="56"/>
                  </a:lnTo>
                  <a:lnTo>
                    <a:pt x="38" y="57"/>
                  </a:lnTo>
                  <a:lnTo>
                    <a:pt x="40" y="61"/>
                  </a:lnTo>
                  <a:lnTo>
                    <a:pt x="41" y="62"/>
                  </a:lnTo>
                  <a:lnTo>
                    <a:pt x="43" y="62"/>
                  </a:lnTo>
                  <a:lnTo>
                    <a:pt x="46" y="59"/>
                  </a:lnTo>
                  <a:lnTo>
                    <a:pt x="52" y="56"/>
                  </a:lnTo>
                  <a:lnTo>
                    <a:pt x="57" y="54"/>
                  </a:lnTo>
                  <a:lnTo>
                    <a:pt x="67" y="50"/>
                  </a:lnTo>
                  <a:lnTo>
                    <a:pt x="73" y="50"/>
                  </a:lnTo>
                  <a:lnTo>
                    <a:pt x="74" y="49"/>
                  </a:lnTo>
                  <a:lnTo>
                    <a:pt x="80" y="45"/>
                  </a:lnTo>
                  <a:lnTo>
                    <a:pt x="80" y="43"/>
                  </a:lnTo>
                  <a:lnTo>
                    <a:pt x="78" y="43"/>
                  </a:lnTo>
                  <a:lnTo>
                    <a:pt x="74" y="40"/>
                  </a:lnTo>
                  <a:lnTo>
                    <a:pt x="74" y="35"/>
                  </a:lnTo>
                  <a:lnTo>
                    <a:pt x="78" y="35"/>
                  </a:lnTo>
                  <a:lnTo>
                    <a:pt x="80" y="35"/>
                  </a:lnTo>
                  <a:lnTo>
                    <a:pt x="83" y="35"/>
                  </a:lnTo>
                  <a:lnTo>
                    <a:pt x="85" y="35"/>
                  </a:lnTo>
                  <a:lnTo>
                    <a:pt x="90" y="38"/>
                  </a:lnTo>
                  <a:lnTo>
                    <a:pt x="95" y="35"/>
                  </a:lnTo>
                  <a:lnTo>
                    <a:pt x="102" y="35"/>
                  </a:lnTo>
                  <a:lnTo>
                    <a:pt x="106" y="31"/>
                  </a:lnTo>
                  <a:lnTo>
                    <a:pt x="107" y="31"/>
                  </a:lnTo>
                  <a:lnTo>
                    <a:pt x="107" y="29"/>
                  </a:lnTo>
                  <a:lnTo>
                    <a:pt x="107" y="26"/>
                  </a:lnTo>
                  <a:lnTo>
                    <a:pt x="107" y="23"/>
                  </a:lnTo>
                  <a:lnTo>
                    <a:pt x="111" y="21"/>
                  </a:lnTo>
                  <a:lnTo>
                    <a:pt x="111" y="19"/>
                  </a:lnTo>
                  <a:lnTo>
                    <a:pt x="113" y="16"/>
                  </a:lnTo>
                  <a:lnTo>
                    <a:pt x="114" y="17"/>
                  </a:lnTo>
                  <a:lnTo>
                    <a:pt x="116" y="17"/>
                  </a:lnTo>
                  <a:lnTo>
                    <a:pt x="119" y="12"/>
                  </a:lnTo>
                  <a:lnTo>
                    <a:pt x="121" y="12"/>
                  </a:lnTo>
                  <a:lnTo>
                    <a:pt x="121" y="9"/>
                  </a:lnTo>
                  <a:lnTo>
                    <a:pt x="121" y="7"/>
                  </a:lnTo>
                  <a:lnTo>
                    <a:pt x="126" y="3"/>
                  </a:lnTo>
                  <a:lnTo>
                    <a:pt x="130" y="2"/>
                  </a:lnTo>
                  <a:lnTo>
                    <a:pt x="133" y="2"/>
                  </a:lnTo>
                  <a:lnTo>
                    <a:pt x="137" y="3"/>
                  </a:lnTo>
                  <a:lnTo>
                    <a:pt x="139" y="2"/>
                  </a:lnTo>
                  <a:lnTo>
                    <a:pt x="142" y="0"/>
                  </a:lnTo>
                  <a:lnTo>
                    <a:pt x="142" y="0"/>
                  </a:lnTo>
                  <a:lnTo>
                    <a:pt x="14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3" name="Freeform 109">
              <a:extLst>
                <a:ext uri="{FF2B5EF4-FFF2-40B4-BE49-F238E27FC236}">
                  <a16:creationId xmlns:a16="http://schemas.microsoft.com/office/drawing/2014/main" id="{55542975-C59D-4E42-AFB2-5B73B3BEA758}"/>
                </a:ext>
              </a:extLst>
            </p:cNvPr>
            <p:cNvSpPr>
              <a:spLocks/>
            </p:cNvSpPr>
            <p:nvPr/>
          </p:nvSpPr>
          <p:spPr bwMode="auto">
            <a:xfrm>
              <a:off x="4702175" y="3327401"/>
              <a:ext cx="417513" cy="390525"/>
            </a:xfrm>
            <a:custGeom>
              <a:avLst/>
              <a:gdLst/>
              <a:ahLst/>
              <a:cxnLst>
                <a:cxn ang="0">
                  <a:pos x="263" y="239"/>
                </a:cxn>
                <a:cxn ang="0">
                  <a:pos x="251" y="58"/>
                </a:cxn>
                <a:cxn ang="0">
                  <a:pos x="256" y="44"/>
                </a:cxn>
                <a:cxn ang="0">
                  <a:pos x="256" y="28"/>
                </a:cxn>
                <a:cxn ang="0">
                  <a:pos x="251" y="20"/>
                </a:cxn>
                <a:cxn ang="0">
                  <a:pos x="233" y="18"/>
                </a:cxn>
                <a:cxn ang="0">
                  <a:pos x="221" y="13"/>
                </a:cxn>
                <a:cxn ang="0">
                  <a:pos x="216" y="6"/>
                </a:cxn>
                <a:cxn ang="0">
                  <a:pos x="206" y="4"/>
                </a:cxn>
                <a:cxn ang="0">
                  <a:pos x="197" y="4"/>
                </a:cxn>
                <a:cxn ang="0">
                  <a:pos x="178" y="11"/>
                </a:cxn>
                <a:cxn ang="0">
                  <a:pos x="169" y="20"/>
                </a:cxn>
                <a:cxn ang="0">
                  <a:pos x="174" y="40"/>
                </a:cxn>
                <a:cxn ang="0">
                  <a:pos x="167" y="51"/>
                </a:cxn>
                <a:cxn ang="0">
                  <a:pos x="152" y="54"/>
                </a:cxn>
                <a:cxn ang="0">
                  <a:pos x="133" y="40"/>
                </a:cxn>
                <a:cxn ang="0">
                  <a:pos x="112" y="37"/>
                </a:cxn>
                <a:cxn ang="0">
                  <a:pos x="94" y="23"/>
                </a:cxn>
                <a:cxn ang="0">
                  <a:pos x="79" y="11"/>
                </a:cxn>
                <a:cxn ang="0">
                  <a:pos x="60" y="4"/>
                </a:cxn>
                <a:cxn ang="0">
                  <a:pos x="37" y="4"/>
                </a:cxn>
                <a:cxn ang="0">
                  <a:pos x="33" y="9"/>
                </a:cxn>
                <a:cxn ang="0">
                  <a:pos x="20" y="21"/>
                </a:cxn>
                <a:cxn ang="0">
                  <a:pos x="14" y="28"/>
                </a:cxn>
                <a:cxn ang="0">
                  <a:pos x="11" y="35"/>
                </a:cxn>
                <a:cxn ang="0">
                  <a:pos x="11" y="46"/>
                </a:cxn>
                <a:cxn ang="0">
                  <a:pos x="7" y="51"/>
                </a:cxn>
                <a:cxn ang="0">
                  <a:pos x="2" y="53"/>
                </a:cxn>
                <a:cxn ang="0">
                  <a:pos x="0" y="60"/>
                </a:cxn>
                <a:cxn ang="0">
                  <a:pos x="6" y="77"/>
                </a:cxn>
                <a:cxn ang="0">
                  <a:pos x="6" y="94"/>
                </a:cxn>
                <a:cxn ang="0">
                  <a:pos x="6" y="108"/>
                </a:cxn>
                <a:cxn ang="0">
                  <a:pos x="6" y="120"/>
                </a:cxn>
                <a:cxn ang="0">
                  <a:pos x="0" y="127"/>
                </a:cxn>
                <a:cxn ang="0">
                  <a:pos x="11" y="141"/>
                </a:cxn>
                <a:cxn ang="0">
                  <a:pos x="11" y="150"/>
                </a:cxn>
                <a:cxn ang="0">
                  <a:pos x="14" y="159"/>
                </a:cxn>
                <a:cxn ang="0">
                  <a:pos x="30" y="162"/>
                </a:cxn>
                <a:cxn ang="0">
                  <a:pos x="37" y="174"/>
                </a:cxn>
                <a:cxn ang="0">
                  <a:pos x="44" y="181"/>
                </a:cxn>
                <a:cxn ang="0">
                  <a:pos x="110" y="176"/>
                </a:cxn>
                <a:cxn ang="0">
                  <a:pos x="247" y="246"/>
                </a:cxn>
              </a:cxnLst>
              <a:rect l="0" t="0" r="r" b="b"/>
              <a:pathLst>
                <a:path w="263" h="246">
                  <a:moveTo>
                    <a:pt x="247" y="246"/>
                  </a:moveTo>
                  <a:lnTo>
                    <a:pt x="247" y="239"/>
                  </a:lnTo>
                  <a:lnTo>
                    <a:pt x="263" y="239"/>
                  </a:lnTo>
                  <a:lnTo>
                    <a:pt x="256" y="72"/>
                  </a:lnTo>
                  <a:lnTo>
                    <a:pt x="254" y="63"/>
                  </a:lnTo>
                  <a:lnTo>
                    <a:pt x="251" y="58"/>
                  </a:lnTo>
                  <a:lnTo>
                    <a:pt x="254" y="53"/>
                  </a:lnTo>
                  <a:lnTo>
                    <a:pt x="256" y="46"/>
                  </a:lnTo>
                  <a:lnTo>
                    <a:pt x="256" y="44"/>
                  </a:lnTo>
                  <a:lnTo>
                    <a:pt x="254" y="37"/>
                  </a:lnTo>
                  <a:lnTo>
                    <a:pt x="256" y="30"/>
                  </a:lnTo>
                  <a:lnTo>
                    <a:pt x="256" y="28"/>
                  </a:lnTo>
                  <a:lnTo>
                    <a:pt x="254" y="23"/>
                  </a:lnTo>
                  <a:lnTo>
                    <a:pt x="254" y="20"/>
                  </a:lnTo>
                  <a:lnTo>
                    <a:pt x="251" y="20"/>
                  </a:lnTo>
                  <a:lnTo>
                    <a:pt x="247" y="20"/>
                  </a:lnTo>
                  <a:lnTo>
                    <a:pt x="235" y="18"/>
                  </a:lnTo>
                  <a:lnTo>
                    <a:pt x="233" y="18"/>
                  </a:lnTo>
                  <a:lnTo>
                    <a:pt x="228" y="18"/>
                  </a:lnTo>
                  <a:lnTo>
                    <a:pt x="223" y="14"/>
                  </a:lnTo>
                  <a:lnTo>
                    <a:pt x="221" y="13"/>
                  </a:lnTo>
                  <a:lnTo>
                    <a:pt x="223" y="13"/>
                  </a:lnTo>
                  <a:lnTo>
                    <a:pt x="223" y="11"/>
                  </a:lnTo>
                  <a:lnTo>
                    <a:pt x="216" y="6"/>
                  </a:lnTo>
                  <a:lnTo>
                    <a:pt x="211" y="6"/>
                  </a:lnTo>
                  <a:lnTo>
                    <a:pt x="206" y="4"/>
                  </a:lnTo>
                  <a:lnTo>
                    <a:pt x="206" y="4"/>
                  </a:lnTo>
                  <a:lnTo>
                    <a:pt x="202" y="6"/>
                  </a:lnTo>
                  <a:lnTo>
                    <a:pt x="200" y="4"/>
                  </a:lnTo>
                  <a:lnTo>
                    <a:pt x="197" y="4"/>
                  </a:lnTo>
                  <a:lnTo>
                    <a:pt x="193" y="6"/>
                  </a:lnTo>
                  <a:lnTo>
                    <a:pt x="183" y="7"/>
                  </a:lnTo>
                  <a:lnTo>
                    <a:pt x="178" y="11"/>
                  </a:lnTo>
                  <a:lnTo>
                    <a:pt x="173" y="14"/>
                  </a:lnTo>
                  <a:lnTo>
                    <a:pt x="173" y="18"/>
                  </a:lnTo>
                  <a:lnTo>
                    <a:pt x="169" y="20"/>
                  </a:lnTo>
                  <a:lnTo>
                    <a:pt x="169" y="30"/>
                  </a:lnTo>
                  <a:lnTo>
                    <a:pt x="173" y="35"/>
                  </a:lnTo>
                  <a:lnTo>
                    <a:pt x="174" y="40"/>
                  </a:lnTo>
                  <a:lnTo>
                    <a:pt x="173" y="46"/>
                  </a:lnTo>
                  <a:lnTo>
                    <a:pt x="169" y="49"/>
                  </a:lnTo>
                  <a:lnTo>
                    <a:pt x="167" y="51"/>
                  </a:lnTo>
                  <a:lnTo>
                    <a:pt x="164" y="56"/>
                  </a:lnTo>
                  <a:lnTo>
                    <a:pt x="159" y="58"/>
                  </a:lnTo>
                  <a:lnTo>
                    <a:pt x="152" y="54"/>
                  </a:lnTo>
                  <a:lnTo>
                    <a:pt x="145" y="49"/>
                  </a:lnTo>
                  <a:lnTo>
                    <a:pt x="139" y="46"/>
                  </a:lnTo>
                  <a:lnTo>
                    <a:pt x="133" y="40"/>
                  </a:lnTo>
                  <a:lnTo>
                    <a:pt x="119" y="35"/>
                  </a:lnTo>
                  <a:lnTo>
                    <a:pt x="113" y="35"/>
                  </a:lnTo>
                  <a:lnTo>
                    <a:pt x="112" y="37"/>
                  </a:lnTo>
                  <a:lnTo>
                    <a:pt x="106" y="37"/>
                  </a:lnTo>
                  <a:lnTo>
                    <a:pt x="100" y="33"/>
                  </a:lnTo>
                  <a:lnTo>
                    <a:pt x="94" y="23"/>
                  </a:lnTo>
                  <a:lnTo>
                    <a:pt x="94" y="18"/>
                  </a:lnTo>
                  <a:lnTo>
                    <a:pt x="89" y="13"/>
                  </a:lnTo>
                  <a:lnTo>
                    <a:pt x="79" y="11"/>
                  </a:lnTo>
                  <a:lnTo>
                    <a:pt x="73" y="7"/>
                  </a:lnTo>
                  <a:lnTo>
                    <a:pt x="63" y="7"/>
                  </a:lnTo>
                  <a:lnTo>
                    <a:pt x="60" y="4"/>
                  </a:lnTo>
                  <a:lnTo>
                    <a:pt x="47" y="7"/>
                  </a:lnTo>
                  <a:lnTo>
                    <a:pt x="39" y="6"/>
                  </a:lnTo>
                  <a:lnTo>
                    <a:pt x="37" y="4"/>
                  </a:lnTo>
                  <a:lnTo>
                    <a:pt x="30" y="0"/>
                  </a:lnTo>
                  <a:lnTo>
                    <a:pt x="30" y="4"/>
                  </a:lnTo>
                  <a:lnTo>
                    <a:pt x="33" y="9"/>
                  </a:lnTo>
                  <a:lnTo>
                    <a:pt x="33" y="11"/>
                  </a:lnTo>
                  <a:lnTo>
                    <a:pt x="30" y="14"/>
                  </a:lnTo>
                  <a:lnTo>
                    <a:pt x="20" y="21"/>
                  </a:lnTo>
                  <a:lnTo>
                    <a:pt x="20" y="27"/>
                  </a:lnTo>
                  <a:lnTo>
                    <a:pt x="16" y="28"/>
                  </a:lnTo>
                  <a:lnTo>
                    <a:pt x="14" y="28"/>
                  </a:lnTo>
                  <a:lnTo>
                    <a:pt x="11" y="30"/>
                  </a:lnTo>
                  <a:lnTo>
                    <a:pt x="11" y="32"/>
                  </a:lnTo>
                  <a:lnTo>
                    <a:pt x="11" y="35"/>
                  </a:lnTo>
                  <a:lnTo>
                    <a:pt x="11" y="40"/>
                  </a:lnTo>
                  <a:lnTo>
                    <a:pt x="11" y="44"/>
                  </a:lnTo>
                  <a:lnTo>
                    <a:pt x="11" y="46"/>
                  </a:lnTo>
                  <a:lnTo>
                    <a:pt x="11" y="46"/>
                  </a:lnTo>
                  <a:lnTo>
                    <a:pt x="11" y="49"/>
                  </a:lnTo>
                  <a:lnTo>
                    <a:pt x="7" y="51"/>
                  </a:lnTo>
                  <a:lnTo>
                    <a:pt x="6" y="53"/>
                  </a:lnTo>
                  <a:lnTo>
                    <a:pt x="2" y="53"/>
                  </a:lnTo>
                  <a:lnTo>
                    <a:pt x="2" y="53"/>
                  </a:lnTo>
                  <a:lnTo>
                    <a:pt x="2" y="53"/>
                  </a:lnTo>
                  <a:lnTo>
                    <a:pt x="0" y="54"/>
                  </a:lnTo>
                  <a:lnTo>
                    <a:pt x="0" y="60"/>
                  </a:lnTo>
                  <a:lnTo>
                    <a:pt x="2" y="60"/>
                  </a:lnTo>
                  <a:lnTo>
                    <a:pt x="6" y="67"/>
                  </a:lnTo>
                  <a:lnTo>
                    <a:pt x="6" y="77"/>
                  </a:lnTo>
                  <a:lnTo>
                    <a:pt x="6" y="82"/>
                  </a:lnTo>
                  <a:lnTo>
                    <a:pt x="6" y="86"/>
                  </a:lnTo>
                  <a:lnTo>
                    <a:pt x="6" y="94"/>
                  </a:lnTo>
                  <a:lnTo>
                    <a:pt x="7" y="98"/>
                  </a:lnTo>
                  <a:lnTo>
                    <a:pt x="6" y="108"/>
                  </a:lnTo>
                  <a:lnTo>
                    <a:pt x="6" y="108"/>
                  </a:lnTo>
                  <a:lnTo>
                    <a:pt x="6" y="113"/>
                  </a:lnTo>
                  <a:lnTo>
                    <a:pt x="7" y="119"/>
                  </a:lnTo>
                  <a:lnTo>
                    <a:pt x="6" y="120"/>
                  </a:lnTo>
                  <a:lnTo>
                    <a:pt x="2" y="124"/>
                  </a:lnTo>
                  <a:lnTo>
                    <a:pt x="0" y="126"/>
                  </a:lnTo>
                  <a:lnTo>
                    <a:pt x="0" y="127"/>
                  </a:lnTo>
                  <a:lnTo>
                    <a:pt x="2" y="131"/>
                  </a:lnTo>
                  <a:lnTo>
                    <a:pt x="6" y="136"/>
                  </a:lnTo>
                  <a:lnTo>
                    <a:pt x="11" y="141"/>
                  </a:lnTo>
                  <a:lnTo>
                    <a:pt x="11" y="143"/>
                  </a:lnTo>
                  <a:lnTo>
                    <a:pt x="11" y="147"/>
                  </a:lnTo>
                  <a:lnTo>
                    <a:pt x="11" y="150"/>
                  </a:lnTo>
                  <a:lnTo>
                    <a:pt x="11" y="153"/>
                  </a:lnTo>
                  <a:lnTo>
                    <a:pt x="14" y="157"/>
                  </a:lnTo>
                  <a:lnTo>
                    <a:pt x="14" y="159"/>
                  </a:lnTo>
                  <a:lnTo>
                    <a:pt x="16" y="162"/>
                  </a:lnTo>
                  <a:lnTo>
                    <a:pt x="23" y="162"/>
                  </a:lnTo>
                  <a:lnTo>
                    <a:pt x="30" y="162"/>
                  </a:lnTo>
                  <a:lnTo>
                    <a:pt x="30" y="162"/>
                  </a:lnTo>
                  <a:lnTo>
                    <a:pt x="33" y="167"/>
                  </a:lnTo>
                  <a:lnTo>
                    <a:pt x="37" y="174"/>
                  </a:lnTo>
                  <a:lnTo>
                    <a:pt x="39" y="176"/>
                  </a:lnTo>
                  <a:lnTo>
                    <a:pt x="40" y="180"/>
                  </a:lnTo>
                  <a:lnTo>
                    <a:pt x="44" y="181"/>
                  </a:lnTo>
                  <a:lnTo>
                    <a:pt x="73" y="187"/>
                  </a:lnTo>
                  <a:lnTo>
                    <a:pt x="77" y="190"/>
                  </a:lnTo>
                  <a:lnTo>
                    <a:pt x="110" y="176"/>
                  </a:lnTo>
                  <a:lnTo>
                    <a:pt x="247" y="246"/>
                  </a:lnTo>
                  <a:lnTo>
                    <a:pt x="247" y="246"/>
                  </a:lnTo>
                  <a:lnTo>
                    <a:pt x="247" y="246"/>
                  </a:lnTo>
                  <a:lnTo>
                    <a:pt x="247" y="246"/>
                  </a:lnTo>
                  <a:lnTo>
                    <a:pt x="247" y="24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4" name="Freeform 110">
              <a:extLst>
                <a:ext uri="{FF2B5EF4-FFF2-40B4-BE49-F238E27FC236}">
                  <a16:creationId xmlns:a16="http://schemas.microsoft.com/office/drawing/2014/main" id="{A6873761-4254-4602-9FD6-E50EABAEBAF6}"/>
                </a:ext>
              </a:extLst>
            </p:cNvPr>
            <p:cNvSpPr>
              <a:spLocks noEditPoints="1"/>
            </p:cNvSpPr>
            <p:nvPr/>
          </p:nvSpPr>
          <p:spPr bwMode="auto">
            <a:xfrm>
              <a:off x="4648200" y="3203576"/>
              <a:ext cx="109538" cy="209550"/>
            </a:xfrm>
            <a:custGeom>
              <a:avLst/>
              <a:gdLst/>
              <a:ahLst/>
              <a:cxnLst>
                <a:cxn ang="0">
                  <a:pos x="38" y="132"/>
                </a:cxn>
                <a:cxn ang="0">
                  <a:pos x="43" y="131"/>
                </a:cxn>
                <a:cxn ang="0">
                  <a:pos x="45" y="125"/>
                </a:cxn>
                <a:cxn ang="0">
                  <a:pos x="47" y="124"/>
                </a:cxn>
                <a:cxn ang="0">
                  <a:pos x="45" y="115"/>
                </a:cxn>
                <a:cxn ang="0">
                  <a:pos x="45" y="110"/>
                </a:cxn>
                <a:cxn ang="0">
                  <a:pos x="52" y="108"/>
                </a:cxn>
                <a:cxn ang="0">
                  <a:pos x="55" y="101"/>
                </a:cxn>
                <a:cxn ang="0">
                  <a:pos x="69" y="89"/>
                </a:cxn>
                <a:cxn ang="0">
                  <a:pos x="66" y="82"/>
                </a:cxn>
                <a:cxn ang="0">
                  <a:pos x="66" y="80"/>
                </a:cxn>
                <a:cxn ang="0">
                  <a:pos x="61" y="75"/>
                </a:cxn>
                <a:cxn ang="0">
                  <a:pos x="57" y="71"/>
                </a:cxn>
                <a:cxn ang="0">
                  <a:pos x="55" y="73"/>
                </a:cxn>
                <a:cxn ang="0">
                  <a:pos x="52" y="73"/>
                </a:cxn>
                <a:cxn ang="0">
                  <a:pos x="48" y="71"/>
                </a:cxn>
                <a:cxn ang="0">
                  <a:pos x="41" y="61"/>
                </a:cxn>
                <a:cxn ang="0">
                  <a:pos x="52" y="52"/>
                </a:cxn>
                <a:cxn ang="0">
                  <a:pos x="57" y="45"/>
                </a:cxn>
                <a:cxn ang="0">
                  <a:pos x="59" y="42"/>
                </a:cxn>
                <a:cxn ang="0">
                  <a:pos x="55" y="38"/>
                </a:cxn>
                <a:cxn ang="0">
                  <a:pos x="50" y="30"/>
                </a:cxn>
                <a:cxn ang="0">
                  <a:pos x="47" y="19"/>
                </a:cxn>
                <a:cxn ang="0">
                  <a:pos x="52" y="16"/>
                </a:cxn>
                <a:cxn ang="0">
                  <a:pos x="55" y="7"/>
                </a:cxn>
                <a:cxn ang="0">
                  <a:pos x="47" y="11"/>
                </a:cxn>
                <a:cxn ang="0">
                  <a:pos x="43" y="11"/>
                </a:cxn>
                <a:cxn ang="0">
                  <a:pos x="38" y="5"/>
                </a:cxn>
                <a:cxn ang="0">
                  <a:pos x="36" y="0"/>
                </a:cxn>
                <a:cxn ang="0">
                  <a:pos x="33" y="4"/>
                </a:cxn>
                <a:cxn ang="0">
                  <a:pos x="28" y="2"/>
                </a:cxn>
                <a:cxn ang="0">
                  <a:pos x="17" y="7"/>
                </a:cxn>
                <a:cxn ang="0">
                  <a:pos x="15" y="11"/>
                </a:cxn>
                <a:cxn ang="0">
                  <a:pos x="15" y="19"/>
                </a:cxn>
                <a:cxn ang="0">
                  <a:pos x="12" y="30"/>
                </a:cxn>
                <a:cxn ang="0">
                  <a:pos x="15" y="38"/>
                </a:cxn>
                <a:cxn ang="0">
                  <a:pos x="15" y="42"/>
                </a:cxn>
                <a:cxn ang="0">
                  <a:pos x="15" y="45"/>
                </a:cxn>
                <a:cxn ang="0">
                  <a:pos x="14" y="54"/>
                </a:cxn>
                <a:cxn ang="0">
                  <a:pos x="8" y="58"/>
                </a:cxn>
                <a:cxn ang="0">
                  <a:pos x="5" y="61"/>
                </a:cxn>
                <a:cxn ang="0">
                  <a:pos x="1" y="71"/>
                </a:cxn>
                <a:cxn ang="0">
                  <a:pos x="5" y="78"/>
                </a:cxn>
                <a:cxn ang="0">
                  <a:pos x="8" y="82"/>
                </a:cxn>
                <a:cxn ang="0">
                  <a:pos x="14" y="89"/>
                </a:cxn>
                <a:cxn ang="0">
                  <a:pos x="19" y="92"/>
                </a:cxn>
                <a:cxn ang="0">
                  <a:pos x="28" y="98"/>
                </a:cxn>
                <a:cxn ang="0">
                  <a:pos x="36" y="132"/>
                </a:cxn>
                <a:cxn ang="0">
                  <a:pos x="36" y="132"/>
                </a:cxn>
                <a:cxn ang="0">
                  <a:pos x="54" y="66"/>
                </a:cxn>
                <a:cxn ang="0">
                  <a:pos x="57" y="70"/>
                </a:cxn>
                <a:cxn ang="0">
                  <a:pos x="52" y="70"/>
                </a:cxn>
                <a:cxn ang="0">
                  <a:pos x="52" y="70"/>
                </a:cxn>
              </a:cxnLst>
              <a:rect l="0" t="0" r="r" b="b"/>
              <a:pathLst>
                <a:path w="69" h="132">
                  <a:moveTo>
                    <a:pt x="36" y="132"/>
                  </a:moveTo>
                  <a:lnTo>
                    <a:pt x="38" y="132"/>
                  </a:lnTo>
                  <a:lnTo>
                    <a:pt x="41" y="132"/>
                  </a:lnTo>
                  <a:lnTo>
                    <a:pt x="43" y="131"/>
                  </a:lnTo>
                  <a:lnTo>
                    <a:pt x="45" y="127"/>
                  </a:lnTo>
                  <a:lnTo>
                    <a:pt x="45" y="125"/>
                  </a:lnTo>
                  <a:lnTo>
                    <a:pt x="45" y="124"/>
                  </a:lnTo>
                  <a:lnTo>
                    <a:pt x="47" y="124"/>
                  </a:lnTo>
                  <a:lnTo>
                    <a:pt x="47" y="118"/>
                  </a:lnTo>
                  <a:lnTo>
                    <a:pt x="45" y="115"/>
                  </a:lnTo>
                  <a:lnTo>
                    <a:pt x="45" y="111"/>
                  </a:lnTo>
                  <a:lnTo>
                    <a:pt x="45" y="110"/>
                  </a:lnTo>
                  <a:lnTo>
                    <a:pt x="48" y="108"/>
                  </a:lnTo>
                  <a:lnTo>
                    <a:pt x="52" y="108"/>
                  </a:lnTo>
                  <a:lnTo>
                    <a:pt x="55" y="105"/>
                  </a:lnTo>
                  <a:lnTo>
                    <a:pt x="55" y="101"/>
                  </a:lnTo>
                  <a:lnTo>
                    <a:pt x="66" y="94"/>
                  </a:lnTo>
                  <a:lnTo>
                    <a:pt x="69" y="89"/>
                  </a:lnTo>
                  <a:lnTo>
                    <a:pt x="69" y="89"/>
                  </a:lnTo>
                  <a:lnTo>
                    <a:pt x="66" y="82"/>
                  </a:lnTo>
                  <a:lnTo>
                    <a:pt x="66" y="80"/>
                  </a:lnTo>
                  <a:lnTo>
                    <a:pt x="66" y="80"/>
                  </a:lnTo>
                  <a:lnTo>
                    <a:pt x="61" y="77"/>
                  </a:lnTo>
                  <a:lnTo>
                    <a:pt x="61" y="75"/>
                  </a:lnTo>
                  <a:lnTo>
                    <a:pt x="61" y="71"/>
                  </a:lnTo>
                  <a:lnTo>
                    <a:pt x="57" y="71"/>
                  </a:lnTo>
                  <a:lnTo>
                    <a:pt x="55" y="71"/>
                  </a:lnTo>
                  <a:lnTo>
                    <a:pt x="55" y="73"/>
                  </a:lnTo>
                  <a:lnTo>
                    <a:pt x="55" y="73"/>
                  </a:lnTo>
                  <a:lnTo>
                    <a:pt x="52" y="73"/>
                  </a:lnTo>
                  <a:lnTo>
                    <a:pt x="52" y="70"/>
                  </a:lnTo>
                  <a:lnTo>
                    <a:pt x="48" y="71"/>
                  </a:lnTo>
                  <a:lnTo>
                    <a:pt x="43" y="66"/>
                  </a:lnTo>
                  <a:lnTo>
                    <a:pt x="41" y="61"/>
                  </a:lnTo>
                  <a:lnTo>
                    <a:pt x="41" y="58"/>
                  </a:lnTo>
                  <a:lnTo>
                    <a:pt x="52" y="52"/>
                  </a:lnTo>
                  <a:lnTo>
                    <a:pt x="57" y="45"/>
                  </a:lnTo>
                  <a:lnTo>
                    <a:pt x="57" y="45"/>
                  </a:lnTo>
                  <a:lnTo>
                    <a:pt x="55" y="42"/>
                  </a:lnTo>
                  <a:lnTo>
                    <a:pt x="59" y="42"/>
                  </a:lnTo>
                  <a:lnTo>
                    <a:pt x="57" y="38"/>
                  </a:lnTo>
                  <a:lnTo>
                    <a:pt x="55" y="38"/>
                  </a:lnTo>
                  <a:lnTo>
                    <a:pt x="55" y="33"/>
                  </a:lnTo>
                  <a:lnTo>
                    <a:pt x="50" y="30"/>
                  </a:lnTo>
                  <a:lnTo>
                    <a:pt x="47" y="25"/>
                  </a:lnTo>
                  <a:lnTo>
                    <a:pt x="47" y="19"/>
                  </a:lnTo>
                  <a:lnTo>
                    <a:pt x="52" y="19"/>
                  </a:lnTo>
                  <a:lnTo>
                    <a:pt x="52" y="16"/>
                  </a:lnTo>
                  <a:lnTo>
                    <a:pt x="55" y="11"/>
                  </a:lnTo>
                  <a:lnTo>
                    <a:pt x="55" y="7"/>
                  </a:lnTo>
                  <a:lnTo>
                    <a:pt x="54" y="5"/>
                  </a:lnTo>
                  <a:lnTo>
                    <a:pt x="47" y="11"/>
                  </a:lnTo>
                  <a:lnTo>
                    <a:pt x="45" y="12"/>
                  </a:lnTo>
                  <a:lnTo>
                    <a:pt x="43" y="11"/>
                  </a:lnTo>
                  <a:lnTo>
                    <a:pt x="41" y="5"/>
                  </a:lnTo>
                  <a:lnTo>
                    <a:pt x="38" y="5"/>
                  </a:lnTo>
                  <a:lnTo>
                    <a:pt x="41" y="2"/>
                  </a:lnTo>
                  <a:lnTo>
                    <a:pt x="36" y="0"/>
                  </a:lnTo>
                  <a:lnTo>
                    <a:pt x="33" y="0"/>
                  </a:lnTo>
                  <a:lnTo>
                    <a:pt x="33" y="4"/>
                  </a:lnTo>
                  <a:lnTo>
                    <a:pt x="33" y="0"/>
                  </a:lnTo>
                  <a:lnTo>
                    <a:pt x="28" y="2"/>
                  </a:lnTo>
                  <a:lnTo>
                    <a:pt x="21" y="5"/>
                  </a:lnTo>
                  <a:lnTo>
                    <a:pt x="17" y="7"/>
                  </a:lnTo>
                  <a:lnTo>
                    <a:pt x="17" y="7"/>
                  </a:lnTo>
                  <a:lnTo>
                    <a:pt x="15" y="11"/>
                  </a:lnTo>
                  <a:lnTo>
                    <a:pt x="17" y="12"/>
                  </a:lnTo>
                  <a:lnTo>
                    <a:pt x="15" y="19"/>
                  </a:lnTo>
                  <a:lnTo>
                    <a:pt x="15" y="23"/>
                  </a:lnTo>
                  <a:lnTo>
                    <a:pt x="12" y="30"/>
                  </a:lnTo>
                  <a:lnTo>
                    <a:pt x="14" y="37"/>
                  </a:lnTo>
                  <a:lnTo>
                    <a:pt x="15" y="38"/>
                  </a:lnTo>
                  <a:lnTo>
                    <a:pt x="17" y="38"/>
                  </a:lnTo>
                  <a:lnTo>
                    <a:pt x="15" y="42"/>
                  </a:lnTo>
                  <a:lnTo>
                    <a:pt x="14" y="42"/>
                  </a:lnTo>
                  <a:lnTo>
                    <a:pt x="15" y="45"/>
                  </a:lnTo>
                  <a:lnTo>
                    <a:pt x="14" y="47"/>
                  </a:lnTo>
                  <a:lnTo>
                    <a:pt x="14" y="54"/>
                  </a:lnTo>
                  <a:lnTo>
                    <a:pt x="10" y="56"/>
                  </a:lnTo>
                  <a:lnTo>
                    <a:pt x="8" y="58"/>
                  </a:lnTo>
                  <a:lnTo>
                    <a:pt x="8" y="58"/>
                  </a:lnTo>
                  <a:lnTo>
                    <a:pt x="5" y="61"/>
                  </a:lnTo>
                  <a:lnTo>
                    <a:pt x="0" y="70"/>
                  </a:lnTo>
                  <a:lnTo>
                    <a:pt x="1" y="71"/>
                  </a:lnTo>
                  <a:lnTo>
                    <a:pt x="5" y="75"/>
                  </a:lnTo>
                  <a:lnTo>
                    <a:pt x="5" y="78"/>
                  </a:lnTo>
                  <a:lnTo>
                    <a:pt x="5" y="82"/>
                  </a:lnTo>
                  <a:lnTo>
                    <a:pt x="8" y="82"/>
                  </a:lnTo>
                  <a:lnTo>
                    <a:pt x="12" y="84"/>
                  </a:lnTo>
                  <a:lnTo>
                    <a:pt x="14" y="89"/>
                  </a:lnTo>
                  <a:lnTo>
                    <a:pt x="17" y="92"/>
                  </a:lnTo>
                  <a:lnTo>
                    <a:pt x="19" y="92"/>
                  </a:lnTo>
                  <a:lnTo>
                    <a:pt x="22" y="94"/>
                  </a:lnTo>
                  <a:lnTo>
                    <a:pt x="28" y="98"/>
                  </a:lnTo>
                  <a:lnTo>
                    <a:pt x="36" y="132"/>
                  </a:lnTo>
                  <a:lnTo>
                    <a:pt x="36" y="132"/>
                  </a:lnTo>
                  <a:lnTo>
                    <a:pt x="36" y="132"/>
                  </a:lnTo>
                  <a:lnTo>
                    <a:pt x="36" y="132"/>
                  </a:lnTo>
                  <a:close/>
                  <a:moveTo>
                    <a:pt x="52" y="70"/>
                  </a:moveTo>
                  <a:lnTo>
                    <a:pt x="54" y="66"/>
                  </a:lnTo>
                  <a:lnTo>
                    <a:pt x="57" y="66"/>
                  </a:lnTo>
                  <a:lnTo>
                    <a:pt x="57" y="70"/>
                  </a:lnTo>
                  <a:lnTo>
                    <a:pt x="55" y="70"/>
                  </a:lnTo>
                  <a:lnTo>
                    <a:pt x="52" y="70"/>
                  </a:lnTo>
                  <a:lnTo>
                    <a:pt x="52" y="70"/>
                  </a:lnTo>
                  <a:lnTo>
                    <a:pt x="52"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5" name="Freeform 111">
              <a:extLst>
                <a:ext uri="{FF2B5EF4-FFF2-40B4-BE49-F238E27FC236}">
                  <a16:creationId xmlns:a16="http://schemas.microsoft.com/office/drawing/2014/main" id="{FB6710FC-FCE9-4107-AE42-B8627B47299A}"/>
                </a:ext>
              </a:extLst>
            </p:cNvPr>
            <p:cNvSpPr>
              <a:spLocks/>
            </p:cNvSpPr>
            <p:nvPr/>
          </p:nvSpPr>
          <p:spPr bwMode="auto">
            <a:xfrm>
              <a:off x="4230688" y="3211513"/>
              <a:ext cx="541338" cy="519113"/>
            </a:xfrm>
            <a:custGeom>
              <a:avLst/>
              <a:gdLst/>
              <a:ahLst/>
              <a:cxnLst>
                <a:cxn ang="0">
                  <a:pos x="336" y="249"/>
                </a:cxn>
                <a:cxn ang="0">
                  <a:pos x="329" y="235"/>
                </a:cxn>
                <a:cxn ang="0">
                  <a:pos x="313" y="235"/>
                </a:cxn>
                <a:cxn ang="0">
                  <a:pos x="310" y="226"/>
                </a:cxn>
                <a:cxn ang="0">
                  <a:pos x="308" y="218"/>
                </a:cxn>
                <a:cxn ang="0">
                  <a:pos x="299" y="204"/>
                </a:cxn>
                <a:cxn ang="0">
                  <a:pos x="299" y="197"/>
                </a:cxn>
                <a:cxn ang="0">
                  <a:pos x="304" y="186"/>
                </a:cxn>
                <a:cxn ang="0">
                  <a:pos x="306" y="173"/>
                </a:cxn>
                <a:cxn ang="0">
                  <a:pos x="303" y="157"/>
                </a:cxn>
                <a:cxn ang="0">
                  <a:pos x="299" y="134"/>
                </a:cxn>
                <a:cxn ang="0">
                  <a:pos x="299" y="127"/>
                </a:cxn>
                <a:cxn ang="0">
                  <a:pos x="282" y="87"/>
                </a:cxn>
                <a:cxn ang="0">
                  <a:pos x="275" y="79"/>
                </a:cxn>
                <a:cxn ang="0">
                  <a:pos x="268" y="73"/>
                </a:cxn>
                <a:cxn ang="0">
                  <a:pos x="264" y="65"/>
                </a:cxn>
                <a:cxn ang="0">
                  <a:pos x="271" y="51"/>
                </a:cxn>
                <a:cxn ang="0">
                  <a:pos x="277" y="42"/>
                </a:cxn>
                <a:cxn ang="0">
                  <a:pos x="278" y="37"/>
                </a:cxn>
                <a:cxn ang="0">
                  <a:pos x="277" y="32"/>
                </a:cxn>
                <a:cxn ang="0">
                  <a:pos x="278" y="14"/>
                </a:cxn>
                <a:cxn ang="0">
                  <a:pos x="280" y="2"/>
                </a:cxn>
                <a:cxn ang="0">
                  <a:pos x="271" y="2"/>
                </a:cxn>
                <a:cxn ang="0">
                  <a:pos x="256" y="0"/>
                </a:cxn>
                <a:cxn ang="0">
                  <a:pos x="249" y="2"/>
                </a:cxn>
                <a:cxn ang="0">
                  <a:pos x="240" y="0"/>
                </a:cxn>
                <a:cxn ang="0">
                  <a:pos x="235" y="6"/>
                </a:cxn>
                <a:cxn ang="0">
                  <a:pos x="226" y="7"/>
                </a:cxn>
                <a:cxn ang="0">
                  <a:pos x="214" y="2"/>
                </a:cxn>
                <a:cxn ang="0">
                  <a:pos x="205" y="2"/>
                </a:cxn>
                <a:cxn ang="0">
                  <a:pos x="198" y="2"/>
                </a:cxn>
                <a:cxn ang="0">
                  <a:pos x="191" y="6"/>
                </a:cxn>
                <a:cxn ang="0">
                  <a:pos x="179" y="7"/>
                </a:cxn>
                <a:cxn ang="0">
                  <a:pos x="164" y="7"/>
                </a:cxn>
                <a:cxn ang="0">
                  <a:pos x="150" y="16"/>
                </a:cxn>
                <a:cxn ang="0">
                  <a:pos x="145" y="23"/>
                </a:cxn>
                <a:cxn ang="0">
                  <a:pos x="139" y="23"/>
                </a:cxn>
                <a:cxn ang="0">
                  <a:pos x="131" y="25"/>
                </a:cxn>
                <a:cxn ang="0">
                  <a:pos x="124" y="32"/>
                </a:cxn>
                <a:cxn ang="0">
                  <a:pos x="110" y="37"/>
                </a:cxn>
                <a:cxn ang="0">
                  <a:pos x="115" y="44"/>
                </a:cxn>
                <a:cxn ang="0">
                  <a:pos x="115" y="54"/>
                </a:cxn>
                <a:cxn ang="0">
                  <a:pos x="119" y="73"/>
                </a:cxn>
                <a:cxn ang="0">
                  <a:pos x="124" y="84"/>
                </a:cxn>
                <a:cxn ang="0">
                  <a:pos x="129" y="86"/>
                </a:cxn>
                <a:cxn ang="0">
                  <a:pos x="125" y="96"/>
                </a:cxn>
                <a:cxn ang="0">
                  <a:pos x="96" y="105"/>
                </a:cxn>
                <a:cxn ang="0">
                  <a:pos x="91" y="115"/>
                </a:cxn>
                <a:cxn ang="0">
                  <a:pos x="61" y="138"/>
                </a:cxn>
                <a:cxn ang="0">
                  <a:pos x="33" y="146"/>
                </a:cxn>
                <a:cxn ang="0">
                  <a:pos x="18" y="150"/>
                </a:cxn>
                <a:cxn ang="0">
                  <a:pos x="0" y="164"/>
                </a:cxn>
                <a:cxn ang="0">
                  <a:pos x="0" y="181"/>
                </a:cxn>
                <a:cxn ang="0">
                  <a:pos x="63" y="223"/>
                </a:cxn>
                <a:cxn ang="0">
                  <a:pos x="174" y="303"/>
                </a:cxn>
                <a:cxn ang="0">
                  <a:pos x="190" y="308"/>
                </a:cxn>
                <a:cxn ang="0">
                  <a:pos x="200" y="317"/>
                </a:cxn>
                <a:cxn ang="0">
                  <a:pos x="198" y="327"/>
                </a:cxn>
                <a:cxn ang="0">
                  <a:pos x="218" y="326"/>
                </a:cxn>
                <a:cxn ang="0">
                  <a:pos x="244" y="320"/>
                </a:cxn>
                <a:cxn ang="0">
                  <a:pos x="341" y="254"/>
                </a:cxn>
              </a:cxnLst>
              <a:rect l="0" t="0" r="r" b="b"/>
              <a:pathLst>
                <a:path w="341" h="327">
                  <a:moveTo>
                    <a:pt x="341" y="254"/>
                  </a:moveTo>
                  <a:lnTo>
                    <a:pt x="339" y="253"/>
                  </a:lnTo>
                  <a:lnTo>
                    <a:pt x="336" y="249"/>
                  </a:lnTo>
                  <a:lnTo>
                    <a:pt x="336" y="247"/>
                  </a:lnTo>
                  <a:lnTo>
                    <a:pt x="332" y="240"/>
                  </a:lnTo>
                  <a:lnTo>
                    <a:pt x="329" y="235"/>
                  </a:lnTo>
                  <a:lnTo>
                    <a:pt x="327" y="235"/>
                  </a:lnTo>
                  <a:lnTo>
                    <a:pt x="322" y="235"/>
                  </a:lnTo>
                  <a:lnTo>
                    <a:pt x="313" y="235"/>
                  </a:lnTo>
                  <a:lnTo>
                    <a:pt x="311" y="232"/>
                  </a:lnTo>
                  <a:lnTo>
                    <a:pt x="311" y="230"/>
                  </a:lnTo>
                  <a:lnTo>
                    <a:pt x="310" y="226"/>
                  </a:lnTo>
                  <a:lnTo>
                    <a:pt x="308" y="223"/>
                  </a:lnTo>
                  <a:lnTo>
                    <a:pt x="310" y="220"/>
                  </a:lnTo>
                  <a:lnTo>
                    <a:pt x="308" y="218"/>
                  </a:lnTo>
                  <a:lnTo>
                    <a:pt x="308" y="214"/>
                  </a:lnTo>
                  <a:lnTo>
                    <a:pt x="304" y="209"/>
                  </a:lnTo>
                  <a:lnTo>
                    <a:pt x="299" y="204"/>
                  </a:lnTo>
                  <a:lnTo>
                    <a:pt x="297" y="200"/>
                  </a:lnTo>
                  <a:lnTo>
                    <a:pt x="297" y="199"/>
                  </a:lnTo>
                  <a:lnTo>
                    <a:pt x="299" y="197"/>
                  </a:lnTo>
                  <a:lnTo>
                    <a:pt x="304" y="195"/>
                  </a:lnTo>
                  <a:lnTo>
                    <a:pt x="306" y="192"/>
                  </a:lnTo>
                  <a:lnTo>
                    <a:pt x="304" y="186"/>
                  </a:lnTo>
                  <a:lnTo>
                    <a:pt x="303" y="183"/>
                  </a:lnTo>
                  <a:lnTo>
                    <a:pt x="304" y="181"/>
                  </a:lnTo>
                  <a:lnTo>
                    <a:pt x="306" y="173"/>
                  </a:lnTo>
                  <a:lnTo>
                    <a:pt x="303" y="167"/>
                  </a:lnTo>
                  <a:lnTo>
                    <a:pt x="303" y="159"/>
                  </a:lnTo>
                  <a:lnTo>
                    <a:pt x="303" y="157"/>
                  </a:lnTo>
                  <a:lnTo>
                    <a:pt x="303" y="150"/>
                  </a:lnTo>
                  <a:lnTo>
                    <a:pt x="303" y="140"/>
                  </a:lnTo>
                  <a:lnTo>
                    <a:pt x="299" y="134"/>
                  </a:lnTo>
                  <a:lnTo>
                    <a:pt x="297" y="134"/>
                  </a:lnTo>
                  <a:lnTo>
                    <a:pt x="297" y="127"/>
                  </a:lnTo>
                  <a:lnTo>
                    <a:pt x="299" y="127"/>
                  </a:lnTo>
                  <a:lnTo>
                    <a:pt x="291" y="93"/>
                  </a:lnTo>
                  <a:lnTo>
                    <a:pt x="285" y="89"/>
                  </a:lnTo>
                  <a:lnTo>
                    <a:pt x="282" y="87"/>
                  </a:lnTo>
                  <a:lnTo>
                    <a:pt x="280" y="86"/>
                  </a:lnTo>
                  <a:lnTo>
                    <a:pt x="277" y="84"/>
                  </a:lnTo>
                  <a:lnTo>
                    <a:pt x="275" y="79"/>
                  </a:lnTo>
                  <a:lnTo>
                    <a:pt x="271" y="77"/>
                  </a:lnTo>
                  <a:lnTo>
                    <a:pt x="268" y="77"/>
                  </a:lnTo>
                  <a:lnTo>
                    <a:pt x="268" y="73"/>
                  </a:lnTo>
                  <a:lnTo>
                    <a:pt x="268" y="70"/>
                  </a:lnTo>
                  <a:lnTo>
                    <a:pt x="264" y="66"/>
                  </a:lnTo>
                  <a:lnTo>
                    <a:pt x="264" y="65"/>
                  </a:lnTo>
                  <a:lnTo>
                    <a:pt x="268" y="56"/>
                  </a:lnTo>
                  <a:lnTo>
                    <a:pt x="271" y="51"/>
                  </a:lnTo>
                  <a:lnTo>
                    <a:pt x="271" y="51"/>
                  </a:lnTo>
                  <a:lnTo>
                    <a:pt x="273" y="51"/>
                  </a:lnTo>
                  <a:lnTo>
                    <a:pt x="277" y="47"/>
                  </a:lnTo>
                  <a:lnTo>
                    <a:pt x="277" y="42"/>
                  </a:lnTo>
                  <a:lnTo>
                    <a:pt x="278" y="40"/>
                  </a:lnTo>
                  <a:lnTo>
                    <a:pt x="277" y="37"/>
                  </a:lnTo>
                  <a:lnTo>
                    <a:pt x="278" y="37"/>
                  </a:lnTo>
                  <a:lnTo>
                    <a:pt x="280" y="33"/>
                  </a:lnTo>
                  <a:lnTo>
                    <a:pt x="278" y="33"/>
                  </a:lnTo>
                  <a:lnTo>
                    <a:pt x="277" y="32"/>
                  </a:lnTo>
                  <a:lnTo>
                    <a:pt x="275" y="25"/>
                  </a:lnTo>
                  <a:lnTo>
                    <a:pt x="278" y="18"/>
                  </a:lnTo>
                  <a:lnTo>
                    <a:pt x="278" y="14"/>
                  </a:lnTo>
                  <a:lnTo>
                    <a:pt x="280" y="7"/>
                  </a:lnTo>
                  <a:lnTo>
                    <a:pt x="278" y="6"/>
                  </a:lnTo>
                  <a:lnTo>
                    <a:pt x="280" y="2"/>
                  </a:lnTo>
                  <a:lnTo>
                    <a:pt x="278" y="2"/>
                  </a:lnTo>
                  <a:lnTo>
                    <a:pt x="273" y="2"/>
                  </a:lnTo>
                  <a:lnTo>
                    <a:pt x="271" y="2"/>
                  </a:lnTo>
                  <a:lnTo>
                    <a:pt x="264" y="6"/>
                  </a:lnTo>
                  <a:lnTo>
                    <a:pt x="259" y="2"/>
                  </a:lnTo>
                  <a:lnTo>
                    <a:pt x="256" y="0"/>
                  </a:lnTo>
                  <a:lnTo>
                    <a:pt x="256" y="2"/>
                  </a:lnTo>
                  <a:lnTo>
                    <a:pt x="252" y="6"/>
                  </a:lnTo>
                  <a:lnTo>
                    <a:pt x="249" y="2"/>
                  </a:lnTo>
                  <a:lnTo>
                    <a:pt x="245" y="2"/>
                  </a:lnTo>
                  <a:lnTo>
                    <a:pt x="244" y="0"/>
                  </a:lnTo>
                  <a:lnTo>
                    <a:pt x="240" y="0"/>
                  </a:lnTo>
                  <a:lnTo>
                    <a:pt x="240" y="2"/>
                  </a:lnTo>
                  <a:lnTo>
                    <a:pt x="237" y="2"/>
                  </a:lnTo>
                  <a:lnTo>
                    <a:pt x="235" y="6"/>
                  </a:lnTo>
                  <a:lnTo>
                    <a:pt x="233" y="6"/>
                  </a:lnTo>
                  <a:lnTo>
                    <a:pt x="230" y="6"/>
                  </a:lnTo>
                  <a:lnTo>
                    <a:pt x="226" y="7"/>
                  </a:lnTo>
                  <a:lnTo>
                    <a:pt x="223" y="7"/>
                  </a:lnTo>
                  <a:lnTo>
                    <a:pt x="219" y="6"/>
                  </a:lnTo>
                  <a:lnTo>
                    <a:pt x="214" y="2"/>
                  </a:lnTo>
                  <a:lnTo>
                    <a:pt x="214" y="2"/>
                  </a:lnTo>
                  <a:lnTo>
                    <a:pt x="209" y="6"/>
                  </a:lnTo>
                  <a:lnTo>
                    <a:pt x="205" y="2"/>
                  </a:lnTo>
                  <a:lnTo>
                    <a:pt x="204" y="2"/>
                  </a:lnTo>
                  <a:lnTo>
                    <a:pt x="200" y="2"/>
                  </a:lnTo>
                  <a:lnTo>
                    <a:pt x="198" y="2"/>
                  </a:lnTo>
                  <a:lnTo>
                    <a:pt x="197" y="6"/>
                  </a:lnTo>
                  <a:lnTo>
                    <a:pt x="195" y="6"/>
                  </a:lnTo>
                  <a:lnTo>
                    <a:pt x="191" y="6"/>
                  </a:lnTo>
                  <a:lnTo>
                    <a:pt x="186" y="11"/>
                  </a:lnTo>
                  <a:lnTo>
                    <a:pt x="183" y="11"/>
                  </a:lnTo>
                  <a:lnTo>
                    <a:pt x="179" y="7"/>
                  </a:lnTo>
                  <a:lnTo>
                    <a:pt x="176" y="7"/>
                  </a:lnTo>
                  <a:lnTo>
                    <a:pt x="169" y="11"/>
                  </a:lnTo>
                  <a:lnTo>
                    <a:pt x="164" y="7"/>
                  </a:lnTo>
                  <a:lnTo>
                    <a:pt x="157" y="14"/>
                  </a:lnTo>
                  <a:lnTo>
                    <a:pt x="152" y="16"/>
                  </a:lnTo>
                  <a:lnTo>
                    <a:pt x="150" y="16"/>
                  </a:lnTo>
                  <a:lnTo>
                    <a:pt x="145" y="18"/>
                  </a:lnTo>
                  <a:lnTo>
                    <a:pt x="145" y="21"/>
                  </a:lnTo>
                  <a:lnTo>
                    <a:pt x="145" y="23"/>
                  </a:lnTo>
                  <a:lnTo>
                    <a:pt x="141" y="23"/>
                  </a:lnTo>
                  <a:lnTo>
                    <a:pt x="141" y="23"/>
                  </a:lnTo>
                  <a:lnTo>
                    <a:pt x="139" y="23"/>
                  </a:lnTo>
                  <a:lnTo>
                    <a:pt x="138" y="25"/>
                  </a:lnTo>
                  <a:lnTo>
                    <a:pt x="136" y="25"/>
                  </a:lnTo>
                  <a:lnTo>
                    <a:pt x="131" y="25"/>
                  </a:lnTo>
                  <a:lnTo>
                    <a:pt x="125" y="28"/>
                  </a:lnTo>
                  <a:lnTo>
                    <a:pt x="124" y="28"/>
                  </a:lnTo>
                  <a:lnTo>
                    <a:pt x="124" y="32"/>
                  </a:lnTo>
                  <a:lnTo>
                    <a:pt x="122" y="37"/>
                  </a:lnTo>
                  <a:lnTo>
                    <a:pt x="115" y="37"/>
                  </a:lnTo>
                  <a:lnTo>
                    <a:pt x="110" y="37"/>
                  </a:lnTo>
                  <a:lnTo>
                    <a:pt x="113" y="39"/>
                  </a:lnTo>
                  <a:lnTo>
                    <a:pt x="113" y="40"/>
                  </a:lnTo>
                  <a:lnTo>
                    <a:pt x="115" y="44"/>
                  </a:lnTo>
                  <a:lnTo>
                    <a:pt x="115" y="47"/>
                  </a:lnTo>
                  <a:lnTo>
                    <a:pt x="115" y="47"/>
                  </a:lnTo>
                  <a:lnTo>
                    <a:pt x="115" y="54"/>
                  </a:lnTo>
                  <a:lnTo>
                    <a:pt x="115" y="60"/>
                  </a:lnTo>
                  <a:lnTo>
                    <a:pt x="115" y="61"/>
                  </a:lnTo>
                  <a:lnTo>
                    <a:pt x="119" y="73"/>
                  </a:lnTo>
                  <a:lnTo>
                    <a:pt x="122" y="79"/>
                  </a:lnTo>
                  <a:lnTo>
                    <a:pt x="122" y="82"/>
                  </a:lnTo>
                  <a:lnTo>
                    <a:pt x="124" y="84"/>
                  </a:lnTo>
                  <a:lnTo>
                    <a:pt x="125" y="86"/>
                  </a:lnTo>
                  <a:lnTo>
                    <a:pt x="127" y="86"/>
                  </a:lnTo>
                  <a:lnTo>
                    <a:pt x="129" y="86"/>
                  </a:lnTo>
                  <a:lnTo>
                    <a:pt x="127" y="91"/>
                  </a:lnTo>
                  <a:lnTo>
                    <a:pt x="127" y="93"/>
                  </a:lnTo>
                  <a:lnTo>
                    <a:pt x="125" y="96"/>
                  </a:lnTo>
                  <a:lnTo>
                    <a:pt x="105" y="96"/>
                  </a:lnTo>
                  <a:lnTo>
                    <a:pt x="101" y="96"/>
                  </a:lnTo>
                  <a:lnTo>
                    <a:pt x="96" y="105"/>
                  </a:lnTo>
                  <a:lnTo>
                    <a:pt x="92" y="105"/>
                  </a:lnTo>
                  <a:lnTo>
                    <a:pt x="91" y="110"/>
                  </a:lnTo>
                  <a:lnTo>
                    <a:pt x="91" y="115"/>
                  </a:lnTo>
                  <a:lnTo>
                    <a:pt x="91" y="119"/>
                  </a:lnTo>
                  <a:lnTo>
                    <a:pt x="79" y="127"/>
                  </a:lnTo>
                  <a:lnTo>
                    <a:pt x="61" y="138"/>
                  </a:lnTo>
                  <a:lnTo>
                    <a:pt x="46" y="146"/>
                  </a:lnTo>
                  <a:lnTo>
                    <a:pt x="40" y="146"/>
                  </a:lnTo>
                  <a:lnTo>
                    <a:pt x="33" y="146"/>
                  </a:lnTo>
                  <a:lnTo>
                    <a:pt x="30" y="146"/>
                  </a:lnTo>
                  <a:lnTo>
                    <a:pt x="25" y="146"/>
                  </a:lnTo>
                  <a:lnTo>
                    <a:pt x="18" y="150"/>
                  </a:lnTo>
                  <a:lnTo>
                    <a:pt x="13" y="152"/>
                  </a:lnTo>
                  <a:lnTo>
                    <a:pt x="9" y="157"/>
                  </a:lnTo>
                  <a:lnTo>
                    <a:pt x="0" y="164"/>
                  </a:lnTo>
                  <a:lnTo>
                    <a:pt x="0" y="176"/>
                  </a:lnTo>
                  <a:lnTo>
                    <a:pt x="0" y="178"/>
                  </a:lnTo>
                  <a:lnTo>
                    <a:pt x="0" y="181"/>
                  </a:lnTo>
                  <a:lnTo>
                    <a:pt x="0" y="183"/>
                  </a:lnTo>
                  <a:lnTo>
                    <a:pt x="0" y="181"/>
                  </a:lnTo>
                  <a:lnTo>
                    <a:pt x="63" y="223"/>
                  </a:lnTo>
                  <a:lnTo>
                    <a:pt x="63" y="223"/>
                  </a:lnTo>
                  <a:lnTo>
                    <a:pt x="172" y="296"/>
                  </a:lnTo>
                  <a:lnTo>
                    <a:pt x="174" y="303"/>
                  </a:lnTo>
                  <a:lnTo>
                    <a:pt x="178" y="308"/>
                  </a:lnTo>
                  <a:lnTo>
                    <a:pt x="185" y="308"/>
                  </a:lnTo>
                  <a:lnTo>
                    <a:pt x="190" y="308"/>
                  </a:lnTo>
                  <a:lnTo>
                    <a:pt x="191" y="313"/>
                  </a:lnTo>
                  <a:lnTo>
                    <a:pt x="197" y="313"/>
                  </a:lnTo>
                  <a:lnTo>
                    <a:pt x="200" y="317"/>
                  </a:lnTo>
                  <a:lnTo>
                    <a:pt x="200" y="320"/>
                  </a:lnTo>
                  <a:lnTo>
                    <a:pt x="198" y="326"/>
                  </a:lnTo>
                  <a:lnTo>
                    <a:pt x="198" y="327"/>
                  </a:lnTo>
                  <a:lnTo>
                    <a:pt x="204" y="327"/>
                  </a:lnTo>
                  <a:lnTo>
                    <a:pt x="212" y="327"/>
                  </a:lnTo>
                  <a:lnTo>
                    <a:pt x="218" y="326"/>
                  </a:lnTo>
                  <a:lnTo>
                    <a:pt x="218" y="326"/>
                  </a:lnTo>
                  <a:lnTo>
                    <a:pt x="218" y="326"/>
                  </a:lnTo>
                  <a:lnTo>
                    <a:pt x="244" y="320"/>
                  </a:lnTo>
                  <a:lnTo>
                    <a:pt x="264" y="299"/>
                  </a:lnTo>
                  <a:lnTo>
                    <a:pt x="341" y="254"/>
                  </a:lnTo>
                  <a:lnTo>
                    <a:pt x="341" y="254"/>
                  </a:lnTo>
                  <a:lnTo>
                    <a:pt x="341" y="254"/>
                  </a:lnTo>
                  <a:lnTo>
                    <a:pt x="341" y="2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6" name="Freeform 112">
              <a:extLst>
                <a:ext uri="{FF2B5EF4-FFF2-40B4-BE49-F238E27FC236}">
                  <a16:creationId xmlns:a16="http://schemas.microsoft.com/office/drawing/2014/main" id="{1E8E6E1A-6338-47EC-83FB-2C0C4B88AB18}"/>
                </a:ext>
              </a:extLst>
            </p:cNvPr>
            <p:cNvSpPr>
              <a:spLocks/>
            </p:cNvSpPr>
            <p:nvPr/>
          </p:nvSpPr>
          <p:spPr bwMode="auto">
            <a:xfrm>
              <a:off x="4008438" y="3498851"/>
              <a:ext cx="325438" cy="357188"/>
            </a:xfrm>
            <a:custGeom>
              <a:avLst/>
              <a:gdLst/>
              <a:ahLst/>
              <a:cxnLst>
                <a:cxn ang="0">
                  <a:pos x="69" y="108"/>
                </a:cxn>
                <a:cxn ang="0">
                  <a:pos x="71" y="73"/>
                </a:cxn>
                <a:cxn ang="0">
                  <a:pos x="80" y="70"/>
                </a:cxn>
                <a:cxn ang="0">
                  <a:pos x="86" y="25"/>
                </a:cxn>
                <a:cxn ang="0">
                  <a:pos x="142" y="0"/>
                </a:cxn>
                <a:cxn ang="0">
                  <a:pos x="205" y="42"/>
                </a:cxn>
                <a:cxn ang="0">
                  <a:pos x="182" y="42"/>
                </a:cxn>
                <a:cxn ang="0">
                  <a:pos x="199" y="198"/>
                </a:cxn>
                <a:cxn ang="0">
                  <a:pos x="133" y="212"/>
                </a:cxn>
                <a:cxn ang="0">
                  <a:pos x="130" y="211"/>
                </a:cxn>
                <a:cxn ang="0">
                  <a:pos x="125" y="212"/>
                </a:cxn>
                <a:cxn ang="0">
                  <a:pos x="123" y="207"/>
                </a:cxn>
                <a:cxn ang="0">
                  <a:pos x="111" y="207"/>
                </a:cxn>
                <a:cxn ang="0">
                  <a:pos x="104" y="216"/>
                </a:cxn>
                <a:cxn ang="0">
                  <a:pos x="100" y="205"/>
                </a:cxn>
                <a:cxn ang="0">
                  <a:pos x="92" y="207"/>
                </a:cxn>
                <a:cxn ang="0">
                  <a:pos x="92" y="216"/>
                </a:cxn>
                <a:cxn ang="0">
                  <a:pos x="83" y="221"/>
                </a:cxn>
                <a:cxn ang="0">
                  <a:pos x="81" y="225"/>
                </a:cxn>
                <a:cxn ang="0">
                  <a:pos x="74" y="219"/>
                </a:cxn>
                <a:cxn ang="0">
                  <a:pos x="71" y="216"/>
                </a:cxn>
                <a:cxn ang="0">
                  <a:pos x="67" y="211"/>
                </a:cxn>
                <a:cxn ang="0">
                  <a:pos x="64" y="202"/>
                </a:cxn>
                <a:cxn ang="0">
                  <a:pos x="59" y="202"/>
                </a:cxn>
                <a:cxn ang="0">
                  <a:pos x="55" y="202"/>
                </a:cxn>
                <a:cxn ang="0">
                  <a:pos x="52" y="198"/>
                </a:cxn>
                <a:cxn ang="0">
                  <a:pos x="45" y="193"/>
                </a:cxn>
                <a:cxn ang="0">
                  <a:pos x="33" y="190"/>
                </a:cxn>
                <a:cxn ang="0">
                  <a:pos x="15" y="195"/>
                </a:cxn>
                <a:cxn ang="0">
                  <a:pos x="8" y="198"/>
                </a:cxn>
                <a:cxn ang="0">
                  <a:pos x="8" y="193"/>
                </a:cxn>
                <a:cxn ang="0">
                  <a:pos x="14" y="178"/>
                </a:cxn>
                <a:cxn ang="0">
                  <a:pos x="14" y="148"/>
                </a:cxn>
                <a:cxn ang="0">
                  <a:pos x="8" y="138"/>
                </a:cxn>
                <a:cxn ang="0">
                  <a:pos x="14" y="132"/>
                </a:cxn>
                <a:cxn ang="0">
                  <a:pos x="14" y="125"/>
                </a:cxn>
                <a:cxn ang="0">
                  <a:pos x="5" y="120"/>
                </a:cxn>
                <a:cxn ang="0">
                  <a:pos x="5" y="117"/>
                </a:cxn>
                <a:cxn ang="0">
                  <a:pos x="0" y="113"/>
                </a:cxn>
                <a:cxn ang="0">
                  <a:pos x="1" y="110"/>
                </a:cxn>
                <a:cxn ang="0">
                  <a:pos x="1" y="110"/>
                </a:cxn>
              </a:cxnLst>
              <a:rect l="0" t="0" r="r" b="b"/>
              <a:pathLst>
                <a:path w="205" h="225">
                  <a:moveTo>
                    <a:pt x="1" y="110"/>
                  </a:moveTo>
                  <a:lnTo>
                    <a:pt x="69" y="108"/>
                  </a:lnTo>
                  <a:lnTo>
                    <a:pt x="69" y="77"/>
                  </a:lnTo>
                  <a:lnTo>
                    <a:pt x="71" y="73"/>
                  </a:lnTo>
                  <a:lnTo>
                    <a:pt x="74" y="70"/>
                  </a:lnTo>
                  <a:lnTo>
                    <a:pt x="80" y="70"/>
                  </a:lnTo>
                  <a:lnTo>
                    <a:pt x="86" y="70"/>
                  </a:lnTo>
                  <a:lnTo>
                    <a:pt x="86" y="25"/>
                  </a:lnTo>
                  <a:lnTo>
                    <a:pt x="140" y="25"/>
                  </a:lnTo>
                  <a:lnTo>
                    <a:pt x="142" y="0"/>
                  </a:lnTo>
                  <a:lnTo>
                    <a:pt x="205" y="42"/>
                  </a:lnTo>
                  <a:lnTo>
                    <a:pt x="205" y="42"/>
                  </a:lnTo>
                  <a:lnTo>
                    <a:pt x="201" y="42"/>
                  </a:lnTo>
                  <a:lnTo>
                    <a:pt x="182" y="42"/>
                  </a:lnTo>
                  <a:lnTo>
                    <a:pt x="196" y="193"/>
                  </a:lnTo>
                  <a:lnTo>
                    <a:pt x="199" y="198"/>
                  </a:lnTo>
                  <a:lnTo>
                    <a:pt x="196" y="212"/>
                  </a:lnTo>
                  <a:lnTo>
                    <a:pt x="133" y="212"/>
                  </a:lnTo>
                  <a:lnTo>
                    <a:pt x="132" y="212"/>
                  </a:lnTo>
                  <a:lnTo>
                    <a:pt x="130" y="211"/>
                  </a:lnTo>
                  <a:lnTo>
                    <a:pt x="128" y="211"/>
                  </a:lnTo>
                  <a:lnTo>
                    <a:pt x="125" y="212"/>
                  </a:lnTo>
                  <a:lnTo>
                    <a:pt x="123" y="211"/>
                  </a:lnTo>
                  <a:lnTo>
                    <a:pt x="123" y="207"/>
                  </a:lnTo>
                  <a:lnTo>
                    <a:pt x="118" y="205"/>
                  </a:lnTo>
                  <a:lnTo>
                    <a:pt x="111" y="207"/>
                  </a:lnTo>
                  <a:lnTo>
                    <a:pt x="106" y="216"/>
                  </a:lnTo>
                  <a:lnTo>
                    <a:pt x="104" y="216"/>
                  </a:lnTo>
                  <a:lnTo>
                    <a:pt x="100" y="211"/>
                  </a:lnTo>
                  <a:lnTo>
                    <a:pt x="100" y="205"/>
                  </a:lnTo>
                  <a:lnTo>
                    <a:pt x="97" y="205"/>
                  </a:lnTo>
                  <a:lnTo>
                    <a:pt x="92" y="207"/>
                  </a:lnTo>
                  <a:lnTo>
                    <a:pt x="92" y="212"/>
                  </a:lnTo>
                  <a:lnTo>
                    <a:pt x="92" y="216"/>
                  </a:lnTo>
                  <a:lnTo>
                    <a:pt x="90" y="221"/>
                  </a:lnTo>
                  <a:lnTo>
                    <a:pt x="83" y="221"/>
                  </a:lnTo>
                  <a:lnTo>
                    <a:pt x="81" y="225"/>
                  </a:lnTo>
                  <a:lnTo>
                    <a:pt x="81" y="225"/>
                  </a:lnTo>
                  <a:lnTo>
                    <a:pt x="80" y="221"/>
                  </a:lnTo>
                  <a:lnTo>
                    <a:pt x="74" y="219"/>
                  </a:lnTo>
                  <a:lnTo>
                    <a:pt x="73" y="219"/>
                  </a:lnTo>
                  <a:lnTo>
                    <a:pt x="71" y="216"/>
                  </a:lnTo>
                  <a:lnTo>
                    <a:pt x="67" y="212"/>
                  </a:lnTo>
                  <a:lnTo>
                    <a:pt x="67" y="211"/>
                  </a:lnTo>
                  <a:lnTo>
                    <a:pt x="64" y="207"/>
                  </a:lnTo>
                  <a:lnTo>
                    <a:pt x="64" y="202"/>
                  </a:lnTo>
                  <a:lnTo>
                    <a:pt x="60" y="200"/>
                  </a:lnTo>
                  <a:lnTo>
                    <a:pt x="59" y="202"/>
                  </a:lnTo>
                  <a:lnTo>
                    <a:pt x="59" y="200"/>
                  </a:lnTo>
                  <a:lnTo>
                    <a:pt x="55" y="202"/>
                  </a:lnTo>
                  <a:lnTo>
                    <a:pt x="52" y="200"/>
                  </a:lnTo>
                  <a:lnTo>
                    <a:pt x="52" y="198"/>
                  </a:lnTo>
                  <a:lnTo>
                    <a:pt x="48" y="193"/>
                  </a:lnTo>
                  <a:lnTo>
                    <a:pt x="45" y="193"/>
                  </a:lnTo>
                  <a:lnTo>
                    <a:pt x="36" y="190"/>
                  </a:lnTo>
                  <a:lnTo>
                    <a:pt x="33" y="190"/>
                  </a:lnTo>
                  <a:lnTo>
                    <a:pt x="24" y="193"/>
                  </a:lnTo>
                  <a:lnTo>
                    <a:pt x="15" y="195"/>
                  </a:lnTo>
                  <a:lnTo>
                    <a:pt x="14" y="198"/>
                  </a:lnTo>
                  <a:lnTo>
                    <a:pt x="8" y="198"/>
                  </a:lnTo>
                  <a:lnTo>
                    <a:pt x="5" y="200"/>
                  </a:lnTo>
                  <a:lnTo>
                    <a:pt x="8" y="193"/>
                  </a:lnTo>
                  <a:lnTo>
                    <a:pt x="10" y="183"/>
                  </a:lnTo>
                  <a:lnTo>
                    <a:pt x="14" y="178"/>
                  </a:lnTo>
                  <a:lnTo>
                    <a:pt x="15" y="165"/>
                  </a:lnTo>
                  <a:lnTo>
                    <a:pt x="14" y="148"/>
                  </a:lnTo>
                  <a:lnTo>
                    <a:pt x="8" y="139"/>
                  </a:lnTo>
                  <a:lnTo>
                    <a:pt x="8" y="138"/>
                  </a:lnTo>
                  <a:lnTo>
                    <a:pt x="10" y="138"/>
                  </a:lnTo>
                  <a:lnTo>
                    <a:pt x="14" y="132"/>
                  </a:lnTo>
                  <a:lnTo>
                    <a:pt x="10" y="129"/>
                  </a:lnTo>
                  <a:lnTo>
                    <a:pt x="14" y="125"/>
                  </a:lnTo>
                  <a:lnTo>
                    <a:pt x="8" y="120"/>
                  </a:lnTo>
                  <a:lnTo>
                    <a:pt x="5" y="120"/>
                  </a:lnTo>
                  <a:lnTo>
                    <a:pt x="5" y="120"/>
                  </a:lnTo>
                  <a:lnTo>
                    <a:pt x="5" y="117"/>
                  </a:lnTo>
                  <a:lnTo>
                    <a:pt x="0" y="120"/>
                  </a:lnTo>
                  <a:lnTo>
                    <a:pt x="0" y="113"/>
                  </a:lnTo>
                  <a:lnTo>
                    <a:pt x="1" y="110"/>
                  </a:lnTo>
                  <a:lnTo>
                    <a:pt x="1" y="110"/>
                  </a:lnTo>
                  <a:lnTo>
                    <a:pt x="1" y="110"/>
                  </a:lnTo>
                  <a:lnTo>
                    <a:pt x="1"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7" name="Freeform 113">
              <a:extLst>
                <a:ext uri="{FF2B5EF4-FFF2-40B4-BE49-F238E27FC236}">
                  <a16:creationId xmlns:a16="http://schemas.microsoft.com/office/drawing/2014/main" id="{9B409C0A-54D4-4F7C-98AA-CB9B5B4FA4AF}"/>
                </a:ext>
              </a:extLst>
            </p:cNvPr>
            <p:cNvSpPr>
              <a:spLocks/>
            </p:cNvSpPr>
            <p:nvPr/>
          </p:nvSpPr>
          <p:spPr bwMode="auto">
            <a:xfrm>
              <a:off x="4140200" y="3568701"/>
              <a:ext cx="438150" cy="411163"/>
            </a:xfrm>
            <a:custGeom>
              <a:avLst/>
              <a:gdLst/>
              <a:ahLst/>
              <a:cxnLst>
                <a:cxn ang="0">
                  <a:pos x="7" y="177"/>
                </a:cxn>
                <a:cxn ang="0">
                  <a:pos x="9" y="163"/>
                </a:cxn>
                <a:cxn ang="0">
                  <a:pos x="19" y="167"/>
                </a:cxn>
                <a:cxn ang="0">
                  <a:pos x="28" y="165"/>
                </a:cxn>
                <a:cxn ang="0">
                  <a:pos x="42" y="168"/>
                </a:cxn>
                <a:cxn ang="0">
                  <a:pos x="49" y="167"/>
                </a:cxn>
                <a:cxn ang="0">
                  <a:pos x="113" y="168"/>
                </a:cxn>
                <a:cxn ang="0">
                  <a:pos x="99" y="0"/>
                </a:cxn>
                <a:cxn ang="0">
                  <a:pos x="233" y="81"/>
                </a:cxn>
                <a:cxn ang="0">
                  <a:pos x="248" y="87"/>
                </a:cxn>
                <a:cxn ang="0">
                  <a:pos x="259" y="95"/>
                </a:cxn>
                <a:cxn ang="0">
                  <a:pos x="257" y="106"/>
                </a:cxn>
                <a:cxn ang="0">
                  <a:pos x="276" y="104"/>
                </a:cxn>
                <a:cxn ang="0">
                  <a:pos x="273" y="153"/>
                </a:cxn>
                <a:cxn ang="0">
                  <a:pos x="271" y="163"/>
                </a:cxn>
                <a:cxn ang="0">
                  <a:pos x="250" y="172"/>
                </a:cxn>
                <a:cxn ang="0">
                  <a:pos x="236" y="175"/>
                </a:cxn>
                <a:cxn ang="0">
                  <a:pos x="214" y="177"/>
                </a:cxn>
                <a:cxn ang="0">
                  <a:pos x="210" y="175"/>
                </a:cxn>
                <a:cxn ang="0">
                  <a:pos x="198" y="175"/>
                </a:cxn>
                <a:cxn ang="0">
                  <a:pos x="179" y="182"/>
                </a:cxn>
                <a:cxn ang="0">
                  <a:pos x="156" y="200"/>
                </a:cxn>
                <a:cxn ang="0">
                  <a:pos x="141" y="203"/>
                </a:cxn>
                <a:cxn ang="0">
                  <a:pos x="134" y="212"/>
                </a:cxn>
                <a:cxn ang="0">
                  <a:pos x="123" y="228"/>
                </a:cxn>
                <a:cxn ang="0">
                  <a:pos x="118" y="236"/>
                </a:cxn>
                <a:cxn ang="0">
                  <a:pos x="116" y="245"/>
                </a:cxn>
                <a:cxn ang="0">
                  <a:pos x="115" y="254"/>
                </a:cxn>
                <a:cxn ang="0">
                  <a:pos x="104" y="255"/>
                </a:cxn>
                <a:cxn ang="0">
                  <a:pos x="96" y="254"/>
                </a:cxn>
                <a:cxn ang="0">
                  <a:pos x="87" y="257"/>
                </a:cxn>
                <a:cxn ang="0">
                  <a:pos x="76" y="257"/>
                </a:cxn>
                <a:cxn ang="0">
                  <a:pos x="68" y="254"/>
                </a:cxn>
                <a:cxn ang="0">
                  <a:pos x="68" y="245"/>
                </a:cxn>
                <a:cxn ang="0">
                  <a:pos x="61" y="250"/>
                </a:cxn>
                <a:cxn ang="0">
                  <a:pos x="64" y="238"/>
                </a:cxn>
                <a:cxn ang="0">
                  <a:pos x="61" y="231"/>
                </a:cxn>
                <a:cxn ang="0">
                  <a:pos x="56" y="222"/>
                </a:cxn>
                <a:cxn ang="0">
                  <a:pos x="45" y="222"/>
                </a:cxn>
                <a:cxn ang="0">
                  <a:pos x="38" y="228"/>
                </a:cxn>
                <a:cxn ang="0">
                  <a:pos x="26" y="228"/>
                </a:cxn>
                <a:cxn ang="0">
                  <a:pos x="19" y="228"/>
                </a:cxn>
                <a:cxn ang="0">
                  <a:pos x="19" y="222"/>
                </a:cxn>
                <a:cxn ang="0">
                  <a:pos x="14" y="215"/>
                </a:cxn>
                <a:cxn ang="0">
                  <a:pos x="12" y="208"/>
                </a:cxn>
                <a:cxn ang="0">
                  <a:pos x="7" y="205"/>
                </a:cxn>
                <a:cxn ang="0">
                  <a:pos x="0" y="196"/>
                </a:cxn>
                <a:cxn ang="0">
                  <a:pos x="0" y="182"/>
                </a:cxn>
                <a:cxn ang="0">
                  <a:pos x="0" y="181"/>
                </a:cxn>
              </a:cxnLst>
              <a:rect l="0" t="0" r="r" b="b"/>
              <a:pathLst>
                <a:path w="276" h="259">
                  <a:moveTo>
                    <a:pt x="0" y="181"/>
                  </a:moveTo>
                  <a:lnTo>
                    <a:pt x="2" y="177"/>
                  </a:lnTo>
                  <a:lnTo>
                    <a:pt x="7" y="177"/>
                  </a:lnTo>
                  <a:lnTo>
                    <a:pt x="9" y="172"/>
                  </a:lnTo>
                  <a:lnTo>
                    <a:pt x="9" y="168"/>
                  </a:lnTo>
                  <a:lnTo>
                    <a:pt x="9" y="163"/>
                  </a:lnTo>
                  <a:lnTo>
                    <a:pt x="14" y="161"/>
                  </a:lnTo>
                  <a:lnTo>
                    <a:pt x="19" y="161"/>
                  </a:lnTo>
                  <a:lnTo>
                    <a:pt x="19" y="167"/>
                  </a:lnTo>
                  <a:lnTo>
                    <a:pt x="23" y="172"/>
                  </a:lnTo>
                  <a:lnTo>
                    <a:pt x="23" y="172"/>
                  </a:lnTo>
                  <a:lnTo>
                    <a:pt x="28" y="165"/>
                  </a:lnTo>
                  <a:lnTo>
                    <a:pt x="37" y="161"/>
                  </a:lnTo>
                  <a:lnTo>
                    <a:pt x="42" y="163"/>
                  </a:lnTo>
                  <a:lnTo>
                    <a:pt x="42" y="168"/>
                  </a:lnTo>
                  <a:lnTo>
                    <a:pt x="42" y="168"/>
                  </a:lnTo>
                  <a:lnTo>
                    <a:pt x="45" y="167"/>
                  </a:lnTo>
                  <a:lnTo>
                    <a:pt x="49" y="167"/>
                  </a:lnTo>
                  <a:lnTo>
                    <a:pt x="49" y="168"/>
                  </a:lnTo>
                  <a:lnTo>
                    <a:pt x="50" y="168"/>
                  </a:lnTo>
                  <a:lnTo>
                    <a:pt x="113" y="168"/>
                  </a:lnTo>
                  <a:lnTo>
                    <a:pt x="118" y="154"/>
                  </a:lnTo>
                  <a:lnTo>
                    <a:pt x="113" y="149"/>
                  </a:lnTo>
                  <a:lnTo>
                    <a:pt x="99" y="0"/>
                  </a:lnTo>
                  <a:lnTo>
                    <a:pt x="118" y="0"/>
                  </a:lnTo>
                  <a:lnTo>
                    <a:pt x="231" y="73"/>
                  </a:lnTo>
                  <a:lnTo>
                    <a:pt x="233" y="81"/>
                  </a:lnTo>
                  <a:lnTo>
                    <a:pt x="236" y="85"/>
                  </a:lnTo>
                  <a:lnTo>
                    <a:pt x="243" y="85"/>
                  </a:lnTo>
                  <a:lnTo>
                    <a:pt x="248" y="87"/>
                  </a:lnTo>
                  <a:lnTo>
                    <a:pt x="250" y="92"/>
                  </a:lnTo>
                  <a:lnTo>
                    <a:pt x="255" y="92"/>
                  </a:lnTo>
                  <a:lnTo>
                    <a:pt x="259" y="95"/>
                  </a:lnTo>
                  <a:lnTo>
                    <a:pt x="259" y="99"/>
                  </a:lnTo>
                  <a:lnTo>
                    <a:pt x="257" y="102"/>
                  </a:lnTo>
                  <a:lnTo>
                    <a:pt x="257" y="106"/>
                  </a:lnTo>
                  <a:lnTo>
                    <a:pt x="262" y="106"/>
                  </a:lnTo>
                  <a:lnTo>
                    <a:pt x="271" y="106"/>
                  </a:lnTo>
                  <a:lnTo>
                    <a:pt x="276" y="104"/>
                  </a:lnTo>
                  <a:lnTo>
                    <a:pt x="276" y="104"/>
                  </a:lnTo>
                  <a:lnTo>
                    <a:pt x="276" y="137"/>
                  </a:lnTo>
                  <a:lnTo>
                    <a:pt x="273" y="153"/>
                  </a:lnTo>
                  <a:lnTo>
                    <a:pt x="271" y="153"/>
                  </a:lnTo>
                  <a:lnTo>
                    <a:pt x="271" y="160"/>
                  </a:lnTo>
                  <a:lnTo>
                    <a:pt x="271" y="163"/>
                  </a:lnTo>
                  <a:lnTo>
                    <a:pt x="261" y="168"/>
                  </a:lnTo>
                  <a:lnTo>
                    <a:pt x="255" y="172"/>
                  </a:lnTo>
                  <a:lnTo>
                    <a:pt x="250" y="172"/>
                  </a:lnTo>
                  <a:lnTo>
                    <a:pt x="245" y="175"/>
                  </a:lnTo>
                  <a:lnTo>
                    <a:pt x="243" y="175"/>
                  </a:lnTo>
                  <a:lnTo>
                    <a:pt x="236" y="175"/>
                  </a:lnTo>
                  <a:lnTo>
                    <a:pt x="231" y="175"/>
                  </a:lnTo>
                  <a:lnTo>
                    <a:pt x="226" y="175"/>
                  </a:lnTo>
                  <a:lnTo>
                    <a:pt x="214" y="177"/>
                  </a:lnTo>
                  <a:lnTo>
                    <a:pt x="212" y="175"/>
                  </a:lnTo>
                  <a:lnTo>
                    <a:pt x="210" y="177"/>
                  </a:lnTo>
                  <a:lnTo>
                    <a:pt x="210" y="175"/>
                  </a:lnTo>
                  <a:lnTo>
                    <a:pt x="207" y="175"/>
                  </a:lnTo>
                  <a:lnTo>
                    <a:pt x="203" y="175"/>
                  </a:lnTo>
                  <a:lnTo>
                    <a:pt x="198" y="175"/>
                  </a:lnTo>
                  <a:lnTo>
                    <a:pt x="189" y="175"/>
                  </a:lnTo>
                  <a:lnTo>
                    <a:pt x="184" y="181"/>
                  </a:lnTo>
                  <a:lnTo>
                    <a:pt x="179" y="182"/>
                  </a:lnTo>
                  <a:lnTo>
                    <a:pt x="167" y="189"/>
                  </a:lnTo>
                  <a:lnTo>
                    <a:pt x="158" y="196"/>
                  </a:lnTo>
                  <a:lnTo>
                    <a:pt x="156" y="200"/>
                  </a:lnTo>
                  <a:lnTo>
                    <a:pt x="146" y="203"/>
                  </a:lnTo>
                  <a:lnTo>
                    <a:pt x="144" y="203"/>
                  </a:lnTo>
                  <a:lnTo>
                    <a:pt x="141" y="203"/>
                  </a:lnTo>
                  <a:lnTo>
                    <a:pt x="141" y="203"/>
                  </a:lnTo>
                  <a:lnTo>
                    <a:pt x="137" y="205"/>
                  </a:lnTo>
                  <a:lnTo>
                    <a:pt x="134" y="212"/>
                  </a:lnTo>
                  <a:lnTo>
                    <a:pt x="134" y="214"/>
                  </a:lnTo>
                  <a:lnTo>
                    <a:pt x="129" y="219"/>
                  </a:lnTo>
                  <a:lnTo>
                    <a:pt x="123" y="228"/>
                  </a:lnTo>
                  <a:lnTo>
                    <a:pt x="122" y="231"/>
                  </a:lnTo>
                  <a:lnTo>
                    <a:pt x="118" y="233"/>
                  </a:lnTo>
                  <a:lnTo>
                    <a:pt x="118" y="236"/>
                  </a:lnTo>
                  <a:lnTo>
                    <a:pt x="118" y="241"/>
                  </a:lnTo>
                  <a:lnTo>
                    <a:pt x="116" y="243"/>
                  </a:lnTo>
                  <a:lnTo>
                    <a:pt x="116" y="245"/>
                  </a:lnTo>
                  <a:lnTo>
                    <a:pt x="118" y="248"/>
                  </a:lnTo>
                  <a:lnTo>
                    <a:pt x="116" y="254"/>
                  </a:lnTo>
                  <a:lnTo>
                    <a:pt x="115" y="254"/>
                  </a:lnTo>
                  <a:lnTo>
                    <a:pt x="111" y="259"/>
                  </a:lnTo>
                  <a:lnTo>
                    <a:pt x="106" y="257"/>
                  </a:lnTo>
                  <a:lnTo>
                    <a:pt x="104" y="255"/>
                  </a:lnTo>
                  <a:lnTo>
                    <a:pt x="104" y="254"/>
                  </a:lnTo>
                  <a:lnTo>
                    <a:pt x="101" y="254"/>
                  </a:lnTo>
                  <a:lnTo>
                    <a:pt x="96" y="254"/>
                  </a:lnTo>
                  <a:lnTo>
                    <a:pt x="96" y="255"/>
                  </a:lnTo>
                  <a:lnTo>
                    <a:pt x="94" y="257"/>
                  </a:lnTo>
                  <a:lnTo>
                    <a:pt x="87" y="257"/>
                  </a:lnTo>
                  <a:lnTo>
                    <a:pt x="82" y="254"/>
                  </a:lnTo>
                  <a:lnTo>
                    <a:pt x="80" y="254"/>
                  </a:lnTo>
                  <a:lnTo>
                    <a:pt x="76" y="257"/>
                  </a:lnTo>
                  <a:lnTo>
                    <a:pt x="76" y="255"/>
                  </a:lnTo>
                  <a:lnTo>
                    <a:pt x="73" y="254"/>
                  </a:lnTo>
                  <a:lnTo>
                    <a:pt x="68" y="254"/>
                  </a:lnTo>
                  <a:lnTo>
                    <a:pt x="68" y="250"/>
                  </a:lnTo>
                  <a:lnTo>
                    <a:pt x="68" y="250"/>
                  </a:lnTo>
                  <a:lnTo>
                    <a:pt x="68" y="245"/>
                  </a:lnTo>
                  <a:lnTo>
                    <a:pt x="64" y="245"/>
                  </a:lnTo>
                  <a:lnTo>
                    <a:pt x="64" y="250"/>
                  </a:lnTo>
                  <a:lnTo>
                    <a:pt x="61" y="250"/>
                  </a:lnTo>
                  <a:lnTo>
                    <a:pt x="63" y="245"/>
                  </a:lnTo>
                  <a:lnTo>
                    <a:pt x="64" y="240"/>
                  </a:lnTo>
                  <a:lnTo>
                    <a:pt x="64" y="238"/>
                  </a:lnTo>
                  <a:lnTo>
                    <a:pt x="63" y="238"/>
                  </a:lnTo>
                  <a:lnTo>
                    <a:pt x="61" y="236"/>
                  </a:lnTo>
                  <a:lnTo>
                    <a:pt x="61" y="231"/>
                  </a:lnTo>
                  <a:lnTo>
                    <a:pt x="59" y="228"/>
                  </a:lnTo>
                  <a:lnTo>
                    <a:pt x="56" y="226"/>
                  </a:lnTo>
                  <a:lnTo>
                    <a:pt x="56" y="222"/>
                  </a:lnTo>
                  <a:lnTo>
                    <a:pt x="54" y="222"/>
                  </a:lnTo>
                  <a:lnTo>
                    <a:pt x="50" y="226"/>
                  </a:lnTo>
                  <a:lnTo>
                    <a:pt x="45" y="222"/>
                  </a:lnTo>
                  <a:lnTo>
                    <a:pt x="42" y="222"/>
                  </a:lnTo>
                  <a:lnTo>
                    <a:pt x="40" y="228"/>
                  </a:lnTo>
                  <a:lnTo>
                    <a:pt x="38" y="228"/>
                  </a:lnTo>
                  <a:lnTo>
                    <a:pt x="33" y="229"/>
                  </a:lnTo>
                  <a:lnTo>
                    <a:pt x="30" y="229"/>
                  </a:lnTo>
                  <a:lnTo>
                    <a:pt x="26" y="228"/>
                  </a:lnTo>
                  <a:lnTo>
                    <a:pt x="23" y="226"/>
                  </a:lnTo>
                  <a:lnTo>
                    <a:pt x="19" y="228"/>
                  </a:lnTo>
                  <a:lnTo>
                    <a:pt x="19" y="228"/>
                  </a:lnTo>
                  <a:lnTo>
                    <a:pt x="19" y="228"/>
                  </a:lnTo>
                  <a:lnTo>
                    <a:pt x="19" y="226"/>
                  </a:lnTo>
                  <a:lnTo>
                    <a:pt x="19" y="222"/>
                  </a:lnTo>
                  <a:lnTo>
                    <a:pt x="14" y="221"/>
                  </a:lnTo>
                  <a:lnTo>
                    <a:pt x="14" y="217"/>
                  </a:lnTo>
                  <a:lnTo>
                    <a:pt x="14" y="215"/>
                  </a:lnTo>
                  <a:lnTo>
                    <a:pt x="14" y="214"/>
                  </a:lnTo>
                  <a:lnTo>
                    <a:pt x="14" y="210"/>
                  </a:lnTo>
                  <a:lnTo>
                    <a:pt x="12" y="208"/>
                  </a:lnTo>
                  <a:lnTo>
                    <a:pt x="10" y="207"/>
                  </a:lnTo>
                  <a:lnTo>
                    <a:pt x="9" y="207"/>
                  </a:lnTo>
                  <a:lnTo>
                    <a:pt x="7" y="205"/>
                  </a:lnTo>
                  <a:lnTo>
                    <a:pt x="3" y="200"/>
                  </a:lnTo>
                  <a:lnTo>
                    <a:pt x="0" y="198"/>
                  </a:lnTo>
                  <a:lnTo>
                    <a:pt x="0" y="196"/>
                  </a:lnTo>
                  <a:lnTo>
                    <a:pt x="2" y="188"/>
                  </a:lnTo>
                  <a:lnTo>
                    <a:pt x="0" y="186"/>
                  </a:lnTo>
                  <a:lnTo>
                    <a:pt x="0" y="182"/>
                  </a:lnTo>
                  <a:lnTo>
                    <a:pt x="0" y="181"/>
                  </a:lnTo>
                  <a:lnTo>
                    <a:pt x="0" y="181"/>
                  </a:lnTo>
                  <a:lnTo>
                    <a:pt x="0"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8" name="Freeform 114">
              <a:extLst>
                <a:ext uri="{FF2B5EF4-FFF2-40B4-BE49-F238E27FC236}">
                  <a16:creationId xmlns:a16="http://schemas.microsoft.com/office/drawing/2014/main" id="{B5D80DE7-473C-4B8B-8602-FB6F32A3D6C4}"/>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9" name="Freeform 115">
              <a:extLst>
                <a:ext uri="{FF2B5EF4-FFF2-40B4-BE49-F238E27FC236}">
                  <a16:creationId xmlns:a16="http://schemas.microsoft.com/office/drawing/2014/main" id="{766E8792-0C0B-45EB-AF1A-D785DACA6653}"/>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0" name="Freeform 116">
              <a:extLst>
                <a:ext uri="{FF2B5EF4-FFF2-40B4-BE49-F238E27FC236}">
                  <a16:creationId xmlns:a16="http://schemas.microsoft.com/office/drawing/2014/main" id="{538681BD-7ED6-414C-AC59-292B783C48AD}"/>
                </a:ext>
              </a:extLst>
            </p:cNvPr>
            <p:cNvSpPr>
              <a:spLocks/>
            </p:cNvSpPr>
            <p:nvPr/>
          </p:nvSpPr>
          <p:spPr bwMode="auto">
            <a:xfrm>
              <a:off x="3990975" y="3800476"/>
              <a:ext cx="179388" cy="131763"/>
            </a:xfrm>
            <a:custGeom>
              <a:avLst/>
              <a:gdLst/>
              <a:ahLst/>
              <a:cxnLst>
                <a:cxn ang="0">
                  <a:pos x="19" y="8"/>
                </a:cxn>
                <a:cxn ang="0">
                  <a:pos x="25" y="7"/>
                </a:cxn>
                <a:cxn ang="0">
                  <a:pos x="44" y="0"/>
                </a:cxn>
                <a:cxn ang="0">
                  <a:pos x="56" y="5"/>
                </a:cxn>
                <a:cxn ang="0">
                  <a:pos x="63" y="8"/>
                </a:cxn>
                <a:cxn ang="0">
                  <a:pos x="66" y="12"/>
                </a:cxn>
                <a:cxn ang="0">
                  <a:pos x="70" y="12"/>
                </a:cxn>
                <a:cxn ang="0">
                  <a:pos x="75" y="12"/>
                </a:cxn>
                <a:cxn ang="0">
                  <a:pos x="80" y="21"/>
                </a:cxn>
                <a:cxn ang="0">
                  <a:pos x="84" y="26"/>
                </a:cxn>
                <a:cxn ang="0">
                  <a:pos x="85" y="29"/>
                </a:cxn>
                <a:cxn ang="0">
                  <a:pos x="92" y="36"/>
                </a:cxn>
                <a:cxn ang="0">
                  <a:pos x="94" y="42"/>
                </a:cxn>
                <a:cxn ang="0">
                  <a:pos x="94" y="50"/>
                </a:cxn>
                <a:cxn ang="0">
                  <a:pos x="97" y="55"/>
                </a:cxn>
                <a:cxn ang="0">
                  <a:pos x="103" y="62"/>
                </a:cxn>
                <a:cxn ang="0">
                  <a:pos x="106" y="64"/>
                </a:cxn>
                <a:cxn ang="0">
                  <a:pos x="110" y="69"/>
                </a:cxn>
                <a:cxn ang="0">
                  <a:pos x="108" y="73"/>
                </a:cxn>
                <a:cxn ang="0">
                  <a:pos x="113" y="78"/>
                </a:cxn>
                <a:cxn ang="0">
                  <a:pos x="113" y="83"/>
                </a:cxn>
                <a:cxn ang="0">
                  <a:pos x="108" y="82"/>
                </a:cxn>
                <a:cxn ang="0">
                  <a:pos x="103" y="78"/>
                </a:cxn>
                <a:cxn ang="0">
                  <a:pos x="94" y="78"/>
                </a:cxn>
                <a:cxn ang="0">
                  <a:pos x="85" y="76"/>
                </a:cxn>
                <a:cxn ang="0">
                  <a:pos x="68" y="73"/>
                </a:cxn>
                <a:cxn ang="0">
                  <a:pos x="64" y="73"/>
                </a:cxn>
                <a:cxn ang="0">
                  <a:pos x="44" y="71"/>
                </a:cxn>
                <a:cxn ang="0">
                  <a:pos x="33" y="78"/>
                </a:cxn>
                <a:cxn ang="0">
                  <a:pos x="18" y="82"/>
                </a:cxn>
                <a:cxn ang="0">
                  <a:pos x="14" y="76"/>
                </a:cxn>
                <a:cxn ang="0">
                  <a:pos x="14" y="75"/>
                </a:cxn>
                <a:cxn ang="0">
                  <a:pos x="21" y="73"/>
                </a:cxn>
                <a:cxn ang="0">
                  <a:pos x="11" y="73"/>
                </a:cxn>
                <a:cxn ang="0">
                  <a:pos x="11" y="71"/>
                </a:cxn>
                <a:cxn ang="0">
                  <a:pos x="12" y="64"/>
                </a:cxn>
                <a:cxn ang="0">
                  <a:pos x="28" y="61"/>
                </a:cxn>
                <a:cxn ang="0">
                  <a:pos x="33" y="57"/>
                </a:cxn>
                <a:cxn ang="0">
                  <a:pos x="38" y="59"/>
                </a:cxn>
                <a:cxn ang="0">
                  <a:pos x="42" y="55"/>
                </a:cxn>
                <a:cxn ang="0">
                  <a:pos x="49" y="59"/>
                </a:cxn>
                <a:cxn ang="0">
                  <a:pos x="59" y="62"/>
                </a:cxn>
                <a:cxn ang="0">
                  <a:pos x="64" y="61"/>
                </a:cxn>
                <a:cxn ang="0">
                  <a:pos x="63" y="59"/>
                </a:cxn>
                <a:cxn ang="0">
                  <a:pos x="51" y="54"/>
                </a:cxn>
                <a:cxn ang="0">
                  <a:pos x="42" y="50"/>
                </a:cxn>
                <a:cxn ang="0">
                  <a:pos x="33" y="50"/>
                </a:cxn>
                <a:cxn ang="0">
                  <a:pos x="25" y="55"/>
                </a:cxn>
                <a:cxn ang="0">
                  <a:pos x="14" y="57"/>
                </a:cxn>
                <a:cxn ang="0">
                  <a:pos x="16" y="54"/>
                </a:cxn>
                <a:cxn ang="0">
                  <a:pos x="12" y="50"/>
                </a:cxn>
                <a:cxn ang="0">
                  <a:pos x="9" y="47"/>
                </a:cxn>
                <a:cxn ang="0">
                  <a:pos x="0" y="36"/>
                </a:cxn>
                <a:cxn ang="0">
                  <a:pos x="16" y="17"/>
                </a:cxn>
                <a:cxn ang="0">
                  <a:pos x="16" y="12"/>
                </a:cxn>
              </a:cxnLst>
              <a:rect l="0" t="0" r="r" b="b"/>
              <a:pathLst>
                <a:path w="113" h="83">
                  <a:moveTo>
                    <a:pt x="16" y="12"/>
                  </a:moveTo>
                  <a:lnTo>
                    <a:pt x="19" y="8"/>
                  </a:lnTo>
                  <a:lnTo>
                    <a:pt x="23" y="8"/>
                  </a:lnTo>
                  <a:lnTo>
                    <a:pt x="25" y="7"/>
                  </a:lnTo>
                  <a:lnTo>
                    <a:pt x="33" y="5"/>
                  </a:lnTo>
                  <a:lnTo>
                    <a:pt x="44" y="0"/>
                  </a:lnTo>
                  <a:lnTo>
                    <a:pt x="47" y="0"/>
                  </a:lnTo>
                  <a:lnTo>
                    <a:pt x="56" y="5"/>
                  </a:lnTo>
                  <a:lnTo>
                    <a:pt x="59" y="5"/>
                  </a:lnTo>
                  <a:lnTo>
                    <a:pt x="63" y="8"/>
                  </a:lnTo>
                  <a:lnTo>
                    <a:pt x="63" y="12"/>
                  </a:lnTo>
                  <a:lnTo>
                    <a:pt x="66" y="12"/>
                  </a:lnTo>
                  <a:lnTo>
                    <a:pt x="70" y="12"/>
                  </a:lnTo>
                  <a:lnTo>
                    <a:pt x="70" y="12"/>
                  </a:lnTo>
                  <a:lnTo>
                    <a:pt x="71" y="12"/>
                  </a:lnTo>
                  <a:lnTo>
                    <a:pt x="75" y="12"/>
                  </a:lnTo>
                  <a:lnTo>
                    <a:pt x="75" y="17"/>
                  </a:lnTo>
                  <a:lnTo>
                    <a:pt x="80" y="21"/>
                  </a:lnTo>
                  <a:lnTo>
                    <a:pt x="80" y="24"/>
                  </a:lnTo>
                  <a:lnTo>
                    <a:pt x="84" y="26"/>
                  </a:lnTo>
                  <a:lnTo>
                    <a:pt x="84" y="29"/>
                  </a:lnTo>
                  <a:lnTo>
                    <a:pt x="85" y="29"/>
                  </a:lnTo>
                  <a:lnTo>
                    <a:pt x="91" y="33"/>
                  </a:lnTo>
                  <a:lnTo>
                    <a:pt x="92" y="36"/>
                  </a:lnTo>
                  <a:lnTo>
                    <a:pt x="94" y="36"/>
                  </a:lnTo>
                  <a:lnTo>
                    <a:pt x="94" y="42"/>
                  </a:lnTo>
                  <a:lnTo>
                    <a:pt x="96" y="42"/>
                  </a:lnTo>
                  <a:lnTo>
                    <a:pt x="94" y="50"/>
                  </a:lnTo>
                  <a:lnTo>
                    <a:pt x="94" y="54"/>
                  </a:lnTo>
                  <a:lnTo>
                    <a:pt x="97" y="55"/>
                  </a:lnTo>
                  <a:lnTo>
                    <a:pt x="101" y="61"/>
                  </a:lnTo>
                  <a:lnTo>
                    <a:pt x="103" y="62"/>
                  </a:lnTo>
                  <a:lnTo>
                    <a:pt x="104" y="62"/>
                  </a:lnTo>
                  <a:lnTo>
                    <a:pt x="106" y="64"/>
                  </a:lnTo>
                  <a:lnTo>
                    <a:pt x="108" y="66"/>
                  </a:lnTo>
                  <a:lnTo>
                    <a:pt x="110" y="69"/>
                  </a:lnTo>
                  <a:lnTo>
                    <a:pt x="110" y="71"/>
                  </a:lnTo>
                  <a:lnTo>
                    <a:pt x="108" y="73"/>
                  </a:lnTo>
                  <a:lnTo>
                    <a:pt x="110" y="76"/>
                  </a:lnTo>
                  <a:lnTo>
                    <a:pt x="113" y="78"/>
                  </a:lnTo>
                  <a:lnTo>
                    <a:pt x="113" y="82"/>
                  </a:lnTo>
                  <a:lnTo>
                    <a:pt x="113" y="83"/>
                  </a:lnTo>
                  <a:lnTo>
                    <a:pt x="111" y="82"/>
                  </a:lnTo>
                  <a:lnTo>
                    <a:pt x="108" y="82"/>
                  </a:lnTo>
                  <a:lnTo>
                    <a:pt x="106" y="78"/>
                  </a:lnTo>
                  <a:lnTo>
                    <a:pt x="103" y="78"/>
                  </a:lnTo>
                  <a:lnTo>
                    <a:pt x="99" y="82"/>
                  </a:lnTo>
                  <a:lnTo>
                    <a:pt x="94" y="78"/>
                  </a:lnTo>
                  <a:lnTo>
                    <a:pt x="89" y="78"/>
                  </a:lnTo>
                  <a:lnTo>
                    <a:pt x="85" y="76"/>
                  </a:lnTo>
                  <a:lnTo>
                    <a:pt x="80" y="73"/>
                  </a:lnTo>
                  <a:lnTo>
                    <a:pt x="68" y="73"/>
                  </a:lnTo>
                  <a:lnTo>
                    <a:pt x="64" y="73"/>
                  </a:lnTo>
                  <a:lnTo>
                    <a:pt x="64" y="73"/>
                  </a:lnTo>
                  <a:lnTo>
                    <a:pt x="61" y="71"/>
                  </a:lnTo>
                  <a:lnTo>
                    <a:pt x="44" y="71"/>
                  </a:lnTo>
                  <a:lnTo>
                    <a:pt x="38" y="75"/>
                  </a:lnTo>
                  <a:lnTo>
                    <a:pt x="33" y="78"/>
                  </a:lnTo>
                  <a:lnTo>
                    <a:pt x="23" y="78"/>
                  </a:lnTo>
                  <a:lnTo>
                    <a:pt x="18" y="82"/>
                  </a:lnTo>
                  <a:lnTo>
                    <a:pt x="12" y="78"/>
                  </a:lnTo>
                  <a:lnTo>
                    <a:pt x="14" y="76"/>
                  </a:lnTo>
                  <a:lnTo>
                    <a:pt x="12" y="75"/>
                  </a:lnTo>
                  <a:lnTo>
                    <a:pt x="14" y="75"/>
                  </a:lnTo>
                  <a:lnTo>
                    <a:pt x="18" y="76"/>
                  </a:lnTo>
                  <a:lnTo>
                    <a:pt x="21" y="73"/>
                  </a:lnTo>
                  <a:lnTo>
                    <a:pt x="14" y="71"/>
                  </a:lnTo>
                  <a:lnTo>
                    <a:pt x="11" y="73"/>
                  </a:lnTo>
                  <a:lnTo>
                    <a:pt x="9" y="73"/>
                  </a:lnTo>
                  <a:lnTo>
                    <a:pt x="11" y="71"/>
                  </a:lnTo>
                  <a:lnTo>
                    <a:pt x="11" y="66"/>
                  </a:lnTo>
                  <a:lnTo>
                    <a:pt x="12" y="64"/>
                  </a:lnTo>
                  <a:lnTo>
                    <a:pt x="25" y="64"/>
                  </a:lnTo>
                  <a:lnTo>
                    <a:pt x="28" y="61"/>
                  </a:lnTo>
                  <a:lnTo>
                    <a:pt x="31" y="61"/>
                  </a:lnTo>
                  <a:lnTo>
                    <a:pt x="33" y="57"/>
                  </a:lnTo>
                  <a:lnTo>
                    <a:pt x="37" y="57"/>
                  </a:lnTo>
                  <a:lnTo>
                    <a:pt x="38" y="59"/>
                  </a:lnTo>
                  <a:lnTo>
                    <a:pt x="42" y="57"/>
                  </a:lnTo>
                  <a:lnTo>
                    <a:pt x="42" y="55"/>
                  </a:lnTo>
                  <a:lnTo>
                    <a:pt x="47" y="59"/>
                  </a:lnTo>
                  <a:lnTo>
                    <a:pt x="49" y="59"/>
                  </a:lnTo>
                  <a:lnTo>
                    <a:pt x="54" y="61"/>
                  </a:lnTo>
                  <a:lnTo>
                    <a:pt x="59" y="62"/>
                  </a:lnTo>
                  <a:lnTo>
                    <a:pt x="64" y="62"/>
                  </a:lnTo>
                  <a:lnTo>
                    <a:pt x="64" y="61"/>
                  </a:lnTo>
                  <a:lnTo>
                    <a:pt x="64" y="59"/>
                  </a:lnTo>
                  <a:lnTo>
                    <a:pt x="63" y="59"/>
                  </a:lnTo>
                  <a:lnTo>
                    <a:pt x="54" y="54"/>
                  </a:lnTo>
                  <a:lnTo>
                    <a:pt x="51" y="54"/>
                  </a:lnTo>
                  <a:lnTo>
                    <a:pt x="47" y="50"/>
                  </a:lnTo>
                  <a:lnTo>
                    <a:pt x="42" y="50"/>
                  </a:lnTo>
                  <a:lnTo>
                    <a:pt x="38" y="50"/>
                  </a:lnTo>
                  <a:lnTo>
                    <a:pt x="33" y="50"/>
                  </a:lnTo>
                  <a:lnTo>
                    <a:pt x="28" y="55"/>
                  </a:lnTo>
                  <a:lnTo>
                    <a:pt x="25" y="55"/>
                  </a:lnTo>
                  <a:lnTo>
                    <a:pt x="23" y="57"/>
                  </a:lnTo>
                  <a:lnTo>
                    <a:pt x="14" y="57"/>
                  </a:lnTo>
                  <a:lnTo>
                    <a:pt x="14" y="55"/>
                  </a:lnTo>
                  <a:lnTo>
                    <a:pt x="16" y="54"/>
                  </a:lnTo>
                  <a:lnTo>
                    <a:pt x="12" y="50"/>
                  </a:lnTo>
                  <a:lnTo>
                    <a:pt x="12" y="50"/>
                  </a:lnTo>
                  <a:lnTo>
                    <a:pt x="12" y="47"/>
                  </a:lnTo>
                  <a:lnTo>
                    <a:pt x="9" y="47"/>
                  </a:lnTo>
                  <a:lnTo>
                    <a:pt x="5" y="42"/>
                  </a:lnTo>
                  <a:lnTo>
                    <a:pt x="0" y="36"/>
                  </a:lnTo>
                  <a:lnTo>
                    <a:pt x="11" y="26"/>
                  </a:lnTo>
                  <a:lnTo>
                    <a:pt x="16" y="17"/>
                  </a:lnTo>
                  <a:lnTo>
                    <a:pt x="16" y="12"/>
                  </a:lnTo>
                  <a:lnTo>
                    <a:pt x="16" y="12"/>
                  </a:lnTo>
                  <a:lnTo>
                    <a:pt x="16" y="1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1" name="Freeform 117">
              <a:extLst>
                <a:ext uri="{FF2B5EF4-FFF2-40B4-BE49-F238E27FC236}">
                  <a16:creationId xmlns:a16="http://schemas.microsoft.com/office/drawing/2014/main" id="{52DB857D-E418-4413-BB40-2CCEDF7020DD}"/>
                </a:ext>
              </a:extLst>
            </p:cNvPr>
            <p:cNvSpPr>
              <a:spLocks/>
            </p:cNvSpPr>
            <p:nvPr/>
          </p:nvSpPr>
          <p:spPr bwMode="auto">
            <a:xfrm>
              <a:off x="4008438" y="3879851"/>
              <a:ext cx="84138" cy="22225"/>
            </a:xfrm>
            <a:custGeom>
              <a:avLst/>
              <a:gdLst/>
              <a:ahLst/>
              <a:cxnLst>
                <a:cxn ang="0">
                  <a:pos x="1" y="14"/>
                </a:cxn>
                <a:cxn ang="0">
                  <a:pos x="3" y="12"/>
                </a:cxn>
                <a:cxn ang="0">
                  <a:pos x="14" y="12"/>
                </a:cxn>
                <a:cxn ang="0">
                  <a:pos x="17" y="9"/>
                </a:cxn>
                <a:cxn ang="0">
                  <a:pos x="20" y="9"/>
                </a:cxn>
                <a:cxn ang="0">
                  <a:pos x="24" y="7"/>
                </a:cxn>
                <a:cxn ang="0">
                  <a:pos x="26" y="7"/>
                </a:cxn>
                <a:cxn ang="0">
                  <a:pos x="27" y="9"/>
                </a:cxn>
                <a:cxn ang="0">
                  <a:pos x="31" y="7"/>
                </a:cxn>
                <a:cxn ang="0">
                  <a:pos x="31" y="5"/>
                </a:cxn>
                <a:cxn ang="0">
                  <a:pos x="34" y="9"/>
                </a:cxn>
                <a:cxn ang="0">
                  <a:pos x="38" y="9"/>
                </a:cxn>
                <a:cxn ang="0">
                  <a:pos x="43" y="9"/>
                </a:cxn>
                <a:cxn ang="0">
                  <a:pos x="48" y="12"/>
                </a:cxn>
                <a:cxn ang="0">
                  <a:pos x="53" y="12"/>
                </a:cxn>
                <a:cxn ang="0">
                  <a:pos x="53" y="9"/>
                </a:cxn>
                <a:cxn ang="0">
                  <a:pos x="53" y="9"/>
                </a:cxn>
                <a:cxn ang="0">
                  <a:pos x="50" y="9"/>
                </a:cxn>
                <a:cxn ang="0">
                  <a:pos x="43" y="4"/>
                </a:cxn>
                <a:cxn ang="0">
                  <a:pos x="40" y="4"/>
                </a:cxn>
                <a:cxn ang="0">
                  <a:pos x="34" y="0"/>
                </a:cxn>
                <a:cxn ang="0">
                  <a:pos x="31" y="0"/>
                </a:cxn>
                <a:cxn ang="0">
                  <a:pos x="27" y="0"/>
                </a:cxn>
                <a:cxn ang="0">
                  <a:pos x="24" y="0"/>
                </a:cxn>
                <a:cxn ang="0">
                  <a:pos x="17" y="5"/>
                </a:cxn>
                <a:cxn ang="0">
                  <a:pos x="14" y="5"/>
                </a:cxn>
                <a:cxn ang="0">
                  <a:pos x="12" y="7"/>
                </a:cxn>
                <a:cxn ang="0">
                  <a:pos x="5" y="7"/>
                </a:cxn>
                <a:cxn ang="0">
                  <a:pos x="5" y="9"/>
                </a:cxn>
                <a:cxn ang="0">
                  <a:pos x="8" y="12"/>
                </a:cxn>
                <a:cxn ang="0">
                  <a:pos x="14" y="9"/>
                </a:cxn>
                <a:cxn ang="0">
                  <a:pos x="10" y="12"/>
                </a:cxn>
                <a:cxn ang="0">
                  <a:pos x="5" y="12"/>
                </a:cxn>
                <a:cxn ang="0">
                  <a:pos x="3" y="9"/>
                </a:cxn>
                <a:cxn ang="0">
                  <a:pos x="0" y="12"/>
                </a:cxn>
                <a:cxn ang="0">
                  <a:pos x="1" y="12"/>
                </a:cxn>
                <a:cxn ang="0">
                  <a:pos x="1" y="14"/>
                </a:cxn>
                <a:cxn ang="0">
                  <a:pos x="1" y="14"/>
                </a:cxn>
                <a:cxn ang="0">
                  <a:pos x="1" y="14"/>
                </a:cxn>
              </a:cxnLst>
              <a:rect l="0" t="0" r="r" b="b"/>
              <a:pathLst>
                <a:path w="53" h="14">
                  <a:moveTo>
                    <a:pt x="1" y="14"/>
                  </a:moveTo>
                  <a:lnTo>
                    <a:pt x="3" y="12"/>
                  </a:lnTo>
                  <a:lnTo>
                    <a:pt x="14" y="12"/>
                  </a:lnTo>
                  <a:lnTo>
                    <a:pt x="17" y="9"/>
                  </a:lnTo>
                  <a:lnTo>
                    <a:pt x="20" y="9"/>
                  </a:lnTo>
                  <a:lnTo>
                    <a:pt x="24" y="7"/>
                  </a:lnTo>
                  <a:lnTo>
                    <a:pt x="26" y="7"/>
                  </a:lnTo>
                  <a:lnTo>
                    <a:pt x="27" y="9"/>
                  </a:lnTo>
                  <a:lnTo>
                    <a:pt x="31" y="7"/>
                  </a:lnTo>
                  <a:lnTo>
                    <a:pt x="31" y="5"/>
                  </a:lnTo>
                  <a:lnTo>
                    <a:pt x="34" y="9"/>
                  </a:lnTo>
                  <a:lnTo>
                    <a:pt x="38" y="9"/>
                  </a:lnTo>
                  <a:lnTo>
                    <a:pt x="43" y="9"/>
                  </a:lnTo>
                  <a:lnTo>
                    <a:pt x="48" y="12"/>
                  </a:lnTo>
                  <a:lnTo>
                    <a:pt x="53" y="12"/>
                  </a:lnTo>
                  <a:lnTo>
                    <a:pt x="53" y="9"/>
                  </a:lnTo>
                  <a:lnTo>
                    <a:pt x="53" y="9"/>
                  </a:lnTo>
                  <a:lnTo>
                    <a:pt x="50" y="9"/>
                  </a:lnTo>
                  <a:lnTo>
                    <a:pt x="43" y="4"/>
                  </a:lnTo>
                  <a:lnTo>
                    <a:pt x="40" y="4"/>
                  </a:lnTo>
                  <a:lnTo>
                    <a:pt x="34" y="0"/>
                  </a:lnTo>
                  <a:lnTo>
                    <a:pt x="31" y="0"/>
                  </a:lnTo>
                  <a:lnTo>
                    <a:pt x="27" y="0"/>
                  </a:lnTo>
                  <a:lnTo>
                    <a:pt x="24" y="0"/>
                  </a:lnTo>
                  <a:lnTo>
                    <a:pt x="17" y="5"/>
                  </a:lnTo>
                  <a:lnTo>
                    <a:pt x="14" y="5"/>
                  </a:lnTo>
                  <a:lnTo>
                    <a:pt x="12" y="7"/>
                  </a:lnTo>
                  <a:lnTo>
                    <a:pt x="5" y="7"/>
                  </a:lnTo>
                  <a:lnTo>
                    <a:pt x="5" y="9"/>
                  </a:lnTo>
                  <a:lnTo>
                    <a:pt x="8" y="12"/>
                  </a:lnTo>
                  <a:lnTo>
                    <a:pt x="14" y="9"/>
                  </a:lnTo>
                  <a:lnTo>
                    <a:pt x="10" y="12"/>
                  </a:lnTo>
                  <a:lnTo>
                    <a:pt x="5" y="12"/>
                  </a:lnTo>
                  <a:lnTo>
                    <a:pt x="3" y="9"/>
                  </a:lnTo>
                  <a:lnTo>
                    <a:pt x="0" y="12"/>
                  </a:lnTo>
                  <a:lnTo>
                    <a:pt x="1" y="12"/>
                  </a:lnTo>
                  <a:lnTo>
                    <a:pt x="1" y="14"/>
                  </a:lnTo>
                  <a:lnTo>
                    <a:pt x="1" y="14"/>
                  </a:lnTo>
                  <a:lnTo>
                    <a:pt x="1"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2" name="Freeform 118">
              <a:extLst>
                <a:ext uri="{FF2B5EF4-FFF2-40B4-BE49-F238E27FC236}">
                  <a16:creationId xmlns:a16="http://schemas.microsoft.com/office/drawing/2014/main" id="{99F9BC8F-0B27-46E6-B8F4-6CBE359EF007}"/>
                </a:ext>
              </a:extLst>
            </p:cNvPr>
            <p:cNvSpPr>
              <a:spLocks/>
            </p:cNvSpPr>
            <p:nvPr/>
          </p:nvSpPr>
          <p:spPr bwMode="auto">
            <a:xfrm>
              <a:off x="4016375" y="3910013"/>
              <a:ext cx="76200" cy="52388"/>
            </a:xfrm>
            <a:custGeom>
              <a:avLst/>
              <a:gdLst/>
              <a:ahLst/>
              <a:cxnLst>
                <a:cxn ang="0">
                  <a:pos x="0" y="7"/>
                </a:cxn>
                <a:cxn ang="0">
                  <a:pos x="3" y="11"/>
                </a:cxn>
                <a:cxn ang="0">
                  <a:pos x="9" y="6"/>
                </a:cxn>
                <a:cxn ang="0">
                  <a:pos x="19" y="6"/>
                </a:cxn>
                <a:cxn ang="0">
                  <a:pos x="22" y="2"/>
                </a:cxn>
                <a:cxn ang="0">
                  <a:pos x="28" y="0"/>
                </a:cxn>
                <a:cxn ang="0">
                  <a:pos x="43" y="0"/>
                </a:cxn>
                <a:cxn ang="0">
                  <a:pos x="47" y="0"/>
                </a:cxn>
                <a:cxn ang="0">
                  <a:pos x="48" y="6"/>
                </a:cxn>
                <a:cxn ang="0">
                  <a:pos x="47" y="11"/>
                </a:cxn>
                <a:cxn ang="0">
                  <a:pos x="47" y="16"/>
                </a:cxn>
                <a:cxn ang="0">
                  <a:pos x="48" y="18"/>
                </a:cxn>
                <a:cxn ang="0">
                  <a:pos x="48" y="21"/>
                </a:cxn>
                <a:cxn ang="0">
                  <a:pos x="47" y="25"/>
                </a:cxn>
                <a:cxn ang="0">
                  <a:pos x="40" y="25"/>
                </a:cxn>
                <a:cxn ang="0">
                  <a:pos x="36" y="26"/>
                </a:cxn>
                <a:cxn ang="0">
                  <a:pos x="33" y="28"/>
                </a:cxn>
                <a:cxn ang="0">
                  <a:pos x="31" y="32"/>
                </a:cxn>
                <a:cxn ang="0">
                  <a:pos x="26" y="33"/>
                </a:cxn>
                <a:cxn ang="0">
                  <a:pos x="26" y="32"/>
                </a:cxn>
                <a:cxn ang="0">
                  <a:pos x="26" y="30"/>
                </a:cxn>
                <a:cxn ang="0">
                  <a:pos x="21" y="30"/>
                </a:cxn>
                <a:cxn ang="0">
                  <a:pos x="22" y="25"/>
                </a:cxn>
                <a:cxn ang="0">
                  <a:pos x="22" y="25"/>
                </a:cxn>
                <a:cxn ang="0">
                  <a:pos x="22" y="25"/>
                </a:cxn>
                <a:cxn ang="0">
                  <a:pos x="21" y="21"/>
                </a:cxn>
                <a:cxn ang="0">
                  <a:pos x="19" y="21"/>
                </a:cxn>
                <a:cxn ang="0">
                  <a:pos x="17" y="19"/>
                </a:cxn>
                <a:cxn ang="0">
                  <a:pos x="26" y="19"/>
                </a:cxn>
                <a:cxn ang="0">
                  <a:pos x="26" y="19"/>
                </a:cxn>
                <a:cxn ang="0">
                  <a:pos x="22" y="16"/>
                </a:cxn>
                <a:cxn ang="0">
                  <a:pos x="19" y="18"/>
                </a:cxn>
                <a:cxn ang="0">
                  <a:pos x="14" y="18"/>
                </a:cxn>
                <a:cxn ang="0">
                  <a:pos x="14" y="18"/>
                </a:cxn>
                <a:cxn ang="0">
                  <a:pos x="10" y="16"/>
                </a:cxn>
                <a:cxn ang="0">
                  <a:pos x="9" y="16"/>
                </a:cxn>
                <a:cxn ang="0">
                  <a:pos x="5" y="13"/>
                </a:cxn>
                <a:cxn ang="0">
                  <a:pos x="9" y="11"/>
                </a:cxn>
                <a:cxn ang="0">
                  <a:pos x="7" y="11"/>
                </a:cxn>
                <a:cxn ang="0">
                  <a:pos x="0" y="11"/>
                </a:cxn>
                <a:cxn ang="0">
                  <a:pos x="0" y="7"/>
                </a:cxn>
                <a:cxn ang="0">
                  <a:pos x="0" y="7"/>
                </a:cxn>
                <a:cxn ang="0">
                  <a:pos x="0" y="7"/>
                </a:cxn>
                <a:cxn ang="0">
                  <a:pos x="0" y="7"/>
                </a:cxn>
              </a:cxnLst>
              <a:rect l="0" t="0" r="r" b="b"/>
              <a:pathLst>
                <a:path w="48" h="33">
                  <a:moveTo>
                    <a:pt x="0" y="7"/>
                  </a:moveTo>
                  <a:lnTo>
                    <a:pt x="3" y="11"/>
                  </a:lnTo>
                  <a:lnTo>
                    <a:pt x="9" y="6"/>
                  </a:lnTo>
                  <a:lnTo>
                    <a:pt x="19" y="6"/>
                  </a:lnTo>
                  <a:lnTo>
                    <a:pt x="22" y="2"/>
                  </a:lnTo>
                  <a:lnTo>
                    <a:pt x="28" y="0"/>
                  </a:lnTo>
                  <a:lnTo>
                    <a:pt x="43" y="0"/>
                  </a:lnTo>
                  <a:lnTo>
                    <a:pt x="47" y="0"/>
                  </a:lnTo>
                  <a:lnTo>
                    <a:pt x="48" y="6"/>
                  </a:lnTo>
                  <a:lnTo>
                    <a:pt x="47" y="11"/>
                  </a:lnTo>
                  <a:lnTo>
                    <a:pt x="47" y="16"/>
                  </a:lnTo>
                  <a:lnTo>
                    <a:pt x="48" y="18"/>
                  </a:lnTo>
                  <a:lnTo>
                    <a:pt x="48" y="21"/>
                  </a:lnTo>
                  <a:lnTo>
                    <a:pt x="47" y="25"/>
                  </a:lnTo>
                  <a:lnTo>
                    <a:pt x="40" y="25"/>
                  </a:lnTo>
                  <a:lnTo>
                    <a:pt x="36" y="26"/>
                  </a:lnTo>
                  <a:lnTo>
                    <a:pt x="33" y="28"/>
                  </a:lnTo>
                  <a:lnTo>
                    <a:pt x="31" y="32"/>
                  </a:lnTo>
                  <a:lnTo>
                    <a:pt x="26" y="33"/>
                  </a:lnTo>
                  <a:lnTo>
                    <a:pt x="26" y="32"/>
                  </a:lnTo>
                  <a:lnTo>
                    <a:pt x="26" y="30"/>
                  </a:lnTo>
                  <a:lnTo>
                    <a:pt x="21" y="30"/>
                  </a:lnTo>
                  <a:lnTo>
                    <a:pt x="22" y="25"/>
                  </a:lnTo>
                  <a:lnTo>
                    <a:pt x="22" y="25"/>
                  </a:lnTo>
                  <a:lnTo>
                    <a:pt x="22" y="25"/>
                  </a:lnTo>
                  <a:lnTo>
                    <a:pt x="21" y="21"/>
                  </a:lnTo>
                  <a:lnTo>
                    <a:pt x="19" y="21"/>
                  </a:lnTo>
                  <a:lnTo>
                    <a:pt x="17" y="19"/>
                  </a:lnTo>
                  <a:lnTo>
                    <a:pt x="26" y="19"/>
                  </a:lnTo>
                  <a:lnTo>
                    <a:pt x="26" y="19"/>
                  </a:lnTo>
                  <a:lnTo>
                    <a:pt x="22" y="16"/>
                  </a:lnTo>
                  <a:lnTo>
                    <a:pt x="19" y="18"/>
                  </a:lnTo>
                  <a:lnTo>
                    <a:pt x="14" y="18"/>
                  </a:lnTo>
                  <a:lnTo>
                    <a:pt x="14" y="18"/>
                  </a:lnTo>
                  <a:lnTo>
                    <a:pt x="10" y="16"/>
                  </a:lnTo>
                  <a:lnTo>
                    <a:pt x="9" y="16"/>
                  </a:lnTo>
                  <a:lnTo>
                    <a:pt x="5" y="13"/>
                  </a:lnTo>
                  <a:lnTo>
                    <a:pt x="9" y="11"/>
                  </a:lnTo>
                  <a:lnTo>
                    <a:pt x="7" y="11"/>
                  </a:lnTo>
                  <a:lnTo>
                    <a:pt x="0" y="11"/>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3" name="Freeform 119">
              <a:extLst>
                <a:ext uri="{FF2B5EF4-FFF2-40B4-BE49-F238E27FC236}">
                  <a16:creationId xmlns:a16="http://schemas.microsoft.com/office/drawing/2014/main" id="{ED0037ED-EF32-4547-ACD1-CD20E850611A}"/>
                </a:ext>
              </a:extLst>
            </p:cNvPr>
            <p:cNvSpPr>
              <a:spLocks/>
            </p:cNvSpPr>
            <p:nvPr/>
          </p:nvSpPr>
          <p:spPr bwMode="auto">
            <a:xfrm>
              <a:off x="4068763" y="3910013"/>
              <a:ext cx="187325" cy="193675"/>
            </a:xfrm>
            <a:custGeom>
              <a:avLst/>
              <a:gdLst/>
              <a:ahLst/>
              <a:cxnLst>
                <a:cxn ang="0">
                  <a:pos x="2" y="26"/>
                </a:cxn>
                <a:cxn ang="0">
                  <a:pos x="10" y="23"/>
                </a:cxn>
                <a:cxn ang="0">
                  <a:pos x="17" y="19"/>
                </a:cxn>
                <a:cxn ang="0">
                  <a:pos x="17" y="14"/>
                </a:cxn>
                <a:cxn ang="0">
                  <a:pos x="17" y="6"/>
                </a:cxn>
                <a:cxn ang="0">
                  <a:pos x="19" y="0"/>
                </a:cxn>
                <a:cxn ang="0">
                  <a:pos x="36" y="4"/>
                </a:cxn>
                <a:cxn ang="0">
                  <a:pos x="45" y="6"/>
                </a:cxn>
                <a:cxn ang="0">
                  <a:pos x="52" y="6"/>
                </a:cxn>
                <a:cxn ang="0">
                  <a:pos x="57" y="9"/>
                </a:cxn>
                <a:cxn ang="0">
                  <a:pos x="62" y="11"/>
                </a:cxn>
                <a:cxn ang="0">
                  <a:pos x="66" y="9"/>
                </a:cxn>
                <a:cxn ang="0">
                  <a:pos x="73" y="14"/>
                </a:cxn>
                <a:cxn ang="0">
                  <a:pos x="80" y="11"/>
                </a:cxn>
                <a:cxn ang="0">
                  <a:pos x="85" y="6"/>
                </a:cxn>
                <a:cxn ang="0">
                  <a:pos x="94" y="9"/>
                </a:cxn>
                <a:cxn ang="0">
                  <a:pos x="97" y="6"/>
                </a:cxn>
                <a:cxn ang="0">
                  <a:pos x="101" y="11"/>
                </a:cxn>
                <a:cxn ang="0">
                  <a:pos x="102" y="19"/>
                </a:cxn>
                <a:cxn ang="0">
                  <a:pos x="108" y="23"/>
                </a:cxn>
                <a:cxn ang="0">
                  <a:pos x="104" y="28"/>
                </a:cxn>
                <a:cxn ang="0">
                  <a:pos x="106" y="33"/>
                </a:cxn>
                <a:cxn ang="0">
                  <a:pos x="109" y="30"/>
                </a:cxn>
                <a:cxn ang="0">
                  <a:pos x="111" y="35"/>
                </a:cxn>
                <a:cxn ang="0">
                  <a:pos x="115" y="39"/>
                </a:cxn>
                <a:cxn ang="0">
                  <a:pos x="118" y="42"/>
                </a:cxn>
                <a:cxn ang="0">
                  <a:pos x="109" y="46"/>
                </a:cxn>
                <a:cxn ang="0">
                  <a:pos x="111" y="51"/>
                </a:cxn>
                <a:cxn ang="0">
                  <a:pos x="111" y="59"/>
                </a:cxn>
                <a:cxn ang="0">
                  <a:pos x="113" y="68"/>
                </a:cxn>
                <a:cxn ang="0">
                  <a:pos x="115" y="73"/>
                </a:cxn>
                <a:cxn ang="0">
                  <a:pos x="109" y="75"/>
                </a:cxn>
                <a:cxn ang="0">
                  <a:pos x="113" y="80"/>
                </a:cxn>
                <a:cxn ang="0">
                  <a:pos x="115" y="86"/>
                </a:cxn>
                <a:cxn ang="0">
                  <a:pos x="106" y="98"/>
                </a:cxn>
                <a:cxn ang="0">
                  <a:pos x="106" y="103"/>
                </a:cxn>
                <a:cxn ang="0">
                  <a:pos x="101" y="112"/>
                </a:cxn>
                <a:cxn ang="0">
                  <a:pos x="76" y="122"/>
                </a:cxn>
                <a:cxn ang="0">
                  <a:pos x="69" y="117"/>
                </a:cxn>
                <a:cxn ang="0">
                  <a:pos x="62" y="112"/>
                </a:cxn>
                <a:cxn ang="0">
                  <a:pos x="62" y="106"/>
                </a:cxn>
                <a:cxn ang="0">
                  <a:pos x="69" y="79"/>
                </a:cxn>
                <a:cxn ang="0">
                  <a:pos x="69" y="75"/>
                </a:cxn>
                <a:cxn ang="0">
                  <a:pos x="71" y="72"/>
                </a:cxn>
                <a:cxn ang="0">
                  <a:pos x="69" y="65"/>
                </a:cxn>
                <a:cxn ang="0">
                  <a:pos x="66" y="56"/>
                </a:cxn>
                <a:cxn ang="0">
                  <a:pos x="61" y="47"/>
                </a:cxn>
                <a:cxn ang="0">
                  <a:pos x="43" y="47"/>
                </a:cxn>
                <a:cxn ang="0">
                  <a:pos x="35" y="56"/>
                </a:cxn>
                <a:cxn ang="0">
                  <a:pos x="31" y="61"/>
                </a:cxn>
                <a:cxn ang="0">
                  <a:pos x="26" y="59"/>
                </a:cxn>
                <a:cxn ang="0">
                  <a:pos x="19" y="53"/>
                </a:cxn>
                <a:cxn ang="0">
                  <a:pos x="14" y="51"/>
                </a:cxn>
                <a:cxn ang="0">
                  <a:pos x="17" y="46"/>
                </a:cxn>
                <a:cxn ang="0">
                  <a:pos x="12" y="47"/>
                </a:cxn>
                <a:cxn ang="0">
                  <a:pos x="5" y="46"/>
                </a:cxn>
                <a:cxn ang="0">
                  <a:pos x="3" y="33"/>
                </a:cxn>
                <a:cxn ang="0">
                  <a:pos x="0" y="30"/>
                </a:cxn>
                <a:cxn ang="0">
                  <a:pos x="0" y="30"/>
                </a:cxn>
              </a:cxnLst>
              <a:rect l="0" t="0" r="r" b="b"/>
              <a:pathLst>
                <a:path w="118" h="122">
                  <a:moveTo>
                    <a:pt x="0" y="30"/>
                  </a:moveTo>
                  <a:lnTo>
                    <a:pt x="2" y="26"/>
                  </a:lnTo>
                  <a:lnTo>
                    <a:pt x="5" y="25"/>
                  </a:lnTo>
                  <a:lnTo>
                    <a:pt x="10" y="23"/>
                  </a:lnTo>
                  <a:lnTo>
                    <a:pt x="17" y="23"/>
                  </a:lnTo>
                  <a:lnTo>
                    <a:pt x="17" y="19"/>
                  </a:lnTo>
                  <a:lnTo>
                    <a:pt x="17" y="16"/>
                  </a:lnTo>
                  <a:lnTo>
                    <a:pt x="17" y="14"/>
                  </a:lnTo>
                  <a:lnTo>
                    <a:pt x="17" y="9"/>
                  </a:lnTo>
                  <a:lnTo>
                    <a:pt x="17" y="6"/>
                  </a:lnTo>
                  <a:lnTo>
                    <a:pt x="17" y="0"/>
                  </a:lnTo>
                  <a:lnTo>
                    <a:pt x="19" y="0"/>
                  </a:lnTo>
                  <a:lnTo>
                    <a:pt x="31" y="0"/>
                  </a:lnTo>
                  <a:lnTo>
                    <a:pt x="36" y="4"/>
                  </a:lnTo>
                  <a:lnTo>
                    <a:pt x="40" y="6"/>
                  </a:lnTo>
                  <a:lnTo>
                    <a:pt x="45" y="6"/>
                  </a:lnTo>
                  <a:lnTo>
                    <a:pt x="48" y="9"/>
                  </a:lnTo>
                  <a:lnTo>
                    <a:pt x="52" y="6"/>
                  </a:lnTo>
                  <a:lnTo>
                    <a:pt x="55" y="6"/>
                  </a:lnTo>
                  <a:lnTo>
                    <a:pt x="57" y="9"/>
                  </a:lnTo>
                  <a:lnTo>
                    <a:pt x="61" y="9"/>
                  </a:lnTo>
                  <a:lnTo>
                    <a:pt x="62" y="11"/>
                  </a:lnTo>
                  <a:lnTo>
                    <a:pt x="62" y="11"/>
                  </a:lnTo>
                  <a:lnTo>
                    <a:pt x="66" y="9"/>
                  </a:lnTo>
                  <a:lnTo>
                    <a:pt x="69" y="11"/>
                  </a:lnTo>
                  <a:lnTo>
                    <a:pt x="73" y="14"/>
                  </a:lnTo>
                  <a:lnTo>
                    <a:pt x="76" y="14"/>
                  </a:lnTo>
                  <a:lnTo>
                    <a:pt x="80" y="11"/>
                  </a:lnTo>
                  <a:lnTo>
                    <a:pt x="83" y="11"/>
                  </a:lnTo>
                  <a:lnTo>
                    <a:pt x="85" y="6"/>
                  </a:lnTo>
                  <a:lnTo>
                    <a:pt x="88" y="6"/>
                  </a:lnTo>
                  <a:lnTo>
                    <a:pt x="94" y="9"/>
                  </a:lnTo>
                  <a:lnTo>
                    <a:pt x="95" y="6"/>
                  </a:lnTo>
                  <a:lnTo>
                    <a:pt x="97" y="6"/>
                  </a:lnTo>
                  <a:lnTo>
                    <a:pt x="97" y="9"/>
                  </a:lnTo>
                  <a:lnTo>
                    <a:pt x="101" y="11"/>
                  </a:lnTo>
                  <a:lnTo>
                    <a:pt x="102" y="14"/>
                  </a:lnTo>
                  <a:lnTo>
                    <a:pt x="102" y="19"/>
                  </a:lnTo>
                  <a:lnTo>
                    <a:pt x="104" y="23"/>
                  </a:lnTo>
                  <a:lnTo>
                    <a:pt x="108" y="23"/>
                  </a:lnTo>
                  <a:lnTo>
                    <a:pt x="108" y="23"/>
                  </a:lnTo>
                  <a:lnTo>
                    <a:pt x="104" y="28"/>
                  </a:lnTo>
                  <a:lnTo>
                    <a:pt x="102" y="33"/>
                  </a:lnTo>
                  <a:lnTo>
                    <a:pt x="106" y="33"/>
                  </a:lnTo>
                  <a:lnTo>
                    <a:pt x="108" y="30"/>
                  </a:lnTo>
                  <a:lnTo>
                    <a:pt x="109" y="30"/>
                  </a:lnTo>
                  <a:lnTo>
                    <a:pt x="109" y="33"/>
                  </a:lnTo>
                  <a:lnTo>
                    <a:pt x="111" y="35"/>
                  </a:lnTo>
                  <a:lnTo>
                    <a:pt x="111" y="39"/>
                  </a:lnTo>
                  <a:lnTo>
                    <a:pt x="115" y="39"/>
                  </a:lnTo>
                  <a:lnTo>
                    <a:pt x="118" y="39"/>
                  </a:lnTo>
                  <a:lnTo>
                    <a:pt x="118" y="42"/>
                  </a:lnTo>
                  <a:lnTo>
                    <a:pt x="115" y="44"/>
                  </a:lnTo>
                  <a:lnTo>
                    <a:pt x="109" y="46"/>
                  </a:lnTo>
                  <a:lnTo>
                    <a:pt x="109" y="47"/>
                  </a:lnTo>
                  <a:lnTo>
                    <a:pt x="111" y="51"/>
                  </a:lnTo>
                  <a:lnTo>
                    <a:pt x="111" y="56"/>
                  </a:lnTo>
                  <a:lnTo>
                    <a:pt x="111" y="59"/>
                  </a:lnTo>
                  <a:lnTo>
                    <a:pt x="111" y="66"/>
                  </a:lnTo>
                  <a:lnTo>
                    <a:pt x="113" y="68"/>
                  </a:lnTo>
                  <a:lnTo>
                    <a:pt x="115" y="72"/>
                  </a:lnTo>
                  <a:lnTo>
                    <a:pt x="115" y="73"/>
                  </a:lnTo>
                  <a:lnTo>
                    <a:pt x="113" y="73"/>
                  </a:lnTo>
                  <a:lnTo>
                    <a:pt x="109" y="75"/>
                  </a:lnTo>
                  <a:lnTo>
                    <a:pt x="109" y="77"/>
                  </a:lnTo>
                  <a:lnTo>
                    <a:pt x="113" y="80"/>
                  </a:lnTo>
                  <a:lnTo>
                    <a:pt x="115" y="82"/>
                  </a:lnTo>
                  <a:lnTo>
                    <a:pt x="115" y="86"/>
                  </a:lnTo>
                  <a:lnTo>
                    <a:pt x="109" y="94"/>
                  </a:lnTo>
                  <a:lnTo>
                    <a:pt x="106" y="98"/>
                  </a:lnTo>
                  <a:lnTo>
                    <a:pt x="106" y="98"/>
                  </a:lnTo>
                  <a:lnTo>
                    <a:pt x="106" y="103"/>
                  </a:lnTo>
                  <a:lnTo>
                    <a:pt x="104" y="108"/>
                  </a:lnTo>
                  <a:lnTo>
                    <a:pt x="101" y="112"/>
                  </a:lnTo>
                  <a:lnTo>
                    <a:pt x="101" y="113"/>
                  </a:lnTo>
                  <a:lnTo>
                    <a:pt x="76" y="122"/>
                  </a:lnTo>
                  <a:lnTo>
                    <a:pt x="71" y="117"/>
                  </a:lnTo>
                  <a:lnTo>
                    <a:pt x="69" y="117"/>
                  </a:lnTo>
                  <a:lnTo>
                    <a:pt x="62" y="112"/>
                  </a:lnTo>
                  <a:lnTo>
                    <a:pt x="62" y="112"/>
                  </a:lnTo>
                  <a:lnTo>
                    <a:pt x="62" y="106"/>
                  </a:lnTo>
                  <a:lnTo>
                    <a:pt x="62" y="106"/>
                  </a:lnTo>
                  <a:lnTo>
                    <a:pt x="69" y="103"/>
                  </a:lnTo>
                  <a:lnTo>
                    <a:pt x="69" y="79"/>
                  </a:lnTo>
                  <a:lnTo>
                    <a:pt x="71" y="75"/>
                  </a:lnTo>
                  <a:lnTo>
                    <a:pt x="69" y="75"/>
                  </a:lnTo>
                  <a:lnTo>
                    <a:pt x="69" y="72"/>
                  </a:lnTo>
                  <a:lnTo>
                    <a:pt x="71" y="72"/>
                  </a:lnTo>
                  <a:lnTo>
                    <a:pt x="71" y="68"/>
                  </a:lnTo>
                  <a:lnTo>
                    <a:pt x="69" y="65"/>
                  </a:lnTo>
                  <a:lnTo>
                    <a:pt x="69" y="61"/>
                  </a:lnTo>
                  <a:lnTo>
                    <a:pt x="66" y="56"/>
                  </a:lnTo>
                  <a:lnTo>
                    <a:pt x="62" y="53"/>
                  </a:lnTo>
                  <a:lnTo>
                    <a:pt x="61" y="47"/>
                  </a:lnTo>
                  <a:lnTo>
                    <a:pt x="45" y="47"/>
                  </a:lnTo>
                  <a:lnTo>
                    <a:pt x="43" y="47"/>
                  </a:lnTo>
                  <a:lnTo>
                    <a:pt x="40" y="53"/>
                  </a:lnTo>
                  <a:lnTo>
                    <a:pt x="35" y="56"/>
                  </a:lnTo>
                  <a:lnTo>
                    <a:pt x="35" y="58"/>
                  </a:lnTo>
                  <a:lnTo>
                    <a:pt x="31" y="61"/>
                  </a:lnTo>
                  <a:lnTo>
                    <a:pt x="28" y="61"/>
                  </a:lnTo>
                  <a:lnTo>
                    <a:pt x="26" y="59"/>
                  </a:lnTo>
                  <a:lnTo>
                    <a:pt x="21" y="56"/>
                  </a:lnTo>
                  <a:lnTo>
                    <a:pt x="19" y="53"/>
                  </a:lnTo>
                  <a:lnTo>
                    <a:pt x="17" y="53"/>
                  </a:lnTo>
                  <a:lnTo>
                    <a:pt x="14" y="51"/>
                  </a:lnTo>
                  <a:lnTo>
                    <a:pt x="14" y="47"/>
                  </a:lnTo>
                  <a:lnTo>
                    <a:pt x="17" y="46"/>
                  </a:lnTo>
                  <a:lnTo>
                    <a:pt x="14" y="46"/>
                  </a:lnTo>
                  <a:lnTo>
                    <a:pt x="12" y="47"/>
                  </a:lnTo>
                  <a:lnTo>
                    <a:pt x="9" y="46"/>
                  </a:lnTo>
                  <a:lnTo>
                    <a:pt x="5" y="46"/>
                  </a:lnTo>
                  <a:lnTo>
                    <a:pt x="2" y="39"/>
                  </a:lnTo>
                  <a:lnTo>
                    <a:pt x="3" y="33"/>
                  </a:lnTo>
                  <a:lnTo>
                    <a:pt x="0" y="30"/>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4" name="Freeform 120">
              <a:extLst>
                <a:ext uri="{FF2B5EF4-FFF2-40B4-BE49-F238E27FC236}">
                  <a16:creationId xmlns:a16="http://schemas.microsoft.com/office/drawing/2014/main" id="{C4F3F13C-B508-4288-929B-76C6FC74356C}"/>
                </a:ext>
              </a:extLst>
            </p:cNvPr>
            <p:cNvSpPr>
              <a:spLocks noEditPoints="1"/>
            </p:cNvSpPr>
            <p:nvPr/>
          </p:nvSpPr>
          <p:spPr bwMode="auto">
            <a:xfrm>
              <a:off x="4106863" y="3987801"/>
              <a:ext cx="77788" cy="93663"/>
            </a:xfrm>
            <a:custGeom>
              <a:avLst/>
              <a:gdLst/>
              <a:ahLst/>
              <a:cxnLst>
                <a:cxn ang="0">
                  <a:pos x="14" y="50"/>
                </a:cxn>
                <a:cxn ang="0">
                  <a:pos x="14" y="47"/>
                </a:cxn>
                <a:cxn ang="0">
                  <a:pos x="12" y="45"/>
                </a:cxn>
                <a:cxn ang="0">
                  <a:pos x="11" y="45"/>
                </a:cxn>
                <a:cxn ang="0">
                  <a:pos x="9" y="47"/>
                </a:cxn>
                <a:cxn ang="0">
                  <a:pos x="11" y="49"/>
                </a:cxn>
                <a:cxn ang="0">
                  <a:pos x="12" y="50"/>
                </a:cxn>
                <a:cxn ang="0">
                  <a:pos x="14" y="50"/>
                </a:cxn>
                <a:cxn ang="0">
                  <a:pos x="14" y="50"/>
                </a:cxn>
                <a:cxn ang="0">
                  <a:pos x="14" y="50"/>
                </a:cxn>
                <a:cxn ang="0">
                  <a:pos x="14" y="50"/>
                </a:cxn>
                <a:cxn ang="0">
                  <a:pos x="2" y="14"/>
                </a:cxn>
                <a:cxn ang="0">
                  <a:pos x="5" y="14"/>
                </a:cxn>
                <a:cxn ang="0">
                  <a:pos x="11" y="10"/>
                </a:cxn>
                <a:cxn ang="0">
                  <a:pos x="11" y="9"/>
                </a:cxn>
                <a:cxn ang="0">
                  <a:pos x="16" y="5"/>
                </a:cxn>
                <a:cxn ang="0">
                  <a:pos x="19" y="2"/>
                </a:cxn>
                <a:cxn ang="0">
                  <a:pos x="23" y="0"/>
                </a:cxn>
                <a:cxn ang="0">
                  <a:pos x="38" y="0"/>
                </a:cxn>
                <a:cxn ang="0">
                  <a:pos x="40" y="5"/>
                </a:cxn>
                <a:cxn ang="0">
                  <a:pos x="44" y="9"/>
                </a:cxn>
                <a:cxn ang="0">
                  <a:pos x="47" y="14"/>
                </a:cxn>
                <a:cxn ang="0">
                  <a:pos x="47" y="17"/>
                </a:cxn>
                <a:cxn ang="0">
                  <a:pos x="49" y="21"/>
                </a:cxn>
                <a:cxn ang="0">
                  <a:pos x="49" y="24"/>
                </a:cxn>
                <a:cxn ang="0">
                  <a:pos x="49" y="24"/>
                </a:cxn>
                <a:cxn ang="0">
                  <a:pos x="47" y="28"/>
                </a:cxn>
                <a:cxn ang="0">
                  <a:pos x="49" y="28"/>
                </a:cxn>
                <a:cxn ang="0">
                  <a:pos x="49" y="31"/>
                </a:cxn>
                <a:cxn ang="0">
                  <a:pos x="47" y="54"/>
                </a:cxn>
                <a:cxn ang="0">
                  <a:pos x="40" y="59"/>
                </a:cxn>
                <a:cxn ang="0">
                  <a:pos x="38" y="56"/>
                </a:cxn>
                <a:cxn ang="0">
                  <a:pos x="31" y="56"/>
                </a:cxn>
                <a:cxn ang="0">
                  <a:pos x="21" y="50"/>
                </a:cxn>
                <a:cxn ang="0">
                  <a:pos x="18" y="50"/>
                </a:cxn>
                <a:cxn ang="0">
                  <a:pos x="18" y="50"/>
                </a:cxn>
                <a:cxn ang="0">
                  <a:pos x="16" y="47"/>
                </a:cxn>
                <a:cxn ang="0">
                  <a:pos x="14" y="45"/>
                </a:cxn>
                <a:cxn ang="0">
                  <a:pos x="14" y="42"/>
                </a:cxn>
                <a:cxn ang="0">
                  <a:pos x="14" y="40"/>
                </a:cxn>
                <a:cxn ang="0">
                  <a:pos x="11" y="42"/>
                </a:cxn>
                <a:cxn ang="0">
                  <a:pos x="7" y="40"/>
                </a:cxn>
                <a:cxn ang="0">
                  <a:pos x="7" y="33"/>
                </a:cxn>
                <a:cxn ang="0">
                  <a:pos x="5" y="28"/>
                </a:cxn>
                <a:cxn ang="0">
                  <a:pos x="2" y="28"/>
                </a:cxn>
                <a:cxn ang="0">
                  <a:pos x="0" y="26"/>
                </a:cxn>
                <a:cxn ang="0">
                  <a:pos x="4" y="21"/>
                </a:cxn>
                <a:cxn ang="0">
                  <a:pos x="0" y="19"/>
                </a:cxn>
                <a:cxn ang="0">
                  <a:pos x="0" y="17"/>
                </a:cxn>
                <a:cxn ang="0">
                  <a:pos x="2" y="14"/>
                </a:cxn>
                <a:cxn ang="0">
                  <a:pos x="2" y="14"/>
                </a:cxn>
                <a:cxn ang="0">
                  <a:pos x="2" y="14"/>
                </a:cxn>
                <a:cxn ang="0">
                  <a:pos x="2" y="14"/>
                </a:cxn>
              </a:cxnLst>
              <a:rect l="0" t="0" r="r" b="b"/>
              <a:pathLst>
                <a:path w="49" h="59">
                  <a:moveTo>
                    <a:pt x="14" y="50"/>
                  </a:moveTo>
                  <a:lnTo>
                    <a:pt x="14" y="47"/>
                  </a:lnTo>
                  <a:lnTo>
                    <a:pt x="12" y="45"/>
                  </a:lnTo>
                  <a:lnTo>
                    <a:pt x="11" y="45"/>
                  </a:lnTo>
                  <a:lnTo>
                    <a:pt x="9" y="47"/>
                  </a:lnTo>
                  <a:lnTo>
                    <a:pt x="11" y="49"/>
                  </a:lnTo>
                  <a:lnTo>
                    <a:pt x="12" y="50"/>
                  </a:lnTo>
                  <a:lnTo>
                    <a:pt x="14" y="50"/>
                  </a:lnTo>
                  <a:lnTo>
                    <a:pt x="14" y="50"/>
                  </a:lnTo>
                  <a:lnTo>
                    <a:pt x="14" y="50"/>
                  </a:lnTo>
                  <a:lnTo>
                    <a:pt x="14" y="50"/>
                  </a:lnTo>
                  <a:close/>
                  <a:moveTo>
                    <a:pt x="2" y="14"/>
                  </a:moveTo>
                  <a:lnTo>
                    <a:pt x="5" y="14"/>
                  </a:lnTo>
                  <a:lnTo>
                    <a:pt x="11" y="10"/>
                  </a:lnTo>
                  <a:lnTo>
                    <a:pt x="11" y="9"/>
                  </a:lnTo>
                  <a:lnTo>
                    <a:pt x="16" y="5"/>
                  </a:lnTo>
                  <a:lnTo>
                    <a:pt x="19" y="2"/>
                  </a:lnTo>
                  <a:lnTo>
                    <a:pt x="23" y="0"/>
                  </a:lnTo>
                  <a:lnTo>
                    <a:pt x="38" y="0"/>
                  </a:lnTo>
                  <a:lnTo>
                    <a:pt x="40" y="5"/>
                  </a:lnTo>
                  <a:lnTo>
                    <a:pt x="44" y="9"/>
                  </a:lnTo>
                  <a:lnTo>
                    <a:pt x="47" y="14"/>
                  </a:lnTo>
                  <a:lnTo>
                    <a:pt x="47" y="17"/>
                  </a:lnTo>
                  <a:lnTo>
                    <a:pt x="49" y="21"/>
                  </a:lnTo>
                  <a:lnTo>
                    <a:pt x="49" y="24"/>
                  </a:lnTo>
                  <a:lnTo>
                    <a:pt x="49" y="24"/>
                  </a:lnTo>
                  <a:lnTo>
                    <a:pt x="47" y="28"/>
                  </a:lnTo>
                  <a:lnTo>
                    <a:pt x="49" y="28"/>
                  </a:lnTo>
                  <a:lnTo>
                    <a:pt x="49" y="31"/>
                  </a:lnTo>
                  <a:lnTo>
                    <a:pt x="47" y="54"/>
                  </a:lnTo>
                  <a:lnTo>
                    <a:pt x="40" y="59"/>
                  </a:lnTo>
                  <a:lnTo>
                    <a:pt x="38" y="56"/>
                  </a:lnTo>
                  <a:lnTo>
                    <a:pt x="31" y="56"/>
                  </a:lnTo>
                  <a:lnTo>
                    <a:pt x="21" y="50"/>
                  </a:lnTo>
                  <a:lnTo>
                    <a:pt x="18" y="50"/>
                  </a:lnTo>
                  <a:lnTo>
                    <a:pt x="18" y="50"/>
                  </a:lnTo>
                  <a:lnTo>
                    <a:pt x="16" y="47"/>
                  </a:lnTo>
                  <a:lnTo>
                    <a:pt x="14" y="45"/>
                  </a:lnTo>
                  <a:lnTo>
                    <a:pt x="14" y="42"/>
                  </a:lnTo>
                  <a:lnTo>
                    <a:pt x="14" y="40"/>
                  </a:lnTo>
                  <a:lnTo>
                    <a:pt x="11" y="42"/>
                  </a:lnTo>
                  <a:lnTo>
                    <a:pt x="7" y="40"/>
                  </a:lnTo>
                  <a:lnTo>
                    <a:pt x="7" y="33"/>
                  </a:lnTo>
                  <a:lnTo>
                    <a:pt x="5" y="28"/>
                  </a:lnTo>
                  <a:lnTo>
                    <a:pt x="2" y="28"/>
                  </a:lnTo>
                  <a:lnTo>
                    <a:pt x="0" y="26"/>
                  </a:lnTo>
                  <a:lnTo>
                    <a:pt x="4" y="21"/>
                  </a:lnTo>
                  <a:lnTo>
                    <a:pt x="0" y="19"/>
                  </a:lnTo>
                  <a:lnTo>
                    <a:pt x="0" y="17"/>
                  </a:lnTo>
                  <a:lnTo>
                    <a:pt x="2" y="14"/>
                  </a:lnTo>
                  <a:lnTo>
                    <a:pt x="2" y="14"/>
                  </a:lnTo>
                  <a:lnTo>
                    <a:pt x="2" y="14"/>
                  </a:lnTo>
                  <a:lnTo>
                    <a:pt x="2"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5" name="Freeform 121">
              <a:extLst>
                <a:ext uri="{FF2B5EF4-FFF2-40B4-BE49-F238E27FC236}">
                  <a16:creationId xmlns:a16="http://schemas.microsoft.com/office/drawing/2014/main" id="{45E37632-699C-4988-80FD-5FBC6B6DB50F}"/>
                </a:ext>
              </a:extLst>
            </p:cNvPr>
            <p:cNvSpPr>
              <a:spLocks/>
            </p:cNvSpPr>
            <p:nvPr/>
          </p:nvSpPr>
          <p:spPr bwMode="auto">
            <a:xfrm>
              <a:off x="4230688" y="3971926"/>
              <a:ext cx="171450" cy="169863"/>
            </a:xfrm>
            <a:custGeom>
              <a:avLst/>
              <a:gdLst/>
              <a:ahLst/>
              <a:cxnLst>
                <a:cxn ang="0">
                  <a:pos x="19" y="102"/>
                </a:cxn>
                <a:cxn ang="0">
                  <a:pos x="19" y="97"/>
                </a:cxn>
                <a:cxn ang="0">
                  <a:pos x="19" y="92"/>
                </a:cxn>
                <a:cxn ang="0">
                  <a:pos x="19" y="87"/>
                </a:cxn>
                <a:cxn ang="0">
                  <a:pos x="23" y="81"/>
                </a:cxn>
                <a:cxn ang="0">
                  <a:pos x="18" y="81"/>
                </a:cxn>
                <a:cxn ang="0">
                  <a:pos x="14" y="76"/>
                </a:cxn>
                <a:cxn ang="0">
                  <a:pos x="9" y="74"/>
                </a:cxn>
                <a:cxn ang="0">
                  <a:pos x="4" y="74"/>
                </a:cxn>
                <a:cxn ang="0">
                  <a:pos x="0" y="71"/>
                </a:cxn>
                <a:cxn ang="0">
                  <a:pos x="6" y="62"/>
                </a:cxn>
                <a:cxn ang="0">
                  <a:pos x="6" y="57"/>
                </a:cxn>
                <a:cxn ang="0">
                  <a:pos x="14" y="45"/>
                </a:cxn>
                <a:cxn ang="0">
                  <a:pos x="13" y="41"/>
                </a:cxn>
                <a:cxn ang="0">
                  <a:pos x="9" y="36"/>
                </a:cxn>
                <a:cxn ang="0">
                  <a:pos x="14" y="34"/>
                </a:cxn>
                <a:cxn ang="0">
                  <a:pos x="13" y="31"/>
                </a:cxn>
                <a:cxn ang="0">
                  <a:pos x="11" y="22"/>
                </a:cxn>
                <a:cxn ang="0">
                  <a:pos x="11" y="14"/>
                </a:cxn>
                <a:cxn ang="0">
                  <a:pos x="9" y="8"/>
                </a:cxn>
                <a:cxn ang="0">
                  <a:pos x="23" y="1"/>
                </a:cxn>
                <a:cxn ang="0">
                  <a:pos x="28" y="5"/>
                </a:cxn>
                <a:cxn ang="0">
                  <a:pos x="37" y="3"/>
                </a:cxn>
                <a:cxn ang="0">
                  <a:pos x="44" y="0"/>
                </a:cxn>
                <a:cxn ang="0">
                  <a:pos x="47" y="3"/>
                </a:cxn>
                <a:cxn ang="0">
                  <a:pos x="54" y="7"/>
                </a:cxn>
                <a:cxn ang="0">
                  <a:pos x="59" y="0"/>
                </a:cxn>
                <a:cxn ang="0">
                  <a:pos x="70" y="7"/>
                </a:cxn>
                <a:cxn ang="0">
                  <a:pos x="75" y="8"/>
                </a:cxn>
                <a:cxn ang="0">
                  <a:pos x="82" y="10"/>
                </a:cxn>
                <a:cxn ang="0">
                  <a:pos x="89" y="14"/>
                </a:cxn>
                <a:cxn ang="0">
                  <a:pos x="96" y="10"/>
                </a:cxn>
                <a:cxn ang="0">
                  <a:pos x="101" y="14"/>
                </a:cxn>
                <a:cxn ang="0">
                  <a:pos x="105" y="15"/>
                </a:cxn>
                <a:cxn ang="0">
                  <a:pos x="105" y="24"/>
                </a:cxn>
                <a:cxn ang="0">
                  <a:pos x="108" y="31"/>
                </a:cxn>
                <a:cxn ang="0">
                  <a:pos x="108" y="36"/>
                </a:cxn>
                <a:cxn ang="0">
                  <a:pos x="103" y="41"/>
                </a:cxn>
                <a:cxn ang="0">
                  <a:pos x="98" y="53"/>
                </a:cxn>
                <a:cxn ang="0">
                  <a:pos x="96" y="59"/>
                </a:cxn>
                <a:cxn ang="0">
                  <a:pos x="96" y="69"/>
                </a:cxn>
                <a:cxn ang="0">
                  <a:pos x="94" y="73"/>
                </a:cxn>
                <a:cxn ang="0">
                  <a:pos x="98" y="81"/>
                </a:cxn>
                <a:cxn ang="0">
                  <a:pos x="103" y="85"/>
                </a:cxn>
                <a:cxn ang="0">
                  <a:pos x="105" y="93"/>
                </a:cxn>
                <a:cxn ang="0">
                  <a:pos x="98" y="93"/>
                </a:cxn>
                <a:cxn ang="0">
                  <a:pos x="94" y="90"/>
                </a:cxn>
                <a:cxn ang="0">
                  <a:pos x="92" y="95"/>
                </a:cxn>
                <a:cxn ang="0">
                  <a:pos x="75" y="95"/>
                </a:cxn>
                <a:cxn ang="0">
                  <a:pos x="46" y="95"/>
                </a:cxn>
                <a:cxn ang="0">
                  <a:pos x="33" y="102"/>
                </a:cxn>
                <a:cxn ang="0">
                  <a:pos x="28" y="102"/>
                </a:cxn>
                <a:cxn ang="0">
                  <a:pos x="19" y="107"/>
                </a:cxn>
                <a:cxn ang="0">
                  <a:pos x="19" y="107"/>
                </a:cxn>
              </a:cxnLst>
              <a:rect l="0" t="0" r="r" b="b"/>
              <a:pathLst>
                <a:path w="108" h="107">
                  <a:moveTo>
                    <a:pt x="19" y="107"/>
                  </a:moveTo>
                  <a:lnTo>
                    <a:pt x="19" y="102"/>
                  </a:lnTo>
                  <a:lnTo>
                    <a:pt x="19" y="102"/>
                  </a:lnTo>
                  <a:lnTo>
                    <a:pt x="19" y="97"/>
                  </a:lnTo>
                  <a:lnTo>
                    <a:pt x="19" y="95"/>
                  </a:lnTo>
                  <a:lnTo>
                    <a:pt x="19" y="92"/>
                  </a:lnTo>
                  <a:lnTo>
                    <a:pt x="19" y="88"/>
                  </a:lnTo>
                  <a:lnTo>
                    <a:pt x="19" y="87"/>
                  </a:lnTo>
                  <a:lnTo>
                    <a:pt x="23" y="85"/>
                  </a:lnTo>
                  <a:lnTo>
                    <a:pt x="23" y="81"/>
                  </a:lnTo>
                  <a:lnTo>
                    <a:pt x="19" y="81"/>
                  </a:lnTo>
                  <a:lnTo>
                    <a:pt x="18" y="81"/>
                  </a:lnTo>
                  <a:lnTo>
                    <a:pt x="16" y="78"/>
                  </a:lnTo>
                  <a:lnTo>
                    <a:pt x="14" y="76"/>
                  </a:lnTo>
                  <a:lnTo>
                    <a:pt x="11" y="76"/>
                  </a:lnTo>
                  <a:lnTo>
                    <a:pt x="9" y="74"/>
                  </a:lnTo>
                  <a:lnTo>
                    <a:pt x="6" y="74"/>
                  </a:lnTo>
                  <a:lnTo>
                    <a:pt x="4" y="74"/>
                  </a:lnTo>
                  <a:lnTo>
                    <a:pt x="2" y="74"/>
                  </a:lnTo>
                  <a:lnTo>
                    <a:pt x="0" y="71"/>
                  </a:lnTo>
                  <a:lnTo>
                    <a:pt x="4" y="67"/>
                  </a:lnTo>
                  <a:lnTo>
                    <a:pt x="6" y="62"/>
                  </a:lnTo>
                  <a:lnTo>
                    <a:pt x="6" y="59"/>
                  </a:lnTo>
                  <a:lnTo>
                    <a:pt x="6" y="57"/>
                  </a:lnTo>
                  <a:lnTo>
                    <a:pt x="9" y="55"/>
                  </a:lnTo>
                  <a:lnTo>
                    <a:pt x="14" y="45"/>
                  </a:lnTo>
                  <a:lnTo>
                    <a:pt x="14" y="41"/>
                  </a:lnTo>
                  <a:lnTo>
                    <a:pt x="13" y="41"/>
                  </a:lnTo>
                  <a:lnTo>
                    <a:pt x="9" y="38"/>
                  </a:lnTo>
                  <a:lnTo>
                    <a:pt x="9" y="36"/>
                  </a:lnTo>
                  <a:lnTo>
                    <a:pt x="13" y="34"/>
                  </a:lnTo>
                  <a:lnTo>
                    <a:pt x="14" y="34"/>
                  </a:lnTo>
                  <a:lnTo>
                    <a:pt x="16" y="33"/>
                  </a:lnTo>
                  <a:lnTo>
                    <a:pt x="13" y="31"/>
                  </a:lnTo>
                  <a:lnTo>
                    <a:pt x="11" y="27"/>
                  </a:lnTo>
                  <a:lnTo>
                    <a:pt x="11" y="22"/>
                  </a:lnTo>
                  <a:lnTo>
                    <a:pt x="11" y="19"/>
                  </a:lnTo>
                  <a:lnTo>
                    <a:pt x="11" y="14"/>
                  </a:lnTo>
                  <a:lnTo>
                    <a:pt x="9" y="10"/>
                  </a:lnTo>
                  <a:lnTo>
                    <a:pt x="9" y="8"/>
                  </a:lnTo>
                  <a:lnTo>
                    <a:pt x="16" y="7"/>
                  </a:lnTo>
                  <a:lnTo>
                    <a:pt x="23" y="1"/>
                  </a:lnTo>
                  <a:lnTo>
                    <a:pt x="23" y="1"/>
                  </a:lnTo>
                  <a:lnTo>
                    <a:pt x="28" y="5"/>
                  </a:lnTo>
                  <a:lnTo>
                    <a:pt x="35" y="5"/>
                  </a:lnTo>
                  <a:lnTo>
                    <a:pt x="37" y="3"/>
                  </a:lnTo>
                  <a:lnTo>
                    <a:pt x="37" y="1"/>
                  </a:lnTo>
                  <a:lnTo>
                    <a:pt x="44" y="0"/>
                  </a:lnTo>
                  <a:lnTo>
                    <a:pt x="47" y="1"/>
                  </a:lnTo>
                  <a:lnTo>
                    <a:pt x="47" y="3"/>
                  </a:lnTo>
                  <a:lnTo>
                    <a:pt x="47" y="5"/>
                  </a:lnTo>
                  <a:lnTo>
                    <a:pt x="54" y="7"/>
                  </a:lnTo>
                  <a:lnTo>
                    <a:pt x="56" y="1"/>
                  </a:lnTo>
                  <a:lnTo>
                    <a:pt x="59" y="0"/>
                  </a:lnTo>
                  <a:lnTo>
                    <a:pt x="65" y="3"/>
                  </a:lnTo>
                  <a:lnTo>
                    <a:pt x="70" y="7"/>
                  </a:lnTo>
                  <a:lnTo>
                    <a:pt x="73" y="7"/>
                  </a:lnTo>
                  <a:lnTo>
                    <a:pt x="75" y="8"/>
                  </a:lnTo>
                  <a:lnTo>
                    <a:pt x="79" y="8"/>
                  </a:lnTo>
                  <a:lnTo>
                    <a:pt x="82" y="10"/>
                  </a:lnTo>
                  <a:lnTo>
                    <a:pt x="84" y="14"/>
                  </a:lnTo>
                  <a:lnTo>
                    <a:pt x="89" y="14"/>
                  </a:lnTo>
                  <a:lnTo>
                    <a:pt x="92" y="14"/>
                  </a:lnTo>
                  <a:lnTo>
                    <a:pt x="96" y="10"/>
                  </a:lnTo>
                  <a:lnTo>
                    <a:pt x="98" y="14"/>
                  </a:lnTo>
                  <a:lnTo>
                    <a:pt x="101" y="14"/>
                  </a:lnTo>
                  <a:lnTo>
                    <a:pt x="105" y="14"/>
                  </a:lnTo>
                  <a:lnTo>
                    <a:pt x="105" y="15"/>
                  </a:lnTo>
                  <a:lnTo>
                    <a:pt x="103" y="20"/>
                  </a:lnTo>
                  <a:lnTo>
                    <a:pt x="105" y="24"/>
                  </a:lnTo>
                  <a:lnTo>
                    <a:pt x="105" y="27"/>
                  </a:lnTo>
                  <a:lnTo>
                    <a:pt x="108" y="31"/>
                  </a:lnTo>
                  <a:lnTo>
                    <a:pt x="108" y="33"/>
                  </a:lnTo>
                  <a:lnTo>
                    <a:pt x="108" y="36"/>
                  </a:lnTo>
                  <a:lnTo>
                    <a:pt x="108" y="41"/>
                  </a:lnTo>
                  <a:lnTo>
                    <a:pt x="103" y="41"/>
                  </a:lnTo>
                  <a:lnTo>
                    <a:pt x="98" y="50"/>
                  </a:lnTo>
                  <a:lnTo>
                    <a:pt x="98" y="53"/>
                  </a:lnTo>
                  <a:lnTo>
                    <a:pt x="96" y="57"/>
                  </a:lnTo>
                  <a:lnTo>
                    <a:pt x="96" y="59"/>
                  </a:lnTo>
                  <a:lnTo>
                    <a:pt x="94" y="62"/>
                  </a:lnTo>
                  <a:lnTo>
                    <a:pt x="96" y="69"/>
                  </a:lnTo>
                  <a:lnTo>
                    <a:pt x="94" y="71"/>
                  </a:lnTo>
                  <a:lnTo>
                    <a:pt x="94" y="73"/>
                  </a:lnTo>
                  <a:lnTo>
                    <a:pt x="96" y="74"/>
                  </a:lnTo>
                  <a:lnTo>
                    <a:pt x="98" y="81"/>
                  </a:lnTo>
                  <a:lnTo>
                    <a:pt x="101" y="85"/>
                  </a:lnTo>
                  <a:lnTo>
                    <a:pt x="103" y="85"/>
                  </a:lnTo>
                  <a:lnTo>
                    <a:pt x="105" y="88"/>
                  </a:lnTo>
                  <a:lnTo>
                    <a:pt x="105" y="93"/>
                  </a:lnTo>
                  <a:lnTo>
                    <a:pt x="101" y="93"/>
                  </a:lnTo>
                  <a:lnTo>
                    <a:pt x="98" y="93"/>
                  </a:lnTo>
                  <a:lnTo>
                    <a:pt x="98" y="95"/>
                  </a:lnTo>
                  <a:lnTo>
                    <a:pt x="94" y="90"/>
                  </a:lnTo>
                  <a:lnTo>
                    <a:pt x="92" y="92"/>
                  </a:lnTo>
                  <a:lnTo>
                    <a:pt x="92" y="95"/>
                  </a:lnTo>
                  <a:lnTo>
                    <a:pt x="84" y="92"/>
                  </a:lnTo>
                  <a:lnTo>
                    <a:pt x="75" y="95"/>
                  </a:lnTo>
                  <a:lnTo>
                    <a:pt x="52" y="95"/>
                  </a:lnTo>
                  <a:lnTo>
                    <a:pt x="46" y="95"/>
                  </a:lnTo>
                  <a:lnTo>
                    <a:pt x="46" y="97"/>
                  </a:lnTo>
                  <a:lnTo>
                    <a:pt x="33" y="102"/>
                  </a:lnTo>
                  <a:lnTo>
                    <a:pt x="32" y="102"/>
                  </a:lnTo>
                  <a:lnTo>
                    <a:pt x="28" y="102"/>
                  </a:lnTo>
                  <a:lnTo>
                    <a:pt x="23" y="107"/>
                  </a:lnTo>
                  <a:lnTo>
                    <a:pt x="19" y="107"/>
                  </a:lnTo>
                  <a:lnTo>
                    <a:pt x="19" y="107"/>
                  </a:lnTo>
                  <a:lnTo>
                    <a:pt x="19" y="10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6" name="Freeform 122">
              <a:extLst>
                <a:ext uri="{FF2B5EF4-FFF2-40B4-BE49-F238E27FC236}">
                  <a16:creationId xmlns:a16="http://schemas.microsoft.com/office/drawing/2014/main" id="{2EBA87F3-1EEB-43A0-8C13-F0534CC92521}"/>
                </a:ext>
              </a:extLst>
            </p:cNvPr>
            <p:cNvSpPr>
              <a:spLocks/>
            </p:cNvSpPr>
            <p:nvPr/>
          </p:nvSpPr>
          <p:spPr bwMode="auto">
            <a:xfrm>
              <a:off x="4376738" y="3957638"/>
              <a:ext cx="115888" cy="176213"/>
            </a:xfrm>
            <a:custGeom>
              <a:avLst/>
              <a:gdLst/>
              <a:ahLst/>
              <a:cxnLst>
                <a:cxn ang="0">
                  <a:pos x="4" y="106"/>
                </a:cxn>
                <a:cxn ang="0">
                  <a:pos x="13" y="106"/>
                </a:cxn>
                <a:cxn ang="0">
                  <a:pos x="9" y="97"/>
                </a:cxn>
                <a:cxn ang="0">
                  <a:pos x="4" y="92"/>
                </a:cxn>
                <a:cxn ang="0">
                  <a:pos x="0" y="83"/>
                </a:cxn>
                <a:cxn ang="0">
                  <a:pos x="4" y="82"/>
                </a:cxn>
                <a:cxn ang="0">
                  <a:pos x="4" y="71"/>
                </a:cxn>
                <a:cxn ang="0">
                  <a:pos x="4" y="64"/>
                </a:cxn>
                <a:cxn ang="0">
                  <a:pos x="9" y="52"/>
                </a:cxn>
                <a:cxn ang="0">
                  <a:pos x="14" y="47"/>
                </a:cxn>
                <a:cxn ang="0">
                  <a:pos x="14" y="40"/>
                </a:cxn>
                <a:cxn ang="0">
                  <a:pos x="13" y="33"/>
                </a:cxn>
                <a:cxn ang="0">
                  <a:pos x="13" y="24"/>
                </a:cxn>
                <a:cxn ang="0">
                  <a:pos x="9" y="14"/>
                </a:cxn>
                <a:cxn ang="0">
                  <a:pos x="7" y="7"/>
                </a:cxn>
                <a:cxn ang="0">
                  <a:pos x="13" y="2"/>
                </a:cxn>
                <a:cxn ang="0">
                  <a:pos x="27" y="2"/>
                </a:cxn>
                <a:cxn ang="0">
                  <a:pos x="42" y="0"/>
                </a:cxn>
                <a:cxn ang="0">
                  <a:pos x="51" y="0"/>
                </a:cxn>
                <a:cxn ang="0">
                  <a:pos x="53" y="3"/>
                </a:cxn>
                <a:cxn ang="0">
                  <a:pos x="54" y="9"/>
                </a:cxn>
                <a:cxn ang="0">
                  <a:pos x="61" y="14"/>
                </a:cxn>
                <a:cxn ang="0">
                  <a:pos x="63" y="19"/>
                </a:cxn>
                <a:cxn ang="0">
                  <a:pos x="65" y="28"/>
                </a:cxn>
                <a:cxn ang="0">
                  <a:pos x="65" y="35"/>
                </a:cxn>
                <a:cxn ang="0">
                  <a:pos x="65" y="40"/>
                </a:cxn>
                <a:cxn ang="0">
                  <a:pos x="68" y="45"/>
                </a:cxn>
                <a:cxn ang="0">
                  <a:pos x="68" y="50"/>
                </a:cxn>
                <a:cxn ang="0">
                  <a:pos x="68" y="59"/>
                </a:cxn>
                <a:cxn ang="0">
                  <a:pos x="65" y="71"/>
                </a:cxn>
                <a:cxn ang="0">
                  <a:pos x="65" y="78"/>
                </a:cxn>
                <a:cxn ang="0">
                  <a:pos x="68" y="87"/>
                </a:cxn>
                <a:cxn ang="0">
                  <a:pos x="72" y="89"/>
                </a:cxn>
                <a:cxn ang="0">
                  <a:pos x="65" y="94"/>
                </a:cxn>
                <a:cxn ang="0">
                  <a:pos x="46" y="106"/>
                </a:cxn>
                <a:cxn ang="0">
                  <a:pos x="21" y="111"/>
                </a:cxn>
                <a:cxn ang="0">
                  <a:pos x="4" y="109"/>
                </a:cxn>
                <a:cxn ang="0">
                  <a:pos x="4" y="106"/>
                </a:cxn>
              </a:cxnLst>
              <a:rect l="0" t="0" r="r" b="b"/>
              <a:pathLst>
                <a:path w="73" h="111">
                  <a:moveTo>
                    <a:pt x="4" y="106"/>
                  </a:moveTo>
                  <a:lnTo>
                    <a:pt x="4" y="106"/>
                  </a:lnTo>
                  <a:lnTo>
                    <a:pt x="9" y="106"/>
                  </a:lnTo>
                  <a:lnTo>
                    <a:pt x="13" y="106"/>
                  </a:lnTo>
                  <a:lnTo>
                    <a:pt x="13" y="101"/>
                  </a:lnTo>
                  <a:lnTo>
                    <a:pt x="9" y="97"/>
                  </a:lnTo>
                  <a:lnTo>
                    <a:pt x="7" y="96"/>
                  </a:lnTo>
                  <a:lnTo>
                    <a:pt x="4" y="92"/>
                  </a:lnTo>
                  <a:lnTo>
                    <a:pt x="4" y="87"/>
                  </a:lnTo>
                  <a:lnTo>
                    <a:pt x="0" y="83"/>
                  </a:lnTo>
                  <a:lnTo>
                    <a:pt x="0" y="83"/>
                  </a:lnTo>
                  <a:lnTo>
                    <a:pt x="4" y="82"/>
                  </a:lnTo>
                  <a:lnTo>
                    <a:pt x="0" y="73"/>
                  </a:lnTo>
                  <a:lnTo>
                    <a:pt x="4" y="71"/>
                  </a:lnTo>
                  <a:lnTo>
                    <a:pt x="4" y="68"/>
                  </a:lnTo>
                  <a:lnTo>
                    <a:pt x="4" y="64"/>
                  </a:lnTo>
                  <a:lnTo>
                    <a:pt x="4" y="61"/>
                  </a:lnTo>
                  <a:lnTo>
                    <a:pt x="9" y="52"/>
                  </a:lnTo>
                  <a:lnTo>
                    <a:pt x="14" y="50"/>
                  </a:lnTo>
                  <a:lnTo>
                    <a:pt x="14" y="47"/>
                  </a:lnTo>
                  <a:lnTo>
                    <a:pt x="14" y="43"/>
                  </a:lnTo>
                  <a:lnTo>
                    <a:pt x="14" y="40"/>
                  </a:lnTo>
                  <a:lnTo>
                    <a:pt x="13" y="36"/>
                  </a:lnTo>
                  <a:lnTo>
                    <a:pt x="13" y="33"/>
                  </a:lnTo>
                  <a:lnTo>
                    <a:pt x="9" y="29"/>
                  </a:lnTo>
                  <a:lnTo>
                    <a:pt x="13" y="24"/>
                  </a:lnTo>
                  <a:lnTo>
                    <a:pt x="13" y="19"/>
                  </a:lnTo>
                  <a:lnTo>
                    <a:pt x="9" y="14"/>
                  </a:lnTo>
                  <a:lnTo>
                    <a:pt x="7" y="12"/>
                  </a:lnTo>
                  <a:lnTo>
                    <a:pt x="7" y="7"/>
                  </a:lnTo>
                  <a:lnTo>
                    <a:pt x="7" y="2"/>
                  </a:lnTo>
                  <a:lnTo>
                    <a:pt x="13" y="2"/>
                  </a:lnTo>
                  <a:lnTo>
                    <a:pt x="25" y="2"/>
                  </a:lnTo>
                  <a:lnTo>
                    <a:pt x="27" y="2"/>
                  </a:lnTo>
                  <a:lnTo>
                    <a:pt x="37" y="2"/>
                  </a:lnTo>
                  <a:lnTo>
                    <a:pt x="42" y="0"/>
                  </a:lnTo>
                  <a:lnTo>
                    <a:pt x="46" y="0"/>
                  </a:lnTo>
                  <a:lnTo>
                    <a:pt x="51" y="0"/>
                  </a:lnTo>
                  <a:lnTo>
                    <a:pt x="51" y="0"/>
                  </a:lnTo>
                  <a:lnTo>
                    <a:pt x="53" y="3"/>
                  </a:lnTo>
                  <a:lnTo>
                    <a:pt x="54" y="5"/>
                  </a:lnTo>
                  <a:lnTo>
                    <a:pt x="54" y="9"/>
                  </a:lnTo>
                  <a:lnTo>
                    <a:pt x="60" y="12"/>
                  </a:lnTo>
                  <a:lnTo>
                    <a:pt x="61" y="14"/>
                  </a:lnTo>
                  <a:lnTo>
                    <a:pt x="65" y="17"/>
                  </a:lnTo>
                  <a:lnTo>
                    <a:pt x="63" y="19"/>
                  </a:lnTo>
                  <a:lnTo>
                    <a:pt x="63" y="28"/>
                  </a:lnTo>
                  <a:lnTo>
                    <a:pt x="65" y="28"/>
                  </a:lnTo>
                  <a:lnTo>
                    <a:pt x="65" y="28"/>
                  </a:lnTo>
                  <a:lnTo>
                    <a:pt x="65" y="35"/>
                  </a:lnTo>
                  <a:lnTo>
                    <a:pt x="65" y="36"/>
                  </a:lnTo>
                  <a:lnTo>
                    <a:pt x="65" y="40"/>
                  </a:lnTo>
                  <a:lnTo>
                    <a:pt x="65" y="42"/>
                  </a:lnTo>
                  <a:lnTo>
                    <a:pt x="68" y="45"/>
                  </a:lnTo>
                  <a:lnTo>
                    <a:pt x="65" y="47"/>
                  </a:lnTo>
                  <a:lnTo>
                    <a:pt x="68" y="50"/>
                  </a:lnTo>
                  <a:lnTo>
                    <a:pt x="65" y="56"/>
                  </a:lnTo>
                  <a:lnTo>
                    <a:pt x="68" y="59"/>
                  </a:lnTo>
                  <a:lnTo>
                    <a:pt x="68" y="68"/>
                  </a:lnTo>
                  <a:lnTo>
                    <a:pt x="65" y="71"/>
                  </a:lnTo>
                  <a:lnTo>
                    <a:pt x="65" y="73"/>
                  </a:lnTo>
                  <a:lnTo>
                    <a:pt x="65" y="78"/>
                  </a:lnTo>
                  <a:lnTo>
                    <a:pt x="65" y="83"/>
                  </a:lnTo>
                  <a:lnTo>
                    <a:pt x="68" y="87"/>
                  </a:lnTo>
                  <a:lnTo>
                    <a:pt x="70" y="87"/>
                  </a:lnTo>
                  <a:lnTo>
                    <a:pt x="72" y="89"/>
                  </a:lnTo>
                  <a:lnTo>
                    <a:pt x="73" y="92"/>
                  </a:lnTo>
                  <a:lnTo>
                    <a:pt x="65" y="94"/>
                  </a:lnTo>
                  <a:lnTo>
                    <a:pt x="56" y="97"/>
                  </a:lnTo>
                  <a:lnTo>
                    <a:pt x="46" y="106"/>
                  </a:lnTo>
                  <a:lnTo>
                    <a:pt x="37" y="106"/>
                  </a:lnTo>
                  <a:lnTo>
                    <a:pt x="21" y="111"/>
                  </a:lnTo>
                  <a:lnTo>
                    <a:pt x="14" y="109"/>
                  </a:lnTo>
                  <a:lnTo>
                    <a:pt x="4" y="109"/>
                  </a:lnTo>
                  <a:lnTo>
                    <a:pt x="4" y="106"/>
                  </a:lnTo>
                  <a:lnTo>
                    <a:pt x="4" y="106"/>
                  </a:lnTo>
                  <a:lnTo>
                    <a:pt x="4" y="10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7" name="Freeform 123">
              <a:extLst>
                <a:ext uri="{FF2B5EF4-FFF2-40B4-BE49-F238E27FC236}">
                  <a16:creationId xmlns:a16="http://schemas.microsoft.com/office/drawing/2014/main" id="{71D50006-AAD5-456D-81A6-DB4611ED51A7}"/>
                </a:ext>
              </a:extLst>
            </p:cNvPr>
            <p:cNvSpPr>
              <a:spLocks/>
            </p:cNvSpPr>
            <p:nvPr/>
          </p:nvSpPr>
          <p:spPr bwMode="auto">
            <a:xfrm>
              <a:off x="4454525" y="3957638"/>
              <a:ext cx="55563" cy="146050"/>
            </a:xfrm>
            <a:custGeom>
              <a:avLst/>
              <a:gdLst/>
              <a:ahLst/>
              <a:cxnLst>
                <a:cxn ang="0">
                  <a:pos x="21" y="3"/>
                </a:cxn>
                <a:cxn ang="0">
                  <a:pos x="4" y="0"/>
                </a:cxn>
                <a:cxn ang="0">
                  <a:pos x="0" y="0"/>
                </a:cxn>
                <a:cxn ang="0">
                  <a:pos x="4" y="3"/>
                </a:cxn>
                <a:cxn ang="0">
                  <a:pos x="4" y="5"/>
                </a:cxn>
                <a:cxn ang="0">
                  <a:pos x="4" y="9"/>
                </a:cxn>
                <a:cxn ang="0">
                  <a:pos x="9" y="12"/>
                </a:cxn>
                <a:cxn ang="0">
                  <a:pos x="11" y="14"/>
                </a:cxn>
                <a:cxn ang="0">
                  <a:pos x="14" y="17"/>
                </a:cxn>
                <a:cxn ang="0">
                  <a:pos x="12" y="19"/>
                </a:cxn>
                <a:cxn ang="0">
                  <a:pos x="12" y="28"/>
                </a:cxn>
                <a:cxn ang="0">
                  <a:pos x="14" y="28"/>
                </a:cxn>
                <a:cxn ang="0">
                  <a:pos x="14" y="28"/>
                </a:cxn>
                <a:cxn ang="0">
                  <a:pos x="14" y="35"/>
                </a:cxn>
                <a:cxn ang="0">
                  <a:pos x="14" y="36"/>
                </a:cxn>
                <a:cxn ang="0">
                  <a:pos x="14" y="40"/>
                </a:cxn>
                <a:cxn ang="0">
                  <a:pos x="14" y="42"/>
                </a:cxn>
                <a:cxn ang="0">
                  <a:pos x="17" y="45"/>
                </a:cxn>
                <a:cxn ang="0">
                  <a:pos x="14" y="47"/>
                </a:cxn>
                <a:cxn ang="0">
                  <a:pos x="17" y="50"/>
                </a:cxn>
                <a:cxn ang="0">
                  <a:pos x="14" y="54"/>
                </a:cxn>
                <a:cxn ang="0">
                  <a:pos x="17" y="59"/>
                </a:cxn>
                <a:cxn ang="0">
                  <a:pos x="17" y="68"/>
                </a:cxn>
                <a:cxn ang="0">
                  <a:pos x="14" y="69"/>
                </a:cxn>
                <a:cxn ang="0">
                  <a:pos x="14" y="73"/>
                </a:cxn>
                <a:cxn ang="0">
                  <a:pos x="14" y="78"/>
                </a:cxn>
                <a:cxn ang="0">
                  <a:pos x="14" y="82"/>
                </a:cxn>
                <a:cxn ang="0">
                  <a:pos x="17" y="87"/>
                </a:cxn>
                <a:cxn ang="0">
                  <a:pos x="19" y="87"/>
                </a:cxn>
                <a:cxn ang="0">
                  <a:pos x="21" y="89"/>
                </a:cxn>
                <a:cxn ang="0">
                  <a:pos x="23" y="92"/>
                </a:cxn>
                <a:cxn ang="0">
                  <a:pos x="23" y="92"/>
                </a:cxn>
                <a:cxn ang="0">
                  <a:pos x="33" y="85"/>
                </a:cxn>
                <a:cxn ang="0">
                  <a:pos x="35" y="85"/>
                </a:cxn>
                <a:cxn ang="0">
                  <a:pos x="35" y="82"/>
                </a:cxn>
                <a:cxn ang="0">
                  <a:pos x="33" y="78"/>
                </a:cxn>
                <a:cxn ang="0">
                  <a:pos x="33" y="75"/>
                </a:cxn>
                <a:cxn ang="0">
                  <a:pos x="31" y="69"/>
                </a:cxn>
                <a:cxn ang="0">
                  <a:pos x="33" y="50"/>
                </a:cxn>
                <a:cxn ang="0">
                  <a:pos x="33" y="47"/>
                </a:cxn>
                <a:cxn ang="0">
                  <a:pos x="35" y="45"/>
                </a:cxn>
                <a:cxn ang="0">
                  <a:pos x="35" y="40"/>
                </a:cxn>
                <a:cxn ang="0">
                  <a:pos x="33" y="38"/>
                </a:cxn>
                <a:cxn ang="0">
                  <a:pos x="33" y="33"/>
                </a:cxn>
                <a:cxn ang="0">
                  <a:pos x="31" y="24"/>
                </a:cxn>
                <a:cxn ang="0">
                  <a:pos x="28" y="17"/>
                </a:cxn>
                <a:cxn ang="0">
                  <a:pos x="26" y="16"/>
                </a:cxn>
                <a:cxn ang="0">
                  <a:pos x="26" y="14"/>
                </a:cxn>
                <a:cxn ang="0">
                  <a:pos x="21" y="10"/>
                </a:cxn>
                <a:cxn ang="0">
                  <a:pos x="19" y="5"/>
                </a:cxn>
                <a:cxn ang="0">
                  <a:pos x="21" y="3"/>
                </a:cxn>
                <a:cxn ang="0">
                  <a:pos x="21" y="3"/>
                </a:cxn>
                <a:cxn ang="0">
                  <a:pos x="21" y="3"/>
                </a:cxn>
              </a:cxnLst>
              <a:rect l="0" t="0" r="r" b="b"/>
              <a:pathLst>
                <a:path w="35" h="92">
                  <a:moveTo>
                    <a:pt x="21" y="3"/>
                  </a:moveTo>
                  <a:lnTo>
                    <a:pt x="4" y="0"/>
                  </a:lnTo>
                  <a:lnTo>
                    <a:pt x="0" y="0"/>
                  </a:lnTo>
                  <a:lnTo>
                    <a:pt x="4" y="3"/>
                  </a:lnTo>
                  <a:lnTo>
                    <a:pt x="4" y="5"/>
                  </a:lnTo>
                  <a:lnTo>
                    <a:pt x="4" y="9"/>
                  </a:lnTo>
                  <a:lnTo>
                    <a:pt x="9" y="12"/>
                  </a:lnTo>
                  <a:lnTo>
                    <a:pt x="11" y="14"/>
                  </a:lnTo>
                  <a:lnTo>
                    <a:pt x="14" y="17"/>
                  </a:lnTo>
                  <a:lnTo>
                    <a:pt x="12" y="19"/>
                  </a:lnTo>
                  <a:lnTo>
                    <a:pt x="12" y="28"/>
                  </a:lnTo>
                  <a:lnTo>
                    <a:pt x="14" y="28"/>
                  </a:lnTo>
                  <a:lnTo>
                    <a:pt x="14" y="28"/>
                  </a:lnTo>
                  <a:lnTo>
                    <a:pt x="14" y="35"/>
                  </a:lnTo>
                  <a:lnTo>
                    <a:pt x="14" y="36"/>
                  </a:lnTo>
                  <a:lnTo>
                    <a:pt x="14" y="40"/>
                  </a:lnTo>
                  <a:lnTo>
                    <a:pt x="14" y="42"/>
                  </a:lnTo>
                  <a:lnTo>
                    <a:pt x="17" y="45"/>
                  </a:lnTo>
                  <a:lnTo>
                    <a:pt x="14" y="47"/>
                  </a:lnTo>
                  <a:lnTo>
                    <a:pt x="17" y="50"/>
                  </a:lnTo>
                  <a:lnTo>
                    <a:pt x="14" y="54"/>
                  </a:lnTo>
                  <a:lnTo>
                    <a:pt x="17" y="59"/>
                  </a:lnTo>
                  <a:lnTo>
                    <a:pt x="17" y="68"/>
                  </a:lnTo>
                  <a:lnTo>
                    <a:pt x="14" y="69"/>
                  </a:lnTo>
                  <a:lnTo>
                    <a:pt x="14" y="73"/>
                  </a:lnTo>
                  <a:lnTo>
                    <a:pt x="14" y="78"/>
                  </a:lnTo>
                  <a:lnTo>
                    <a:pt x="14" y="82"/>
                  </a:lnTo>
                  <a:lnTo>
                    <a:pt x="17" y="87"/>
                  </a:lnTo>
                  <a:lnTo>
                    <a:pt x="19" y="87"/>
                  </a:lnTo>
                  <a:lnTo>
                    <a:pt x="21" y="89"/>
                  </a:lnTo>
                  <a:lnTo>
                    <a:pt x="23" y="92"/>
                  </a:lnTo>
                  <a:lnTo>
                    <a:pt x="23" y="92"/>
                  </a:lnTo>
                  <a:lnTo>
                    <a:pt x="33" y="85"/>
                  </a:lnTo>
                  <a:lnTo>
                    <a:pt x="35" y="85"/>
                  </a:lnTo>
                  <a:lnTo>
                    <a:pt x="35" y="82"/>
                  </a:lnTo>
                  <a:lnTo>
                    <a:pt x="33" y="78"/>
                  </a:lnTo>
                  <a:lnTo>
                    <a:pt x="33" y="75"/>
                  </a:lnTo>
                  <a:lnTo>
                    <a:pt x="31" y="69"/>
                  </a:lnTo>
                  <a:lnTo>
                    <a:pt x="33" y="50"/>
                  </a:lnTo>
                  <a:lnTo>
                    <a:pt x="33" y="47"/>
                  </a:lnTo>
                  <a:lnTo>
                    <a:pt x="35" y="45"/>
                  </a:lnTo>
                  <a:lnTo>
                    <a:pt x="35" y="40"/>
                  </a:lnTo>
                  <a:lnTo>
                    <a:pt x="33" y="38"/>
                  </a:lnTo>
                  <a:lnTo>
                    <a:pt x="33" y="33"/>
                  </a:lnTo>
                  <a:lnTo>
                    <a:pt x="31" y="24"/>
                  </a:lnTo>
                  <a:lnTo>
                    <a:pt x="28" y="17"/>
                  </a:lnTo>
                  <a:lnTo>
                    <a:pt x="26" y="16"/>
                  </a:lnTo>
                  <a:lnTo>
                    <a:pt x="26" y="14"/>
                  </a:lnTo>
                  <a:lnTo>
                    <a:pt x="21" y="10"/>
                  </a:lnTo>
                  <a:lnTo>
                    <a:pt x="19" y="5"/>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8" name="Freeform 124">
              <a:extLst>
                <a:ext uri="{FF2B5EF4-FFF2-40B4-BE49-F238E27FC236}">
                  <a16:creationId xmlns:a16="http://schemas.microsoft.com/office/drawing/2014/main" id="{DF54DB89-6CD1-4BCB-9C24-732181C626AC}"/>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9" name="Freeform 125">
              <a:extLst>
                <a:ext uri="{FF2B5EF4-FFF2-40B4-BE49-F238E27FC236}">
                  <a16:creationId xmlns:a16="http://schemas.microsoft.com/office/drawing/2014/main" id="{A00E75B4-B21E-4E5B-8664-E6453F1115A0}"/>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0" name="Freeform 126">
              <a:extLst>
                <a:ext uri="{FF2B5EF4-FFF2-40B4-BE49-F238E27FC236}">
                  <a16:creationId xmlns:a16="http://schemas.microsoft.com/office/drawing/2014/main" id="{B17D0C33-4030-43ED-A779-21669414D987}"/>
                </a:ext>
              </a:extLst>
            </p:cNvPr>
            <p:cNvSpPr>
              <a:spLocks noEditPoints="1"/>
            </p:cNvSpPr>
            <p:nvPr/>
          </p:nvSpPr>
          <p:spPr bwMode="auto">
            <a:xfrm>
              <a:off x="4787900" y="3606801"/>
              <a:ext cx="317500" cy="458788"/>
            </a:xfrm>
            <a:custGeom>
              <a:avLst/>
              <a:gdLst/>
              <a:ahLst/>
              <a:cxnLst>
                <a:cxn ang="0">
                  <a:pos x="197" y="71"/>
                </a:cxn>
                <a:cxn ang="0">
                  <a:pos x="193" y="143"/>
                </a:cxn>
                <a:cxn ang="0">
                  <a:pos x="183" y="143"/>
                </a:cxn>
                <a:cxn ang="0">
                  <a:pos x="183" y="153"/>
                </a:cxn>
                <a:cxn ang="0">
                  <a:pos x="172" y="165"/>
                </a:cxn>
                <a:cxn ang="0">
                  <a:pos x="172" y="174"/>
                </a:cxn>
                <a:cxn ang="0">
                  <a:pos x="171" y="179"/>
                </a:cxn>
                <a:cxn ang="0">
                  <a:pos x="165" y="191"/>
                </a:cxn>
                <a:cxn ang="0">
                  <a:pos x="171" y="195"/>
                </a:cxn>
                <a:cxn ang="0">
                  <a:pos x="171" y="198"/>
                </a:cxn>
                <a:cxn ang="0">
                  <a:pos x="174" y="204"/>
                </a:cxn>
                <a:cxn ang="0">
                  <a:pos x="181" y="214"/>
                </a:cxn>
                <a:cxn ang="0">
                  <a:pos x="181" y="223"/>
                </a:cxn>
                <a:cxn ang="0">
                  <a:pos x="172" y="224"/>
                </a:cxn>
                <a:cxn ang="0">
                  <a:pos x="162" y="230"/>
                </a:cxn>
                <a:cxn ang="0">
                  <a:pos x="160" y="235"/>
                </a:cxn>
                <a:cxn ang="0">
                  <a:pos x="153" y="238"/>
                </a:cxn>
                <a:cxn ang="0">
                  <a:pos x="148" y="245"/>
                </a:cxn>
                <a:cxn ang="0">
                  <a:pos x="148" y="254"/>
                </a:cxn>
                <a:cxn ang="0">
                  <a:pos x="136" y="259"/>
                </a:cxn>
                <a:cxn ang="0">
                  <a:pos x="124" y="259"/>
                </a:cxn>
                <a:cxn ang="0">
                  <a:pos x="115" y="259"/>
                </a:cxn>
                <a:cxn ang="0">
                  <a:pos x="119" y="266"/>
                </a:cxn>
                <a:cxn ang="0">
                  <a:pos x="113" y="273"/>
                </a:cxn>
                <a:cxn ang="0">
                  <a:pos x="92" y="278"/>
                </a:cxn>
                <a:cxn ang="0">
                  <a:pos x="82" y="285"/>
                </a:cxn>
                <a:cxn ang="0">
                  <a:pos x="77" y="278"/>
                </a:cxn>
                <a:cxn ang="0">
                  <a:pos x="72" y="287"/>
                </a:cxn>
                <a:cxn ang="0">
                  <a:pos x="61" y="289"/>
                </a:cxn>
                <a:cxn ang="0">
                  <a:pos x="59" y="280"/>
                </a:cxn>
                <a:cxn ang="0">
                  <a:pos x="51" y="268"/>
                </a:cxn>
                <a:cxn ang="0">
                  <a:pos x="37" y="254"/>
                </a:cxn>
                <a:cxn ang="0">
                  <a:pos x="33" y="250"/>
                </a:cxn>
                <a:cxn ang="0">
                  <a:pos x="33" y="242"/>
                </a:cxn>
                <a:cxn ang="0">
                  <a:pos x="40" y="242"/>
                </a:cxn>
                <a:cxn ang="0">
                  <a:pos x="49" y="242"/>
                </a:cxn>
                <a:cxn ang="0">
                  <a:pos x="56" y="244"/>
                </a:cxn>
                <a:cxn ang="0">
                  <a:pos x="54" y="238"/>
                </a:cxn>
                <a:cxn ang="0">
                  <a:pos x="46" y="230"/>
                </a:cxn>
                <a:cxn ang="0">
                  <a:pos x="49" y="219"/>
                </a:cxn>
                <a:cxn ang="0">
                  <a:pos x="49" y="214"/>
                </a:cxn>
                <a:cxn ang="0">
                  <a:pos x="46" y="202"/>
                </a:cxn>
                <a:cxn ang="0">
                  <a:pos x="39" y="193"/>
                </a:cxn>
                <a:cxn ang="0">
                  <a:pos x="28" y="184"/>
                </a:cxn>
                <a:cxn ang="0">
                  <a:pos x="21" y="157"/>
                </a:cxn>
                <a:cxn ang="0">
                  <a:pos x="25" y="153"/>
                </a:cxn>
                <a:cxn ang="0">
                  <a:pos x="54" y="97"/>
                </a:cxn>
                <a:cxn ang="0">
                  <a:pos x="59" y="56"/>
                </a:cxn>
                <a:cxn ang="0">
                  <a:pos x="51" y="35"/>
                </a:cxn>
                <a:cxn ang="0">
                  <a:pos x="40" y="9"/>
                </a:cxn>
                <a:cxn ang="0">
                  <a:pos x="6" y="186"/>
                </a:cxn>
                <a:cxn ang="0">
                  <a:pos x="0" y="188"/>
                </a:cxn>
                <a:cxn ang="0">
                  <a:pos x="6" y="186"/>
                </a:cxn>
              </a:cxnLst>
              <a:rect l="0" t="0" r="r" b="b"/>
              <a:pathLst>
                <a:path w="200" h="289">
                  <a:moveTo>
                    <a:pt x="40" y="9"/>
                  </a:moveTo>
                  <a:lnTo>
                    <a:pt x="59" y="0"/>
                  </a:lnTo>
                  <a:lnTo>
                    <a:pt x="197" y="71"/>
                  </a:lnTo>
                  <a:lnTo>
                    <a:pt x="200" y="139"/>
                  </a:lnTo>
                  <a:lnTo>
                    <a:pt x="197" y="139"/>
                  </a:lnTo>
                  <a:lnTo>
                    <a:pt x="193" y="143"/>
                  </a:lnTo>
                  <a:lnTo>
                    <a:pt x="191" y="139"/>
                  </a:lnTo>
                  <a:lnTo>
                    <a:pt x="186" y="139"/>
                  </a:lnTo>
                  <a:lnTo>
                    <a:pt x="183" y="143"/>
                  </a:lnTo>
                  <a:lnTo>
                    <a:pt x="183" y="148"/>
                  </a:lnTo>
                  <a:lnTo>
                    <a:pt x="185" y="151"/>
                  </a:lnTo>
                  <a:lnTo>
                    <a:pt x="183" y="153"/>
                  </a:lnTo>
                  <a:lnTo>
                    <a:pt x="178" y="162"/>
                  </a:lnTo>
                  <a:lnTo>
                    <a:pt x="174" y="162"/>
                  </a:lnTo>
                  <a:lnTo>
                    <a:pt x="172" y="165"/>
                  </a:lnTo>
                  <a:lnTo>
                    <a:pt x="172" y="167"/>
                  </a:lnTo>
                  <a:lnTo>
                    <a:pt x="174" y="167"/>
                  </a:lnTo>
                  <a:lnTo>
                    <a:pt x="172" y="174"/>
                  </a:lnTo>
                  <a:lnTo>
                    <a:pt x="169" y="174"/>
                  </a:lnTo>
                  <a:lnTo>
                    <a:pt x="169" y="176"/>
                  </a:lnTo>
                  <a:lnTo>
                    <a:pt x="171" y="179"/>
                  </a:lnTo>
                  <a:lnTo>
                    <a:pt x="171" y="181"/>
                  </a:lnTo>
                  <a:lnTo>
                    <a:pt x="169" y="184"/>
                  </a:lnTo>
                  <a:lnTo>
                    <a:pt x="165" y="191"/>
                  </a:lnTo>
                  <a:lnTo>
                    <a:pt x="165" y="195"/>
                  </a:lnTo>
                  <a:lnTo>
                    <a:pt x="165" y="197"/>
                  </a:lnTo>
                  <a:lnTo>
                    <a:pt x="171" y="195"/>
                  </a:lnTo>
                  <a:lnTo>
                    <a:pt x="172" y="195"/>
                  </a:lnTo>
                  <a:lnTo>
                    <a:pt x="172" y="197"/>
                  </a:lnTo>
                  <a:lnTo>
                    <a:pt x="171" y="198"/>
                  </a:lnTo>
                  <a:lnTo>
                    <a:pt x="172" y="198"/>
                  </a:lnTo>
                  <a:lnTo>
                    <a:pt x="172" y="202"/>
                  </a:lnTo>
                  <a:lnTo>
                    <a:pt x="174" y="204"/>
                  </a:lnTo>
                  <a:lnTo>
                    <a:pt x="174" y="209"/>
                  </a:lnTo>
                  <a:lnTo>
                    <a:pt x="174" y="212"/>
                  </a:lnTo>
                  <a:lnTo>
                    <a:pt x="181" y="214"/>
                  </a:lnTo>
                  <a:lnTo>
                    <a:pt x="183" y="217"/>
                  </a:lnTo>
                  <a:lnTo>
                    <a:pt x="181" y="219"/>
                  </a:lnTo>
                  <a:lnTo>
                    <a:pt x="181" y="223"/>
                  </a:lnTo>
                  <a:lnTo>
                    <a:pt x="179" y="224"/>
                  </a:lnTo>
                  <a:lnTo>
                    <a:pt x="178" y="226"/>
                  </a:lnTo>
                  <a:lnTo>
                    <a:pt x="172" y="224"/>
                  </a:lnTo>
                  <a:lnTo>
                    <a:pt x="169" y="224"/>
                  </a:lnTo>
                  <a:lnTo>
                    <a:pt x="165" y="226"/>
                  </a:lnTo>
                  <a:lnTo>
                    <a:pt x="162" y="230"/>
                  </a:lnTo>
                  <a:lnTo>
                    <a:pt x="162" y="231"/>
                  </a:lnTo>
                  <a:lnTo>
                    <a:pt x="162" y="235"/>
                  </a:lnTo>
                  <a:lnTo>
                    <a:pt x="160" y="235"/>
                  </a:lnTo>
                  <a:lnTo>
                    <a:pt x="157" y="240"/>
                  </a:lnTo>
                  <a:lnTo>
                    <a:pt x="155" y="240"/>
                  </a:lnTo>
                  <a:lnTo>
                    <a:pt x="153" y="238"/>
                  </a:lnTo>
                  <a:lnTo>
                    <a:pt x="152" y="242"/>
                  </a:lnTo>
                  <a:lnTo>
                    <a:pt x="152" y="244"/>
                  </a:lnTo>
                  <a:lnTo>
                    <a:pt x="148" y="245"/>
                  </a:lnTo>
                  <a:lnTo>
                    <a:pt x="148" y="249"/>
                  </a:lnTo>
                  <a:lnTo>
                    <a:pt x="148" y="252"/>
                  </a:lnTo>
                  <a:lnTo>
                    <a:pt x="148" y="254"/>
                  </a:lnTo>
                  <a:lnTo>
                    <a:pt x="146" y="254"/>
                  </a:lnTo>
                  <a:lnTo>
                    <a:pt x="141" y="259"/>
                  </a:lnTo>
                  <a:lnTo>
                    <a:pt x="136" y="259"/>
                  </a:lnTo>
                  <a:lnTo>
                    <a:pt x="131" y="261"/>
                  </a:lnTo>
                  <a:lnTo>
                    <a:pt x="125" y="259"/>
                  </a:lnTo>
                  <a:lnTo>
                    <a:pt x="124" y="259"/>
                  </a:lnTo>
                  <a:lnTo>
                    <a:pt x="119" y="259"/>
                  </a:lnTo>
                  <a:lnTo>
                    <a:pt x="119" y="257"/>
                  </a:lnTo>
                  <a:lnTo>
                    <a:pt x="115" y="259"/>
                  </a:lnTo>
                  <a:lnTo>
                    <a:pt x="115" y="263"/>
                  </a:lnTo>
                  <a:lnTo>
                    <a:pt x="119" y="266"/>
                  </a:lnTo>
                  <a:lnTo>
                    <a:pt x="119" y="266"/>
                  </a:lnTo>
                  <a:lnTo>
                    <a:pt x="119" y="268"/>
                  </a:lnTo>
                  <a:lnTo>
                    <a:pt x="115" y="271"/>
                  </a:lnTo>
                  <a:lnTo>
                    <a:pt x="113" y="273"/>
                  </a:lnTo>
                  <a:lnTo>
                    <a:pt x="106" y="273"/>
                  </a:lnTo>
                  <a:lnTo>
                    <a:pt x="98" y="277"/>
                  </a:lnTo>
                  <a:lnTo>
                    <a:pt x="92" y="278"/>
                  </a:lnTo>
                  <a:lnTo>
                    <a:pt x="87" y="282"/>
                  </a:lnTo>
                  <a:lnTo>
                    <a:pt x="84" y="285"/>
                  </a:lnTo>
                  <a:lnTo>
                    <a:pt x="82" y="285"/>
                  </a:lnTo>
                  <a:lnTo>
                    <a:pt x="79" y="283"/>
                  </a:lnTo>
                  <a:lnTo>
                    <a:pt x="79" y="280"/>
                  </a:lnTo>
                  <a:lnTo>
                    <a:pt x="77" y="278"/>
                  </a:lnTo>
                  <a:lnTo>
                    <a:pt x="75" y="280"/>
                  </a:lnTo>
                  <a:lnTo>
                    <a:pt x="75" y="283"/>
                  </a:lnTo>
                  <a:lnTo>
                    <a:pt x="72" y="287"/>
                  </a:lnTo>
                  <a:lnTo>
                    <a:pt x="68" y="287"/>
                  </a:lnTo>
                  <a:lnTo>
                    <a:pt x="65" y="289"/>
                  </a:lnTo>
                  <a:lnTo>
                    <a:pt x="61" y="289"/>
                  </a:lnTo>
                  <a:lnTo>
                    <a:pt x="61" y="285"/>
                  </a:lnTo>
                  <a:lnTo>
                    <a:pt x="59" y="282"/>
                  </a:lnTo>
                  <a:lnTo>
                    <a:pt x="59" y="280"/>
                  </a:lnTo>
                  <a:lnTo>
                    <a:pt x="56" y="275"/>
                  </a:lnTo>
                  <a:lnTo>
                    <a:pt x="54" y="270"/>
                  </a:lnTo>
                  <a:lnTo>
                    <a:pt x="51" y="268"/>
                  </a:lnTo>
                  <a:lnTo>
                    <a:pt x="46" y="263"/>
                  </a:lnTo>
                  <a:lnTo>
                    <a:pt x="39" y="254"/>
                  </a:lnTo>
                  <a:lnTo>
                    <a:pt x="37" y="254"/>
                  </a:lnTo>
                  <a:lnTo>
                    <a:pt x="37" y="254"/>
                  </a:lnTo>
                  <a:lnTo>
                    <a:pt x="33" y="252"/>
                  </a:lnTo>
                  <a:lnTo>
                    <a:pt x="33" y="250"/>
                  </a:lnTo>
                  <a:lnTo>
                    <a:pt x="33" y="247"/>
                  </a:lnTo>
                  <a:lnTo>
                    <a:pt x="33" y="245"/>
                  </a:lnTo>
                  <a:lnTo>
                    <a:pt x="33" y="242"/>
                  </a:lnTo>
                  <a:lnTo>
                    <a:pt x="37" y="242"/>
                  </a:lnTo>
                  <a:lnTo>
                    <a:pt x="39" y="242"/>
                  </a:lnTo>
                  <a:lnTo>
                    <a:pt x="40" y="242"/>
                  </a:lnTo>
                  <a:lnTo>
                    <a:pt x="44" y="242"/>
                  </a:lnTo>
                  <a:lnTo>
                    <a:pt x="47" y="242"/>
                  </a:lnTo>
                  <a:lnTo>
                    <a:pt x="49" y="242"/>
                  </a:lnTo>
                  <a:lnTo>
                    <a:pt x="52" y="242"/>
                  </a:lnTo>
                  <a:lnTo>
                    <a:pt x="56" y="244"/>
                  </a:lnTo>
                  <a:lnTo>
                    <a:pt x="56" y="244"/>
                  </a:lnTo>
                  <a:lnTo>
                    <a:pt x="59" y="242"/>
                  </a:lnTo>
                  <a:lnTo>
                    <a:pt x="56" y="242"/>
                  </a:lnTo>
                  <a:lnTo>
                    <a:pt x="54" y="238"/>
                  </a:lnTo>
                  <a:lnTo>
                    <a:pt x="52" y="235"/>
                  </a:lnTo>
                  <a:lnTo>
                    <a:pt x="49" y="235"/>
                  </a:lnTo>
                  <a:lnTo>
                    <a:pt x="46" y="230"/>
                  </a:lnTo>
                  <a:lnTo>
                    <a:pt x="46" y="226"/>
                  </a:lnTo>
                  <a:lnTo>
                    <a:pt x="49" y="224"/>
                  </a:lnTo>
                  <a:lnTo>
                    <a:pt x="49" y="219"/>
                  </a:lnTo>
                  <a:lnTo>
                    <a:pt x="47" y="217"/>
                  </a:lnTo>
                  <a:lnTo>
                    <a:pt x="47" y="216"/>
                  </a:lnTo>
                  <a:lnTo>
                    <a:pt x="49" y="214"/>
                  </a:lnTo>
                  <a:lnTo>
                    <a:pt x="49" y="210"/>
                  </a:lnTo>
                  <a:lnTo>
                    <a:pt x="47" y="207"/>
                  </a:lnTo>
                  <a:lnTo>
                    <a:pt x="46" y="202"/>
                  </a:lnTo>
                  <a:lnTo>
                    <a:pt x="44" y="202"/>
                  </a:lnTo>
                  <a:lnTo>
                    <a:pt x="44" y="197"/>
                  </a:lnTo>
                  <a:lnTo>
                    <a:pt x="39" y="193"/>
                  </a:lnTo>
                  <a:lnTo>
                    <a:pt x="32" y="190"/>
                  </a:lnTo>
                  <a:lnTo>
                    <a:pt x="32" y="188"/>
                  </a:lnTo>
                  <a:lnTo>
                    <a:pt x="28" y="184"/>
                  </a:lnTo>
                  <a:lnTo>
                    <a:pt x="25" y="179"/>
                  </a:lnTo>
                  <a:lnTo>
                    <a:pt x="21" y="179"/>
                  </a:lnTo>
                  <a:lnTo>
                    <a:pt x="21" y="157"/>
                  </a:lnTo>
                  <a:lnTo>
                    <a:pt x="21" y="153"/>
                  </a:lnTo>
                  <a:lnTo>
                    <a:pt x="23" y="153"/>
                  </a:lnTo>
                  <a:lnTo>
                    <a:pt x="25" y="153"/>
                  </a:lnTo>
                  <a:lnTo>
                    <a:pt x="26" y="151"/>
                  </a:lnTo>
                  <a:lnTo>
                    <a:pt x="54" y="122"/>
                  </a:lnTo>
                  <a:lnTo>
                    <a:pt x="54" y="97"/>
                  </a:lnTo>
                  <a:lnTo>
                    <a:pt x="59" y="64"/>
                  </a:lnTo>
                  <a:lnTo>
                    <a:pt x="59" y="61"/>
                  </a:lnTo>
                  <a:lnTo>
                    <a:pt x="59" y="56"/>
                  </a:lnTo>
                  <a:lnTo>
                    <a:pt x="49" y="42"/>
                  </a:lnTo>
                  <a:lnTo>
                    <a:pt x="51" y="40"/>
                  </a:lnTo>
                  <a:lnTo>
                    <a:pt x="51" y="35"/>
                  </a:lnTo>
                  <a:lnTo>
                    <a:pt x="42" y="12"/>
                  </a:lnTo>
                  <a:lnTo>
                    <a:pt x="40" y="9"/>
                  </a:lnTo>
                  <a:lnTo>
                    <a:pt x="40" y="9"/>
                  </a:lnTo>
                  <a:lnTo>
                    <a:pt x="40" y="9"/>
                  </a:lnTo>
                  <a:lnTo>
                    <a:pt x="40" y="9"/>
                  </a:lnTo>
                  <a:close/>
                  <a:moveTo>
                    <a:pt x="6" y="186"/>
                  </a:moveTo>
                  <a:lnTo>
                    <a:pt x="2" y="190"/>
                  </a:lnTo>
                  <a:lnTo>
                    <a:pt x="2" y="190"/>
                  </a:lnTo>
                  <a:lnTo>
                    <a:pt x="0" y="188"/>
                  </a:lnTo>
                  <a:lnTo>
                    <a:pt x="6" y="186"/>
                  </a:lnTo>
                  <a:lnTo>
                    <a:pt x="6" y="186"/>
                  </a:lnTo>
                  <a:lnTo>
                    <a:pt x="6" y="18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1" name="Freeform 127">
              <a:extLst>
                <a:ext uri="{FF2B5EF4-FFF2-40B4-BE49-F238E27FC236}">
                  <a16:creationId xmlns:a16="http://schemas.microsoft.com/office/drawing/2014/main" id="{D6172FF4-2623-492C-80D9-F2D6FD9F993E}"/>
                </a:ext>
              </a:extLst>
            </p:cNvPr>
            <p:cNvSpPr>
              <a:spLocks/>
            </p:cNvSpPr>
            <p:nvPr/>
          </p:nvSpPr>
          <p:spPr bwMode="auto">
            <a:xfrm>
              <a:off x="4471988" y="3614738"/>
              <a:ext cx="407988" cy="317500"/>
            </a:xfrm>
            <a:custGeom>
              <a:avLst/>
              <a:gdLst/>
              <a:ahLst/>
              <a:cxnLst>
                <a:cxn ang="0">
                  <a:pos x="53" y="195"/>
                </a:cxn>
                <a:cxn ang="0">
                  <a:pos x="46" y="192"/>
                </a:cxn>
                <a:cxn ang="0">
                  <a:pos x="41" y="190"/>
                </a:cxn>
                <a:cxn ang="0">
                  <a:pos x="38" y="193"/>
                </a:cxn>
                <a:cxn ang="0">
                  <a:pos x="31" y="188"/>
                </a:cxn>
                <a:cxn ang="0">
                  <a:pos x="33" y="185"/>
                </a:cxn>
                <a:cxn ang="0">
                  <a:pos x="31" y="178"/>
                </a:cxn>
                <a:cxn ang="0">
                  <a:pos x="22" y="181"/>
                </a:cxn>
                <a:cxn ang="0">
                  <a:pos x="15" y="171"/>
                </a:cxn>
                <a:cxn ang="0">
                  <a:pos x="0" y="155"/>
                </a:cxn>
                <a:cxn ang="0">
                  <a:pos x="1" y="148"/>
                </a:cxn>
                <a:cxn ang="0">
                  <a:pos x="6" y="146"/>
                </a:cxn>
                <a:cxn ang="0">
                  <a:pos x="24" y="145"/>
                </a:cxn>
                <a:cxn ang="0">
                  <a:pos x="36" y="143"/>
                </a:cxn>
                <a:cxn ang="0">
                  <a:pos x="43" y="139"/>
                </a:cxn>
                <a:cxn ang="0">
                  <a:pos x="53" y="136"/>
                </a:cxn>
                <a:cxn ang="0">
                  <a:pos x="62" y="127"/>
                </a:cxn>
                <a:cxn ang="0">
                  <a:pos x="66" y="120"/>
                </a:cxn>
                <a:cxn ang="0">
                  <a:pos x="69" y="73"/>
                </a:cxn>
                <a:cxn ang="0">
                  <a:pos x="114" y="47"/>
                </a:cxn>
                <a:cxn ang="0">
                  <a:pos x="220" y="6"/>
                </a:cxn>
                <a:cxn ang="0">
                  <a:pos x="238" y="4"/>
                </a:cxn>
                <a:cxn ang="0">
                  <a:pos x="248" y="28"/>
                </a:cxn>
                <a:cxn ang="0">
                  <a:pos x="246" y="37"/>
                </a:cxn>
                <a:cxn ang="0">
                  <a:pos x="257" y="56"/>
                </a:cxn>
                <a:cxn ang="0">
                  <a:pos x="251" y="91"/>
                </a:cxn>
                <a:cxn ang="0">
                  <a:pos x="224" y="145"/>
                </a:cxn>
                <a:cxn ang="0">
                  <a:pos x="220" y="146"/>
                </a:cxn>
                <a:cxn ang="0">
                  <a:pos x="218" y="150"/>
                </a:cxn>
                <a:cxn ang="0">
                  <a:pos x="217" y="169"/>
                </a:cxn>
                <a:cxn ang="0">
                  <a:pos x="213" y="172"/>
                </a:cxn>
                <a:cxn ang="0">
                  <a:pos x="208" y="172"/>
                </a:cxn>
                <a:cxn ang="0">
                  <a:pos x="206" y="176"/>
                </a:cxn>
                <a:cxn ang="0">
                  <a:pos x="203" y="178"/>
                </a:cxn>
                <a:cxn ang="0">
                  <a:pos x="196" y="178"/>
                </a:cxn>
                <a:cxn ang="0">
                  <a:pos x="185" y="176"/>
                </a:cxn>
                <a:cxn ang="0">
                  <a:pos x="173" y="176"/>
                </a:cxn>
                <a:cxn ang="0">
                  <a:pos x="163" y="178"/>
                </a:cxn>
                <a:cxn ang="0">
                  <a:pos x="152" y="186"/>
                </a:cxn>
                <a:cxn ang="0">
                  <a:pos x="144" y="185"/>
                </a:cxn>
                <a:cxn ang="0">
                  <a:pos x="135" y="181"/>
                </a:cxn>
                <a:cxn ang="0">
                  <a:pos x="132" y="176"/>
                </a:cxn>
                <a:cxn ang="0">
                  <a:pos x="125" y="176"/>
                </a:cxn>
                <a:cxn ang="0">
                  <a:pos x="121" y="176"/>
                </a:cxn>
                <a:cxn ang="0">
                  <a:pos x="114" y="178"/>
                </a:cxn>
                <a:cxn ang="0">
                  <a:pos x="111" y="181"/>
                </a:cxn>
                <a:cxn ang="0">
                  <a:pos x="104" y="172"/>
                </a:cxn>
                <a:cxn ang="0">
                  <a:pos x="99" y="169"/>
                </a:cxn>
                <a:cxn ang="0">
                  <a:pos x="92" y="167"/>
                </a:cxn>
                <a:cxn ang="0">
                  <a:pos x="86" y="167"/>
                </a:cxn>
                <a:cxn ang="0">
                  <a:pos x="81" y="167"/>
                </a:cxn>
                <a:cxn ang="0">
                  <a:pos x="76" y="167"/>
                </a:cxn>
                <a:cxn ang="0">
                  <a:pos x="69" y="169"/>
                </a:cxn>
                <a:cxn ang="0">
                  <a:pos x="67" y="171"/>
                </a:cxn>
                <a:cxn ang="0">
                  <a:pos x="62" y="176"/>
                </a:cxn>
                <a:cxn ang="0">
                  <a:pos x="62" y="176"/>
                </a:cxn>
                <a:cxn ang="0">
                  <a:pos x="62" y="181"/>
                </a:cxn>
                <a:cxn ang="0">
                  <a:pos x="64" y="185"/>
                </a:cxn>
                <a:cxn ang="0">
                  <a:pos x="59" y="190"/>
                </a:cxn>
                <a:cxn ang="0">
                  <a:pos x="59" y="193"/>
                </a:cxn>
                <a:cxn ang="0">
                  <a:pos x="60" y="199"/>
                </a:cxn>
                <a:cxn ang="0">
                  <a:pos x="59" y="200"/>
                </a:cxn>
                <a:cxn ang="0">
                  <a:pos x="59" y="200"/>
                </a:cxn>
              </a:cxnLst>
              <a:rect l="0" t="0" r="r" b="b"/>
              <a:pathLst>
                <a:path w="257" h="200">
                  <a:moveTo>
                    <a:pt x="59" y="200"/>
                  </a:moveTo>
                  <a:lnTo>
                    <a:pt x="53" y="195"/>
                  </a:lnTo>
                  <a:lnTo>
                    <a:pt x="50" y="195"/>
                  </a:lnTo>
                  <a:lnTo>
                    <a:pt x="46" y="192"/>
                  </a:lnTo>
                  <a:lnTo>
                    <a:pt x="43" y="186"/>
                  </a:lnTo>
                  <a:lnTo>
                    <a:pt x="41" y="190"/>
                  </a:lnTo>
                  <a:lnTo>
                    <a:pt x="41" y="192"/>
                  </a:lnTo>
                  <a:lnTo>
                    <a:pt x="38" y="193"/>
                  </a:lnTo>
                  <a:lnTo>
                    <a:pt x="36" y="193"/>
                  </a:lnTo>
                  <a:lnTo>
                    <a:pt x="31" y="188"/>
                  </a:lnTo>
                  <a:lnTo>
                    <a:pt x="33" y="186"/>
                  </a:lnTo>
                  <a:lnTo>
                    <a:pt x="33" y="185"/>
                  </a:lnTo>
                  <a:lnTo>
                    <a:pt x="31" y="181"/>
                  </a:lnTo>
                  <a:lnTo>
                    <a:pt x="31" y="178"/>
                  </a:lnTo>
                  <a:lnTo>
                    <a:pt x="29" y="178"/>
                  </a:lnTo>
                  <a:lnTo>
                    <a:pt x="22" y="181"/>
                  </a:lnTo>
                  <a:lnTo>
                    <a:pt x="17" y="176"/>
                  </a:lnTo>
                  <a:lnTo>
                    <a:pt x="15" y="171"/>
                  </a:lnTo>
                  <a:lnTo>
                    <a:pt x="0" y="160"/>
                  </a:lnTo>
                  <a:lnTo>
                    <a:pt x="0" y="155"/>
                  </a:lnTo>
                  <a:lnTo>
                    <a:pt x="1" y="150"/>
                  </a:lnTo>
                  <a:lnTo>
                    <a:pt x="1" y="148"/>
                  </a:lnTo>
                  <a:lnTo>
                    <a:pt x="5" y="145"/>
                  </a:lnTo>
                  <a:lnTo>
                    <a:pt x="6" y="146"/>
                  </a:lnTo>
                  <a:lnTo>
                    <a:pt x="19" y="145"/>
                  </a:lnTo>
                  <a:lnTo>
                    <a:pt x="24" y="145"/>
                  </a:lnTo>
                  <a:lnTo>
                    <a:pt x="27" y="143"/>
                  </a:lnTo>
                  <a:lnTo>
                    <a:pt x="36" y="143"/>
                  </a:lnTo>
                  <a:lnTo>
                    <a:pt x="38" y="143"/>
                  </a:lnTo>
                  <a:lnTo>
                    <a:pt x="43" y="139"/>
                  </a:lnTo>
                  <a:lnTo>
                    <a:pt x="46" y="139"/>
                  </a:lnTo>
                  <a:lnTo>
                    <a:pt x="53" y="136"/>
                  </a:lnTo>
                  <a:lnTo>
                    <a:pt x="62" y="131"/>
                  </a:lnTo>
                  <a:lnTo>
                    <a:pt x="62" y="127"/>
                  </a:lnTo>
                  <a:lnTo>
                    <a:pt x="64" y="122"/>
                  </a:lnTo>
                  <a:lnTo>
                    <a:pt x="66" y="120"/>
                  </a:lnTo>
                  <a:lnTo>
                    <a:pt x="67" y="105"/>
                  </a:lnTo>
                  <a:lnTo>
                    <a:pt x="69" y="73"/>
                  </a:lnTo>
                  <a:lnTo>
                    <a:pt x="95" y="66"/>
                  </a:lnTo>
                  <a:lnTo>
                    <a:pt x="114" y="47"/>
                  </a:lnTo>
                  <a:lnTo>
                    <a:pt x="191" y="0"/>
                  </a:lnTo>
                  <a:lnTo>
                    <a:pt x="220" y="6"/>
                  </a:lnTo>
                  <a:lnTo>
                    <a:pt x="224" y="11"/>
                  </a:lnTo>
                  <a:lnTo>
                    <a:pt x="238" y="4"/>
                  </a:lnTo>
                  <a:lnTo>
                    <a:pt x="239" y="6"/>
                  </a:lnTo>
                  <a:lnTo>
                    <a:pt x="248" y="28"/>
                  </a:lnTo>
                  <a:lnTo>
                    <a:pt x="248" y="35"/>
                  </a:lnTo>
                  <a:lnTo>
                    <a:pt x="246" y="37"/>
                  </a:lnTo>
                  <a:lnTo>
                    <a:pt x="257" y="51"/>
                  </a:lnTo>
                  <a:lnTo>
                    <a:pt x="257" y="56"/>
                  </a:lnTo>
                  <a:lnTo>
                    <a:pt x="257" y="59"/>
                  </a:lnTo>
                  <a:lnTo>
                    <a:pt x="251" y="91"/>
                  </a:lnTo>
                  <a:lnTo>
                    <a:pt x="251" y="115"/>
                  </a:lnTo>
                  <a:lnTo>
                    <a:pt x="224" y="145"/>
                  </a:lnTo>
                  <a:lnTo>
                    <a:pt x="222" y="146"/>
                  </a:lnTo>
                  <a:lnTo>
                    <a:pt x="220" y="146"/>
                  </a:lnTo>
                  <a:lnTo>
                    <a:pt x="218" y="146"/>
                  </a:lnTo>
                  <a:lnTo>
                    <a:pt x="218" y="150"/>
                  </a:lnTo>
                  <a:lnTo>
                    <a:pt x="218" y="171"/>
                  </a:lnTo>
                  <a:lnTo>
                    <a:pt x="217" y="169"/>
                  </a:lnTo>
                  <a:lnTo>
                    <a:pt x="213" y="172"/>
                  </a:lnTo>
                  <a:lnTo>
                    <a:pt x="213" y="172"/>
                  </a:lnTo>
                  <a:lnTo>
                    <a:pt x="212" y="176"/>
                  </a:lnTo>
                  <a:lnTo>
                    <a:pt x="208" y="172"/>
                  </a:lnTo>
                  <a:lnTo>
                    <a:pt x="208" y="176"/>
                  </a:lnTo>
                  <a:lnTo>
                    <a:pt x="206" y="176"/>
                  </a:lnTo>
                  <a:lnTo>
                    <a:pt x="203" y="178"/>
                  </a:lnTo>
                  <a:lnTo>
                    <a:pt x="203" y="178"/>
                  </a:lnTo>
                  <a:lnTo>
                    <a:pt x="198" y="181"/>
                  </a:lnTo>
                  <a:lnTo>
                    <a:pt x="196" y="178"/>
                  </a:lnTo>
                  <a:lnTo>
                    <a:pt x="191" y="178"/>
                  </a:lnTo>
                  <a:lnTo>
                    <a:pt x="185" y="176"/>
                  </a:lnTo>
                  <a:lnTo>
                    <a:pt x="178" y="176"/>
                  </a:lnTo>
                  <a:lnTo>
                    <a:pt x="173" y="176"/>
                  </a:lnTo>
                  <a:lnTo>
                    <a:pt x="166" y="176"/>
                  </a:lnTo>
                  <a:lnTo>
                    <a:pt x="163" y="178"/>
                  </a:lnTo>
                  <a:lnTo>
                    <a:pt x="158" y="185"/>
                  </a:lnTo>
                  <a:lnTo>
                    <a:pt x="152" y="186"/>
                  </a:lnTo>
                  <a:lnTo>
                    <a:pt x="149" y="186"/>
                  </a:lnTo>
                  <a:lnTo>
                    <a:pt x="144" y="185"/>
                  </a:lnTo>
                  <a:lnTo>
                    <a:pt x="140" y="185"/>
                  </a:lnTo>
                  <a:lnTo>
                    <a:pt x="135" y="181"/>
                  </a:lnTo>
                  <a:lnTo>
                    <a:pt x="132" y="178"/>
                  </a:lnTo>
                  <a:lnTo>
                    <a:pt x="132" y="176"/>
                  </a:lnTo>
                  <a:lnTo>
                    <a:pt x="128" y="176"/>
                  </a:lnTo>
                  <a:lnTo>
                    <a:pt x="125" y="176"/>
                  </a:lnTo>
                  <a:lnTo>
                    <a:pt x="125" y="176"/>
                  </a:lnTo>
                  <a:lnTo>
                    <a:pt x="121" y="176"/>
                  </a:lnTo>
                  <a:lnTo>
                    <a:pt x="118" y="176"/>
                  </a:lnTo>
                  <a:lnTo>
                    <a:pt x="114" y="178"/>
                  </a:lnTo>
                  <a:lnTo>
                    <a:pt x="112" y="181"/>
                  </a:lnTo>
                  <a:lnTo>
                    <a:pt x="111" y="181"/>
                  </a:lnTo>
                  <a:lnTo>
                    <a:pt x="107" y="178"/>
                  </a:lnTo>
                  <a:lnTo>
                    <a:pt x="104" y="172"/>
                  </a:lnTo>
                  <a:lnTo>
                    <a:pt x="102" y="172"/>
                  </a:lnTo>
                  <a:lnTo>
                    <a:pt x="99" y="169"/>
                  </a:lnTo>
                  <a:lnTo>
                    <a:pt x="95" y="169"/>
                  </a:lnTo>
                  <a:lnTo>
                    <a:pt x="92" y="167"/>
                  </a:lnTo>
                  <a:lnTo>
                    <a:pt x="88" y="167"/>
                  </a:lnTo>
                  <a:lnTo>
                    <a:pt x="86" y="167"/>
                  </a:lnTo>
                  <a:lnTo>
                    <a:pt x="83" y="167"/>
                  </a:lnTo>
                  <a:lnTo>
                    <a:pt x="81" y="167"/>
                  </a:lnTo>
                  <a:lnTo>
                    <a:pt x="76" y="167"/>
                  </a:lnTo>
                  <a:lnTo>
                    <a:pt x="76" y="167"/>
                  </a:lnTo>
                  <a:lnTo>
                    <a:pt x="73" y="167"/>
                  </a:lnTo>
                  <a:lnTo>
                    <a:pt x="69" y="169"/>
                  </a:lnTo>
                  <a:lnTo>
                    <a:pt x="69" y="169"/>
                  </a:lnTo>
                  <a:lnTo>
                    <a:pt x="67" y="171"/>
                  </a:lnTo>
                  <a:lnTo>
                    <a:pt x="62" y="172"/>
                  </a:lnTo>
                  <a:lnTo>
                    <a:pt x="62" y="176"/>
                  </a:lnTo>
                  <a:lnTo>
                    <a:pt x="62" y="176"/>
                  </a:lnTo>
                  <a:lnTo>
                    <a:pt x="62" y="176"/>
                  </a:lnTo>
                  <a:lnTo>
                    <a:pt x="62" y="178"/>
                  </a:lnTo>
                  <a:lnTo>
                    <a:pt x="62" y="181"/>
                  </a:lnTo>
                  <a:lnTo>
                    <a:pt x="64" y="185"/>
                  </a:lnTo>
                  <a:lnTo>
                    <a:pt x="64" y="185"/>
                  </a:lnTo>
                  <a:lnTo>
                    <a:pt x="60" y="185"/>
                  </a:lnTo>
                  <a:lnTo>
                    <a:pt x="59" y="190"/>
                  </a:lnTo>
                  <a:lnTo>
                    <a:pt x="59" y="192"/>
                  </a:lnTo>
                  <a:lnTo>
                    <a:pt x="59" y="193"/>
                  </a:lnTo>
                  <a:lnTo>
                    <a:pt x="59" y="199"/>
                  </a:lnTo>
                  <a:lnTo>
                    <a:pt x="60" y="199"/>
                  </a:lnTo>
                  <a:lnTo>
                    <a:pt x="60" y="199"/>
                  </a:lnTo>
                  <a:lnTo>
                    <a:pt x="59" y="200"/>
                  </a:lnTo>
                  <a:lnTo>
                    <a:pt x="59" y="200"/>
                  </a:lnTo>
                  <a:lnTo>
                    <a:pt x="59" y="20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2" name="Freeform 128">
              <a:extLst>
                <a:ext uri="{FF2B5EF4-FFF2-40B4-BE49-F238E27FC236}">
                  <a16:creationId xmlns:a16="http://schemas.microsoft.com/office/drawing/2014/main" id="{90A0611A-0902-4992-AF28-E1EEEC406F61}"/>
                </a:ext>
              </a:extLst>
            </p:cNvPr>
            <p:cNvSpPr>
              <a:spLocks/>
            </p:cNvSpPr>
            <p:nvPr/>
          </p:nvSpPr>
          <p:spPr bwMode="auto">
            <a:xfrm>
              <a:off x="4540250" y="3886201"/>
              <a:ext cx="309563" cy="265113"/>
            </a:xfrm>
            <a:custGeom>
              <a:avLst/>
              <a:gdLst/>
              <a:ahLst/>
              <a:cxnLst>
                <a:cxn ang="0">
                  <a:pos x="182" y="10"/>
                </a:cxn>
                <a:cxn ang="0">
                  <a:pos x="170" y="5"/>
                </a:cxn>
                <a:cxn ang="0">
                  <a:pos x="165" y="7"/>
                </a:cxn>
                <a:cxn ang="0">
                  <a:pos x="160" y="12"/>
                </a:cxn>
                <a:cxn ang="0">
                  <a:pos x="151" y="12"/>
                </a:cxn>
                <a:cxn ang="0">
                  <a:pos x="134" y="8"/>
                </a:cxn>
                <a:cxn ang="0">
                  <a:pos x="118" y="12"/>
                </a:cxn>
                <a:cxn ang="0">
                  <a:pos x="106" y="19"/>
                </a:cxn>
                <a:cxn ang="0">
                  <a:pos x="90" y="14"/>
                </a:cxn>
                <a:cxn ang="0">
                  <a:pos x="83" y="8"/>
                </a:cxn>
                <a:cxn ang="0">
                  <a:pos x="76" y="10"/>
                </a:cxn>
                <a:cxn ang="0">
                  <a:pos x="68" y="14"/>
                </a:cxn>
                <a:cxn ang="0">
                  <a:pos x="61" y="7"/>
                </a:cxn>
                <a:cxn ang="0">
                  <a:pos x="50" y="1"/>
                </a:cxn>
                <a:cxn ang="0">
                  <a:pos x="42" y="0"/>
                </a:cxn>
                <a:cxn ang="0">
                  <a:pos x="33" y="0"/>
                </a:cxn>
                <a:cxn ang="0">
                  <a:pos x="24" y="1"/>
                </a:cxn>
                <a:cxn ang="0">
                  <a:pos x="17" y="7"/>
                </a:cxn>
                <a:cxn ang="0">
                  <a:pos x="17" y="10"/>
                </a:cxn>
                <a:cxn ang="0">
                  <a:pos x="19" y="17"/>
                </a:cxn>
                <a:cxn ang="0">
                  <a:pos x="14" y="22"/>
                </a:cxn>
                <a:cxn ang="0">
                  <a:pos x="14" y="31"/>
                </a:cxn>
                <a:cxn ang="0">
                  <a:pos x="14" y="34"/>
                </a:cxn>
                <a:cxn ang="0">
                  <a:pos x="17" y="47"/>
                </a:cxn>
                <a:cxn ang="0">
                  <a:pos x="19" y="57"/>
                </a:cxn>
                <a:cxn ang="0">
                  <a:pos x="14" y="61"/>
                </a:cxn>
                <a:cxn ang="0">
                  <a:pos x="14" y="68"/>
                </a:cxn>
                <a:cxn ang="0">
                  <a:pos x="9" y="74"/>
                </a:cxn>
                <a:cxn ang="0">
                  <a:pos x="3" y="80"/>
                </a:cxn>
                <a:cxn ang="0">
                  <a:pos x="0" y="87"/>
                </a:cxn>
                <a:cxn ang="0">
                  <a:pos x="0" y="94"/>
                </a:cxn>
                <a:cxn ang="0">
                  <a:pos x="0" y="101"/>
                </a:cxn>
                <a:cxn ang="0">
                  <a:pos x="0" y="111"/>
                </a:cxn>
                <a:cxn ang="0">
                  <a:pos x="0" y="125"/>
                </a:cxn>
                <a:cxn ang="0">
                  <a:pos x="14" y="128"/>
                </a:cxn>
                <a:cxn ang="0">
                  <a:pos x="36" y="149"/>
                </a:cxn>
                <a:cxn ang="0">
                  <a:pos x="42" y="161"/>
                </a:cxn>
                <a:cxn ang="0">
                  <a:pos x="68" y="167"/>
                </a:cxn>
                <a:cxn ang="0">
                  <a:pos x="82" y="163"/>
                </a:cxn>
                <a:cxn ang="0">
                  <a:pos x="89" y="160"/>
                </a:cxn>
                <a:cxn ang="0">
                  <a:pos x="94" y="160"/>
                </a:cxn>
                <a:cxn ang="0">
                  <a:pos x="101" y="149"/>
                </a:cxn>
                <a:cxn ang="0">
                  <a:pos x="102" y="141"/>
                </a:cxn>
                <a:cxn ang="0">
                  <a:pos x="106" y="132"/>
                </a:cxn>
                <a:cxn ang="0">
                  <a:pos x="113" y="125"/>
                </a:cxn>
                <a:cxn ang="0">
                  <a:pos x="120" y="120"/>
                </a:cxn>
                <a:cxn ang="0">
                  <a:pos x="127" y="123"/>
                </a:cxn>
                <a:cxn ang="0">
                  <a:pos x="134" y="128"/>
                </a:cxn>
                <a:cxn ang="0">
                  <a:pos x="142" y="125"/>
                </a:cxn>
                <a:cxn ang="0">
                  <a:pos x="146" y="120"/>
                </a:cxn>
                <a:cxn ang="0">
                  <a:pos x="149" y="109"/>
                </a:cxn>
                <a:cxn ang="0">
                  <a:pos x="155" y="101"/>
                </a:cxn>
                <a:cxn ang="0">
                  <a:pos x="163" y="90"/>
                </a:cxn>
                <a:cxn ang="0">
                  <a:pos x="165" y="78"/>
                </a:cxn>
                <a:cxn ang="0">
                  <a:pos x="175" y="73"/>
                </a:cxn>
                <a:cxn ang="0">
                  <a:pos x="175" y="61"/>
                </a:cxn>
                <a:cxn ang="0">
                  <a:pos x="182" y="50"/>
                </a:cxn>
                <a:cxn ang="0">
                  <a:pos x="188" y="47"/>
                </a:cxn>
                <a:cxn ang="0">
                  <a:pos x="195" y="40"/>
                </a:cxn>
                <a:cxn ang="0">
                  <a:pos x="191" y="29"/>
                </a:cxn>
                <a:cxn ang="0">
                  <a:pos x="186" y="22"/>
                </a:cxn>
                <a:cxn ang="0">
                  <a:pos x="186" y="15"/>
                </a:cxn>
              </a:cxnLst>
              <a:rect l="0" t="0" r="r" b="b"/>
              <a:pathLst>
                <a:path w="195" h="167">
                  <a:moveTo>
                    <a:pt x="186" y="15"/>
                  </a:moveTo>
                  <a:lnTo>
                    <a:pt x="186" y="14"/>
                  </a:lnTo>
                  <a:lnTo>
                    <a:pt x="182" y="10"/>
                  </a:lnTo>
                  <a:lnTo>
                    <a:pt x="179" y="3"/>
                  </a:lnTo>
                  <a:lnTo>
                    <a:pt x="174" y="1"/>
                  </a:lnTo>
                  <a:lnTo>
                    <a:pt x="170" y="5"/>
                  </a:lnTo>
                  <a:lnTo>
                    <a:pt x="170" y="7"/>
                  </a:lnTo>
                  <a:lnTo>
                    <a:pt x="169" y="8"/>
                  </a:lnTo>
                  <a:lnTo>
                    <a:pt x="165" y="7"/>
                  </a:lnTo>
                  <a:lnTo>
                    <a:pt x="163" y="8"/>
                  </a:lnTo>
                  <a:lnTo>
                    <a:pt x="163" y="10"/>
                  </a:lnTo>
                  <a:lnTo>
                    <a:pt x="160" y="12"/>
                  </a:lnTo>
                  <a:lnTo>
                    <a:pt x="156" y="15"/>
                  </a:lnTo>
                  <a:lnTo>
                    <a:pt x="156" y="15"/>
                  </a:lnTo>
                  <a:lnTo>
                    <a:pt x="151" y="12"/>
                  </a:lnTo>
                  <a:lnTo>
                    <a:pt x="148" y="12"/>
                  </a:lnTo>
                  <a:lnTo>
                    <a:pt x="141" y="10"/>
                  </a:lnTo>
                  <a:lnTo>
                    <a:pt x="134" y="8"/>
                  </a:lnTo>
                  <a:lnTo>
                    <a:pt x="129" y="10"/>
                  </a:lnTo>
                  <a:lnTo>
                    <a:pt x="122" y="10"/>
                  </a:lnTo>
                  <a:lnTo>
                    <a:pt x="118" y="12"/>
                  </a:lnTo>
                  <a:lnTo>
                    <a:pt x="113" y="17"/>
                  </a:lnTo>
                  <a:lnTo>
                    <a:pt x="109" y="19"/>
                  </a:lnTo>
                  <a:lnTo>
                    <a:pt x="106" y="19"/>
                  </a:lnTo>
                  <a:lnTo>
                    <a:pt x="99" y="17"/>
                  </a:lnTo>
                  <a:lnTo>
                    <a:pt x="96" y="17"/>
                  </a:lnTo>
                  <a:lnTo>
                    <a:pt x="90" y="14"/>
                  </a:lnTo>
                  <a:lnTo>
                    <a:pt x="87" y="12"/>
                  </a:lnTo>
                  <a:lnTo>
                    <a:pt x="87" y="10"/>
                  </a:lnTo>
                  <a:lnTo>
                    <a:pt x="83" y="8"/>
                  </a:lnTo>
                  <a:lnTo>
                    <a:pt x="82" y="8"/>
                  </a:lnTo>
                  <a:lnTo>
                    <a:pt x="82" y="8"/>
                  </a:lnTo>
                  <a:lnTo>
                    <a:pt x="76" y="10"/>
                  </a:lnTo>
                  <a:lnTo>
                    <a:pt x="73" y="10"/>
                  </a:lnTo>
                  <a:lnTo>
                    <a:pt x="71" y="12"/>
                  </a:lnTo>
                  <a:lnTo>
                    <a:pt x="68" y="14"/>
                  </a:lnTo>
                  <a:lnTo>
                    <a:pt x="66" y="14"/>
                  </a:lnTo>
                  <a:lnTo>
                    <a:pt x="64" y="12"/>
                  </a:lnTo>
                  <a:lnTo>
                    <a:pt x="61" y="7"/>
                  </a:lnTo>
                  <a:lnTo>
                    <a:pt x="59" y="5"/>
                  </a:lnTo>
                  <a:lnTo>
                    <a:pt x="54" y="1"/>
                  </a:lnTo>
                  <a:lnTo>
                    <a:pt x="50" y="1"/>
                  </a:lnTo>
                  <a:lnTo>
                    <a:pt x="49" y="0"/>
                  </a:lnTo>
                  <a:lnTo>
                    <a:pt x="43" y="0"/>
                  </a:lnTo>
                  <a:lnTo>
                    <a:pt x="42" y="0"/>
                  </a:lnTo>
                  <a:lnTo>
                    <a:pt x="38" y="0"/>
                  </a:lnTo>
                  <a:lnTo>
                    <a:pt x="36" y="0"/>
                  </a:lnTo>
                  <a:lnTo>
                    <a:pt x="33" y="0"/>
                  </a:lnTo>
                  <a:lnTo>
                    <a:pt x="31" y="0"/>
                  </a:lnTo>
                  <a:lnTo>
                    <a:pt x="30" y="0"/>
                  </a:lnTo>
                  <a:lnTo>
                    <a:pt x="24" y="1"/>
                  </a:lnTo>
                  <a:lnTo>
                    <a:pt x="24" y="1"/>
                  </a:lnTo>
                  <a:lnTo>
                    <a:pt x="23" y="3"/>
                  </a:lnTo>
                  <a:lnTo>
                    <a:pt x="17" y="7"/>
                  </a:lnTo>
                  <a:lnTo>
                    <a:pt x="17" y="8"/>
                  </a:lnTo>
                  <a:lnTo>
                    <a:pt x="17" y="10"/>
                  </a:lnTo>
                  <a:lnTo>
                    <a:pt x="17" y="10"/>
                  </a:lnTo>
                  <a:lnTo>
                    <a:pt x="17" y="12"/>
                  </a:lnTo>
                  <a:lnTo>
                    <a:pt x="17" y="15"/>
                  </a:lnTo>
                  <a:lnTo>
                    <a:pt x="19" y="17"/>
                  </a:lnTo>
                  <a:lnTo>
                    <a:pt x="19" y="19"/>
                  </a:lnTo>
                  <a:lnTo>
                    <a:pt x="16" y="19"/>
                  </a:lnTo>
                  <a:lnTo>
                    <a:pt x="14" y="22"/>
                  </a:lnTo>
                  <a:lnTo>
                    <a:pt x="14" y="24"/>
                  </a:lnTo>
                  <a:lnTo>
                    <a:pt x="14" y="28"/>
                  </a:lnTo>
                  <a:lnTo>
                    <a:pt x="14" y="31"/>
                  </a:lnTo>
                  <a:lnTo>
                    <a:pt x="16" y="31"/>
                  </a:lnTo>
                  <a:lnTo>
                    <a:pt x="16" y="33"/>
                  </a:lnTo>
                  <a:lnTo>
                    <a:pt x="14" y="34"/>
                  </a:lnTo>
                  <a:lnTo>
                    <a:pt x="14" y="40"/>
                  </a:lnTo>
                  <a:lnTo>
                    <a:pt x="14" y="41"/>
                  </a:lnTo>
                  <a:lnTo>
                    <a:pt x="17" y="47"/>
                  </a:lnTo>
                  <a:lnTo>
                    <a:pt x="17" y="50"/>
                  </a:lnTo>
                  <a:lnTo>
                    <a:pt x="19" y="55"/>
                  </a:lnTo>
                  <a:lnTo>
                    <a:pt x="19" y="57"/>
                  </a:lnTo>
                  <a:lnTo>
                    <a:pt x="16" y="57"/>
                  </a:lnTo>
                  <a:lnTo>
                    <a:pt x="14" y="61"/>
                  </a:lnTo>
                  <a:lnTo>
                    <a:pt x="14" y="61"/>
                  </a:lnTo>
                  <a:lnTo>
                    <a:pt x="17" y="66"/>
                  </a:lnTo>
                  <a:lnTo>
                    <a:pt x="16" y="68"/>
                  </a:lnTo>
                  <a:lnTo>
                    <a:pt x="14" y="68"/>
                  </a:lnTo>
                  <a:lnTo>
                    <a:pt x="10" y="69"/>
                  </a:lnTo>
                  <a:lnTo>
                    <a:pt x="10" y="73"/>
                  </a:lnTo>
                  <a:lnTo>
                    <a:pt x="9" y="74"/>
                  </a:lnTo>
                  <a:lnTo>
                    <a:pt x="7" y="78"/>
                  </a:lnTo>
                  <a:lnTo>
                    <a:pt x="5" y="80"/>
                  </a:lnTo>
                  <a:lnTo>
                    <a:pt x="3" y="80"/>
                  </a:lnTo>
                  <a:lnTo>
                    <a:pt x="2" y="81"/>
                  </a:lnTo>
                  <a:lnTo>
                    <a:pt x="0" y="83"/>
                  </a:lnTo>
                  <a:lnTo>
                    <a:pt x="0" y="87"/>
                  </a:lnTo>
                  <a:lnTo>
                    <a:pt x="0" y="88"/>
                  </a:lnTo>
                  <a:lnTo>
                    <a:pt x="0" y="94"/>
                  </a:lnTo>
                  <a:lnTo>
                    <a:pt x="0" y="94"/>
                  </a:lnTo>
                  <a:lnTo>
                    <a:pt x="0" y="97"/>
                  </a:lnTo>
                  <a:lnTo>
                    <a:pt x="0" y="97"/>
                  </a:lnTo>
                  <a:lnTo>
                    <a:pt x="0" y="101"/>
                  </a:lnTo>
                  <a:lnTo>
                    <a:pt x="0" y="101"/>
                  </a:lnTo>
                  <a:lnTo>
                    <a:pt x="0" y="104"/>
                  </a:lnTo>
                  <a:lnTo>
                    <a:pt x="0" y="111"/>
                  </a:lnTo>
                  <a:lnTo>
                    <a:pt x="0" y="113"/>
                  </a:lnTo>
                  <a:lnTo>
                    <a:pt x="2" y="116"/>
                  </a:lnTo>
                  <a:lnTo>
                    <a:pt x="0" y="125"/>
                  </a:lnTo>
                  <a:lnTo>
                    <a:pt x="0" y="128"/>
                  </a:lnTo>
                  <a:lnTo>
                    <a:pt x="9" y="128"/>
                  </a:lnTo>
                  <a:lnTo>
                    <a:pt x="14" y="128"/>
                  </a:lnTo>
                  <a:lnTo>
                    <a:pt x="26" y="134"/>
                  </a:lnTo>
                  <a:lnTo>
                    <a:pt x="33" y="141"/>
                  </a:lnTo>
                  <a:lnTo>
                    <a:pt x="36" y="149"/>
                  </a:lnTo>
                  <a:lnTo>
                    <a:pt x="36" y="156"/>
                  </a:lnTo>
                  <a:lnTo>
                    <a:pt x="38" y="156"/>
                  </a:lnTo>
                  <a:lnTo>
                    <a:pt x="42" y="161"/>
                  </a:lnTo>
                  <a:lnTo>
                    <a:pt x="45" y="165"/>
                  </a:lnTo>
                  <a:lnTo>
                    <a:pt x="50" y="167"/>
                  </a:lnTo>
                  <a:lnTo>
                    <a:pt x="68" y="167"/>
                  </a:lnTo>
                  <a:lnTo>
                    <a:pt x="71" y="165"/>
                  </a:lnTo>
                  <a:lnTo>
                    <a:pt x="73" y="165"/>
                  </a:lnTo>
                  <a:lnTo>
                    <a:pt x="82" y="163"/>
                  </a:lnTo>
                  <a:lnTo>
                    <a:pt x="83" y="163"/>
                  </a:lnTo>
                  <a:lnTo>
                    <a:pt x="87" y="163"/>
                  </a:lnTo>
                  <a:lnTo>
                    <a:pt x="89" y="160"/>
                  </a:lnTo>
                  <a:lnTo>
                    <a:pt x="92" y="161"/>
                  </a:lnTo>
                  <a:lnTo>
                    <a:pt x="94" y="160"/>
                  </a:lnTo>
                  <a:lnTo>
                    <a:pt x="94" y="160"/>
                  </a:lnTo>
                  <a:lnTo>
                    <a:pt x="94" y="160"/>
                  </a:lnTo>
                  <a:lnTo>
                    <a:pt x="99" y="154"/>
                  </a:lnTo>
                  <a:lnTo>
                    <a:pt x="101" y="149"/>
                  </a:lnTo>
                  <a:lnTo>
                    <a:pt x="101" y="146"/>
                  </a:lnTo>
                  <a:lnTo>
                    <a:pt x="99" y="142"/>
                  </a:lnTo>
                  <a:lnTo>
                    <a:pt x="102" y="141"/>
                  </a:lnTo>
                  <a:lnTo>
                    <a:pt x="102" y="137"/>
                  </a:lnTo>
                  <a:lnTo>
                    <a:pt x="104" y="135"/>
                  </a:lnTo>
                  <a:lnTo>
                    <a:pt x="106" y="132"/>
                  </a:lnTo>
                  <a:lnTo>
                    <a:pt x="109" y="132"/>
                  </a:lnTo>
                  <a:lnTo>
                    <a:pt x="113" y="128"/>
                  </a:lnTo>
                  <a:lnTo>
                    <a:pt x="113" y="125"/>
                  </a:lnTo>
                  <a:lnTo>
                    <a:pt x="115" y="123"/>
                  </a:lnTo>
                  <a:lnTo>
                    <a:pt x="118" y="123"/>
                  </a:lnTo>
                  <a:lnTo>
                    <a:pt x="120" y="120"/>
                  </a:lnTo>
                  <a:lnTo>
                    <a:pt x="120" y="120"/>
                  </a:lnTo>
                  <a:lnTo>
                    <a:pt x="125" y="123"/>
                  </a:lnTo>
                  <a:lnTo>
                    <a:pt x="127" y="123"/>
                  </a:lnTo>
                  <a:lnTo>
                    <a:pt x="129" y="125"/>
                  </a:lnTo>
                  <a:lnTo>
                    <a:pt x="132" y="128"/>
                  </a:lnTo>
                  <a:lnTo>
                    <a:pt x="134" y="128"/>
                  </a:lnTo>
                  <a:lnTo>
                    <a:pt x="137" y="132"/>
                  </a:lnTo>
                  <a:lnTo>
                    <a:pt x="141" y="128"/>
                  </a:lnTo>
                  <a:lnTo>
                    <a:pt x="142" y="125"/>
                  </a:lnTo>
                  <a:lnTo>
                    <a:pt x="142" y="123"/>
                  </a:lnTo>
                  <a:lnTo>
                    <a:pt x="144" y="120"/>
                  </a:lnTo>
                  <a:lnTo>
                    <a:pt x="146" y="120"/>
                  </a:lnTo>
                  <a:lnTo>
                    <a:pt x="149" y="116"/>
                  </a:lnTo>
                  <a:lnTo>
                    <a:pt x="149" y="114"/>
                  </a:lnTo>
                  <a:lnTo>
                    <a:pt x="149" y="109"/>
                  </a:lnTo>
                  <a:lnTo>
                    <a:pt x="156" y="106"/>
                  </a:lnTo>
                  <a:lnTo>
                    <a:pt x="156" y="101"/>
                  </a:lnTo>
                  <a:lnTo>
                    <a:pt x="155" y="101"/>
                  </a:lnTo>
                  <a:lnTo>
                    <a:pt x="156" y="97"/>
                  </a:lnTo>
                  <a:lnTo>
                    <a:pt x="160" y="92"/>
                  </a:lnTo>
                  <a:lnTo>
                    <a:pt x="163" y="90"/>
                  </a:lnTo>
                  <a:lnTo>
                    <a:pt x="163" y="87"/>
                  </a:lnTo>
                  <a:lnTo>
                    <a:pt x="165" y="83"/>
                  </a:lnTo>
                  <a:lnTo>
                    <a:pt x="165" y="78"/>
                  </a:lnTo>
                  <a:lnTo>
                    <a:pt x="167" y="78"/>
                  </a:lnTo>
                  <a:lnTo>
                    <a:pt x="172" y="74"/>
                  </a:lnTo>
                  <a:lnTo>
                    <a:pt x="175" y="73"/>
                  </a:lnTo>
                  <a:lnTo>
                    <a:pt x="175" y="68"/>
                  </a:lnTo>
                  <a:lnTo>
                    <a:pt x="175" y="62"/>
                  </a:lnTo>
                  <a:lnTo>
                    <a:pt x="175" y="61"/>
                  </a:lnTo>
                  <a:lnTo>
                    <a:pt x="177" y="57"/>
                  </a:lnTo>
                  <a:lnTo>
                    <a:pt x="181" y="50"/>
                  </a:lnTo>
                  <a:lnTo>
                    <a:pt x="182" y="50"/>
                  </a:lnTo>
                  <a:lnTo>
                    <a:pt x="182" y="47"/>
                  </a:lnTo>
                  <a:lnTo>
                    <a:pt x="186" y="47"/>
                  </a:lnTo>
                  <a:lnTo>
                    <a:pt x="188" y="47"/>
                  </a:lnTo>
                  <a:lnTo>
                    <a:pt x="189" y="43"/>
                  </a:lnTo>
                  <a:lnTo>
                    <a:pt x="193" y="41"/>
                  </a:lnTo>
                  <a:lnTo>
                    <a:pt x="195" y="40"/>
                  </a:lnTo>
                  <a:lnTo>
                    <a:pt x="193" y="34"/>
                  </a:lnTo>
                  <a:lnTo>
                    <a:pt x="193" y="33"/>
                  </a:lnTo>
                  <a:lnTo>
                    <a:pt x="191" y="29"/>
                  </a:lnTo>
                  <a:lnTo>
                    <a:pt x="188" y="29"/>
                  </a:lnTo>
                  <a:lnTo>
                    <a:pt x="186" y="28"/>
                  </a:lnTo>
                  <a:lnTo>
                    <a:pt x="186" y="22"/>
                  </a:lnTo>
                  <a:lnTo>
                    <a:pt x="186" y="19"/>
                  </a:lnTo>
                  <a:lnTo>
                    <a:pt x="186" y="15"/>
                  </a:lnTo>
                  <a:lnTo>
                    <a:pt x="186" y="15"/>
                  </a:lnTo>
                  <a:lnTo>
                    <a:pt x="186" y="15"/>
                  </a:lnTo>
                  <a:lnTo>
                    <a:pt x="186"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3" name="Freeform 129">
              <a:extLst>
                <a:ext uri="{FF2B5EF4-FFF2-40B4-BE49-F238E27FC236}">
                  <a16:creationId xmlns:a16="http://schemas.microsoft.com/office/drawing/2014/main" id="{340A080E-A59B-4A84-9436-AD29D3304AD5}"/>
                </a:ext>
              </a:extLst>
            </p:cNvPr>
            <p:cNvSpPr>
              <a:spLocks/>
            </p:cNvSpPr>
            <p:nvPr/>
          </p:nvSpPr>
          <p:spPr bwMode="auto">
            <a:xfrm>
              <a:off x="4625975" y="4249738"/>
              <a:ext cx="7938" cy="17463"/>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4" name="Freeform 130">
              <a:extLst>
                <a:ext uri="{FF2B5EF4-FFF2-40B4-BE49-F238E27FC236}">
                  <a16:creationId xmlns:a16="http://schemas.microsoft.com/office/drawing/2014/main" id="{4C132CCD-CB9B-42AF-BA98-7BA44E6D2990}"/>
                </a:ext>
              </a:extLst>
            </p:cNvPr>
            <p:cNvSpPr>
              <a:spLocks/>
            </p:cNvSpPr>
            <p:nvPr/>
          </p:nvSpPr>
          <p:spPr bwMode="auto">
            <a:xfrm>
              <a:off x="4686300" y="3910013"/>
              <a:ext cx="209550" cy="301625"/>
            </a:xfrm>
            <a:custGeom>
              <a:avLst/>
              <a:gdLst/>
              <a:ahLst/>
              <a:cxnLst>
                <a:cxn ang="0">
                  <a:pos x="5" y="136"/>
                </a:cxn>
                <a:cxn ang="0">
                  <a:pos x="5" y="124"/>
                </a:cxn>
                <a:cxn ang="0">
                  <a:pos x="10" y="119"/>
                </a:cxn>
                <a:cxn ang="0">
                  <a:pos x="21" y="110"/>
                </a:cxn>
                <a:cxn ang="0">
                  <a:pos x="24" y="106"/>
                </a:cxn>
                <a:cxn ang="0">
                  <a:pos x="31" y="106"/>
                </a:cxn>
                <a:cxn ang="0">
                  <a:pos x="38" y="110"/>
                </a:cxn>
                <a:cxn ang="0">
                  <a:pos x="49" y="110"/>
                </a:cxn>
                <a:cxn ang="0">
                  <a:pos x="52" y="103"/>
                </a:cxn>
                <a:cxn ang="0">
                  <a:pos x="57" y="98"/>
                </a:cxn>
                <a:cxn ang="0">
                  <a:pos x="63" y="84"/>
                </a:cxn>
                <a:cxn ang="0">
                  <a:pos x="68" y="75"/>
                </a:cxn>
                <a:cxn ang="0">
                  <a:pos x="73" y="66"/>
                </a:cxn>
                <a:cxn ang="0">
                  <a:pos x="80" y="59"/>
                </a:cxn>
                <a:cxn ang="0">
                  <a:pos x="82" y="47"/>
                </a:cxn>
                <a:cxn ang="0">
                  <a:pos x="89" y="35"/>
                </a:cxn>
                <a:cxn ang="0">
                  <a:pos x="94" y="30"/>
                </a:cxn>
                <a:cxn ang="0">
                  <a:pos x="101" y="26"/>
                </a:cxn>
                <a:cxn ang="0">
                  <a:pos x="101" y="18"/>
                </a:cxn>
                <a:cxn ang="0">
                  <a:pos x="94" y="13"/>
                </a:cxn>
                <a:cxn ang="0">
                  <a:pos x="94" y="0"/>
                </a:cxn>
                <a:cxn ang="0">
                  <a:pos x="106" y="13"/>
                </a:cxn>
                <a:cxn ang="0">
                  <a:pos x="111" y="21"/>
                </a:cxn>
                <a:cxn ang="0">
                  <a:pos x="110" y="26"/>
                </a:cxn>
                <a:cxn ang="0">
                  <a:pos x="108" y="35"/>
                </a:cxn>
                <a:cxn ang="0">
                  <a:pos x="115" y="44"/>
                </a:cxn>
                <a:cxn ang="0">
                  <a:pos x="122" y="51"/>
                </a:cxn>
                <a:cxn ang="0">
                  <a:pos x="115" y="51"/>
                </a:cxn>
                <a:cxn ang="0">
                  <a:pos x="106" y="51"/>
                </a:cxn>
                <a:cxn ang="0">
                  <a:pos x="99" y="51"/>
                </a:cxn>
                <a:cxn ang="0">
                  <a:pos x="94" y="56"/>
                </a:cxn>
                <a:cxn ang="0">
                  <a:pos x="97" y="63"/>
                </a:cxn>
                <a:cxn ang="0">
                  <a:pos x="108" y="70"/>
                </a:cxn>
                <a:cxn ang="0">
                  <a:pos x="118" y="84"/>
                </a:cxn>
                <a:cxn ang="0">
                  <a:pos x="118" y="96"/>
                </a:cxn>
                <a:cxn ang="0">
                  <a:pos x="111" y="106"/>
                </a:cxn>
                <a:cxn ang="0">
                  <a:pos x="104" y="115"/>
                </a:cxn>
                <a:cxn ang="0">
                  <a:pos x="104" y="124"/>
                </a:cxn>
                <a:cxn ang="0">
                  <a:pos x="106" y="138"/>
                </a:cxn>
                <a:cxn ang="0">
                  <a:pos x="113" y="146"/>
                </a:cxn>
                <a:cxn ang="0">
                  <a:pos x="122" y="160"/>
                </a:cxn>
                <a:cxn ang="0">
                  <a:pos x="130" y="171"/>
                </a:cxn>
                <a:cxn ang="0">
                  <a:pos x="130" y="178"/>
                </a:cxn>
                <a:cxn ang="0">
                  <a:pos x="130" y="183"/>
                </a:cxn>
                <a:cxn ang="0">
                  <a:pos x="129" y="188"/>
                </a:cxn>
                <a:cxn ang="0">
                  <a:pos x="127" y="190"/>
                </a:cxn>
                <a:cxn ang="0">
                  <a:pos x="122" y="188"/>
                </a:cxn>
                <a:cxn ang="0">
                  <a:pos x="115" y="188"/>
                </a:cxn>
                <a:cxn ang="0">
                  <a:pos x="111" y="188"/>
                </a:cxn>
                <a:cxn ang="0">
                  <a:pos x="106" y="186"/>
                </a:cxn>
                <a:cxn ang="0">
                  <a:pos x="103" y="186"/>
                </a:cxn>
                <a:cxn ang="0">
                  <a:pos x="77" y="183"/>
                </a:cxn>
                <a:cxn ang="0">
                  <a:pos x="70" y="183"/>
                </a:cxn>
                <a:cxn ang="0">
                  <a:pos x="64" y="183"/>
                </a:cxn>
                <a:cxn ang="0">
                  <a:pos x="57" y="183"/>
                </a:cxn>
                <a:cxn ang="0">
                  <a:pos x="49" y="183"/>
                </a:cxn>
                <a:cxn ang="0">
                  <a:pos x="47" y="186"/>
                </a:cxn>
                <a:cxn ang="0">
                  <a:pos x="21" y="186"/>
                </a:cxn>
                <a:cxn ang="0">
                  <a:pos x="21" y="181"/>
                </a:cxn>
                <a:cxn ang="0">
                  <a:pos x="17" y="164"/>
                </a:cxn>
                <a:cxn ang="0">
                  <a:pos x="17" y="153"/>
                </a:cxn>
                <a:cxn ang="0">
                  <a:pos x="7" y="153"/>
                </a:cxn>
                <a:cxn ang="0">
                  <a:pos x="0" y="143"/>
                </a:cxn>
              </a:cxnLst>
              <a:rect l="0" t="0" r="r" b="b"/>
              <a:pathLst>
                <a:path w="132" h="190">
                  <a:moveTo>
                    <a:pt x="0" y="143"/>
                  </a:moveTo>
                  <a:lnTo>
                    <a:pt x="0" y="141"/>
                  </a:lnTo>
                  <a:lnTo>
                    <a:pt x="5" y="136"/>
                  </a:lnTo>
                  <a:lnTo>
                    <a:pt x="7" y="131"/>
                  </a:lnTo>
                  <a:lnTo>
                    <a:pt x="7" y="127"/>
                  </a:lnTo>
                  <a:lnTo>
                    <a:pt x="5" y="124"/>
                  </a:lnTo>
                  <a:lnTo>
                    <a:pt x="9" y="124"/>
                  </a:lnTo>
                  <a:lnTo>
                    <a:pt x="9" y="120"/>
                  </a:lnTo>
                  <a:lnTo>
                    <a:pt x="10" y="119"/>
                  </a:lnTo>
                  <a:lnTo>
                    <a:pt x="12" y="115"/>
                  </a:lnTo>
                  <a:lnTo>
                    <a:pt x="16" y="113"/>
                  </a:lnTo>
                  <a:lnTo>
                    <a:pt x="21" y="110"/>
                  </a:lnTo>
                  <a:lnTo>
                    <a:pt x="21" y="106"/>
                  </a:lnTo>
                  <a:lnTo>
                    <a:pt x="21" y="106"/>
                  </a:lnTo>
                  <a:lnTo>
                    <a:pt x="24" y="106"/>
                  </a:lnTo>
                  <a:lnTo>
                    <a:pt x="26" y="103"/>
                  </a:lnTo>
                  <a:lnTo>
                    <a:pt x="26" y="103"/>
                  </a:lnTo>
                  <a:lnTo>
                    <a:pt x="31" y="106"/>
                  </a:lnTo>
                  <a:lnTo>
                    <a:pt x="33" y="106"/>
                  </a:lnTo>
                  <a:lnTo>
                    <a:pt x="37" y="106"/>
                  </a:lnTo>
                  <a:lnTo>
                    <a:pt x="38" y="110"/>
                  </a:lnTo>
                  <a:lnTo>
                    <a:pt x="42" y="112"/>
                  </a:lnTo>
                  <a:lnTo>
                    <a:pt x="43" y="113"/>
                  </a:lnTo>
                  <a:lnTo>
                    <a:pt x="49" y="110"/>
                  </a:lnTo>
                  <a:lnTo>
                    <a:pt x="49" y="106"/>
                  </a:lnTo>
                  <a:lnTo>
                    <a:pt x="49" y="106"/>
                  </a:lnTo>
                  <a:lnTo>
                    <a:pt x="52" y="103"/>
                  </a:lnTo>
                  <a:lnTo>
                    <a:pt x="54" y="103"/>
                  </a:lnTo>
                  <a:lnTo>
                    <a:pt x="57" y="99"/>
                  </a:lnTo>
                  <a:lnTo>
                    <a:pt x="57" y="98"/>
                  </a:lnTo>
                  <a:lnTo>
                    <a:pt x="57" y="92"/>
                  </a:lnTo>
                  <a:lnTo>
                    <a:pt x="63" y="87"/>
                  </a:lnTo>
                  <a:lnTo>
                    <a:pt x="63" y="84"/>
                  </a:lnTo>
                  <a:lnTo>
                    <a:pt x="61" y="84"/>
                  </a:lnTo>
                  <a:lnTo>
                    <a:pt x="63" y="80"/>
                  </a:lnTo>
                  <a:lnTo>
                    <a:pt x="68" y="75"/>
                  </a:lnTo>
                  <a:lnTo>
                    <a:pt x="71" y="73"/>
                  </a:lnTo>
                  <a:lnTo>
                    <a:pt x="71" y="70"/>
                  </a:lnTo>
                  <a:lnTo>
                    <a:pt x="73" y="66"/>
                  </a:lnTo>
                  <a:lnTo>
                    <a:pt x="73" y="63"/>
                  </a:lnTo>
                  <a:lnTo>
                    <a:pt x="75" y="61"/>
                  </a:lnTo>
                  <a:lnTo>
                    <a:pt x="80" y="59"/>
                  </a:lnTo>
                  <a:lnTo>
                    <a:pt x="82" y="56"/>
                  </a:lnTo>
                  <a:lnTo>
                    <a:pt x="82" y="51"/>
                  </a:lnTo>
                  <a:lnTo>
                    <a:pt x="82" y="47"/>
                  </a:lnTo>
                  <a:lnTo>
                    <a:pt x="82" y="44"/>
                  </a:lnTo>
                  <a:lnTo>
                    <a:pt x="85" y="40"/>
                  </a:lnTo>
                  <a:lnTo>
                    <a:pt x="89" y="35"/>
                  </a:lnTo>
                  <a:lnTo>
                    <a:pt x="90" y="33"/>
                  </a:lnTo>
                  <a:lnTo>
                    <a:pt x="90" y="32"/>
                  </a:lnTo>
                  <a:lnTo>
                    <a:pt x="94" y="30"/>
                  </a:lnTo>
                  <a:lnTo>
                    <a:pt x="96" y="30"/>
                  </a:lnTo>
                  <a:lnTo>
                    <a:pt x="97" y="26"/>
                  </a:lnTo>
                  <a:lnTo>
                    <a:pt x="101" y="26"/>
                  </a:lnTo>
                  <a:lnTo>
                    <a:pt x="103" y="25"/>
                  </a:lnTo>
                  <a:lnTo>
                    <a:pt x="101" y="19"/>
                  </a:lnTo>
                  <a:lnTo>
                    <a:pt x="101" y="18"/>
                  </a:lnTo>
                  <a:lnTo>
                    <a:pt x="99" y="14"/>
                  </a:lnTo>
                  <a:lnTo>
                    <a:pt x="96" y="14"/>
                  </a:lnTo>
                  <a:lnTo>
                    <a:pt x="94" y="13"/>
                  </a:lnTo>
                  <a:lnTo>
                    <a:pt x="94" y="7"/>
                  </a:lnTo>
                  <a:lnTo>
                    <a:pt x="94" y="4"/>
                  </a:lnTo>
                  <a:lnTo>
                    <a:pt x="94" y="0"/>
                  </a:lnTo>
                  <a:lnTo>
                    <a:pt x="101" y="4"/>
                  </a:lnTo>
                  <a:lnTo>
                    <a:pt x="106" y="7"/>
                  </a:lnTo>
                  <a:lnTo>
                    <a:pt x="106" y="13"/>
                  </a:lnTo>
                  <a:lnTo>
                    <a:pt x="108" y="13"/>
                  </a:lnTo>
                  <a:lnTo>
                    <a:pt x="110" y="16"/>
                  </a:lnTo>
                  <a:lnTo>
                    <a:pt x="111" y="21"/>
                  </a:lnTo>
                  <a:lnTo>
                    <a:pt x="111" y="25"/>
                  </a:lnTo>
                  <a:lnTo>
                    <a:pt x="110" y="26"/>
                  </a:lnTo>
                  <a:lnTo>
                    <a:pt x="110" y="26"/>
                  </a:lnTo>
                  <a:lnTo>
                    <a:pt x="111" y="30"/>
                  </a:lnTo>
                  <a:lnTo>
                    <a:pt x="111" y="33"/>
                  </a:lnTo>
                  <a:lnTo>
                    <a:pt x="108" y="35"/>
                  </a:lnTo>
                  <a:lnTo>
                    <a:pt x="108" y="39"/>
                  </a:lnTo>
                  <a:lnTo>
                    <a:pt x="111" y="44"/>
                  </a:lnTo>
                  <a:lnTo>
                    <a:pt x="115" y="44"/>
                  </a:lnTo>
                  <a:lnTo>
                    <a:pt x="116" y="47"/>
                  </a:lnTo>
                  <a:lnTo>
                    <a:pt x="118" y="51"/>
                  </a:lnTo>
                  <a:lnTo>
                    <a:pt x="122" y="51"/>
                  </a:lnTo>
                  <a:lnTo>
                    <a:pt x="118" y="53"/>
                  </a:lnTo>
                  <a:lnTo>
                    <a:pt x="118" y="53"/>
                  </a:lnTo>
                  <a:lnTo>
                    <a:pt x="115" y="51"/>
                  </a:lnTo>
                  <a:lnTo>
                    <a:pt x="111" y="51"/>
                  </a:lnTo>
                  <a:lnTo>
                    <a:pt x="110" y="51"/>
                  </a:lnTo>
                  <a:lnTo>
                    <a:pt x="106" y="51"/>
                  </a:lnTo>
                  <a:lnTo>
                    <a:pt x="103" y="51"/>
                  </a:lnTo>
                  <a:lnTo>
                    <a:pt x="101" y="51"/>
                  </a:lnTo>
                  <a:lnTo>
                    <a:pt x="99" y="51"/>
                  </a:lnTo>
                  <a:lnTo>
                    <a:pt x="96" y="51"/>
                  </a:lnTo>
                  <a:lnTo>
                    <a:pt x="96" y="54"/>
                  </a:lnTo>
                  <a:lnTo>
                    <a:pt x="94" y="56"/>
                  </a:lnTo>
                  <a:lnTo>
                    <a:pt x="94" y="59"/>
                  </a:lnTo>
                  <a:lnTo>
                    <a:pt x="96" y="61"/>
                  </a:lnTo>
                  <a:lnTo>
                    <a:pt x="97" y="63"/>
                  </a:lnTo>
                  <a:lnTo>
                    <a:pt x="97" y="63"/>
                  </a:lnTo>
                  <a:lnTo>
                    <a:pt x="101" y="63"/>
                  </a:lnTo>
                  <a:lnTo>
                    <a:pt x="108" y="70"/>
                  </a:lnTo>
                  <a:lnTo>
                    <a:pt x="113" y="77"/>
                  </a:lnTo>
                  <a:lnTo>
                    <a:pt x="116" y="79"/>
                  </a:lnTo>
                  <a:lnTo>
                    <a:pt x="118" y="84"/>
                  </a:lnTo>
                  <a:lnTo>
                    <a:pt x="122" y="87"/>
                  </a:lnTo>
                  <a:lnTo>
                    <a:pt x="122" y="91"/>
                  </a:lnTo>
                  <a:lnTo>
                    <a:pt x="118" y="96"/>
                  </a:lnTo>
                  <a:lnTo>
                    <a:pt x="116" y="96"/>
                  </a:lnTo>
                  <a:lnTo>
                    <a:pt x="115" y="101"/>
                  </a:lnTo>
                  <a:lnTo>
                    <a:pt x="111" y="106"/>
                  </a:lnTo>
                  <a:lnTo>
                    <a:pt x="110" y="110"/>
                  </a:lnTo>
                  <a:lnTo>
                    <a:pt x="106" y="115"/>
                  </a:lnTo>
                  <a:lnTo>
                    <a:pt x="104" y="115"/>
                  </a:lnTo>
                  <a:lnTo>
                    <a:pt x="103" y="117"/>
                  </a:lnTo>
                  <a:lnTo>
                    <a:pt x="103" y="120"/>
                  </a:lnTo>
                  <a:lnTo>
                    <a:pt x="104" y="124"/>
                  </a:lnTo>
                  <a:lnTo>
                    <a:pt x="104" y="129"/>
                  </a:lnTo>
                  <a:lnTo>
                    <a:pt x="104" y="134"/>
                  </a:lnTo>
                  <a:lnTo>
                    <a:pt x="106" y="138"/>
                  </a:lnTo>
                  <a:lnTo>
                    <a:pt x="106" y="143"/>
                  </a:lnTo>
                  <a:lnTo>
                    <a:pt x="108" y="146"/>
                  </a:lnTo>
                  <a:lnTo>
                    <a:pt x="113" y="146"/>
                  </a:lnTo>
                  <a:lnTo>
                    <a:pt x="115" y="152"/>
                  </a:lnTo>
                  <a:lnTo>
                    <a:pt x="116" y="155"/>
                  </a:lnTo>
                  <a:lnTo>
                    <a:pt x="122" y="160"/>
                  </a:lnTo>
                  <a:lnTo>
                    <a:pt x="122" y="166"/>
                  </a:lnTo>
                  <a:lnTo>
                    <a:pt x="123" y="167"/>
                  </a:lnTo>
                  <a:lnTo>
                    <a:pt x="130" y="171"/>
                  </a:lnTo>
                  <a:lnTo>
                    <a:pt x="130" y="176"/>
                  </a:lnTo>
                  <a:lnTo>
                    <a:pt x="130" y="178"/>
                  </a:lnTo>
                  <a:lnTo>
                    <a:pt x="130" y="178"/>
                  </a:lnTo>
                  <a:lnTo>
                    <a:pt x="132" y="178"/>
                  </a:lnTo>
                  <a:lnTo>
                    <a:pt x="130" y="181"/>
                  </a:lnTo>
                  <a:lnTo>
                    <a:pt x="130" y="183"/>
                  </a:lnTo>
                  <a:lnTo>
                    <a:pt x="129" y="186"/>
                  </a:lnTo>
                  <a:lnTo>
                    <a:pt x="127" y="186"/>
                  </a:lnTo>
                  <a:lnTo>
                    <a:pt x="129" y="188"/>
                  </a:lnTo>
                  <a:lnTo>
                    <a:pt x="129" y="190"/>
                  </a:lnTo>
                  <a:lnTo>
                    <a:pt x="127" y="190"/>
                  </a:lnTo>
                  <a:lnTo>
                    <a:pt x="127" y="190"/>
                  </a:lnTo>
                  <a:lnTo>
                    <a:pt x="127" y="190"/>
                  </a:lnTo>
                  <a:lnTo>
                    <a:pt x="123" y="190"/>
                  </a:lnTo>
                  <a:lnTo>
                    <a:pt x="122" y="188"/>
                  </a:lnTo>
                  <a:lnTo>
                    <a:pt x="118" y="188"/>
                  </a:lnTo>
                  <a:lnTo>
                    <a:pt x="118" y="190"/>
                  </a:lnTo>
                  <a:lnTo>
                    <a:pt x="115" y="188"/>
                  </a:lnTo>
                  <a:lnTo>
                    <a:pt x="113" y="186"/>
                  </a:lnTo>
                  <a:lnTo>
                    <a:pt x="113" y="188"/>
                  </a:lnTo>
                  <a:lnTo>
                    <a:pt x="111" y="188"/>
                  </a:lnTo>
                  <a:lnTo>
                    <a:pt x="110" y="186"/>
                  </a:lnTo>
                  <a:lnTo>
                    <a:pt x="108" y="186"/>
                  </a:lnTo>
                  <a:lnTo>
                    <a:pt x="106" y="186"/>
                  </a:lnTo>
                  <a:lnTo>
                    <a:pt x="104" y="186"/>
                  </a:lnTo>
                  <a:lnTo>
                    <a:pt x="103" y="186"/>
                  </a:lnTo>
                  <a:lnTo>
                    <a:pt x="103" y="186"/>
                  </a:lnTo>
                  <a:lnTo>
                    <a:pt x="99" y="186"/>
                  </a:lnTo>
                  <a:lnTo>
                    <a:pt x="78" y="186"/>
                  </a:lnTo>
                  <a:lnTo>
                    <a:pt x="77" y="183"/>
                  </a:lnTo>
                  <a:lnTo>
                    <a:pt x="77" y="183"/>
                  </a:lnTo>
                  <a:lnTo>
                    <a:pt x="75" y="183"/>
                  </a:lnTo>
                  <a:lnTo>
                    <a:pt x="70" y="183"/>
                  </a:lnTo>
                  <a:lnTo>
                    <a:pt x="70" y="183"/>
                  </a:lnTo>
                  <a:lnTo>
                    <a:pt x="68" y="183"/>
                  </a:lnTo>
                  <a:lnTo>
                    <a:pt x="64" y="183"/>
                  </a:lnTo>
                  <a:lnTo>
                    <a:pt x="63" y="183"/>
                  </a:lnTo>
                  <a:lnTo>
                    <a:pt x="57" y="183"/>
                  </a:lnTo>
                  <a:lnTo>
                    <a:pt x="57" y="183"/>
                  </a:lnTo>
                  <a:lnTo>
                    <a:pt x="52" y="183"/>
                  </a:lnTo>
                  <a:lnTo>
                    <a:pt x="49" y="183"/>
                  </a:lnTo>
                  <a:lnTo>
                    <a:pt x="49" y="183"/>
                  </a:lnTo>
                  <a:lnTo>
                    <a:pt x="47" y="186"/>
                  </a:lnTo>
                  <a:lnTo>
                    <a:pt x="47" y="186"/>
                  </a:lnTo>
                  <a:lnTo>
                    <a:pt x="47" y="186"/>
                  </a:lnTo>
                  <a:lnTo>
                    <a:pt x="24" y="186"/>
                  </a:lnTo>
                  <a:lnTo>
                    <a:pt x="24" y="186"/>
                  </a:lnTo>
                  <a:lnTo>
                    <a:pt x="21" y="186"/>
                  </a:lnTo>
                  <a:lnTo>
                    <a:pt x="21" y="186"/>
                  </a:lnTo>
                  <a:lnTo>
                    <a:pt x="24" y="183"/>
                  </a:lnTo>
                  <a:lnTo>
                    <a:pt x="21" y="181"/>
                  </a:lnTo>
                  <a:lnTo>
                    <a:pt x="21" y="174"/>
                  </a:lnTo>
                  <a:lnTo>
                    <a:pt x="21" y="167"/>
                  </a:lnTo>
                  <a:lnTo>
                    <a:pt x="17" y="164"/>
                  </a:lnTo>
                  <a:lnTo>
                    <a:pt x="17" y="159"/>
                  </a:lnTo>
                  <a:lnTo>
                    <a:pt x="21" y="157"/>
                  </a:lnTo>
                  <a:lnTo>
                    <a:pt x="17" y="153"/>
                  </a:lnTo>
                  <a:lnTo>
                    <a:pt x="12" y="155"/>
                  </a:lnTo>
                  <a:lnTo>
                    <a:pt x="10" y="153"/>
                  </a:lnTo>
                  <a:lnTo>
                    <a:pt x="7" y="153"/>
                  </a:lnTo>
                  <a:lnTo>
                    <a:pt x="5" y="143"/>
                  </a:lnTo>
                  <a:lnTo>
                    <a:pt x="2" y="143"/>
                  </a:lnTo>
                  <a:lnTo>
                    <a:pt x="0" y="143"/>
                  </a:lnTo>
                  <a:lnTo>
                    <a:pt x="0" y="143"/>
                  </a:lnTo>
                  <a:lnTo>
                    <a:pt x="0" y="1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5" name="Freeform 131">
              <a:extLst>
                <a:ext uri="{FF2B5EF4-FFF2-40B4-BE49-F238E27FC236}">
                  <a16:creationId xmlns:a16="http://schemas.microsoft.com/office/drawing/2014/main" id="{94DF4C93-E746-4EE1-9D1F-DCB8C2252019}"/>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6" name="Freeform 132">
              <a:extLst>
                <a:ext uri="{FF2B5EF4-FFF2-40B4-BE49-F238E27FC236}">
                  <a16:creationId xmlns:a16="http://schemas.microsoft.com/office/drawing/2014/main" id="{A9E770F2-88EF-4FAD-9890-E63E14B09FCC}"/>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7" name="Freeform 133">
              <a:extLst>
                <a:ext uri="{FF2B5EF4-FFF2-40B4-BE49-F238E27FC236}">
                  <a16:creationId xmlns:a16="http://schemas.microsoft.com/office/drawing/2014/main" id="{3658B5FE-A377-48F6-A5DE-DFD01A615D2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8" name="Freeform 134">
              <a:extLst>
                <a:ext uri="{FF2B5EF4-FFF2-40B4-BE49-F238E27FC236}">
                  <a16:creationId xmlns:a16="http://schemas.microsoft.com/office/drawing/2014/main" id="{6B3A2145-E0E9-4797-B8B7-6B9B62236CD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9" name="Freeform 135">
              <a:extLst>
                <a:ext uri="{FF2B5EF4-FFF2-40B4-BE49-F238E27FC236}">
                  <a16:creationId xmlns:a16="http://schemas.microsoft.com/office/drawing/2014/main" id="{5399D908-4717-434C-96B0-C52E424ACA72}"/>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0" name="Freeform 136">
              <a:extLst>
                <a:ext uri="{FF2B5EF4-FFF2-40B4-BE49-F238E27FC236}">
                  <a16:creationId xmlns:a16="http://schemas.microsoft.com/office/drawing/2014/main" id="{98970B76-B607-4D1F-B017-C27A2A5DA6D7}"/>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1" name="Freeform 137">
              <a:extLst>
                <a:ext uri="{FF2B5EF4-FFF2-40B4-BE49-F238E27FC236}">
                  <a16:creationId xmlns:a16="http://schemas.microsoft.com/office/drawing/2014/main" id="{0704B9BD-CF98-42D3-8A1A-1C6426168FF7}"/>
                </a:ext>
              </a:extLst>
            </p:cNvPr>
            <p:cNvSpPr>
              <a:spLocks/>
            </p:cNvSpPr>
            <p:nvPr/>
          </p:nvSpPr>
          <p:spPr bwMode="auto">
            <a:xfrm>
              <a:off x="4779963" y="4383088"/>
              <a:ext cx="30163" cy="46038"/>
            </a:xfrm>
            <a:custGeom>
              <a:avLst/>
              <a:gdLst/>
              <a:ahLst/>
              <a:cxnLst>
                <a:cxn ang="0">
                  <a:pos x="19" y="8"/>
                </a:cxn>
                <a:cxn ang="0">
                  <a:pos x="19" y="3"/>
                </a:cxn>
                <a:cxn ang="0">
                  <a:pos x="19" y="0"/>
                </a:cxn>
                <a:cxn ang="0">
                  <a:pos x="14" y="0"/>
                </a:cxn>
                <a:cxn ang="0">
                  <a:pos x="14" y="0"/>
                </a:cxn>
                <a:cxn ang="0">
                  <a:pos x="11" y="3"/>
                </a:cxn>
                <a:cxn ang="0">
                  <a:pos x="7" y="3"/>
                </a:cxn>
                <a:cxn ang="0">
                  <a:pos x="7" y="7"/>
                </a:cxn>
                <a:cxn ang="0">
                  <a:pos x="5" y="8"/>
                </a:cxn>
                <a:cxn ang="0">
                  <a:pos x="2" y="8"/>
                </a:cxn>
                <a:cxn ang="0">
                  <a:pos x="2" y="14"/>
                </a:cxn>
                <a:cxn ang="0">
                  <a:pos x="0" y="14"/>
                </a:cxn>
                <a:cxn ang="0">
                  <a:pos x="2" y="17"/>
                </a:cxn>
                <a:cxn ang="0">
                  <a:pos x="2" y="24"/>
                </a:cxn>
                <a:cxn ang="0">
                  <a:pos x="2" y="28"/>
                </a:cxn>
                <a:cxn ang="0">
                  <a:pos x="2" y="29"/>
                </a:cxn>
                <a:cxn ang="0">
                  <a:pos x="7" y="28"/>
                </a:cxn>
                <a:cxn ang="0">
                  <a:pos x="11" y="24"/>
                </a:cxn>
                <a:cxn ang="0">
                  <a:pos x="11" y="24"/>
                </a:cxn>
                <a:cxn ang="0">
                  <a:pos x="11" y="15"/>
                </a:cxn>
                <a:cxn ang="0">
                  <a:pos x="11" y="14"/>
                </a:cxn>
                <a:cxn ang="0">
                  <a:pos x="16" y="10"/>
                </a:cxn>
                <a:cxn ang="0">
                  <a:pos x="19" y="8"/>
                </a:cxn>
                <a:cxn ang="0">
                  <a:pos x="19" y="8"/>
                </a:cxn>
                <a:cxn ang="0">
                  <a:pos x="19" y="8"/>
                </a:cxn>
              </a:cxnLst>
              <a:rect l="0" t="0" r="r" b="b"/>
              <a:pathLst>
                <a:path w="19" h="29">
                  <a:moveTo>
                    <a:pt x="19" y="8"/>
                  </a:moveTo>
                  <a:lnTo>
                    <a:pt x="19" y="3"/>
                  </a:lnTo>
                  <a:lnTo>
                    <a:pt x="19" y="0"/>
                  </a:lnTo>
                  <a:lnTo>
                    <a:pt x="14" y="0"/>
                  </a:lnTo>
                  <a:lnTo>
                    <a:pt x="14" y="0"/>
                  </a:lnTo>
                  <a:lnTo>
                    <a:pt x="11" y="3"/>
                  </a:lnTo>
                  <a:lnTo>
                    <a:pt x="7" y="3"/>
                  </a:lnTo>
                  <a:lnTo>
                    <a:pt x="7" y="7"/>
                  </a:lnTo>
                  <a:lnTo>
                    <a:pt x="5" y="8"/>
                  </a:lnTo>
                  <a:lnTo>
                    <a:pt x="2" y="8"/>
                  </a:lnTo>
                  <a:lnTo>
                    <a:pt x="2" y="14"/>
                  </a:lnTo>
                  <a:lnTo>
                    <a:pt x="0" y="14"/>
                  </a:lnTo>
                  <a:lnTo>
                    <a:pt x="2" y="17"/>
                  </a:lnTo>
                  <a:lnTo>
                    <a:pt x="2" y="24"/>
                  </a:lnTo>
                  <a:lnTo>
                    <a:pt x="2" y="28"/>
                  </a:lnTo>
                  <a:lnTo>
                    <a:pt x="2" y="29"/>
                  </a:lnTo>
                  <a:lnTo>
                    <a:pt x="7" y="28"/>
                  </a:lnTo>
                  <a:lnTo>
                    <a:pt x="11" y="24"/>
                  </a:lnTo>
                  <a:lnTo>
                    <a:pt x="11" y="24"/>
                  </a:lnTo>
                  <a:lnTo>
                    <a:pt x="11" y="15"/>
                  </a:lnTo>
                  <a:lnTo>
                    <a:pt x="11" y="14"/>
                  </a:lnTo>
                  <a:lnTo>
                    <a:pt x="16" y="10"/>
                  </a:lnTo>
                  <a:lnTo>
                    <a:pt x="19" y="8"/>
                  </a:lnTo>
                  <a:lnTo>
                    <a:pt x="19" y="8"/>
                  </a:lnTo>
                  <a:lnTo>
                    <a:pt x="19"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2" name="Freeform 138">
              <a:extLst>
                <a:ext uri="{FF2B5EF4-FFF2-40B4-BE49-F238E27FC236}">
                  <a16:creationId xmlns:a16="http://schemas.microsoft.com/office/drawing/2014/main" id="{23FC6397-F135-4C2A-86A6-BCBDF3334DB6}"/>
                </a:ext>
              </a:extLst>
            </p:cNvPr>
            <p:cNvSpPr>
              <a:spLocks/>
            </p:cNvSpPr>
            <p:nvPr/>
          </p:nvSpPr>
          <p:spPr bwMode="auto">
            <a:xfrm>
              <a:off x="5251450" y="4289426"/>
              <a:ext cx="301625" cy="311150"/>
            </a:xfrm>
            <a:custGeom>
              <a:avLst/>
              <a:gdLst/>
              <a:ahLst/>
              <a:cxnLst>
                <a:cxn ang="0">
                  <a:pos x="23" y="3"/>
                </a:cxn>
                <a:cxn ang="0">
                  <a:pos x="80" y="0"/>
                </a:cxn>
                <a:cxn ang="0">
                  <a:pos x="144" y="45"/>
                </a:cxn>
                <a:cxn ang="0">
                  <a:pos x="169" y="62"/>
                </a:cxn>
                <a:cxn ang="0">
                  <a:pos x="169" y="66"/>
                </a:cxn>
                <a:cxn ang="0">
                  <a:pos x="162" y="87"/>
                </a:cxn>
                <a:cxn ang="0">
                  <a:pos x="169" y="99"/>
                </a:cxn>
                <a:cxn ang="0">
                  <a:pos x="174" y="107"/>
                </a:cxn>
                <a:cxn ang="0">
                  <a:pos x="169" y="111"/>
                </a:cxn>
                <a:cxn ang="0">
                  <a:pos x="171" y="123"/>
                </a:cxn>
                <a:cxn ang="0">
                  <a:pos x="171" y="133"/>
                </a:cxn>
                <a:cxn ang="0">
                  <a:pos x="172" y="140"/>
                </a:cxn>
                <a:cxn ang="0">
                  <a:pos x="174" y="146"/>
                </a:cxn>
                <a:cxn ang="0">
                  <a:pos x="181" y="160"/>
                </a:cxn>
                <a:cxn ang="0">
                  <a:pos x="188" y="165"/>
                </a:cxn>
                <a:cxn ang="0">
                  <a:pos x="188" y="168"/>
                </a:cxn>
                <a:cxn ang="0">
                  <a:pos x="181" y="172"/>
                </a:cxn>
                <a:cxn ang="0">
                  <a:pos x="171" y="175"/>
                </a:cxn>
                <a:cxn ang="0">
                  <a:pos x="165" y="177"/>
                </a:cxn>
                <a:cxn ang="0">
                  <a:pos x="153" y="180"/>
                </a:cxn>
                <a:cxn ang="0">
                  <a:pos x="144" y="177"/>
                </a:cxn>
                <a:cxn ang="0">
                  <a:pos x="143" y="184"/>
                </a:cxn>
                <a:cxn ang="0">
                  <a:pos x="134" y="184"/>
                </a:cxn>
                <a:cxn ang="0">
                  <a:pos x="129" y="180"/>
                </a:cxn>
                <a:cxn ang="0">
                  <a:pos x="122" y="186"/>
                </a:cxn>
                <a:cxn ang="0">
                  <a:pos x="117" y="184"/>
                </a:cxn>
                <a:cxn ang="0">
                  <a:pos x="108" y="180"/>
                </a:cxn>
                <a:cxn ang="0">
                  <a:pos x="106" y="182"/>
                </a:cxn>
                <a:cxn ang="0">
                  <a:pos x="84" y="196"/>
                </a:cxn>
                <a:cxn ang="0">
                  <a:pos x="77" y="154"/>
                </a:cxn>
                <a:cxn ang="0">
                  <a:pos x="73" y="149"/>
                </a:cxn>
                <a:cxn ang="0">
                  <a:pos x="68" y="149"/>
                </a:cxn>
                <a:cxn ang="0">
                  <a:pos x="66" y="146"/>
                </a:cxn>
                <a:cxn ang="0">
                  <a:pos x="61" y="146"/>
                </a:cxn>
                <a:cxn ang="0">
                  <a:pos x="58" y="142"/>
                </a:cxn>
                <a:cxn ang="0">
                  <a:pos x="52" y="137"/>
                </a:cxn>
                <a:cxn ang="0">
                  <a:pos x="40" y="135"/>
                </a:cxn>
                <a:cxn ang="0">
                  <a:pos x="35" y="130"/>
                </a:cxn>
                <a:cxn ang="0">
                  <a:pos x="28" y="130"/>
                </a:cxn>
                <a:cxn ang="0">
                  <a:pos x="5" y="95"/>
                </a:cxn>
                <a:cxn ang="0">
                  <a:pos x="9" y="62"/>
                </a:cxn>
                <a:cxn ang="0">
                  <a:pos x="21" y="50"/>
                </a:cxn>
                <a:cxn ang="0">
                  <a:pos x="28" y="45"/>
                </a:cxn>
                <a:cxn ang="0">
                  <a:pos x="25" y="36"/>
                </a:cxn>
                <a:cxn ang="0">
                  <a:pos x="23" y="31"/>
                </a:cxn>
                <a:cxn ang="0">
                  <a:pos x="21" y="27"/>
                </a:cxn>
                <a:cxn ang="0">
                  <a:pos x="26" y="26"/>
                </a:cxn>
                <a:cxn ang="0">
                  <a:pos x="28" y="19"/>
                </a:cxn>
                <a:cxn ang="0">
                  <a:pos x="25" y="8"/>
                </a:cxn>
                <a:cxn ang="0">
                  <a:pos x="21" y="3"/>
                </a:cxn>
              </a:cxnLst>
              <a:rect l="0" t="0" r="r" b="b"/>
              <a:pathLst>
                <a:path w="190" h="196">
                  <a:moveTo>
                    <a:pt x="21" y="3"/>
                  </a:moveTo>
                  <a:lnTo>
                    <a:pt x="21" y="3"/>
                  </a:lnTo>
                  <a:lnTo>
                    <a:pt x="23" y="3"/>
                  </a:lnTo>
                  <a:lnTo>
                    <a:pt x="25" y="3"/>
                  </a:lnTo>
                  <a:lnTo>
                    <a:pt x="45" y="3"/>
                  </a:lnTo>
                  <a:lnTo>
                    <a:pt x="80" y="0"/>
                  </a:lnTo>
                  <a:lnTo>
                    <a:pt x="143" y="36"/>
                  </a:lnTo>
                  <a:lnTo>
                    <a:pt x="146" y="43"/>
                  </a:lnTo>
                  <a:lnTo>
                    <a:pt x="144" y="45"/>
                  </a:lnTo>
                  <a:lnTo>
                    <a:pt x="146" y="47"/>
                  </a:lnTo>
                  <a:lnTo>
                    <a:pt x="148" y="48"/>
                  </a:lnTo>
                  <a:lnTo>
                    <a:pt x="169" y="62"/>
                  </a:lnTo>
                  <a:lnTo>
                    <a:pt x="167" y="62"/>
                  </a:lnTo>
                  <a:lnTo>
                    <a:pt x="169" y="64"/>
                  </a:lnTo>
                  <a:lnTo>
                    <a:pt x="169" y="66"/>
                  </a:lnTo>
                  <a:lnTo>
                    <a:pt x="167" y="67"/>
                  </a:lnTo>
                  <a:lnTo>
                    <a:pt x="165" y="78"/>
                  </a:lnTo>
                  <a:lnTo>
                    <a:pt x="162" y="87"/>
                  </a:lnTo>
                  <a:lnTo>
                    <a:pt x="162" y="90"/>
                  </a:lnTo>
                  <a:lnTo>
                    <a:pt x="165" y="95"/>
                  </a:lnTo>
                  <a:lnTo>
                    <a:pt x="169" y="99"/>
                  </a:lnTo>
                  <a:lnTo>
                    <a:pt x="172" y="99"/>
                  </a:lnTo>
                  <a:lnTo>
                    <a:pt x="174" y="104"/>
                  </a:lnTo>
                  <a:lnTo>
                    <a:pt x="174" y="107"/>
                  </a:lnTo>
                  <a:lnTo>
                    <a:pt x="172" y="107"/>
                  </a:lnTo>
                  <a:lnTo>
                    <a:pt x="169" y="107"/>
                  </a:lnTo>
                  <a:lnTo>
                    <a:pt x="169" y="111"/>
                  </a:lnTo>
                  <a:lnTo>
                    <a:pt x="169" y="118"/>
                  </a:lnTo>
                  <a:lnTo>
                    <a:pt x="172" y="121"/>
                  </a:lnTo>
                  <a:lnTo>
                    <a:pt x="171" y="123"/>
                  </a:lnTo>
                  <a:lnTo>
                    <a:pt x="169" y="126"/>
                  </a:lnTo>
                  <a:lnTo>
                    <a:pt x="169" y="130"/>
                  </a:lnTo>
                  <a:lnTo>
                    <a:pt x="171" y="133"/>
                  </a:lnTo>
                  <a:lnTo>
                    <a:pt x="171" y="135"/>
                  </a:lnTo>
                  <a:lnTo>
                    <a:pt x="171" y="137"/>
                  </a:lnTo>
                  <a:lnTo>
                    <a:pt x="172" y="140"/>
                  </a:lnTo>
                  <a:lnTo>
                    <a:pt x="174" y="142"/>
                  </a:lnTo>
                  <a:lnTo>
                    <a:pt x="172" y="146"/>
                  </a:lnTo>
                  <a:lnTo>
                    <a:pt x="174" y="146"/>
                  </a:lnTo>
                  <a:lnTo>
                    <a:pt x="176" y="153"/>
                  </a:lnTo>
                  <a:lnTo>
                    <a:pt x="176" y="154"/>
                  </a:lnTo>
                  <a:lnTo>
                    <a:pt x="181" y="160"/>
                  </a:lnTo>
                  <a:lnTo>
                    <a:pt x="184" y="160"/>
                  </a:lnTo>
                  <a:lnTo>
                    <a:pt x="188" y="163"/>
                  </a:lnTo>
                  <a:lnTo>
                    <a:pt x="188" y="165"/>
                  </a:lnTo>
                  <a:lnTo>
                    <a:pt x="190" y="166"/>
                  </a:lnTo>
                  <a:lnTo>
                    <a:pt x="188" y="166"/>
                  </a:lnTo>
                  <a:lnTo>
                    <a:pt x="188" y="168"/>
                  </a:lnTo>
                  <a:lnTo>
                    <a:pt x="184" y="166"/>
                  </a:lnTo>
                  <a:lnTo>
                    <a:pt x="181" y="170"/>
                  </a:lnTo>
                  <a:lnTo>
                    <a:pt x="181" y="172"/>
                  </a:lnTo>
                  <a:lnTo>
                    <a:pt x="177" y="173"/>
                  </a:lnTo>
                  <a:lnTo>
                    <a:pt x="174" y="175"/>
                  </a:lnTo>
                  <a:lnTo>
                    <a:pt x="171" y="175"/>
                  </a:lnTo>
                  <a:lnTo>
                    <a:pt x="169" y="177"/>
                  </a:lnTo>
                  <a:lnTo>
                    <a:pt x="165" y="177"/>
                  </a:lnTo>
                  <a:lnTo>
                    <a:pt x="165" y="177"/>
                  </a:lnTo>
                  <a:lnTo>
                    <a:pt x="158" y="177"/>
                  </a:lnTo>
                  <a:lnTo>
                    <a:pt x="157" y="180"/>
                  </a:lnTo>
                  <a:lnTo>
                    <a:pt x="153" y="180"/>
                  </a:lnTo>
                  <a:lnTo>
                    <a:pt x="151" y="177"/>
                  </a:lnTo>
                  <a:lnTo>
                    <a:pt x="148" y="180"/>
                  </a:lnTo>
                  <a:lnTo>
                    <a:pt x="144" y="177"/>
                  </a:lnTo>
                  <a:lnTo>
                    <a:pt x="143" y="180"/>
                  </a:lnTo>
                  <a:lnTo>
                    <a:pt x="144" y="180"/>
                  </a:lnTo>
                  <a:lnTo>
                    <a:pt x="143" y="184"/>
                  </a:lnTo>
                  <a:lnTo>
                    <a:pt x="139" y="184"/>
                  </a:lnTo>
                  <a:lnTo>
                    <a:pt x="136" y="186"/>
                  </a:lnTo>
                  <a:lnTo>
                    <a:pt x="134" y="184"/>
                  </a:lnTo>
                  <a:lnTo>
                    <a:pt x="131" y="184"/>
                  </a:lnTo>
                  <a:lnTo>
                    <a:pt x="131" y="182"/>
                  </a:lnTo>
                  <a:lnTo>
                    <a:pt x="129" y="180"/>
                  </a:lnTo>
                  <a:lnTo>
                    <a:pt x="127" y="182"/>
                  </a:lnTo>
                  <a:lnTo>
                    <a:pt x="125" y="182"/>
                  </a:lnTo>
                  <a:lnTo>
                    <a:pt x="122" y="186"/>
                  </a:lnTo>
                  <a:lnTo>
                    <a:pt x="117" y="187"/>
                  </a:lnTo>
                  <a:lnTo>
                    <a:pt x="117" y="186"/>
                  </a:lnTo>
                  <a:lnTo>
                    <a:pt x="117" y="184"/>
                  </a:lnTo>
                  <a:lnTo>
                    <a:pt x="113" y="184"/>
                  </a:lnTo>
                  <a:lnTo>
                    <a:pt x="111" y="182"/>
                  </a:lnTo>
                  <a:lnTo>
                    <a:pt x="108" y="180"/>
                  </a:lnTo>
                  <a:lnTo>
                    <a:pt x="108" y="180"/>
                  </a:lnTo>
                  <a:lnTo>
                    <a:pt x="106" y="180"/>
                  </a:lnTo>
                  <a:lnTo>
                    <a:pt x="106" y="182"/>
                  </a:lnTo>
                  <a:lnTo>
                    <a:pt x="103" y="182"/>
                  </a:lnTo>
                  <a:lnTo>
                    <a:pt x="85" y="182"/>
                  </a:lnTo>
                  <a:lnTo>
                    <a:pt x="84" y="196"/>
                  </a:lnTo>
                  <a:lnTo>
                    <a:pt x="84" y="166"/>
                  </a:lnTo>
                  <a:lnTo>
                    <a:pt x="84" y="160"/>
                  </a:lnTo>
                  <a:lnTo>
                    <a:pt x="77" y="154"/>
                  </a:lnTo>
                  <a:lnTo>
                    <a:pt x="75" y="153"/>
                  </a:lnTo>
                  <a:lnTo>
                    <a:pt x="73" y="149"/>
                  </a:lnTo>
                  <a:lnTo>
                    <a:pt x="73" y="149"/>
                  </a:lnTo>
                  <a:lnTo>
                    <a:pt x="71" y="149"/>
                  </a:lnTo>
                  <a:lnTo>
                    <a:pt x="70" y="149"/>
                  </a:lnTo>
                  <a:lnTo>
                    <a:pt x="68" y="149"/>
                  </a:lnTo>
                  <a:lnTo>
                    <a:pt x="66" y="149"/>
                  </a:lnTo>
                  <a:lnTo>
                    <a:pt x="66" y="146"/>
                  </a:lnTo>
                  <a:lnTo>
                    <a:pt x="66" y="146"/>
                  </a:lnTo>
                  <a:lnTo>
                    <a:pt x="63" y="146"/>
                  </a:lnTo>
                  <a:lnTo>
                    <a:pt x="63" y="146"/>
                  </a:lnTo>
                  <a:lnTo>
                    <a:pt x="61" y="146"/>
                  </a:lnTo>
                  <a:lnTo>
                    <a:pt x="61" y="146"/>
                  </a:lnTo>
                  <a:lnTo>
                    <a:pt x="61" y="146"/>
                  </a:lnTo>
                  <a:lnTo>
                    <a:pt x="58" y="142"/>
                  </a:lnTo>
                  <a:lnTo>
                    <a:pt x="56" y="140"/>
                  </a:lnTo>
                  <a:lnTo>
                    <a:pt x="54" y="139"/>
                  </a:lnTo>
                  <a:lnTo>
                    <a:pt x="52" y="137"/>
                  </a:lnTo>
                  <a:lnTo>
                    <a:pt x="51" y="137"/>
                  </a:lnTo>
                  <a:lnTo>
                    <a:pt x="44" y="135"/>
                  </a:lnTo>
                  <a:lnTo>
                    <a:pt x="40" y="135"/>
                  </a:lnTo>
                  <a:lnTo>
                    <a:pt x="38" y="132"/>
                  </a:lnTo>
                  <a:lnTo>
                    <a:pt x="35" y="132"/>
                  </a:lnTo>
                  <a:lnTo>
                    <a:pt x="35" y="130"/>
                  </a:lnTo>
                  <a:lnTo>
                    <a:pt x="32" y="130"/>
                  </a:lnTo>
                  <a:lnTo>
                    <a:pt x="30" y="130"/>
                  </a:lnTo>
                  <a:lnTo>
                    <a:pt x="28" y="130"/>
                  </a:lnTo>
                  <a:lnTo>
                    <a:pt x="21" y="126"/>
                  </a:lnTo>
                  <a:lnTo>
                    <a:pt x="18" y="113"/>
                  </a:lnTo>
                  <a:lnTo>
                    <a:pt x="5" y="95"/>
                  </a:lnTo>
                  <a:lnTo>
                    <a:pt x="2" y="76"/>
                  </a:lnTo>
                  <a:lnTo>
                    <a:pt x="0" y="62"/>
                  </a:lnTo>
                  <a:lnTo>
                    <a:pt x="9" y="62"/>
                  </a:lnTo>
                  <a:lnTo>
                    <a:pt x="12" y="60"/>
                  </a:lnTo>
                  <a:lnTo>
                    <a:pt x="18" y="55"/>
                  </a:lnTo>
                  <a:lnTo>
                    <a:pt x="21" y="50"/>
                  </a:lnTo>
                  <a:lnTo>
                    <a:pt x="23" y="50"/>
                  </a:lnTo>
                  <a:lnTo>
                    <a:pt x="25" y="48"/>
                  </a:lnTo>
                  <a:lnTo>
                    <a:pt x="28" y="45"/>
                  </a:lnTo>
                  <a:lnTo>
                    <a:pt x="28" y="41"/>
                  </a:lnTo>
                  <a:lnTo>
                    <a:pt x="28" y="36"/>
                  </a:lnTo>
                  <a:lnTo>
                    <a:pt x="25" y="36"/>
                  </a:lnTo>
                  <a:lnTo>
                    <a:pt x="25" y="34"/>
                  </a:lnTo>
                  <a:lnTo>
                    <a:pt x="23" y="33"/>
                  </a:lnTo>
                  <a:lnTo>
                    <a:pt x="23" y="31"/>
                  </a:lnTo>
                  <a:lnTo>
                    <a:pt x="21" y="31"/>
                  </a:lnTo>
                  <a:lnTo>
                    <a:pt x="21" y="27"/>
                  </a:lnTo>
                  <a:lnTo>
                    <a:pt x="21" y="27"/>
                  </a:lnTo>
                  <a:lnTo>
                    <a:pt x="23" y="27"/>
                  </a:lnTo>
                  <a:lnTo>
                    <a:pt x="26" y="27"/>
                  </a:lnTo>
                  <a:lnTo>
                    <a:pt x="26" y="26"/>
                  </a:lnTo>
                  <a:lnTo>
                    <a:pt x="28" y="26"/>
                  </a:lnTo>
                  <a:lnTo>
                    <a:pt x="28" y="22"/>
                  </a:lnTo>
                  <a:lnTo>
                    <a:pt x="28" y="19"/>
                  </a:lnTo>
                  <a:lnTo>
                    <a:pt x="26" y="13"/>
                  </a:lnTo>
                  <a:lnTo>
                    <a:pt x="25" y="12"/>
                  </a:lnTo>
                  <a:lnTo>
                    <a:pt x="25" y="8"/>
                  </a:lnTo>
                  <a:lnTo>
                    <a:pt x="23" y="7"/>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3" name="Freeform 139">
              <a:extLst>
                <a:ext uri="{FF2B5EF4-FFF2-40B4-BE49-F238E27FC236}">
                  <a16:creationId xmlns:a16="http://schemas.microsoft.com/office/drawing/2014/main" id="{A52316FF-E9D3-4688-AD93-DCF024A39B75}"/>
                </a:ext>
              </a:extLst>
            </p:cNvPr>
            <p:cNvSpPr>
              <a:spLocks/>
            </p:cNvSpPr>
            <p:nvPr/>
          </p:nvSpPr>
          <p:spPr bwMode="auto">
            <a:xfrm>
              <a:off x="5235575" y="4297363"/>
              <a:ext cx="55563" cy="46038"/>
            </a:xfrm>
            <a:custGeom>
              <a:avLst/>
              <a:gdLst/>
              <a:ahLst/>
              <a:cxnLst>
                <a:cxn ang="0">
                  <a:pos x="10" y="5"/>
                </a:cxn>
                <a:cxn ang="0">
                  <a:pos x="12" y="5"/>
                </a:cxn>
                <a:cxn ang="0">
                  <a:pos x="14" y="3"/>
                </a:cxn>
                <a:cxn ang="0">
                  <a:pos x="15" y="2"/>
                </a:cxn>
                <a:cxn ang="0">
                  <a:pos x="19" y="3"/>
                </a:cxn>
                <a:cxn ang="0">
                  <a:pos x="19" y="3"/>
                </a:cxn>
                <a:cxn ang="0">
                  <a:pos x="24" y="3"/>
                </a:cxn>
                <a:cxn ang="0">
                  <a:pos x="24" y="3"/>
                </a:cxn>
                <a:cxn ang="0">
                  <a:pos x="24" y="0"/>
                </a:cxn>
                <a:cxn ang="0">
                  <a:pos x="28" y="0"/>
                </a:cxn>
                <a:cxn ang="0">
                  <a:pos x="29" y="3"/>
                </a:cxn>
                <a:cxn ang="0">
                  <a:pos x="31" y="5"/>
                </a:cxn>
                <a:cxn ang="0">
                  <a:pos x="31" y="8"/>
                </a:cxn>
                <a:cxn ang="0">
                  <a:pos x="33" y="10"/>
                </a:cxn>
                <a:cxn ang="0">
                  <a:pos x="35" y="15"/>
                </a:cxn>
                <a:cxn ang="0">
                  <a:pos x="35" y="19"/>
                </a:cxn>
                <a:cxn ang="0">
                  <a:pos x="35" y="22"/>
                </a:cxn>
                <a:cxn ang="0">
                  <a:pos x="33" y="22"/>
                </a:cxn>
                <a:cxn ang="0">
                  <a:pos x="33" y="24"/>
                </a:cxn>
                <a:cxn ang="0">
                  <a:pos x="29" y="24"/>
                </a:cxn>
                <a:cxn ang="0">
                  <a:pos x="28" y="24"/>
                </a:cxn>
                <a:cxn ang="0">
                  <a:pos x="28" y="24"/>
                </a:cxn>
                <a:cxn ang="0">
                  <a:pos x="28" y="22"/>
                </a:cxn>
                <a:cxn ang="0">
                  <a:pos x="28" y="22"/>
                </a:cxn>
                <a:cxn ang="0">
                  <a:pos x="24" y="19"/>
                </a:cxn>
                <a:cxn ang="0">
                  <a:pos x="24" y="19"/>
                </a:cxn>
                <a:cxn ang="0">
                  <a:pos x="22" y="19"/>
                </a:cxn>
                <a:cxn ang="0">
                  <a:pos x="19" y="19"/>
                </a:cxn>
                <a:cxn ang="0">
                  <a:pos x="19" y="22"/>
                </a:cxn>
                <a:cxn ang="0">
                  <a:pos x="19" y="28"/>
                </a:cxn>
                <a:cxn ang="0">
                  <a:pos x="19" y="28"/>
                </a:cxn>
                <a:cxn ang="0">
                  <a:pos x="15" y="29"/>
                </a:cxn>
                <a:cxn ang="0">
                  <a:pos x="14" y="28"/>
                </a:cxn>
                <a:cxn ang="0">
                  <a:pos x="12" y="28"/>
                </a:cxn>
                <a:cxn ang="0">
                  <a:pos x="12" y="29"/>
                </a:cxn>
                <a:cxn ang="0">
                  <a:pos x="9" y="28"/>
                </a:cxn>
                <a:cxn ang="0">
                  <a:pos x="7" y="24"/>
                </a:cxn>
                <a:cxn ang="0">
                  <a:pos x="5" y="24"/>
                </a:cxn>
                <a:cxn ang="0">
                  <a:pos x="2" y="24"/>
                </a:cxn>
                <a:cxn ang="0">
                  <a:pos x="0" y="24"/>
                </a:cxn>
                <a:cxn ang="0">
                  <a:pos x="0" y="22"/>
                </a:cxn>
                <a:cxn ang="0">
                  <a:pos x="3" y="10"/>
                </a:cxn>
                <a:cxn ang="0">
                  <a:pos x="7" y="8"/>
                </a:cxn>
                <a:cxn ang="0">
                  <a:pos x="10" y="5"/>
                </a:cxn>
                <a:cxn ang="0">
                  <a:pos x="10" y="5"/>
                </a:cxn>
                <a:cxn ang="0">
                  <a:pos x="10" y="5"/>
                </a:cxn>
              </a:cxnLst>
              <a:rect l="0" t="0" r="r" b="b"/>
              <a:pathLst>
                <a:path w="35" h="29">
                  <a:moveTo>
                    <a:pt x="10" y="5"/>
                  </a:moveTo>
                  <a:lnTo>
                    <a:pt x="12" y="5"/>
                  </a:lnTo>
                  <a:lnTo>
                    <a:pt x="14" y="3"/>
                  </a:lnTo>
                  <a:lnTo>
                    <a:pt x="15" y="2"/>
                  </a:lnTo>
                  <a:lnTo>
                    <a:pt x="19" y="3"/>
                  </a:lnTo>
                  <a:lnTo>
                    <a:pt x="19" y="3"/>
                  </a:lnTo>
                  <a:lnTo>
                    <a:pt x="24" y="3"/>
                  </a:lnTo>
                  <a:lnTo>
                    <a:pt x="24" y="3"/>
                  </a:lnTo>
                  <a:lnTo>
                    <a:pt x="24" y="0"/>
                  </a:lnTo>
                  <a:lnTo>
                    <a:pt x="28" y="0"/>
                  </a:lnTo>
                  <a:lnTo>
                    <a:pt x="29" y="3"/>
                  </a:lnTo>
                  <a:lnTo>
                    <a:pt x="31" y="5"/>
                  </a:lnTo>
                  <a:lnTo>
                    <a:pt x="31" y="8"/>
                  </a:lnTo>
                  <a:lnTo>
                    <a:pt x="33" y="10"/>
                  </a:lnTo>
                  <a:lnTo>
                    <a:pt x="35" y="15"/>
                  </a:lnTo>
                  <a:lnTo>
                    <a:pt x="35" y="19"/>
                  </a:lnTo>
                  <a:lnTo>
                    <a:pt x="35" y="22"/>
                  </a:lnTo>
                  <a:lnTo>
                    <a:pt x="33" y="22"/>
                  </a:lnTo>
                  <a:lnTo>
                    <a:pt x="33" y="24"/>
                  </a:lnTo>
                  <a:lnTo>
                    <a:pt x="29" y="24"/>
                  </a:lnTo>
                  <a:lnTo>
                    <a:pt x="28" y="24"/>
                  </a:lnTo>
                  <a:lnTo>
                    <a:pt x="28" y="24"/>
                  </a:lnTo>
                  <a:lnTo>
                    <a:pt x="28" y="22"/>
                  </a:lnTo>
                  <a:lnTo>
                    <a:pt x="28" y="22"/>
                  </a:lnTo>
                  <a:lnTo>
                    <a:pt x="24" y="19"/>
                  </a:lnTo>
                  <a:lnTo>
                    <a:pt x="24" y="19"/>
                  </a:lnTo>
                  <a:lnTo>
                    <a:pt x="22" y="19"/>
                  </a:lnTo>
                  <a:lnTo>
                    <a:pt x="19" y="19"/>
                  </a:lnTo>
                  <a:lnTo>
                    <a:pt x="19" y="22"/>
                  </a:lnTo>
                  <a:lnTo>
                    <a:pt x="19" y="28"/>
                  </a:lnTo>
                  <a:lnTo>
                    <a:pt x="19" y="28"/>
                  </a:lnTo>
                  <a:lnTo>
                    <a:pt x="15" y="29"/>
                  </a:lnTo>
                  <a:lnTo>
                    <a:pt x="14" y="28"/>
                  </a:lnTo>
                  <a:lnTo>
                    <a:pt x="12" y="28"/>
                  </a:lnTo>
                  <a:lnTo>
                    <a:pt x="12" y="29"/>
                  </a:lnTo>
                  <a:lnTo>
                    <a:pt x="9" y="28"/>
                  </a:lnTo>
                  <a:lnTo>
                    <a:pt x="7" y="24"/>
                  </a:lnTo>
                  <a:lnTo>
                    <a:pt x="5" y="24"/>
                  </a:lnTo>
                  <a:lnTo>
                    <a:pt x="2" y="24"/>
                  </a:lnTo>
                  <a:lnTo>
                    <a:pt x="0" y="24"/>
                  </a:lnTo>
                  <a:lnTo>
                    <a:pt x="0" y="22"/>
                  </a:lnTo>
                  <a:lnTo>
                    <a:pt x="3" y="10"/>
                  </a:lnTo>
                  <a:lnTo>
                    <a:pt x="7" y="8"/>
                  </a:lnTo>
                  <a:lnTo>
                    <a:pt x="10" y="5"/>
                  </a:lnTo>
                  <a:lnTo>
                    <a:pt x="10" y="5"/>
                  </a:lnTo>
                  <a:lnTo>
                    <a:pt x="10"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4" name="Freeform 140">
              <a:extLst>
                <a:ext uri="{FF2B5EF4-FFF2-40B4-BE49-F238E27FC236}">
                  <a16:creationId xmlns:a16="http://schemas.microsoft.com/office/drawing/2014/main" id="{78D98B64-62CC-414B-B2A2-C17AAF8F2C5E}"/>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5" name="Freeform 141">
              <a:extLst>
                <a:ext uri="{FF2B5EF4-FFF2-40B4-BE49-F238E27FC236}">
                  <a16:creationId xmlns:a16="http://schemas.microsoft.com/office/drawing/2014/main" id="{D142D07A-BB59-4C51-A0E4-EC99B0A41364}"/>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6" name="Freeform 142">
              <a:extLst>
                <a:ext uri="{FF2B5EF4-FFF2-40B4-BE49-F238E27FC236}">
                  <a16:creationId xmlns:a16="http://schemas.microsoft.com/office/drawing/2014/main" id="{05980683-4777-4605-981E-4404EE0B1585}"/>
                </a:ext>
              </a:extLst>
            </p:cNvPr>
            <p:cNvSpPr>
              <a:spLocks/>
            </p:cNvSpPr>
            <p:nvPr/>
          </p:nvSpPr>
          <p:spPr bwMode="auto">
            <a:xfrm>
              <a:off x="4779963" y="4119563"/>
              <a:ext cx="519113" cy="511175"/>
            </a:xfrm>
            <a:custGeom>
              <a:avLst/>
              <a:gdLst/>
              <a:ahLst/>
              <a:cxnLst>
                <a:cxn ang="0">
                  <a:pos x="9" y="178"/>
                </a:cxn>
                <a:cxn ang="0">
                  <a:pos x="21" y="174"/>
                </a:cxn>
                <a:cxn ang="0">
                  <a:pos x="37" y="166"/>
                </a:cxn>
                <a:cxn ang="0">
                  <a:pos x="45" y="174"/>
                </a:cxn>
                <a:cxn ang="0">
                  <a:pos x="66" y="159"/>
                </a:cxn>
                <a:cxn ang="0">
                  <a:pos x="68" y="131"/>
                </a:cxn>
                <a:cxn ang="0">
                  <a:pos x="84" y="112"/>
                </a:cxn>
                <a:cxn ang="0">
                  <a:pos x="99" y="87"/>
                </a:cxn>
                <a:cxn ang="0">
                  <a:pos x="103" y="65"/>
                </a:cxn>
                <a:cxn ang="0">
                  <a:pos x="115" y="39"/>
                </a:cxn>
                <a:cxn ang="0">
                  <a:pos x="113" y="16"/>
                </a:cxn>
                <a:cxn ang="0">
                  <a:pos x="118" y="7"/>
                </a:cxn>
                <a:cxn ang="0">
                  <a:pos x="130" y="2"/>
                </a:cxn>
                <a:cxn ang="0">
                  <a:pos x="146" y="16"/>
                </a:cxn>
                <a:cxn ang="0">
                  <a:pos x="165" y="16"/>
                </a:cxn>
                <a:cxn ang="0">
                  <a:pos x="176" y="16"/>
                </a:cxn>
                <a:cxn ang="0">
                  <a:pos x="190" y="11"/>
                </a:cxn>
                <a:cxn ang="0">
                  <a:pos x="212" y="2"/>
                </a:cxn>
                <a:cxn ang="0">
                  <a:pos x="223" y="6"/>
                </a:cxn>
                <a:cxn ang="0">
                  <a:pos x="229" y="0"/>
                </a:cxn>
                <a:cxn ang="0">
                  <a:pos x="245" y="4"/>
                </a:cxn>
                <a:cxn ang="0">
                  <a:pos x="266" y="4"/>
                </a:cxn>
                <a:cxn ang="0">
                  <a:pos x="280" y="16"/>
                </a:cxn>
                <a:cxn ang="0">
                  <a:pos x="290" y="14"/>
                </a:cxn>
                <a:cxn ang="0">
                  <a:pos x="304" y="9"/>
                </a:cxn>
                <a:cxn ang="0">
                  <a:pos x="316" y="23"/>
                </a:cxn>
                <a:cxn ang="0">
                  <a:pos x="325" y="30"/>
                </a:cxn>
                <a:cxn ang="0">
                  <a:pos x="323" y="51"/>
                </a:cxn>
                <a:cxn ang="0">
                  <a:pos x="311" y="79"/>
                </a:cxn>
                <a:cxn ang="0">
                  <a:pos x="301" y="114"/>
                </a:cxn>
                <a:cxn ang="0">
                  <a:pos x="292" y="143"/>
                </a:cxn>
                <a:cxn ang="0">
                  <a:pos x="315" y="232"/>
                </a:cxn>
                <a:cxn ang="0">
                  <a:pos x="285" y="260"/>
                </a:cxn>
                <a:cxn ang="0">
                  <a:pos x="282" y="273"/>
                </a:cxn>
                <a:cxn ang="0">
                  <a:pos x="276" y="293"/>
                </a:cxn>
                <a:cxn ang="0">
                  <a:pos x="296" y="305"/>
                </a:cxn>
                <a:cxn ang="0">
                  <a:pos x="301" y="322"/>
                </a:cxn>
                <a:cxn ang="0">
                  <a:pos x="289" y="322"/>
                </a:cxn>
                <a:cxn ang="0">
                  <a:pos x="266" y="301"/>
                </a:cxn>
                <a:cxn ang="0">
                  <a:pos x="254" y="291"/>
                </a:cxn>
                <a:cxn ang="0">
                  <a:pos x="242" y="300"/>
                </a:cxn>
                <a:cxn ang="0">
                  <a:pos x="224" y="293"/>
                </a:cxn>
                <a:cxn ang="0">
                  <a:pos x="217" y="284"/>
                </a:cxn>
                <a:cxn ang="0">
                  <a:pos x="207" y="287"/>
                </a:cxn>
                <a:cxn ang="0">
                  <a:pos x="202" y="280"/>
                </a:cxn>
                <a:cxn ang="0">
                  <a:pos x="188" y="284"/>
                </a:cxn>
                <a:cxn ang="0">
                  <a:pos x="176" y="282"/>
                </a:cxn>
                <a:cxn ang="0">
                  <a:pos x="172" y="277"/>
                </a:cxn>
                <a:cxn ang="0">
                  <a:pos x="170" y="265"/>
                </a:cxn>
                <a:cxn ang="0">
                  <a:pos x="167" y="256"/>
                </a:cxn>
                <a:cxn ang="0">
                  <a:pos x="165" y="240"/>
                </a:cxn>
                <a:cxn ang="0">
                  <a:pos x="163" y="227"/>
                </a:cxn>
                <a:cxn ang="0">
                  <a:pos x="144" y="214"/>
                </a:cxn>
                <a:cxn ang="0">
                  <a:pos x="122" y="216"/>
                </a:cxn>
                <a:cxn ang="0">
                  <a:pos x="106" y="230"/>
                </a:cxn>
                <a:cxn ang="0">
                  <a:pos x="89" y="223"/>
                </a:cxn>
                <a:cxn ang="0">
                  <a:pos x="80" y="209"/>
                </a:cxn>
                <a:cxn ang="0">
                  <a:pos x="77" y="197"/>
                </a:cxn>
                <a:cxn ang="0">
                  <a:pos x="37" y="192"/>
                </a:cxn>
                <a:cxn ang="0">
                  <a:pos x="18" y="192"/>
                </a:cxn>
                <a:cxn ang="0">
                  <a:pos x="9" y="195"/>
                </a:cxn>
                <a:cxn ang="0">
                  <a:pos x="0" y="192"/>
                </a:cxn>
              </a:cxnLst>
              <a:rect l="0" t="0" r="r" b="b"/>
              <a:pathLst>
                <a:path w="327" h="322">
                  <a:moveTo>
                    <a:pt x="0" y="192"/>
                  </a:moveTo>
                  <a:lnTo>
                    <a:pt x="4" y="190"/>
                  </a:lnTo>
                  <a:lnTo>
                    <a:pt x="7" y="188"/>
                  </a:lnTo>
                  <a:lnTo>
                    <a:pt x="9" y="187"/>
                  </a:lnTo>
                  <a:lnTo>
                    <a:pt x="9" y="180"/>
                  </a:lnTo>
                  <a:lnTo>
                    <a:pt x="9" y="178"/>
                  </a:lnTo>
                  <a:lnTo>
                    <a:pt x="14" y="174"/>
                  </a:lnTo>
                  <a:lnTo>
                    <a:pt x="18" y="173"/>
                  </a:lnTo>
                  <a:lnTo>
                    <a:pt x="18" y="173"/>
                  </a:lnTo>
                  <a:lnTo>
                    <a:pt x="21" y="173"/>
                  </a:lnTo>
                  <a:lnTo>
                    <a:pt x="21" y="173"/>
                  </a:lnTo>
                  <a:lnTo>
                    <a:pt x="21" y="174"/>
                  </a:lnTo>
                  <a:lnTo>
                    <a:pt x="26" y="174"/>
                  </a:lnTo>
                  <a:lnTo>
                    <a:pt x="26" y="173"/>
                  </a:lnTo>
                  <a:lnTo>
                    <a:pt x="30" y="169"/>
                  </a:lnTo>
                  <a:lnTo>
                    <a:pt x="30" y="169"/>
                  </a:lnTo>
                  <a:lnTo>
                    <a:pt x="31" y="169"/>
                  </a:lnTo>
                  <a:lnTo>
                    <a:pt x="37" y="166"/>
                  </a:lnTo>
                  <a:lnTo>
                    <a:pt x="40" y="164"/>
                  </a:lnTo>
                  <a:lnTo>
                    <a:pt x="40" y="166"/>
                  </a:lnTo>
                  <a:lnTo>
                    <a:pt x="38" y="169"/>
                  </a:lnTo>
                  <a:lnTo>
                    <a:pt x="40" y="169"/>
                  </a:lnTo>
                  <a:lnTo>
                    <a:pt x="40" y="173"/>
                  </a:lnTo>
                  <a:lnTo>
                    <a:pt x="45" y="174"/>
                  </a:lnTo>
                  <a:lnTo>
                    <a:pt x="49" y="173"/>
                  </a:lnTo>
                  <a:lnTo>
                    <a:pt x="52" y="169"/>
                  </a:lnTo>
                  <a:lnTo>
                    <a:pt x="57" y="164"/>
                  </a:lnTo>
                  <a:lnTo>
                    <a:pt x="59" y="160"/>
                  </a:lnTo>
                  <a:lnTo>
                    <a:pt x="63" y="159"/>
                  </a:lnTo>
                  <a:lnTo>
                    <a:pt x="66" y="159"/>
                  </a:lnTo>
                  <a:lnTo>
                    <a:pt x="68" y="154"/>
                  </a:lnTo>
                  <a:lnTo>
                    <a:pt x="68" y="150"/>
                  </a:lnTo>
                  <a:lnTo>
                    <a:pt x="68" y="147"/>
                  </a:lnTo>
                  <a:lnTo>
                    <a:pt x="68" y="136"/>
                  </a:lnTo>
                  <a:lnTo>
                    <a:pt x="68" y="136"/>
                  </a:lnTo>
                  <a:lnTo>
                    <a:pt x="68" y="131"/>
                  </a:lnTo>
                  <a:lnTo>
                    <a:pt x="68" y="127"/>
                  </a:lnTo>
                  <a:lnTo>
                    <a:pt x="75" y="120"/>
                  </a:lnTo>
                  <a:lnTo>
                    <a:pt x="75" y="119"/>
                  </a:lnTo>
                  <a:lnTo>
                    <a:pt x="80" y="114"/>
                  </a:lnTo>
                  <a:lnTo>
                    <a:pt x="82" y="112"/>
                  </a:lnTo>
                  <a:lnTo>
                    <a:pt x="84" y="112"/>
                  </a:lnTo>
                  <a:lnTo>
                    <a:pt x="87" y="110"/>
                  </a:lnTo>
                  <a:lnTo>
                    <a:pt x="90" y="108"/>
                  </a:lnTo>
                  <a:lnTo>
                    <a:pt x="97" y="100"/>
                  </a:lnTo>
                  <a:lnTo>
                    <a:pt x="97" y="93"/>
                  </a:lnTo>
                  <a:lnTo>
                    <a:pt x="99" y="89"/>
                  </a:lnTo>
                  <a:lnTo>
                    <a:pt x="99" y="87"/>
                  </a:lnTo>
                  <a:lnTo>
                    <a:pt x="99" y="82"/>
                  </a:lnTo>
                  <a:lnTo>
                    <a:pt x="99" y="80"/>
                  </a:lnTo>
                  <a:lnTo>
                    <a:pt x="99" y="75"/>
                  </a:lnTo>
                  <a:lnTo>
                    <a:pt x="99" y="74"/>
                  </a:lnTo>
                  <a:lnTo>
                    <a:pt x="99" y="70"/>
                  </a:lnTo>
                  <a:lnTo>
                    <a:pt x="103" y="65"/>
                  </a:lnTo>
                  <a:lnTo>
                    <a:pt x="103" y="63"/>
                  </a:lnTo>
                  <a:lnTo>
                    <a:pt x="104" y="58"/>
                  </a:lnTo>
                  <a:lnTo>
                    <a:pt x="103" y="53"/>
                  </a:lnTo>
                  <a:lnTo>
                    <a:pt x="110" y="42"/>
                  </a:lnTo>
                  <a:lnTo>
                    <a:pt x="111" y="40"/>
                  </a:lnTo>
                  <a:lnTo>
                    <a:pt x="115" y="39"/>
                  </a:lnTo>
                  <a:lnTo>
                    <a:pt x="115" y="32"/>
                  </a:lnTo>
                  <a:lnTo>
                    <a:pt x="113" y="28"/>
                  </a:lnTo>
                  <a:lnTo>
                    <a:pt x="113" y="23"/>
                  </a:lnTo>
                  <a:lnTo>
                    <a:pt x="113" y="23"/>
                  </a:lnTo>
                  <a:lnTo>
                    <a:pt x="115" y="20"/>
                  </a:lnTo>
                  <a:lnTo>
                    <a:pt x="113" y="16"/>
                  </a:lnTo>
                  <a:lnTo>
                    <a:pt x="113" y="16"/>
                  </a:lnTo>
                  <a:lnTo>
                    <a:pt x="115" y="16"/>
                  </a:lnTo>
                  <a:lnTo>
                    <a:pt x="117" y="14"/>
                  </a:lnTo>
                  <a:lnTo>
                    <a:pt x="117" y="11"/>
                  </a:lnTo>
                  <a:lnTo>
                    <a:pt x="118" y="9"/>
                  </a:lnTo>
                  <a:lnTo>
                    <a:pt x="118" y="7"/>
                  </a:lnTo>
                  <a:lnTo>
                    <a:pt x="120" y="6"/>
                  </a:lnTo>
                  <a:lnTo>
                    <a:pt x="122" y="6"/>
                  </a:lnTo>
                  <a:lnTo>
                    <a:pt x="125" y="4"/>
                  </a:lnTo>
                  <a:lnTo>
                    <a:pt x="125" y="4"/>
                  </a:lnTo>
                  <a:lnTo>
                    <a:pt x="127" y="2"/>
                  </a:lnTo>
                  <a:lnTo>
                    <a:pt x="130" y="2"/>
                  </a:lnTo>
                  <a:lnTo>
                    <a:pt x="130" y="4"/>
                  </a:lnTo>
                  <a:lnTo>
                    <a:pt x="132" y="4"/>
                  </a:lnTo>
                  <a:lnTo>
                    <a:pt x="139" y="9"/>
                  </a:lnTo>
                  <a:lnTo>
                    <a:pt x="141" y="11"/>
                  </a:lnTo>
                  <a:lnTo>
                    <a:pt x="146" y="14"/>
                  </a:lnTo>
                  <a:lnTo>
                    <a:pt x="146" y="16"/>
                  </a:lnTo>
                  <a:lnTo>
                    <a:pt x="150" y="14"/>
                  </a:lnTo>
                  <a:lnTo>
                    <a:pt x="153" y="16"/>
                  </a:lnTo>
                  <a:lnTo>
                    <a:pt x="157" y="16"/>
                  </a:lnTo>
                  <a:lnTo>
                    <a:pt x="160" y="16"/>
                  </a:lnTo>
                  <a:lnTo>
                    <a:pt x="162" y="16"/>
                  </a:lnTo>
                  <a:lnTo>
                    <a:pt x="165" y="16"/>
                  </a:lnTo>
                  <a:lnTo>
                    <a:pt x="169" y="16"/>
                  </a:lnTo>
                  <a:lnTo>
                    <a:pt x="172" y="20"/>
                  </a:lnTo>
                  <a:lnTo>
                    <a:pt x="172" y="20"/>
                  </a:lnTo>
                  <a:lnTo>
                    <a:pt x="176" y="20"/>
                  </a:lnTo>
                  <a:lnTo>
                    <a:pt x="179" y="16"/>
                  </a:lnTo>
                  <a:lnTo>
                    <a:pt x="176" y="16"/>
                  </a:lnTo>
                  <a:lnTo>
                    <a:pt x="176" y="14"/>
                  </a:lnTo>
                  <a:lnTo>
                    <a:pt x="179" y="11"/>
                  </a:lnTo>
                  <a:lnTo>
                    <a:pt x="181" y="7"/>
                  </a:lnTo>
                  <a:lnTo>
                    <a:pt x="184" y="7"/>
                  </a:lnTo>
                  <a:lnTo>
                    <a:pt x="188" y="9"/>
                  </a:lnTo>
                  <a:lnTo>
                    <a:pt x="190" y="11"/>
                  </a:lnTo>
                  <a:lnTo>
                    <a:pt x="191" y="9"/>
                  </a:lnTo>
                  <a:lnTo>
                    <a:pt x="200" y="9"/>
                  </a:lnTo>
                  <a:lnTo>
                    <a:pt x="202" y="7"/>
                  </a:lnTo>
                  <a:lnTo>
                    <a:pt x="203" y="6"/>
                  </a:lnTo>
                  <a:lnTo>
                    <a:pt x="210" y="2"/>
                  </a:lnTo>
                  <a:lnTo>
                    <a:pt x="212" y="2"/>
                  </a:lnTo>
                  <a:lnTo>
                    <a:pt x="212" y="4"/>
                  </a:lnTo>
                  <a:lnTo>
                    <a:pt x="214" y="4"/>
                  </a:lnTo>
                  <a:lnTo>
                    <a:pt x="214" y="7"/>
                  </a:lnTo>
                  <a:lnTo>
                    <a:pt x="216" y="7"/>
                  </a:lnTo>
                  <a:lnTo>
                    <a:pt x="219" y="6"/>
                  </a:lnTo>
                  <a:lnTo>
                    <a:pt x="223" y="6"/>
                  </a:lnTo>
                  <a:lnTo>
                    <a:pt x="226" y="4"/>
                  </a:lnTo>
                  <a:lnTo>
                    <a:pt x="226" y="4"/>
                  </a:lnTo>
                  <a:lnTo>
                    <a:pt x="229" y="0"/>
                  </a:lnTo>
                  <a:lnTo>
                    <a:pt x="229" y="0"/>
                  </a:lnTo>
                  <a:lnTo>
                    <a:pt x="229" y="0"/>
                  </a:lnTo>
                  <a:lnTo>
                    <a:pt x="229" y="0"/>
                  </a:lnTo>
                  <a:lnTo>
                    <a:pt x="231" y="0"/>
                  </a:lnTo>
                  <a:lnTo>
                    <a:pt x="236" y="0"/>
                  </a:lnTo>
                  <a:lnTo>
                    <a:pt x="238" y="0"/>
                  </a:lnTo>
                  <a:lnTo>
                    <a:pt x="240" y="0"/>
                  </a:lnTo>
                  <a:lnTo>
                    <a:pt x="242" y="2"/>
                  </a:lnTo>
                  <a:lnTo>
                    <a:pt x="245" y="4"/>
                  </a:lnTo>
                  <a:lnTo>
                    <a:pt x="252" y="4"/>
                  </a:lnTo>
                  <a:lnTo>
                    <a:pt x="252" y="4"/>
                  </a:lnTo>
                  <a:lnTo>
                    <a:pt x="257" y="0"/>
                  </a:lnTo>
                  <a:lnTo>
                    <a:pt x="261" y="2"/>
                  </a:lnTo>
                  <a:lnTo>
                    <a:pt x="266" y="4"/>
                  </a:lnTo>
                  <a:lnTo>
                    <a:pt x="266" y="4"/>
                  </a:lnTo>
                  <a:lnTo>
                    <a:pt x="266" y="7"/>
                  </a:lnTo>
                  <a:lnTo>
                    <a:pt x="268" y="9"/>
                  </a:lnTo>
                  <a:lnTo>
                    <a:pt x="269" y="9"/>
                  </a:lnTo>
                  <a:lnTo>
                    <a:pt x="271" y="11"/>
                  </a:lnTo>
                  <a:lnTo>
                    <a:pt x="276" y="14"/>
                  </a:lnTo>
                  <a:lnTo>
                    <a:pt x="280" y="16"/>
                  </a:lnTo>
                  <a:lnTo>
                    <a:pt x="280" y="16"/>
                  </a:lnTo>
                  <a:lnTo>
                    <a:pt x="282" y="14"/>
                  </a:lnTo>
                  <a:lnTo>
                    <a:pt x="285" y="11"/>
                  </a:lnTo>
                  <a:lnTo>
                    <a:pt x="289" y="11"/>
                  </a:lnTo>
                  <a:lnTo>
                    <a:pt x="290" y="11"/>
                  </a:lnTo>
                  <a:lnTo>
                    <a:pt x="290" y="14"/>
                  </a:lnTo>
                  <a:lnTo>
                    <a:pt x="292" y="14"/>
                  </a:lnTo>
                  <a:lnTo>
                    <a:pt x="296" y="11"/>
                  </a:lnTo>
                  <a:lnTo>
                    <a:pt x="297" y="11"/>
                  </a:lnTo>
                  <a:lnTo>
                    <a:pt x="299" y="7"/>
                  </a:lnTo>
                  <a:lnTo>
                    <a:pt x="304" y="9"/>
                  </a:lnTo>
                  <a:lnTo>
                    <a:pt x="304" y="9"/>
                  </a:lnTo>
                  <a:lnTo>
                    <a:pt x="308" y="14"/>
                  </a:lnTo>
                  <a:lnTo>
                    <a:pt x="308" y="16"/>
                  </a:lnTo>
                  <a:lnTo>
                    <a:pt x="308" y="16"/>
                  </a:lnTo>
                  <a:lnTo>
                    <a:pt x="313" y="20"/>
                  </a:lnTo>
                  <a:lnTo>
                    <a:pt x="315" y="20"/>
                  </a:lnTo>
                  <a:lnTo>
                    <a:pt x="316" y="23"/>
                  </a:lnTo>
                  <a:lnTo>
                    <a:pt x="318" y="25"/>
                  </a:lnTo>
                  <a:lnTo>
                    <a:pt x="318" y="27"/>
                  </a:lnTo>
                  <a:lnTo>
                    <a:pt x="318" y="28"/>
                  </a:lnTo>
                  <a:lnTo>
                    <a:pt x="320" y="28"/>
                  </a:lnTo>
                  <a:lnTo>
                    <a:pt x="323" y="28"/>
                  </a:lnTo>
                  <a:lnTo>
                    <a:pt x="325" y="30"/>
                  </a:lnTo>
                  <a:lnTo>
                    <a:pt x="325" y="34"/>
                  </a:lnTo>
                  <a:lnTo>
                    <a:pt x="323" y="35"/>
                  </a:lnTo>
                  <a:lnTo>
                    <a:pt x="323" y="40"/>
                  </a:lnTo>
                  <a:lnTo>
                    <a:pt x="322" y="46"/>
                  </a:lnTo>
                  <a:lnTo>
                    <a:pt x="322" y="49"/>
                  </a:lnTo>
                  <a:lnTo>
                    <a:pt x="323" y="51"/>
                  </a:lnTo>
                  <a:lnTo>
                    <a:pt x="325" y="53"/>
                  </a:lnTo>
                  <a:lnTo>
                    <a:pt x="327" y="56"/>
                  </a:lnTo>
                  <a:lnTo>
                    <a:pt x="327" y="58"/>
                  </a:lnTo>
                  <a:lnTo>
                    <a:pt x="316" y="70"/>
                  </a:lnTo>
                  <a:lnTo>
                    <a:pt x="311" y="75"/>
                  </a:lnTo>
                  <a:lnTo>
                    <a:pt x="311" y="79"/>
                  </a:lnTo>
                  <a:lnTo>
                    <a:pt x="304" y="91"/>
                  </a:lnTo>
                  <a:lnTo>
                    <a:pt x="302" y="93"/>
                  </a:lnTo>
                  <a:lnTo>
                    <a:pt x="302" y="96"/>
                  </a:lnTo>
                  <a:lnTo>
                    <a:pt x="302" y="103"/>
                  </a:lnTo>
                  <a:lnTo>
                    <a:pt x="299" y="110"/>
                  </a:lnTo>
                  <a:lnTo>
                    <a:pt x="301" y="114"/>
                  </a:lnTo>
                  <a:lnTo>
                    <a:pt x="296" y="119"/>
                  </a:lnTo>
                  <a:lnTo>
                    <a:pt x="292" y="120"/>
                  </a:lnTo>
                  <a:lnTo>
                    <a:pt x="289" y="131"/>
                  </a:lnTo>
                  <a:lnTo>
                    <a:pt x="289" y="136"/>
                  </a:lnTo>
                  <a:lnTo>
                    <a:pt x="290" y="138"/>
                  </a:lnTo>
                  <a:lnTo>
                    <a:pt x="292" y="143"/>
                  </a:lnTo>
                  <a:lnTo>
                    <a:pt x="292" y="147"/>
                  </a:lnTo>
                  <a:lnTo>
                    <a:pt x="297" y="181"/>
                  </a:lnTo>
                  <a:lnTo>
                    <a:pt x="301" y="202"/>
                  </a:lnTo>
                  <a:lnTo>
                    <a:pt x="313" y="220"/>
                  </a:lnTo>
                  <a:lnTo>
                    <a:pt x="316" y="232"/>
                  </a:lnTo>
                  <a:lnTo>
                    <a:pt x="315" y="232"/>
                  </a:lnTo>
                  <a:lnTo>
                    <a:pt x="289" y="239"/>
                  </a:lnTo>
                  <a:lnTo>
                    <a:pt x="280" y="251"/>
                  </a:lnTo>
                  <a:lnTo>
                    <a:pt x="280" y="254"/>
                  </a:lnTo>
                  <a:lnTo>
                    <a:pt x="282" y="256"/>
                  </a:lnTo>
                  <a:lnTo>
                    <a:pt x="285" y="258"/>
                  </a:lnTo>
                  <a:lnTo>
                    <a:pt x="285" y="260"/>
                  </a:lnTo>
                  <a:lnTo>
                    <a:pt x="282" y="261"/>
                  </a:lnTo>
                  <a:lnTo>
                    <a:pt x="285" y="263"/>
                  </a:lnTo>
                  <a:lnTo>
                    <a:pt x="282" y="265"/>
                  </a:lnTo>
                  <a:lnTo>
                    <a:pt x="285" y="268"/>
                  </a:lnTo>
                  <a:lnTo>
                    <a:pt x="282" y="270"/>
                  </a:lnTo>
                  <a:lnTo>
                    <a:pt x="282" y="273"/>
                  </a:lnTo>
                  <a:lnTo>
                    <a:pt x="282" y="273"/>
                  </a:lnTo>
                  <a:lnTo>
                    <a:pt x="280" y="277"/>
                  </a:lnTo>
                  <a:lnTo>
                    <a:pt x="276" y="277"/>
                  </a:lnTo>
                  <a:lnTo>
                    <a:pt x="276" y="280"/>
                  </a:lnTo>
                  <a:lnTo>
                    <a:pt x="276" y="291"/>
                  </a:lnTo>
                  <a:lnTo>
                    <a:pt x="276" y="293"/>
                  </a:lnTo>
                  <a:lnTo>
                    <a:pt x="280" y="296"/>
                  </a:lnTo>
                  <a:lnTo>
                    <a:pt x="285" y="300"/>
                  </a:lnTo>
                  <a:lnTo>
                    <a:pt x="285" y="305"/>
                  </a:lnTo>
                  <a:lnTo>
                    <a:pt x="289" y="305"/>
                  </a:lnTo>
                  <a:lnTo>
                    <a:pt x="294" y="305"/>
                  </a:lnTo>
                  <a:lnTo>
                    <a:pt x="296" y="305"/>
                  </a:lnTo>
                  <a:lnTo>
                    <a:pt x="294" y="305"/>
                  </a:lnTo>
                  <a:lnTo>
                    <a:pt x="294" y="301"/>
                  </a:lnTo>
                  <a:lnTo>
                    <a:pt x="297" y="301"/>
                  </a:lnTo>
                  <a:lnTo>
                    <a:pt x="301" y="301"/>
                  </a:lnTo>
                  <a:lnTo>
                    <a:pt x="301" y="319"/>
                  </a:lnTo>
                  <a:lnTo>
                    <a:pt x="301" y="322"/>
                  </a:lnTo>
                  <a:lnTo>
                    <a:pt x="297" y="322"/>
                  </a:lnTo>
                  <a:lnTo>
                    <a:pt x="297" y="319"/>
                  </a:lnTo>
                  <a:lnTo>
                    <a:pt x="296" y="319"/>
                  </a:lnTo>
                  <a:lnTo>
                    <a:pt x="292" y="322"/>
                  </a:lnTo>
                  <a:lnTo>
                    <a:pt x="290" y="322"/>
                  </a:lnTo>
                  <a:lnTo>
                    <a:pt x="289" y="322"/>
                  </a:lnTo>
                  <a:lnTo>
                    <a:pt x="285" y="319"/>
                  </a:lnTo>
                  <a:lnTo>
                    <a:pt x="280" y="315"/>
                  </a:lnTo>
                  <a:lnTo>
                    <a:pt x="276" y="312"/>
                  </a:lnTo>
                  <a:lnTo>
                    <a:pt x="275" y="307"/>
                  </a:lnTo>
                  <a:lnTo>
                    <a:pt x="271" y="305"/>
                  </a:lnTo>
                  <a:lnTo>
                    <a:pt x="266" y="301"/>
                  </a:lnTo>
                  <a:lnTo>
                    <a:pt x="259" y="300"/>
                  </a:lnTo>
                  <a:lnTo>
                    <a:pt x="259" y="300"/>
                  </a:lnTo>
                  <a:lnTo>
                    <a:pt x="257" y="296"/>
                  </a:lnTo>
                  <a:lnTo>
                    <a:pt x="257" y="291"/>
                  </a:lnTo>
                  <a:lnTo>
                    <a:pt x="257" y="291"/>
                  </a:lnTo>
                  <a:lnTo>
                    <a:pt x="254" y="291"/>
                  </a:lnTo>
                  <a:lnTo>
                    <a:pt x="252" y="291"/>
                  </a:lnTo>
                  <a:lnTo>
                    <a:pt x="250" y="296"/>
                  </a:lnTo>
                  <a:lnTo>
                    <a:pt x="250" y="296"/>
                  </a:lnTo>
                  <a:lnTo>
                    <a:pt x="245" y="300"/>
                  </a:lnTo>
                  <a:lnTo>
                    <a:pt x="242" y="300"/>
                  </a:lnTo>
                  <a:lnTo>
                    <a:pt x="242" y="300"/>
                  </a:lnTo>
                  <a:lnTo>
                    <a:pt x="238" y="296"/>
                  </a:lnTo>
                  <a:lnTo>
                    <a:pt x="235" y="296"/>
                  </a:lnTo>
                  <a:lnTo>
                    <a:pt x="229" y="293"/>
                  </a:lnTo>
                  <a:lnTo>
                    <a:pt x="229" y="293"/>
                  </a:lnTo>
                  <a:lnTo>
                    <a:pt x="226" y="293"/>
                  </a:lnTo>
                  <a:lnTo>
                    <a:pt x="224" y="293"/>
                  </a:lnTo>
                  <a:lnTo>
                    <a:pt x="224" y="291"/>
                  </a:lnTo>
                  <a:lnTo>
                    <a:pt x="224" y="289"/>
                  </a:lnTo>
                  <a:lnTo>
                    <a:pt x="224" y="287"/>
                  </a:lnTo>
                  <a:lnTo>
                    <a:pt x="224" y="284"/>
                  </a:lnTo>
                  <a:lnTo>
                    <a:pt x="223" y="284"/>
                  </a:lnTo>
                  <a:lnTo>
                    <a:pt x="217" y="284"/>
                  </a:lnTo>
                  <a:lnTo>
                    <a:pt x="217" y="286"/>
                  </a:lnTo>
                  <a:lnTo>
                    <a:pt x="214" y="286"/>
                  </a:lnTo>
                  <a:lnTo>
                    <a:pt x="212" y="287"/>
                  </a:lnTo>
                  <a:lnTo>
                    <a:pt x="209" y="289"/>
                  </a:lnTo>
                  <a:lnTo>
                    <a:pt x="209" y="289"/>
                  </a:lnTo>
                  <a:lnTo>
                    <a:pt x="207" y="287"/>
                  </a:lnTo>
                  <a:lnTo>
                    <a:pt x="207" y="284"/>
                  </a:lnTo>
                  <a:lnTo>
                    <a:pt x="207" y="282"/>
                  </a:lnTo>
                  <a:lnTo>
                    <a:pt x="203" y="282"/>
                  </a:lnTo>
                  <a:lnTo>
                    <a:pt x="203" y="282"/>
                  </a:lnTo>
                  <a:lnTo>
                    <a:pt x="202" y="280"/>
                  </a:lnTo>
                  <a:lnTo>
                    <a:pt x="202" y="280"/>
                  </a:lnTo>
                  <a:lnTo>
                    <a:pt x="198" y="280"/>
                  </a:lnTo>
                  <a:lnTo>
                    <a:pt x="195" y="282"/>
                  </a:lnTo>
                  <a:lnTo>
                    <a:pt x="193" y="284"/>
                  </a:lnTo>
                  <a:lnTo>
                    <a:pt x="191" y="284"/>
                  </a:lnTo>
                  <a:lnTo>
                    <a:pt x="190" y="284"/>
                  </a:lnTo>
                  <a:lnTo>
                    <a:pt x="188" y="284"/>
                  </a:lnTo>
                  <a:lnTo>
                    <a:pt x="184" y="284"/>
                  </a:lnTo>
                  <a:lnTo>
                    <a:pt x="181" y="284"/>
                  </a:lnTo>
                  <a:lnTo>
                    <a:pt x="179" y="282"/>
                  </a:lnTo>
                  <a:lnTo>
                    <a:pt x="176" y="282"/>
                  </a:lnTo>
                  <a:lnTo>
                    <a:pt x="176" y="282"/>
                  </a:lnTo>
                  <a:lnTo>
                    <a:pt x="176" y="282"/>
                  </a:lnTo>
                  <a:lnTo>
                    <a:pt x="172" y="284"/>
                  </a:lnTo>
                  <a:lnTo>
                    <a:pt x="172" y="284"/>
                  </a:lnTo>
                  <a:lnTo>
                    <a:pt x="172" y="282"/>
                  </a:lnTo>
                  <a:lnTo>
                    <a:pt x="172" y="279"/>
                  </a:lnTo>
                  <a:lnTo>
                    <a:pt x="172" y="279"/>
                  </a:lnTo>
                  <a:lnTo>
                    <a:pt x="172" y="277"/>
                  </a:lnTo>
                  <a:lnTo>
                    <a:pt x="172" y="277"/>
                  </a:lnTo>
                  <a:lnTo>
                    <a:pt x="172" y="273"/>
                  </a:lnTo>
                  <a:lnTo>
                    <a:pt x="170" y="270"/>
                  </a:lnTo>
                  <a:lnTo>
                    <a:pt x="172" y="270"/>
                  </a:lnTo>
                  <a:lnTo>
                    <a:pt x="172" y="268"/>
                  </a:lnTo>
                  <a:lnTo>
                    <a:pt x="170" y="265"/>
                  </a:lnTo>
                  <a:lnTo>
                    <a:pt x="170" y="263"/>
                  </a:lnTo>
                  <a:lnTo>
                    <a:pt x="170" y="261"/>
                  </a:lnTo>
                  <a:lnTo>
                    <a:pt x="170" y="260"/>
                  </a:lnTo>
                  <a:lnTo>
                    <a:pt x="169" y="260"/>
                  </a:lnTo>
                  <a:lnTo>
                    <a:pt x="167" y="256"/>
                  </a:lnTo>
                  <a:lnTo>
                    <a:pt x="167" y="256"/>
                  </a:lnTo>
                  <a:lnTo>
                    <a:pt x="167" y="254"/>
                  </a:lnTo>
                  <a:lnTo>
                    <a:pt x="165" y="251"/>
                  </a:lnTo>
                  <a:lnTo>
                    <a:pt x="165" y="251"/>
                  </a:lnTo>
                  <a:lnTo>
                    <a:pt x="163" y="247"/>
                  </a:lnTo>
                  <a:lnTo>
                    <a:pt x="165" y="246"/>
                  </a:lnTo>
                  <a:lnTo>
                    <a:pt x="165" y="240"/>
                  </a:lnTo>
                  <a:lnTo>
                    <a:pt x="163" y="237"/>
                  </a:lnTo>
                  <a:lnTo>
                    <a:pt x="163" y="235"/>
                  </a:lnTo>
                  <a:lnTo>
                    <a:pt x="165" y="235"/>
                  </a:lnTo>
                  <a:lnTo>
                    <a:pt x="165" y="232"/>
                  </a:lnTo>
                  <a:lnTo>
                    <a:pt x="163" y="230"/>
                  </a:lnTo>
                  <a:lnTo>
                    <a:pt x="163" y="227"/>
                  </a:lnTo>
                  <a:lnTo>
                    <a:pt x="165" y="223"/>
                  </a:lnTo>
                  <a:lnTo>
                    <a:pt x="165" y="223"/>
                  </a:lnTo>
                  <a:lnTo>
                    <a:pt x="165" y="220"/>
                  </a:lnTo>
                  <a:lnTo>
                    <a:pt x="165" y="218"/>
                  </a:lnTo>
                  <a:lnTo>
                    <a:pt x="146" y="216"/>
                  </a:lnTo>
                  <a:lnTo>
                    <a:pt x="144" y="214"/>
                  </a:lnTo>
                  <a:lnTo>
                    <a:pt x="146" y="213"/>
                  </a:lnTo>
                  <a:lnTo>
                    <a:pt x="146" y="209"/>
                  </a:lnTo>
                  <a:lnTo>
                    <a:pt x="141" y="209"/>
                  </a:lnTo>
                  <a:lnTo>
                    <a:pt x="141" y="211"/>
                  </a:lnTo>
                  <a:lnTo>
                    <a:pt x="125" y="211"/>
                  </a:lnTo>
                  <a:lnTo>
                    <a:pt x="122" y="216"/>
                  </a:lnTo>
                  <a:lnTo>
                    <a:pt x="122" y="220"/>
                  </a:lnTo>
                  <a:lnTo>
                    <a:pt x="122" y="220"/>
                  </a:lnTo>
                  <a:lnTo>
                    <a:pt x="122" y="223"/>
                  </a:lnTo>
                  <a:lnTo>
                    <a:pt x="122" y="227"/>
                  </a:lnTo>
                  <a:lnTo>
                    <a:pt x="108" y="228"/>
                  </a:lnTo>
                  <a:lnTo>
                    <a:pt x="106" y="230"/>
                  </a:lnTo>
                  <a:lnTo>
                    <a:pt x="99" y="228"/>
                  </a:lnTo>
                  <a:lnTo>
                    <a:pt x="99" y="228"/>
                  </a:lnTo>
                  <a:lnTo>
                    <a:pt x="96" y="228"/>
                  </a:lnTo>
                  <a:lnTo>
                    <a:pt x="90" y="228"/>
                  </a:lnTo>
                  <a:lnTo>
                    <a:pt x="89" y="228"/>
                  </a:lnTo>
                  <a:lnTo>
                    <a:pt x="89" y="223"/>
                  </a:lnTo>
                  <a:lnTo>
                    <a:pt x="85" y="220"/>
                  </a:lnTo>
                  <a:lnTo>
                    <a:pt x="84" y="218"/>
                  </a:lnTo>
                  <a:lnTo>
                    <a:pt x="82" y="216"/>
                  </a:lnTo>
                  <a:lnTo>
                    <a:pt x="82" y="214"/>
                  </a:lnTo>
                  <a:lnTo>
                    <a:pt x="82" y="213"/>
                  </a:lnTo>
                  <a:lnTo>
                    <a:pt x="80" y="209"/>
                  </a:lnTo>
                  <a:lnTo>
                    <a:pt x="80" y="206"/>
                  </a:lnTo>
                  <a:lnTo>
                    <a:pt x="80" y="202"/>
                  </a:lnTo>
                  <a:lnTo>
                    <a:pt x="80" y="200"/>
                  </a:lnTo>
                  <a:lnTo>
                    <a:pt x="80" y="200"/>
                  </a:lnTo>
                  <a:lnTo>
                    <a:pt x="80" y="197"/>
                  </a:lnTo>
                  <a:lnTo>
                    <a:pt x="77" y="197"/>
                  </a:lnTo>
                  <a:lnTo>
                    <a:pt x="80" y="195"/>
                  </a:lnTo>
                  <a:lnTo>
                    <a:pt x="80" y="192"/>
                  </a:lnTo>
                  <a:lnTo>
                    <a:pt x="61" y="192"/>
                  </a:lnTo>
                  <a:lnTo>
                    <a:pt x="49" y="192"/>
                  </a:lnTo>
                  <a:lnTo>
                    <a:pt x="44" y="192"/>
                  </a:lnTo>
                  <a:lnTo>
                    <a:pt x="37" y="192"/>
                  </a:lnTo>
                  <a:lnTo>
                    <a:pt x="35" y="192"/>
                  </a:lnTo>
                  <a:lnTo>
                    <a:pt x="30" y="192"/>
                  </a:lnTo>
                  <a:lnTo>
                    <a:pt x="26" y="192"/>
                  </a:lnTo>
                  <a:lnTo>
                    <a:pt x="21" y="192"/>
                  </a:lnTo>
                  <a:lnTo>
                    <a:pt x="21" y="192"/>
                  </a:lnTo>
                  <a:lnTo>
                    <a:pt x="18" y="192"/>
                  </a:lnTo>
                  <a:lnTo>
                    <a:pt x="14" y="192"/>
                  </a:lnTo>
                  <a:lnTo>
                    <a:pt x="12" y="192"/>
                  </a:lnTo>
                  <a:lnTo>
                    <a:pt x="11" y="195"/>
                  </a:lnTo>
                  <a:lnTo>
                    <a:pt x="9" y="195"/>
                  </a:lnTo>
                  <a:lnTo>
                    <a:pt x="9" y="195"/>
                  </a:lnTo>
                  <a:lnTo>
                    <a:pt x="9" y="195"/>
                  </a:lnTo>
                  <a:lnTo>
                    <a:pt x="7" y="195"/>
                  </a:lnTo>
                  <a:lnTo>
                    <a:pt x="7" y="195"/>
                  </a:lnTo>
                  <a:lnTo>
                    <a:pt x="5" y="192"/>
                  </a:lnTo>
                  <a:lnTo>
                    <a:pt x="0" y="192"/>
                  </a:lnTo>
                  <a:lnTo>
                    <a:pt x="0" y="192"/>
                  </a:lnTo>
                  <a:lnTo>
                    <a:pt x="0" y="192"/>
                  </a:lnTo>
                  <a:lnTo>
                    <a:pt x="0" y="19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7" name="Freeform 143">
              <a:extLst>
                <a:ext uri="{FF2B5EF4-FFF2-40B4-BE49-F238E27FC236}">
                  <a16:creationId xmlns:a16="http://schemas.microsoft.com/office/drawing/2014/main" id="{4F0F107A-5694-46E3-9705-628C9434B06C}"/>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8" name="Freeform 144">
              <a:extLst>
                <a:ext uri="{FF2B5EF4-FFF2-40B4-BE49-F238E27FC236}">
                  <a16:creationId xmlns:a16="http://schemas.microsoft.com/office/drawing/2014/main" id="{123C2BF0-91FC-47DD-B8E5-294DAE0F6091}"/>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9" name="Freeform 145">
              <a:extLst>
                <a:ext uri="{FF2B5EF4-FFF2-40B4-BE49-F238E27FC236}">
                  <a16:creationId xmlns:a16="http://schemas.microsoft.com/office/drawing/2014/main" id="{64882FC8-3B21-409F-81C2-B0F0BB606787}"/>
                </a:ext>
              </a:extLst>
            </p:cNvPr>
            <p:cNvSpPr>
              <a:spLocks/>
            </p:cNvSpPr>
            <p:nvPr/>
          </p:nvSpPr>
          <p:spPr bwMode="auto">
            <a:xfrm>
              <a:off x="5041900" y="4489451"/>
              <a:ext cx="317500" cy="274638"/>
            </a:xfrm>
            <a:custGeom>
              <a:avLst/>
              <a:gdLst/>
              <a:ahLst/>
              <a:cxnLst>
                <a:cxn ang="0">
                  <a:pos x="44" y="51"/>
                </a:cxn>
                <a:cxn ang="0">
                  <a:pos x="45" y="58"/>
                </a:cxn>
                <a:cxn ang="0">
                  <a:pos x="54" y="53"/>
                </a:cxn>
                <a:cxn ang="0">
                  <a:pos x="61" y="58"/>
                </a:cxn>
                <a:cxn ang="0">
                  <a:pos x="66" y="63"/>
                </a:cxn>
                <a:cxn ang="0">
                  <a:pos x="77" y="68"/>
                </a:cxn>
                <a:cxn ang="0">
                  <a:pos x="85" y="65"/>
                </a:cxn>
                <a:cxn ang="0">
                  <a:pos x="92" y="60"/>
                </a:cxn>
                <a:cxn ang="0">
                  <a:pos x="101" y="70"/>
                </a:cxn>
                <a:cxn ang="0">
                  <a:pos x="117" y="84"/>
                </a:cxn>
                <a:cxn ang="0">
                  <a:pos x="129" y="91"/>
                </a:cxn>
                <a:cxn ang="0">
                  <a:pos x="136" y="91"/>
                </a:cxn>
                <a:cxn ang="0">
                  <a:pos x="129" y="70"/>
                </a:cxn>
                <a:cxn ang="0">
                  <a:pos x="124" y="75"/>
                </a:cxn>
                <a:cxn ang="0">
                  <a:pos x="113" y="63"/>
                </a:cxn>
                <a:cxn ang="0">
                  <a:pos x="117" y="46"/>
                </a:cxn>
                <a:cxn ang="0">
                  <a:pos x="120" y="37"/>
                </a:cxn>
                <a:cxn ang="0">
                  <a:pos x="120" y="28"/>
                </a:cxn>
                <a:cxn ang="0">
                  <a:pos x="115" y="20"/>
                </a:cxn>
                <a:cxn ang="0">
                  <a:pos x="160" y="4"/>
                </a:cxn>
                <a:cxn ang="0">
                  <a:pos x="169" y="7"/>
                </a:cxn>
                <a:cxn ang="0">
                  <a:pos x="183" y="13"/>
                </a:cxn>
                <a:cxn ang="0">
                  <a:pos x="191" y="20"/>
                </a:cxn>
                <a:cxn ang="0">
                  <a:pos x="193" y="28"/>
                </a:cxn>
                <a:cxn ang="0">
                  <a:pos x="197" y="35"/>
                </a:cxn>
                <a:cxn ang="0">
                  <a:pos x="200" y="46"/>
                </a:cxn>
                <a:cxn ang="0">
                  <a:pos x="195" y="53"/>
                </a:cxn>
                <a:cxn ang="0">
                  <a:pos x="197" y="63"/>
                </a:cxn>
                <a:cxn ang="0">
                  <a:pos x="197" y="70"/>
                </a:cxn>
                <a:cxn ang="0">
                  <a:pos x="198" y="75"/>
                </a:cxn>
                <a:cxn ang="0">
                  <a:pos x="191" y="82"/>
                </a:cxn>
                <a:cxn ang="0">
                  <a:pos x="191" y="91"/>
                </a:cxn>
                <a:cxn ang="0">
                  <a:pos x="188" y="98"/>
                </a:cxn>
                <a:cxn ang="0">
                  <a:pos x="186" y="107"/>
                </a:cxn>
                <a:cxn ang="0">
                  <a:pos x="151" y="117"/>
                </a:cxn>
                <a:cxn ang="0">
                  <a:pos x="146" y="129"/>
                </a:cxn>
                <a:cxn ang="0">
                  <a:pos x="137" y="129"/>
                </a:cxn>
                <a:cxn ang="0">
                  <a:pos x="125" y="133"/>
                </a:cxn>
                <a:cxn ang="0">
                  <a:pos x="118" y="140"/>
                </a:cxn>
                <a:cxn ang="0">
                  <a:pos x="117" y="145"/>
                </a:cxn>
                <a:cxn ang="0">
                  <a:pos x="89" y="171"/>
                </a:cxn>
                <a:cxn ang="0">
                  <a:pos x="77" y="169"/>
                </a:cxn>
                <a:cxn ang="0">
                  <a:pos x="70" y="169"/>
                </a:cxn>
                <a:cxn ang="0">
                  <a:pos x="61" y="167"/>
                </a:cxn>
                <a:cxn ang="0">
                  <a:pos x="52" y="164"/>
                </a:cxn>
                <a:cxn ang="0">
                  <a:pos x="47" y="162"/>
                </a:cxn>
                <a:cxn ang="0">
                  <a:pos x="26" y="166"/>
                </a:cxn>
                <a:cxn ang="0">
                  <a:pos x="18" y="157"/>
                </a:cxn>
                <a:cxn ang="0">
                  <a:pos x="7" y="148"/>
                </a:cxn>
                <a:cxn ang="0">
                  <a:pos x="0" y="141"/>
                </a:cxn>
                <a:cxn ang="0">
                  <a:pos x="38" y="79"/>
                </a:cxn>
                <a:cxn ang="0">
                  <a:pos x="38" y="67"/>
                </a:cxn>
                <a:cxn ang="0">
                  <a:pos x="38" y="51"/>
                </a:cxn>
              </a:cxnLst>
              <a:rect l="0" t="0" r="r" b="b"/>
              <a:pathLst>
                <a:path w="200" h="173">
                  <a:moveTo>
                    <a:pt x="38" y="51"/>
                  </a:moveTo>
                  <a:lnTo>
                    <a:pt x="40" y="51"/>
                  </a:lnTo>
                  <a:lnTo>
                    <a:pt x="40" y="51"/>
                  </a:lnTo>
                  <a:lnTo>
                    <a:pt x="44" y="51"/>
                  </a:lnTo>
                  <a:lnTo>
                    <a:pt x="44" y="53"/>
                  </a:lnTo>
                  <a:lnTo>
                    <a:pt x="44" y="56"/>
                  </a:lnTo>
                  <a:lnTo>
                    <a:pt x="45" y="58"/>
                  </a:lnTo>
                  <a:lnTo>
                    <a:pt x="45" y="58"/>
                  </a:lnTo>
                  <a:lnTo>
                    <a:pt x="49" y="56"/>
                  </a:lnTo>
                  <a:lnTo>
                    <a:pt x="51" y="54"/>
                  </a:lnTo>
                  <a:lnTo>
                    <a:pt x="54" y="54"/>
                  </a:lnTo>
                  <a:lnTo>
                    <a:pt x="54" y="53"/>
                  </a:lnTo>
                  <a:lnTo>
                    <a:pt x="59" y="53"/>
                  </a:lnTo>
                  <a:lnTo>
                    <a:pt x="61" y="53"/>
                  </a:lnTo>
                  <a:lnTo>
                    <a:pt x="61" y="56"/>
                  </a:lnTo>
                  <a:lnTo>
                    <a:pt x="61" y="58"/>
                  </a:lnTo>
                  <a:lnTo>
                    <a:pt x="61" y="60"/>
                  </a:lnTo>
                  <a:lnTo>
                    <a:pt x="61" y="61"/>
                  </a:lnTo>
                  <a:lnTo>
                    <a:pt x="63" y="61"/>
                  </a:lnTo>
                  <a:lnTo>
                    <a:pt x="66" y="63"/>
                  </a:lnTo>
                  <a:lnTo>
                    <a:pt x="66" y="63"/>
                  </a:lnTo>
                  <a:lnTo>
                    <a:pt x="71" y="67"/>
                  </a:lnTo>
                  <a:lnTo>
                    <a:pt x="75" y="67"/>
                  </a:lnTo>
                  <a:lnTo>
                    <a:pt x="77" y="68"/>
                  </a:lnTo>
                  <a:lnTo>
                    <a:pt x="77" y="68"/>
                  </a:lnTo>
                  <a:lnTo>
                    <a:pt x="80" y="68"/>
                  </a:lnTo>
                  <a:lnTo>
                    <a:pt x="85" y="67"/>
                  </a:lnTo>
                  <a:lnTo>
                    <a:pt x="85" y="65"/>
                  </a:lnTo>
                  <a:lnTo>
                    <a:pt x="89" y="60"/>
                  </a:lnTo>
                  <a:lnTo>
                    <a:pt x="91" y="60"/>
                  </a:lnTo>
                  <a:lnTo>
                    <a:pt x="92" y="60"/>
                  </a:lnTo>
                  <a:lnTo>
                    <a:pt x="92" y="60"/>
                  </a:lnTo>
                  <a:lnTo>
                    <a:pt x="92" y="65"/>
                  </a:lnTo>
                  <a:lnTo>
                    <a:pt x="96" y="68"/>
                  </a:lnTo>
                  <a:lnTo>
                    <a:pt x="96" y="70"/>
                  </a:lnTo>
                  <a:lnTo>
                    <a:pt x="101" y="70"/>
                  </a:lnTo>
                  <a:lnTo>
                    <a:pt x="106" y="75"/>
                  </a:lnTo>
                  <a:lnTo>
                    <a:pt x="110" y="75"/>
                  </a:lnTo>
                  <a:lnTo>
                    <a:pt x="113" y="80"/>
                  </a:lnTo>
                  <a:lnTo>
                    <a:pt x="117" y="84"/>
                  </a:lnTo>
                  <a:lnTo>
                    <a:pt x="120" y="87"/>
                  </a:lnTo>
                  <a:lnTo>
                    <a:pt x="124" y="91"/>
                  </a:lnTo>
                  <a:lnTo>
                    <a:pt x="125" y="91"/>
                  </a:lnTo>
                  <a:lnTo>
                    <a:pt x="129" y="91"/>
                  </a:lnTo>
                  <a:lnTo>
                    <a:pt x="131" y="89"/>
                  </a:lnTo>
                  <a:lnTo>
                    <a:pt x="132" y="89"/>
                  </a:lnTo>
                  <a:lnTo>
                    <a:pt x="132" y="91"/>
                  </a:lnTo>
                  <a:lnTo>
                    <a:pt x="136" y="91"/>
                  </a:lnTo>
                  <a:lnTo>
                    <a:pt x="136" y="89"/>
                  </a:lnTo>
                  <a:lnTo>
                    <a:pt x="136" y="70"/>
                  </a:lnTo>
                  <a:lnTo>
                    <a:pt x="132" y="70"/>
                  </a:lnTo>
                  <a:lnTo>
                    <a:pt x="129" y="70"/>
                  </a:lnTo>
                  <a:lnTo>
                    <a:pt x="129" y="74"/>
                  </a:lnTo>
                  <a:lnTo>
                    <a:pt x="131" y="75"/>
                  </a:lnTo>
                  <a:lnTo>
                    <a:pt x="129" y="75"/>
                  </a:lnTo>
                  <a:lnTo>
                    <a:pt x="124" y="75"/>
                  </a:lnTo>
                  <a:lnTo>
                    <a:pt x="122" y="74"/>
                  </a:lnTo>
                  <a:lnTo>
                    <a:pt x="120" y="70"/>
                  </a:lnTo>
                  <a:lnTo>
                    <a:pt x="117" y="65"/>
                  </a:lnTo>
                  <a:lnTo>
                    <a:pt x="113" y="63"/>
                  </a:lnTo>
                  <a:lnTo>
                    <a:pt x="113" y="60"/>
                  </a:lnTo>
                  <a:lnTo>
                    <a:pt x="113" y="51"/>
                  </a:lnTo>
                  <a:lnTo>
                    <a:pt x="113" y="47"/>
                  </a:lnTo>
                  <a:lnTo>
                    <a:pt x="117" y="46"/>
                  </a:lnTo>
                  <a:lnTo>
                    <a:pt x="118" y="42"/>
                  </a:lnTo>
                  <a:lnTo>
                    <a:pt x="118" y="42"/>
                  </a:lnTo>
                  <a:lnTo>
                    <a:pt x="118" y="39"/>
                  </a:lnTo>
                  <a:lnTo>
                    <a:pt x="120" y="37"/>
                  </a:lnTo>
                  <a:lnTo>
                    <a:pt x="118" y="35"/>
                  </a:lnTo>
                  <a:lnTo>
                    <a:pt x="120" y="32"/>
                  </a:lnTo>
                  <a:lnTo>
                    <a:pt x="118" y="30"/>
                  </a:lnTo>
                  <a:lnTo>
                    <a:pt x="120" y="28"/>
                  </a:lnTo>
                  <a:lnTo>
                    <a:pt x="120" y="28"/>
                  </a:lnTo>
                  <a:lnTo>
                    <a:pt x="118" y="25"/>
                  </a:lnTo>
                  <a:lnTo>
                    <a:pt x="117" y="23"/>
                  </a:lnTo>
                  <a:lnTo>
                    <a:pt x="115" y="20"/>
                  </a:lnTo>
                  <a:lnTo>
                    <a:pt x="124" y="7"/>
                  </a:lnTo>
                  <a:lnTo>
                    <a:pt x="151" y="0"/>
                  </a:lnTo>
                  <a:lnTo>
                    <a:pt x="158" y="4"/>
                  </a:lnTo>
                  <a:lnTo>
                    <a:pt x="160" y="4"/>
                  </a:lnTo>
                  <a:lnTo>
                    <a:pt x="162" y="6"/>
                  </a:lnTo>
                  <a:lnTo>
                    <a:pt x="165" y="6"/>
                  </a:lnTo>
                  <a:lnTo>
                    <a:pt x="165" y="7"/>
                  </a:lnTo>
                  <a:lnTo>
                    <a:pt x="169" y="7"/>
                  </a:lnTo>
                  <a:lnTo>
                    <a:pt x="169" y="11"/>
                  </a:lnTo>
                  <a:lnTo>
                    <a:pt x="172" y="11"/>
                  </a:lnTo>
                  <a:lnTo>
                    <a:pt x="181" y="13"/>
                  </a:lnTo>
                  <a:lnTo>
                    <a:pt x="183" y="13"/>
                  </a:lnTo>
                  <a:lnTo>
                    <a:pt x="184" y="14"/>
                  </a:lnTo>
                  <a:lnTo>
                    <a:pt x="186" y="16"/>
                  </a:lnTo>
                  <a:lnTo>
                    <a:pt x="188" y="16"/>
                  </a:lnTo>
                  <a:lnTo>
                    <a:pt x="191" y="20"/>
                  </a:lnTo>
                  <a:lnTo>
                    <a:pt x="191" y="20"/>
                  </a:lnTo>
                  <a:lnTo>
                    <a:pt x="191" y="23"/>
                  </a:lnTo>
                  <a:lnTo>
                    <a:pt x="193" y="23"/>
                  </a:lnTo>
                  <a:lnTo>
                    <a:pt x="193" y="28"/>
                  </a:lnTo>
                  <a:lnTo>
                    <a:pt x="197" y="28"/>
                  </a:lnTo>
                  <a:lnTo>
                    <a:pt x="198" y="28"/>
                  </a:lnTo>
                  <a:lnTo>
                    <a:pt x="198" y="30"/>
                  </a:lnTo>
                  <a:lnTo>
                    <a:pt x="197" y="35"/>
                  </a:lnTo>
                  <a:lnTo>
                    <a:pt x="197" y="37"/>
                  </a:lnTo>
                  <a:lnTo>
                    <a:pt x="200" y="39"/>
                  </a:lnTo>
                  <a:lnTo>
                    <a:pt x="200" y="39"/>
                  </a:lnTo>
                  <a:lnTo>
                    <a:pt x="200" y="46"/>
                  </a:lnTo>
                  <a:lnTo>
                    <a:pt x="200" y="46"/>
                  </a:lnTo>
                  <a:lnTo>
                    <a:pt x="200" y="47"/>
                  </a:lnTo>
                  <a:lnTo>
                    <a:pt x="197" y="51"/>
                  </a:lnTo>
                  <a:lnTo>
                    <a:pt x="195" y="53"/>
                  </a:lnTo>
                  <a:lnTo>
                    <a:pt x="197" y="56"/>
                  </a:lnTo>
                  <a:lnTo>
                    <a:pt x="197" y="60"/>
                  </a:lnTo>
                  <a:lnTo>
                    <a:pt x="197" y="61"/>
                  </a:lnTo>
                  <a:lnTo>
                    <a:pt x="197" y="63"/>
                  </a:lnTo>
                  <a:lnTo>
                    <a:pt x="198" y="67"/>
                  </a:lnTo>
                  <a:lnTo>
                    <a:pt x="197" y="68"/>
                  </a:lnTo>
                  <a:lnTo>
                    <a:pt x="197" y="68"/>
                  </a:lnTo>
                  <a:lnTo>
                    <a:pt x="197" y="70"/>
                  </a:lnTo>
                  <a:lnTo>
                    <a:pt x="197" y="74"/>
                  </a:lnTo>
                  <a:lnTo>
                    <a:pt x="198" y="74"/>
                  </a:lnTo>
                  <a:lnTo>
                    <a:pt x="200" y="75"/>
                  </a:lnTo>
                  <a:lnTo>
                    <a:pt x="198" y="75"/>
                  </a:lnTo>
                  <a:lnTo>
                    <a:pt x="197" y="79"/>
                  </a:lnTo>
                  <a:lnTo>
                    <a:pt x="193" y="79"/>
                  </a:lnTo>
                  <a:lnTo>
                    <a:pt x="191" y="80"/>
                  </a:lnTo>
                  <a:lnTo>
                    <a:pt x="191" y="82"/>
                  </a:lnTo>
                  <a:lnTo>
                    <a:pt x="191" y="84"/>
                  </a:lnTo>
                  <a:lnTo>
                    <a:pt x="191" y="86"/>
                  </a:lnTo>
                  <a:lnTo>
                    <a:pt x="191" y="87"/>
                  </a:lnTo>
                  <a:lnTo>
                    <a:pt x="191" y="91"/>
                  </a:lnTo>
                  <a:lnTo>
                    <a:pt x="188" y="94"/>
                  </a:lnTo>
                  <a:lnTo>
                    <a:pt x="186" y="94"/>
                  </a:lnTo>
                  <a:lnTo>
                    <a:pt x="186" y="96"/>
                  </a:lnTo>
                  <a:lnTo>
                    <a:pt x="188" y="98"/>
                  </a:lnTo>
                  <a:lnTo>
                    <a:pt x="191" y="101"/>
                  </a:lnTo>
                  <a:lnTo>
                    <a:pt x="191" y="103"/>
                  </a:lnTo>
                  <a:lnTo>
                    <a:pt x="191" y="103"/>
                  </a:lnTo>
                  <a:lnTo>
                    <a:pt x="186" y="107"/>
                  </a:lnTo>
                  <a:lnTo>
                    <a:pt x="176" y="108"/>
                  </a:lnTo>
                  <a:lnTo>
                    <a:pt x="172" y="110"/>
                  </a:lnTo>
                  <a:lnTo>
                    <a:pt x="155" y="117"/>
                  </a:lnTo>
                  <a:lnTo>
                    <a:pt x="151" y="117"/>
                  </a:lnTo>
                  <a:lnTo>
                    <a:pt x="146" y="120"/>
                  </a:lnTo>
                  <a:lnTo>
                    <a:pt x="143" y="124"/>
                  </a:lnTo>
                  <a:lnTo>
                    <a:pt x="146" y="129"/>
                  </a:lnTo>
                  <a:lnTo>
                    <a:pt x="146" y="129"/>
                  </a:lnTo>
                  <a:lnTo>
                    <a:pt x="143" y="129"/>
                  </a:lnTo>
                  <a:lnTo>
                    <a:pt x="143" y="129"/>
                  </a:lnTo>
                  <a:lnTo>
                    <a:pt x="139" y="129"/>
                  </a:lnTo>
                  <a:lnTo>
                    <a:pt x="137" y="129"/>
                  </a:lnTo>
                  <a:lnTo>
                    <a:pt x="137" y="129"/>
                  </a:lnTo>
                  <a:lnTo>
                    <a:pt x="132" y="129"/>
                  </a:lnTo>
                  <a:lnTo>
                    <a:pt x="129" y="129"/>
                  </a:lnTo>
                  <a:lnTo>
                    <a:pt x="125" y="133"/>
                  </a:lnTo>
                  <a:lnTo>
                    <a:pt x="125" y="133"/>
                  </a:lnTo>
                  <a:lnTo>
                    <a:pt x="120" y="134"/>
                  </a:lnTo>
                  <a:lnTo>
                    <a:pt x="118" y="138"/>
                  </a:lnTo>
                  <a:lnTo>
                    <a:pt x="118" y="140"/>
                  </a:lnTo>
                  <a:lnTo>
                    <a:pt x="118" y="141"/>
                  </a:lnTo>
                  <a:lnTo>
                    <a:pt x="118" y="143"/>
                  </a:lnTo>
                  <a:lnTo>
                    <a:pt x="118" y="143"/>
                  </a:lnTo>
                  <a:lnTo>
                    <a:pt x="117" y="145"/>
                  </a:lnTo>
                  <a:lnTo>
                    <a:pt x="110" y="147"/>
                  </a:lnTo>
                  <a:lnTo>
                    <a:pt x="101" y="155"/>
                  </a:lnTo>
                  <a:lnTo>
                    <a:pt x="92" y="164"/>
                  </a:lnTo>
                  <a:lnTo>
                    <a:pt x="89" y="171"/>
                  </a:lnTo>
                  <a:lnTo>
                    <a:pt x="84" y="173"/>
                  </a:lnTo>
                  <a:lnTo>
                    <a:pt x="80" y="173"/>
                  </a:lnTo>
                  <a:lnTo>
                    <a:pt x="77" y="169"/>
                  </a:lnTo>
                  <a:lnTo>
                    <a:pt x="77" y="169"/>
                  </a:lnTo>
                  <a:lnTo>
                    <a:pt x="77" y="169"/>
                  </a:lnTo>
                  <a:lnTo>
                    <a:pt x="75" y="169"/>
                  </a:lnTo>
                  <a:lnTo>
                    <a:pt x="73" y="169"/>
                  </a:lnTo>
                  <a:lnTo>
                    <a:pt x="70" y="169"/>
                  </a:lnTo>
                  <a:lnTo>
                    <a:pt x="66" y="171"/>
                  </a:lnTo>
                  <a:lnTo>
                    <a:pt x="66" y="171"/>
                  </a:lnTo>
                  <a:lnTo>
                    <a:pt x="63" y="169"/>
                  </a:lnTo>
                  <a:lnTo>
                    <a:pt x="61" y="167"/>
                  </a:lnTo>
                  <a:lnTo>
                    <a:pt x="58" y="167"/>
                  </a:lnTo>
                  <a:lnTo>
                    <a:pt x="56" y="167"/>
                  </a:lnTo>
                  <a:lnTo>
                    <a:pt x="52" y="164"/>
                  </a:lnTo>
                  <a:lnTo>
                    <a:pt x="52" y="164"/>
                  </a:lnTo>
                  <a:lnTo>
                    <a:pt x="51" y="162"/>
                  </a:lnTo>
                  <a:lnTo>
                    <a:pt x="49" y="164"/>
                  </a:lnTo>
                  <a:lnTo>
                    <a:pt x="47" y="162"/>
                  </a:lnTo>
                  <a:lnTo>
                    <a:pt x="47" y="162"/>
                  </a:lnTo>
                  <a:lnTo>
                    <a:pt x="45" y="162"/>
                  </a:lnTo>
                  <a:lnTo>
                    <a:pt x="44" y="162"/>
                  </a:lnTo>
                  <a:lnTo>
                    <a:pt x="40" y="162"/>
                  </a:lnTo>
                  <a:lnTo>
                    <a:pt x="26" y="166"/>
                  </a:lnTo>
                  <a:lnTo>
                    <a:pt x="23" y="164"/>
                  </a:lnTo>
                  <a:lnTo>
                    <a:pt x="21" y="162"/>
                  </a:lnTo>
                  <a:lnTo>
                    <a:pt x="21" y="160"/>
                  </a:lnTo>
                  <a:lnTo>
                    <a:pt x="18" y="157"/>
                  </a:lnTo>
                  <a:lnTo>
                    <a:pt x="16" y="157"/>
                  </a:lnTo>
                  <a:lnTo>
                    <a:pt x="14" y="157"/>
                  </a:lnTo>
                  <a:lnTo>
                    <a:pt x="11" y="152"/>
                  </a:lnTo>
                  <a:lnTo>
                    <a:pt x="7" y="148"/>
                  </a:lnTo>
                  <a:lnTo>
                    <a:pt x="7" y="148"/>
                  </a:lnTo>
                  <a:lnTo>
                    <a:pt x="4" y="147"/>
                  </a:lnTo>
                  <a:lnTo>
                    <a:pt x="4" y="143"/>
                  </a:lnTo>
                  <a:lnTo>
                    <a:pt x="0" y="141"/>
                  </a:lnTo>
                  <a:lnTo>
                    <a:pt x="4" y="84"/>
                  </a:lnTo>
                  <a:lnTo>
                    <a:pt x="40" y="84"/>
                  </a:lnTo>
                  <a:lnTo>
                    <a:pt x="38" y="82"/>
                  </a:lnTo>
                  <a:lnTo>
                    <a:pt x="38" y="79"/>
                  </a:lnTo>
                  <a:lnTo>
                    <a:pt x="40" y="75"/>
                  </a:lnTo>
                  <a:lnTo>
                    <a:pt x="40" y="74"/>
                  </a:lnTo>
                  <a:lnTo>
                    <a:pt x="38" y="70"/>
                  </a:lnTo>
                  <a:lnTo>
                    <a:pt x="38" y="67"/>
                  </a:lnTo>
                  <a:lnTo>
                    <a:pt x="38" y="60"/>
                  </a:lnTo>
                  <a:lnTo>
                    <a:pt x="37" y="53"/>
                  </a:lnTo>
                  <a:lnTo>
                    <a:pt x="38" y="51"/>
                  </a:lnTo>
                  <a:lnTo>
                    <a:pt x="38" y="51"/>
                  </a:lnTo>
                  <a:lnTo>
                    <a:pt x="38" y="51"/>
                  </a:lnTo>
                  <a:lnTo>
                    <a:pt x="38" y="51"/>
                  </a:lnTo>
                  <a:lnTo>
                    <a:pt x="38" y="5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0" name="Freeform 146">
              <a:extLst>
                <a:ext uri="{FF2B5EF4-FFF2-40B4-BE49-F238E27FC236}">
                  <a16:creationId xmlns:a16="http://schemas.microsoft.com/office/drawing/2014/main" id="{1153ED3F-6BC3-4C78-BAA2-C41260725138}"/>
                </a:ext>
              </a:extLst>
            </p:cNvPr>
            <p:cNvSpPr>
              <a:spLocks/>
            </p:cNvSpPr>
            <p:nvPr/>
          </p:nvSpPr>
          <p:spPr bwMode="auto">
            <a:xfrm>
              <a:off x="4764088" y="4429126"/>
              <a:ext cx="341313" cy="334963"/>
            </a:xfrm>
            <a:custGeom>
              <a:avLst/>
              <a:gdLst/>
              <a:ahLst/>
              <a:cxnLst>
                <a:cxn ang="0">
                  <a:pos x="196" y="198"/>
                </a:cxn>
                <a:cxn ang="0">
                  <a:pos x="184" y="190"/>
                </a:cxn>
                <a:cxn ang="0">
                  <a:pos x="177" y="181"/>
                </a:cxn>
                <a:cxn ang="0">
                  <a:pos x="213" y="122"/>
                </a:cxn>
                <a:cxn ang="0">
                  <a:pos x="213" y="110"/>
                </a:cxn>
                <a:cxn ang="0">
                  <a:pos x="213" y="91"/>
                </a:cxn>
                <a:cxn ang="0">
                  <a:pos x="206" y="91"/>
                </a:cxn>
                <a:cxn ang="0">
                  <a:pos x="200" y="92"/>
                </a:cxn>
                <a:cxn ang="0">
                  <a:pos x="187" y="91"/>
                </a:cxn>
                <a:cxn ang="0">
                  <a:pos x="184" y="92"/>
                </a:cxn>
                <a:cxn ang="0">
                  <a:pos x="184" y="85"/>
                </a:cxn>
                <a:cxn ang="0">
                  <a:pos x="184" y="77"/>
                </a:cxn>
                <a:cxn ang="0">
                  <a:pos x="182" y="70"/>
                </a:cxn>
                <a:cxn ang="0">
                  <a:pos x="179" y="65"/>
                </a:cxn>
                <a:cxn ang="0">
                  <a:pos x="175" y="56"/>
                </a:cxn>
                <a:cxn ang="0">
                  <a:pos x="175" y="44"/>
                </a:cxn>
                <a:cxn ang="0">
                  <a:pos x="175" y="35"/>
                </a:cxn>
                <a:cxn ang="0">
                  <a:pos x="177" y="26"/>
                </a:cxn>
                <a:cxn ang="0">
                  <a:pos x="156" y="18"/>
                </a:cxn>
                <a:cxn ang="0">
                  <a:pos x="134" y="25"/>
                </a:cxn>
                <a:cxn ang="0">
                  <a:pos x="134" y="35"/>
                </a:cxn>
                <a:cxn ang="0">
                  <a:pos x="109" y="37"/>
                </a:cxn>
                <a:cxn ang="0">
                  <a:pos x="100" y="32"/>
                </a:cxn>
                <a:cxn ang="0">
                  <a:pos x="94" y="23"/>
                </a:cxn>
                <a:cxn ang="0">
                  <a:pos x="90" y="11"/>
                </a:cxn>
                <a:cxn ang="0">
                  <a:pos x="88" y="5"/>
                </a:cxn>
                <a:cxn ang="0">
                  <a:pos x="59" y="0"/>
                </a:cxn>
                <a:cxn ang="0">
                  <a:pos x="41" y="2"/>
                </a:cxn>
                <a:cxn ang="0">
                  <a:pos x="28" y="0"/>
                </a:cxn>
                <a:cxn ang="0">
                  <a:pos x="19" y="4"/>
                </a:cxn>
                <a:cxn ang="0">
                  <a:pos x="14" y="5"/>
                </a:cxn>
                <a:cxn ang="0">
                  <a:pos x="28" y="33"/>
                </a:cxn>
                <a:cxn ang="0">
                  <a:pos x="28" y="56"/>
                </a:cxn>
                <a:cxn ang="0">
                  <a:pos x="36" y="82"/>
                </a:cxn>
                <a:cxn ang="0">
                  <a:pos x="31" y="115"/>
                </a:cxn>
                <a:cxn ang="0">
                  <a:pos x="14" y="132"/>
                </a:cxn>
                <a:cxn ang="0">
                  <a:pos x="7" y="158"/>
                </a:cxn>
                <a:cxn ang="0">
                  <a:pos x="0" y="183"/>
                </a:cxn>
                <a:cxn ang="0">
                  <a:pos x="0" y="198"/>
                </a:cxn>
                <a:cxn ang="0">
                  <a:pos x="5" y="195"/>
                </a:cxn>
                <a:cxn ang="0">
                  <a:pos x="15" y="195"/>
                </a:cxn>
                <a:cxn ang="0">
                  <a:pos x="24" y="193"/>
                </a:cxn>
                <a:cxn ang="0">
                  <a:pos x="29" y="193"/>
                </a:cxn>
                <a:cxn ang="0">
                  <a:pos x="33" y="195"/>
                </a:cxn>
                <a:cxn ang="0">
                  <a:pos x="45" y="198"/>
                </a:cxn>
                <a:cxn ang="0">
                  <a:pos x="114" y="198"/>
                </a:cxn>
                <a:cxn ang="0">
                  <a:pos x="121" y="205"/>
                </a:cxn>
                <a:cxn ang="0">
                  <a:pos x="130" y="207"/>
                </a:cxn>
                <a:cxn ang="0">
                  <a:pos x="140" y="207"/>
                </a:cxn>
                <a:cxn ang="0">
                  <a:pos x="147" y="205"/>
                </a:cxn>
                <a:cxn ang="0">
                  <a:pos x="160" y="209"/>
                </a:cxn>
                <a:cxn ang="0">
                  <a:pos x="165" y="209"/>
                </a:cxn>
                <a:cxn ang="0">
                  <a:pos x="168" y="211"/>
                </a:cxn>
                <a:cxn ang="0">
                  <a:pos x="200" y="204"/>
                </a:cxn>
              </a:cxnLst>
              <a:rect l="0" t="0" r="r" b="b"/>
              <a:pathLst>
                <a:path w="215" h="211">
                  <a:moveTo>
                    <a:pt x="200" y="204"/>
                  </a:moveTo>
                  <a:lnTo>
                    <a:pt x="198" y="202"/>
                  </a:lnTo>
                  <a:lnTo>
                    <a:pt x="196" y="200"/>
                  </a:lnTo>
                  <a:lnTo>
                    <a:pt x="196" y="198"/>
                  </a:lnTo>
                  <a:lnTo>
                    <a:pt x="193" y="195"/>
                  </a:lnTo>
                  <a:lnTo>
                    <a:pt x="191" y="195"/>
                  </a:lnTo>
                  <a:lnTo>
                    <a:pt x="187" y="195"/>
                  </a:lnTo>
                  <a:lnTo>
                    <a:pt x="184" y="190"/>
                  </a:lnTo>
                  <a:lnTo>
                    <a:pt x="182" y="188"/>
                  </a:lnTo>
                  <a:lnTo>
                    <a:pt x="182" y="186"/>
                  </a:lnTo>
                  <a:lnTo>
                    <a:pt x="179" y="185"/>
                  </a:lnTo>
                  <a:lnTo>
                    <a:pt x="177" y="181"/>
                  </a:lnTo>
                  <a:lnTo>
                    <a:pt x="175" y="179"/>
                  </a:lnTo>
                  <a:lnTo>
                    <a:pt x="177" y="124"/>
                  </a:lnTo>
                  <a:lnTo>
                    <a:pt x="215" y="124"/>
                  </a:lnTo>
                  <a:lnTo>
                    <a:pt x="213" y="122"/>
                  </a:lnTo>
                  <a:lnTo>
                    <a:pt x="213" y="117"/>
                  </a:lnTo>
                  <a:lnTo>
                    <a:pt x="215" y="115"/>
                  </a:lnTo>
                  <a:lnTo>
                    <a:pt x="215" y="112"/>
                  </a:lnTo>
                  <a:lnTo>
                    <a:pt x="213" y="110"/>
                  </a:lnTo>
                  <a:lnTo>
                    <a:pt x="213" y="105"/>
                  </a:lnTo>
                  <a:lnTo>
                    <a:pt x="213" y="99"/>
                  </a:lnTo>
                  <a:lnTo>
                    <a:pt x="212" y="92"/>
                  </a:lnTo>
                  <a:lnTo>
                    <a:pt x="213" y="91"/>
                  </a:lnTo>
                  <a:lnTo>
                    <a:pt x="213" y="91"/>
                  </a:lnTo>
                  <a:lnTo>
                    <a:pt x="213" y="89"/>
                  </a:lnTo>
                  <a:lnTo>
                    <a:pt x="210" y="89"/>
                  </a:lnTo>
                  <a:lnTo>
                    <a:pt x="206" y="91"/>
                  </a:lnTo>
                  <a:lnTo>
                    <a:pt x="205" y="92"/>
                  </a:lnTo>
                  <a:lnTo>
                    <a:pt x="203" y="92"/>
                  </a:lnTo>
                  <a:lnTo>
                    <a:pt x="201" y="92"/>
                  </a:lnTo>
                  <a:lnTo>
                    <a:pt x="200" y="92"/>
                  </a:lnTo>
                  <a:lnTo>
                    <a:pt x="196" y="92"/>
                  </a:lnTo>
                  <a:lnTo>
                    <a:pt x="193" y="92"/>
                  </a:lnTo>
                  <a:lnTo>
                    <a:pt x="191" y="91"/>
                  </a:lnTo>
                  <a:lnTo>
                    <a:pt x="187" y="91"/>
                  </a:lnTo>
                  <a:lnTo>
                    <a:pt x="187" y="91"/>
                  </a:lnTo>
                  <a:lnTo>
                    <a:pt x="187" y="91"/>
                  </a:lnTo>
                  <a:lnTo>
                    <a:pt x="184" y="92"/>
                  </a:lnTo>
                  <a:lnTo>
                    <a:pt x="184" y="92"/>
                  </a:lnTo>
                  <a:lnTo>
                    <a:pt x="184" y="91"/>
                  </a:lnTo>
                  <a:lnTo>
                    <a:pt x="184" y="87"/>
                  </a:lnTo>
                  <a:lnTo>
                    <a:pt x="184" y="87"/>
                  </a:lnTo>
                  <a:lnTo>
                    <a:pt x="184" y="85"/>
                  </a:lnTo>
                  <a:lnTo>
                    <a:pt x="184" y="85"/>
                  </a:lnTo>
                  <a:lnTo>
                    <a:pt x="184" y="82"/>
                  </a:lnTo>
                  <a:lnTo>
                    <a:pt x="182" y="78"/>
                  </a:lnTo>
                  <a:lnTo>
                    <a:pt x="184" y="77"/>
                  </a:lnTo>
                  <a:lnTo>
                    <a:pt x="184" y="77"/>
                  </a:lnTo>
                  <a:lnTo>
                    <a:pt x="182" y="73"/>
                  </a:lnTo>
                  <a:lnTo>
                    <a:pt x="182" y="72"/>
                  </a:lnTo>
                  <a:lnTo>
                    <a:pt x="182" y="70"/>
                  </a:lnTo>
                  <a:lnTo>
                    <a:pt x="182" y="68"/>
                  </a:lnTo>
                  <a:lnTo>
                    <a:pt x="180" y="68"/>
                  </a:lnTo>
                  <a:lnTo>
                    <a:pt x="179" y="65"/>
                  </a:lnTo>
                  <a:lnTo>
                    <a:pt x="179" y="65"/>
                  </a:lnTo>
                  <a:lnTo>
                    <a:pt x="179" y="63"/>
                  </a:lnTo>
                  <a:lnTo>
                    <a:pt x="177" y="59"/>
                  </a:lnTo>
                  <a:lnTo>
                    <a:pt x="177" y="58"/>
                  </a:lnTo>
                  <a:lnTo>
                    <a:pt x="175" y="56"/>
                  </a:lnTo>
                  <a:lnTo>
                    <a:pt x="177" y="54"/>
                  </a:lnTo>
                  <a:lnTo>
                    <a:pt x="177" y="49"/>
                  </a:lnTo>
                  <a:lnTo>
                    <a:pt x="175" y="45"/>
                  </a:lnTo>
                  <a:lnTo>
                    <a:pt x="175" y="44"/>
                  </a:lnTo>
                  <a:lnTo>
                    <a:pt x="177" y="44"/>
                  </a:lnTo>
                  <a:lnTo>
                    <a:pt x="177" y="40"/>
                  </a:lnTo>
                  <a:lnTo>
                    <a:pt x="175" y="38"/>
                  </a:lnTo>
                  <a:lnTo>
                    <a:pt x="175" y="35"/>
                  </a:lnTo>
                  <a:lnTo>
                    <a:pt x="177" y="32"/>
                  </a:lnTo>
                  <a:lnTo>
                    <a:pt x="177" y="32"/>
                  </a:lnTo>
                  <a:lnTo>
                    <a:pt x="177" y="28"/>
                  </a:lnTo>
                  <a:lnTo>
                    <a:pt x="177" y="26"/>
                  </a:lnTo>
                  <a:lnTo>
                    <a:pt x="156" y="25"/>
                  </a:lnTo>
                  <a:lnTo>
                    <a:pt x="156" y="23"/>
                  </a:lnTo>
                  <a:lnTo>
                    <a:pt x="156" y="21"/>
                  </a:lnTo>
                  <a:lnTo>
                    <a:pt x="156" y="18"/>
                  </a:lnTo>
                  <a:lnTo>
                    <a:pt x="153" y="18"/>
                  </a:lnTo>
                  <a:lnTo>
                    <a:pt x="153" y="19"/>
                  </a:lnTo>
                  <a:lnTo>
                    <a:pt x="137" y="19"/>
                  </a:lnTo>
                  <a:lnTo>
                    <a:pt x="134" y="25"/>
                  </a:lnTo>
                  <a:lnTo>
                    <a:pt x="134" y="28"/>
                  </a:lnTo>
                  <a:lnTo>
                    <a:pt x="134" y="28"/>
                  </a:lnTo>
                  <a:lnTo>
                    <a:pt x="134" y="32"/>
                  </a:lnTo>
                  <a:lnTo>
                    <a:pt x="134" y="35"/>
                  </a:lnTo>
                  <a:lnTo>
                    <a:pt x="120" y="37"/>
                  </a:lnTo>
                  <a:lnTo>
                    <a:pt x="118" y="38"/>
                  </a:lnTo>
                  <a:lnTo>
                    <a:pt x="111" y="37"/>
                  </a:lnTo>
                  <a:lnTo>
                    <a:pt x="109" y="37"/>
                  </a:lnTo>
                  <a:lnTo>
                    <a:pt x="106" y="37"/>
                  </a:lnTo>
                  <a:lnTo>
                    <a:pt x="102" y="37"/>
                  </a:lnTo>
                  <a:lnTo>
                    <a:pt x="100" y="37"/>
                  </a:lnTo>
                  <a:lnTo>
                    <a:pt x="100" y="32"/>
                  </a:lnTo>
                  <a:lnTo>
                    <a:pt x="97" y="28"/>
                  </a:lnTo>
                  <a:lnTo>
                    <a:pt x="95" y="26"/>
                  </a:lnTo>
                  <a:lnTo>
                    <a:pt x="94" y="25"/>
                  </a:lnTo>
                  <a:lnTo>
                    <a:pt x="94" y="23"/>
                  </a:lnTo>
                  <a:lnTo>
                    <a:pt x="94" y="21"/>
                  </a:lnTo>
                  <a:lnTo>
                    <a:pt x="92" y="18"/>
                  </a:lnTo>
                  <a:lnTo>
                    <a:pt x="90" y="14"/>
                  </a:lnTo>
                  <a:lnTo>
                    <a:pt x="90" y="11"/>
                  </a:lnTo>
                  <a:lnTo>
                    <a:pt x="92" y="9"/>
                  </a:lnTo>
                  <a:lnTo>
                    <a:pt x="92" y="9"/>
                  </a:lnTo>
                  <a:lnTo>
                    <a:pt x="90" y="5"/>
                  </a:lnTo>
                  <a:lnTo>
                    <a:pt x="88" y="5"/>
                  </a:lnTo>
                  <a:lnTo>
                    <a:pt x="90" y="4"/>
                  </a:lnTo>
                  <a:lnTo>
                    <a:pt x="90" y="2"/>
                  </a:lnTo>
                  <a:lnTo>
                    <a:pt x="73" y="0"/>
                  </a:lnTo>
                  <a:lnTo>
                    <a:pt x="59" y="0"/>
                  </a:lnTo>
                  <a:lnTo>
                    <a:pt x="55" y="2"/>
                  </a:lnTo>
                  <a:lnTo>
                    <a:pt x="47" y="2"/>
                  </a:lnTo>
                  <a:lnTo>
                    <a:pt x="47" y="0"/>
                  </a:lnTo>
                  <a:lnTo>
                    <a:pt x="41" y="2"/>
                  </a:lnTo>
                  <a:lnTo>
                    <a:pt x="36" y="2"/>
                  </a:lnTo>
                  <a:lnTo>
                    <a:pt x="33" y="2"/>
                  </a:lnTo>
                  <a:lnTo>
                    <a:pt x="31" y="2"/>
                  </a:lnTo>
                  <a:lnTo>
                    <a:pt x="28" y="0"/>
                  </a:lnTo>
                  <a:lnTo>
                    <a:pt x="24" y="2"/>
                  </a:lnTo>
                  <a:lnTo>
                    <a:pt x="24" y="2"/>
                  </a:lnTo>
                  <a:lnTo>
                    <a:pt x="22" y="4"/>
                  </a:lnTo>
                  <a:lnTo>
                    <a:pt x="19" y="4"/>
                  </a:lnTo>
                  <a:lnTo>
                    <a:pt x="19" y="4"/>
                  </a:lnTo>
                  <a:lnTo>
                    <a:pt x="19" y="4"/>
                  </a:lnTo>
                  <a:lnTo>
                    <a:pt x="19" y="4"/>
                  </a:lnTo>
                  <a:lnTo>
                    <a:pt x="14" y="5"/>
                  </a:lnTo>
                  <a:lnTo>
                    <a:pt x="15" y="9"/>
                  </a:lnTo>
                  <a:lnTo>
                    <a:pt x="15" y="11"/>
                  </a:lnTo>
                  <a:lnTo>
                    <a:pt x="24" y="21"/>
                  </a:lnTo>
                  <a:lnTo>
                    <a:pt x="28" y="33"/>
                  </a:lnTo>
                  <a:lnTo>
                    <a:pt x="31" y="42"/>
                  </a:lnTo>
                  <a:lnTo>
                    <a:pt x="29" y="49"/>
                  </a:lnTo>
                  <a:lnTo>
                    <a:pt x="24" y="54"/>
                  </a:lnTo>
                  <a:lnTo>
                    <a:pt x="28" y="56"/>
                  </a:lnTo>
                  <a:lnTo>
                    <a:pt x="28" y="63"/>
                  </a:lnTo>
                  <a:lnTo>
                    <a:pt x="29" y="68"/>
                  </a:lnTo>
                  <a:lnTo>
                    <a:pt x="29" y="72"/>
                  </a:lnTo>
                  <a:lnTo>
                    <a:pt x="36" y="82"/>
                  </a:lnTo>
                  <a:lnTo>
                    <a:pt x="36" y="85"/>
                  </a:lnTo>
                  <a:lnTo>
                    <a:pt x="38" y="87"/>
                  </a:lnTo>
                  <a:lnTo>
                    <a:pt x="38" y="101"/>
                  </a:lnTo>
                  <a:lnTo>
                    <a:pt x="31" y="115"/>
                  </a:lnTo>
                  <a:lnTo>
                    <a:pt x="29" y="115"/>
                  </a:lnTo>
                  <a:lnTo>
                    <a:pt x="22" y="118"/>
                  </a:lnTo>
                  <a:lnTo>
                    <a:pt x="22" y="124"/>
                  </a:lnTo>
                  <a:lnTo>
                    <a:pt x="14" y="132"/>
                  </a:lnTo>
                  <a:lnTo>
                    <a:pt x="12" y="139"/>
                  </a:lnTo>
                  <a:lnTo>
                    <a:pt x="10" y="139"/>
                  </a:lnTo>
                  <a:lnTo>
                    <a:pt x="10" y="153"/>
                  </a:lnTo>
                  <a:lnTo>
                    <a:pt x="7" y="158"/>
                  </a:lnTo>
                  <a:lnTo>
                    <a:pt x="5" y="165"/>
                  </a:lnTo>
                  <a:lnTo>
                    <a:pt x="0" y="172"/>
                  </a:lnTo>
                  <a:lnTo>
                    <a:pt x="0" y="176"/>
                  </a:lnTo>
                  <a:lnTo>
                    <a:pt x="0" y="183"/>
                  </a:lnTo>
                  <a:lnTo>
                    <a:pt x="0" y="192"/>
                  </a:lnTo>
                  <a:lnTo>
                    <a:pt x="0" y="195"/>
                  </a:lnTo>
                  <a:lnTo>
                    <a:pt x="0" y="198"/>
                  </a:lnTo>
                  <a:lnTo>
                    <a:pt x="0" y="198"/>
                  </a:lnTo>
                  <a:lnTo>
                    <a:pt x="1" y="198"/>
                  </a:lnTo>
                  <a:lnTo>
                    <a:pt x="3" y="198"/>
                  </a:lnTo>
                  <a:lnTo>
                    <a:pt x="5" y="198"/>
                  </a:lnTo>
                  <a:lnTo>
                    <a:pt x="5" y="195"/>
                  </a:lnTo>
                  <a:lnTo>
                    <a:pt x="7" y="195"/>
                  </a:lnTo>
                  <a:lnTo>
                    <a:pt x="10" y="195"/>
                  </a:lnTo>
                  <a:lnTo>
                    <a:pt x="14" y="198"/>
                  </a:lnTo>
                  <a:lnTo>
                    <a:pt x="15" y="195"/>
                  </a:lnTo>
                  <a:lnTo>
                    <a:pt x="15" y="195"/>
                  </a:lnTo>
                  <a:lnTo>
                    <a:pt x="19" y="192"/>
                  </a:lnTo>
                  <a:lnTo>
                    <a:pt x="22" y="192"/>
                  </a:lnTo>
                  <a:lnTo>
                    <a:pt x="24" y="193"/>
                  </a:lnTo>
                  <a:lnTo>
                    <a:pt x="28" y="193"/>
                  </a:lnTo>
                  <a:lnTo>
                    <a:pt x="28" y="192"/>
                  </a:lnTo>
                  <a:lnTo>
                    <a:pt x="28" y="192"/>
                  </a:lnTo>
                  <a:lnTo>
                    <a:pt x="29" y="193"/>
                  </a:lnTo>
                  <a:lnTo>
                    <a:pt x="31" y="193"/>
                  </a:lnTo>
                  <a:lnTo>
                    <a:pt x="33" y="195"/>
                  </a:lnTo>
                  <a:lnTo>
                    <a:pt x="33" y="195"/>
                  </a:lnTo>
                  <a:lnTo>
                    <a:pt x="33" y="195"/>
                  </a:lnTo>
                  <a:lnTo>
                    <a:pt x="36" y="198"/>
                  </a:lnTo>
                  <a:lnTo>
                    <a:pt x="41" y="200"/>
                  </a:lnTo>
                  <a:lnTo>
                    <a:pt x="43" y="198"/>
                  </a:lnTo>
                  <a:lnTo>
                    <a:pt x="45" y="198"/>
                  </a:lnTo>
                  <a:lnTo>
                    <a:pt x="47" y="198"/>
                  </a:lnTo>
                  <a:lnTo>
                    <a:pt x="47" y="198"/>
                  </a:lnTo>
                  <a:lnTo>
                    <a:pt x="50" y="198"/>
                  </a:lnTo>
                  <a:lnTo>
                    <a:pt x="114" y="198"/>
                  </a:lnTo>
                  <a:lnTo>
                    <a:pt x="114" y="198"/>
                  </a:lnTo>
                  <a:lnTo>
                    <a:pt x="116" y="202"/>
                  </a:lnTo>
                  <a:lnTo>
                    <a:pt x="118" y="204"/>
                  </a:lnTo>
                  <a:lnTo>
                    <a:pt x="121" y="205"/>
                  </a:lnTo>
                  <a:lnTo>
                    <a:pt x="125" y="205"/>
                  </a:lnTo>
                  <a:lnTo>
                    <a:pt x="128" y="205"/>
                  </a:lnTo>
                  <a:lnTo>
                    <a:pt x="130" y="205"/>
                  </a:lnTo>
                  <a:lnTo>
                    <a:pt x="130" y="207"/>
                  </a:lnTo>
                  <a:lnTo>
                    <a:pt x="134" y="209"/>
                  </a:lnTo>
                  <a:lnTo>
                    <a:pt x="134" y="207"/>
                  </a:lnTo>
                  <a:lnTo>
                    <a:pt x="137" y="205"/>
                  </a:lnTo>
                  <a:lnTo>
                    <a:pt x="140" y="207"/>
                  </a:lnTo>
                  <a:lnTo>
                    <a:pt x="144" y="207"/>
                  </a:lnTo>
                  <a:lnTo>
                    <a:pt x="144" y="205"/>
                  </a:lnTo>
                  <a:lnTo>
                    <a:pt x="146" y="205"/>
                  </a:lnTo>
                  <a:lnTo>
                    <a:pt x="147" y="205"/>
                  </a:lnTo>
                  <a:lnTo>
                    <a:pt x="151" y="209"/>
                  </a:lnTo>
                  <a:lnTo>
                    <a:pt x="154" y="211"/>
                  </a:lnTo>
                  <a:lnTo>
                    <a:pt x="156" y="211"/>
                  </a:lnTo>
                  <a:lnTo>
                    <a:pt x="160" y="209"/>
                  </a:lnTo>
                  <a:lnTo>
                    <a:pt x="160" y="209"/>
                  </a:lnTo>
                  <a:lnTo>
                    <a:pt x="161" y="207"/>
                  </a:lnTo>
                  <a:lnTo>
                    <a:pt x="161" y="209"/>
                  </a:lnTo>
                  <a:lnTo>
                    <a:pt x="165" y="209"/>
                  </a:lnTo>
                  <a:lnTo>
                    <a:pt x="165" y="209"/>
                  </a:lnTo>
                  <a:lnTo>
                    <a:pt x="165" y="211"/>
                  </a:lnTo>
                  <a:lnTo>
                    <a:pt x="167" y="211"/>
                  </a:lnTo>
                  <a:lnTo>
                    <a:pt x="168" y="211"/>
                  </a:lnTo>
                  <a:lnTo>
                    <a:pt x="170" y="211"/>
                  </a:lnTo>
                  <a:lnTo>
                    <a:pt x="172" y="211"/>
                  </a:lnTo>
                  <a:lnTo>
                    <a:pt x="172" y="211"/>
                  </a:lnTo>
                  <a:lnTo>
                    <a:pt x="200" y="204"/>
                  </a:lnTo>
                  <a:lnTo>
                    <a:pt x="200" y="204"/>
                  </a:lnTo>
                  <a:lnTo>
                    <a:pt x="200" y="20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1" name="Freeform 147">
              <a:extLst>
                <a:ext uri="{FF2B5EF4-FFF2-40B4-BE49-F238E27FC236}">
                  <a16:creationId xmlns:a16="http://schemas.microsoft.com/office/drawing/2014/main" id="{02916861-6BCA-4ED3-9E78-BC05E5718267}"/>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2" name="Freeform 148">
              <a:extLst>
                <a:ext uri="{FF2B5EF4-FFF2-40B4-BE49-F238E27FC236}">
                  <a16:creationId xmlns:a16="http://schemas.microsoft.com/office/drawing/2014/main" id="{090C20C4-C659-4835-B7CA-15BEA3626839}"/>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3" name="Freeform 149">
              <a:extLst>
                <a:ext uri="{FF2B5EF4-FFF2-40B4-BE49-F238E27FC236}">
                  <a16:creationId xmlns:a16="http://schemas.microsoft.com/office/drawing/2014/main" id="{3C8767F2-9FA6-4D84-B52F-D1B5384B2E3F}"/>
                </a:ext>
              </a:extLst>
            </p:cNvPr>
            <p:cNvSpPr>
              <a:spLocks/>
            </p:cNvSpPr>
            <p:nvPr/>
          </p:nvSpPr>
          <p:spPr bwMode="auto">
            <a:xfrm>
              <a:off x="4981575" y="4754563"/>
              <a:ext cx="254000" cy="254000"/>
            </a:xfrm>
            <a:custGeom>
              <a:avLst/>
              <a:gdLst/>
              <a:ahLst/>
              <a:cxnLst>
                <a:cxn ang="0">
                  <a:pos x="92" y="4"/>
                </a:cxn>
                <a:cxn ang="0">
                  <a:pos x="96" y="9"/>
                </a:cxn>
                <a:cxn ang="0">
                  <a:pos x="101" y="13"/>
                </a:cxn>
                <a:cxn ang="0">
                  <a:pos x="104" y="18"/>
                </a:cxn>
                <a:cxn ang="0">
                  <a:pos x="106" y="25"/>
                </a:cxn>
                <a:cxn ang="0">
                  <a:pos x="111" y="30"/>
                </a:cxn>
                <a:cxn ang="0">
                  <a:pos x="123" y="40"/>
                </a:cxn>
                <a:cxn ang="0">
                  <a:pos x="127" y="44"/>
                </a:cxn>
                <a:cxn ang="0">
                  <a:pos x="129" y="49"/>
                </a:cxn>
                <a:cxn ang="0">
                  <a:pos x="132" y="56"/>
                </a:cxn>
                <a:cxn ang="0">
                  <a:pos x="137" y="63"/>
                </a:cxn>
                <a:cxn ang="0">
                  <a:pos x="144" y="68"/>
                </a:cxn>
                <a:cxn ang="0">
                  <a:pos x="155" y="72"/>
                </a:cxn>
                <a:cxn ang="0">
                  <a:pos x="160" y="75"/>
                </a:cxn>
                <a:cxn ang="0">
                  <a:pos x="160" y="79"/>
                </a:cxn>
                <a:cxn ang="0">
                  <a:pos x="151" y="80"/>
                </a:cxn>
                <a:cxn ang="0">
                  <a:pos x="149" y="86"/>
                </a:cxn>
                <a:cxn ang="0">
                  <a:pos x="142" y="89"/>
                </a:cxn>
                <a:cxn ang="0">
                  <a:pos x="134" y="91"/>
                </a:cxn>
                <a:cxn ang="0">
                  <a:pos x="129" y="98"/>
                </a:cxn>
                <a:cxn ang="0">
                  <a:pos x="123" y="98"/>
                </a:cxn>
                <a:cxn ang="0">
                  <a:pos x="116" y="110"/>
                </a:cxn>
                <a:cxn ang="0">
                  <a:pos x="115" y="115"/>
                </a:cxn>
                <a:cxn ang="0">
                  <a:pos x="109" y="120"/>
                </a:cxn>
                <a:cxn ang="0">
                  <a:pos x="106" y="122"/>
                </a:cxn>
                <a:cxn ang="0">
                  <a:pos x="99" y="126"/>
                </a:cxn>
                <a:cxn ang="0">
                  <a:pos x="96" y="134"/>
                </a:cxn>
                <a:cxn ang="0">
                  <a:pos x="96" y="141"/>
                </a:cxn>
                <a:cxn ang="0">
                  <a:pos x="89" y="141"/>
                </a:cxn>
                <a:cxn ang="0">
                  <a:pos x="78" y="143"/>
                </a:cxn>
                <a:cxn ang="0">
                  <a:pos x="64" y="140"/>
                </a:cxn>
                <a:cxn ang="0">
                  <a:pos x="56" y="136"/>
                </a:cxn>
                <a:cxn ang="0">
                  <a:pos x="45" y="148"/>
                </a:cxn>
                <a:cxn ang="0">
                  <a:pos x="35" y="153"/>
                </a:cxn>
                <a:cxn ang="0">
                  <a:pos x="24" y="160"/>
                </a:cxn>
                <a:cxn ang="0">
                  <a:pos x="14" y="159"/>
                </a:cxn>
                <a:cxn ang="0">
                  <a:pos x="12" y="150"/>
                </a:cxn>
                <a:cxn ang="0">
                  <a:pos x="5" y="133"/>
                </a:cxn>
                <a:cxn ang="0">
                  <a:pos x="0" y="127"/>
                </a:cxn>
                <a:cxn ang="0">
                  <a:pos x="17" y="75"/>
                </a:cxn>
                <a:cxn ang="0">
                  <a:pos x="50" y="9"/>
                </a:cxn>
                <a:cxn ang="0">
                  <a:pos x="59" y="7"/>
                </a:cxn>
                <a:cxn ang="0">
                  <a:pos x="63" y="13"/>
                </a:cxn>
                <a:cxn ang="0">
                  <a:pos x="63" y="16"/>
                </a:cxn>
                <a:cxn ang="0">
                  <a:pos x="76" y="4"/>
                </a:cxn>
                <a:cxn ang="0">
                  <a:pos x="82" y="6"/>
                </a:cxn>
                <a:cxn ang="0">
                  <a:pos x="92" y="0"/>
                </a:cxn>
                <a:cxn ang="0">
                  <a:pos x="92" y="0"/>
                </a:cxn>
              </a:cxnLst>
              <a:rect l="0" t="0" r="r" b="b"/>
              <a:pathLst>
                <a:path w="160" h="160">
                  <a:moveTo>
                    <a:pt x="92" y="0"/>
                  </a:moveTo>
                  <a:lnTo>
                    <a:pt x="92" y="2"/>
                  </a:lnTo>
                  <a:lnTo>
                    <a:pt x="92" y="4"/>
                  </a:lnTo>
                  <a:lnTo>
                    <a:pt x="92" y="6"/>
                  </a:lnTo>
                  <a:lnTo>
                    <a:pt x="92" y="7"/>
                  </a:lnTo>
                  <a:lnTo>
                    <a:pt x="96" y="9"/>
                  </a:lnTo>
                  <a:lnTo>
                    <a:pt x="96" y="11"/>
                  </a:lnTo>
                  <a:lnTo>
                    <a:pt x="101" y="11"/>
                  </a:lnTo>
                  <a:lnTo>
                    <a:pt x="101" y="13"/>
                  </a:lnTo>
                  <a:lnTo>
                    <a:pt x="101" y="16"/>
                  </a:lnTo>
                  <a:lnTo>
                    <a:pt x="101" y="16"/>
                  </a:lnTo>
                  <a:lnTo>
                    <a:pt x="104" y="18"/>
                  </a:lnTo>
                  <a:lnTo>
                    <a:pt x="104" y="21"/>
                  </a:lnTo>
                  <a:lnTo>
                    <a:pt x="106" y="23"/>
                  </a:lnTo>
                  <a:lnTo>
                    <a:pt x="106" y="25"/>
                  </a:lnTo>
                  <a:lnTo>
                    <a:pt x="108" y="27"/>
                  </a:lnTo>
                  <a:lnTo>
                    <a:pt x="109" y="27"/>
                  </a:lnTo>
                  <a:lnTo>
                    <a:pt x="111" y="30"/>
                  </a:lnTo>
                  <a:lnTo>
                    <a:pt x="116" y="37"/>
                  </a:lnTo>
                  <a:lnTo>
                    <a:pt x="120" y="39"/>
                  </a:lnTo>
                  <a:lnTo>
                    <a:pt x="123" y="40"/>
                  </a:lnTo>
                  <a:lnTo>
                    <a:pt x="123" y="44"/>
                  </a:lnTo>
                  <a:lnTo>
                    <a:pt x="127" y="44"/>
                  </a:lnTo>
                  <a:lnTo>
                    <a:pt x="127" y="44"/>
                  </a:lnTo>
                  <a:lnTo>
                    <a:pt x="127" y="46"/>
                  </a:lnTo>
                  <a:lnTo>
                    <a:pt x="127" y="47"/>
                  </a:lnTo>
                  <a:lnTo>
                    <a:pt x="129" y="49"/>
                  </a:lnTo>
                  <a:lnTo>
                    <a:pt x="132" y="53"/>
                  </a:lnTo>
                  <a:lnTo>
                    <a:pt x="132" y="53"/>
                  </a:lnTo>
                  <a:lnTo>
                    <a:pt x="132" y="56"/>
                  </a:lnTo>
                  <a:lnTo>
                    <a:pt x="132" y="60"/>
                  </a:lnTo>
                  <a:lnTo>
                    <a:pt x="134" y="63"/>
                  </a:lnTo>
                  <a:lnTo>
                    <a:pt x="137" y="63"/>
                  </a:lnTo>
                  <a:lnTo>
                    <a:pt x="139" y="68"/>
                  </a:lnTo>
                  <a:lnTo>
                    <a:pt x="142" y="68"/>
                  </a:lnTo>
                  <a:lnTo>
                    <a:pt x="144" y="68"/>
                  </a:lnTo>
                  <a:lnTo>
                    <a:pt x="149" y="68"/>
                  </a:lnTo>
                  <a:lnTo>
                    <a:pt x="151" y="68"/>
                  </a:lnTo>
                  <a:lnTo>
                    <a:pt x="155" y="72"/>
                  </a:lnTo>
                  <a:lnTo>
                    <a:pt x="156" y="72"/>
                  </a:lnTo>
                  <a:lnTo>
                    <a:pt x="160" y="72"/>
                  </a:lnTo>
                  <a:lnTo>
                    <a:pt x="160" y="75"/>
                  </a:lnTo>
                  <a:lnTo>
                    <a:pt x="160" y="75"/>
                  </a:lnTo>
                  <a:lnTo>
                    <a:pt x="160" y="77"/>
                  </a:lnTo>
                  <a:lnTo>
                    <a:pt x="160" y="79"/>
                  </a:lnTo>
                  <a:lnTo>
                    <a:pt x="156" y="79"/>
                  </a:lnTo>
                  <a:lnTo>
                    <a:pt x="155" y="79"/>
                  </a:lnTo>
                  <a:lnTo>
                    <a:pt x="151" y="80"/>
                  </a:lnTo>
                  <a:lnTo>
                    <a:pt x="151" y="82"/>
                  </a:lnTo>
                  <a:lnTo>
                    <a:pt x="151" y="86"/>
                  </a:lnTo>
                  <a:lnTo>
                    <a:pt x="149" y="86"/>
                  </a:lnTo>
                  <a:lnTo>
                    <a:pt x="148" y="89"/>
                  </a:lnTo>
                  <a:lnTo>
                    <a:pt x="144" y="89"/>
                  </a:lnTo>
                  <a:lnTo>
                    <a:pt x="142" y="89"/>
                  </a:lnTo>
                  <a:lnTo>
                    <a:pt x="141" y="89"/>
                  </a:lnTo>
                  <a:lnTo>
                    <a:pt x="137" y="89"/>
                  </a:lnTo>
                  <a:lnTo>
                    <a:pt x="134" y="91"/>
                  </a:lnTo>
                  <a:lnTo>
                    <a:pt x="132" y="94"/>
                  </a:lnTo>
                  <a:lnTo>
                    <a:pt x="132" y="94"/>
                  </a:lnTo>
                  <a:lnTo>
                    <a:pt x="129" y="98"/>
                  </a:lnTo>
                  <a:lnTo>
                    <a:pt x="129" y="98"/>
                  </a:lnTo>
                  <a:lnTo>
                    <a:pt x="127" y="98"/>
                  </a:lnTo>
                  <a:lnTo>
                    <a:pt x="123" y="98"/>
                  </a:lnTo>
                  <a:lnTo>
                    <a:pt x="122" y="100"/>
                  </a:lnTo>
                  <a:lnTo>
                    <a:pt x="118" y="106"/>
                  </a:lnTo>
                  <a:lnTo>
                    <a:pt x="116" y="110"/>
                  </a:lnTo>
                  <a:lnTo>
                    <a:pt x="118" y="112"/>
                  </a:lnTo>
                  <a:lnTo>
                    <a:pt x="118" y="115"/>
                  </a:lnTo>
                  <a:lnTo>
                    <a:pt x="115" y="115"/>
                  </a:lnTo>
                  <a:lnTo>
                    <a:pt x="115" y="117"/>
                  </a:lnTo>
                  <a:lnTo>
                    <a:pt x="111" y="117"/>
                  </a:lnTo>
                  <a:lnTo>
                    <a:pt x="109" y="120"/>
                  </a:lnTo>
                  <a:lnTo>
                    <a:pt x="108" y="122"/>
                  </a:lnTo>
                  <a:lnTo>
                    <a:pt x="108" y="122"/>
                  </a:lnTo>
                  <a:lnTo>
                    <a:pt x="106" y="122"/>
                  </a:lnTo>
                  <a:lnTo>
                    <a:pt x="104" y="126"/>
                  </a:lnTo>
                  <a:lnTo>
                    <a:pt x="101" y="126"/>
                  </a:lnTo>
                  <a:lnTo>
                    <a:pt x="99" y="126"/>
                  </a:lnTo>
                  <a:lnTo>
                    <a:pt x="96" y="129"/>
                  </a:lnTo>
                  <a:lnTo>
                    <a:pt x="96" y="133"/>
                  </a:lnTo>
                  <a:lnTo>
                    <a:pt x="96" y="134"/>
                  </a:lnTo>
                  <a:lnTo>
                    <a:pt x="96" y="138"/>
                  </a:lnTo>
                  <a:lnTo>
                    <a:pt x="96" y="141"/>
                  </a:lnTo>
                  <a:lnTo>
                    <a:pt x="96" y="141"/>
                  </a:lnTo>
                  <a:lnTo>
                    <a:pt x="92" y="145"/>
                  </a:lnTo>
                  <a:lnTo>
                    <a:pt x="90" y="143"/>
                  </a:lnTo>
                  <a:lnTo>
                    <a:pt x="89" y="141"/>
                  </a:lnTo>
                  <a:lnTo>
                    <a:pt x="85" y="143"/>
                  </a:lnTo>
                  <a:lnTo>
                    <a:pt x="82" y="143"/>
                  </a:lnTo>
                  <a:lnTo>
                    <a:pt x="78" y="143"/>
                  </a:lnTo>
                  <a:lnTo>
                    <a:pt x="76" y="143"/>
                  </a:lnTo>
                  <a:lnTo>
                    <a:pt x="73" y="143"/>
                  </a:lnTo>
                  <a:lnTo>
                    <a:pt x="64" y="140"/>
                  </a:lnTo>
                  <a:lnTo>
                    <a:pt x="64" y="140"/>
                  </a:lnTo>
                  <a:lnTo>
                    <a:pt x="63" y="136"/>
                  </a:lnTo>
                  <a:lnTo>
                    <a:pt x="56" y="136"/>
                  </a:lnTo>
                  <a:lnTo>
                    <a:pt x="52" y="136"/>
                  </a:lnTo>
                  <a:lnTo>
                    <a:pt x="47" y="140"/>
                  </a:lnTo>
                  <a:lnTo>
                    <a:pt x="45" y="148"/>
                  </a:lnTo>
                  <a:lnTo>
                    <a:pt x="42" y="150"/>
                  </a:lnTo>
                  <a:lnTo>
                    <a:pt x="36" y="153"/>
                  </a:lnTo>
                  <a:lnTo>
                    <a:pt x="35" y="153"/>
                  </a:lnTo>
                  <a:lnTo>
                    <a:pt x="31" y="157"/>
                  </a:lnTo>
                  <a:lnTo>
                    <a:pt x="28" y="157"/>
                  </a:lnTo>
                  <a:lnTo>
                    <a:pt x="24" y="160"/>
                  </a:lnTo>
                  <a:lnTo>
                    <a:pt x="21" y="159"/>
                  </a:lnTo>
                  <a:lnTo>
                    <a:pt x="17" y="160"/>
                  </a:lnTo>
                  <a:lnTo>
                    <a:pt x="14" y="159"/>
                  </a:lnTo>
                  <a:lnTo>
                    <a:pt x="9" y="160"/>
                  </a:lnTo>
                  <a:lnTo>
                    <a:pt x="9" y="157"/>
                  </a:lnTo>
                  <a:lnTo>
                    <a:pt x="12" y="150"/>
                  </a:lnTo>
                  <a:lnTo>
                    <a:pt x="12" y="148"/>
                  </a:lnTo>
                  <a:lnTo>
                    <a:pt x="9" y="138"/>
                  </a:lnTo>
                  <a:lnTo>
                    <a:pt x="5" y="133"/>
                  </a:lnTo>
                  <a:lnTo>
                    <a:pt x="0" y="127"/>
                  </a:lnTo>
                  <a:lnTo>
                    <a:pt x="0" y="127"/>
                  </a:lnTo>
                  <a:lnTo>
                    <a:pt x="0" y="127"/>
                  </a:lnTo>
                  <a:lnTo>
                    <a:pt x="0" y="127"/>
                  </a:lnTo>
                  <a:lnTo>
                    <a:pt x="3" y="75"/>
                  </a:lnTo>
                  <a:lnTo>
                    <a:pt x="17" y="75"/>
                  </a:lnTo>
                  <a:lnTo>
                    <a:pt x="21" y="13"/>
                  </a:lnTo>
                  <a:lnTo>
                    <a:pt x="35" y="13"/>
                  </a:lnTo>
                  <a:lnTo>
                    <a:pt x="50" y="9"/>
                  </a:lnTo>
                  <a:lnTo>
                    <a:pt x="56" y="7"/>
                  </a:lnTo>
                  <a:lnTo>
                    <a:pt x="59" y="7"/>
                  </a:lnTo>
                  <a:lnTo>
                    <a:pt x="59" y="7"/>
                  </a:lnTo>
                  <a:lnTo>
                    <a:pt x="61" y="7"/>
                  </a:lnTo>
                  <a:lnTo>
                    <a:pt x="61" y="11"/>
                  </a:lnTo>
                  <a:lnTo>
                    <a:pt x="63" y="13"/>
                  </a:lnTo>
                  <a:lnTo>
                    <a:pt x="61" y="13"/>
                  </a:lnTo>
                  <a:lnTo>
                    <a:pt x="61" y="16"/>
                  </a:lnTo>
                  <a:lnTo>
                    <a:pt x="63" y="16"/>
                  </a:lnTo>
                  <a:lnTo>
                    <a:pt x="68" y="13"/>
                  </a:lnTo>
                  <a:lnTo>
                    <a:pt x="73" y="7"/>
                  </a:lnTo>
                  <a:lnTo>
                    <a:pt x="76" y="4"/>
                  </a:lnTo>
                  <a:lnTo>
                    <a:pt x="78" y="4"/>
                  </a:lnTo>
                  <a:lnTo>
                    <a:pt x="78" y="4"/>
                  </a:lnTo>
                  <a:lnTo>
                    <a:pt x="82" y="6"/>
                  </a:lnTo>
                  <a:lnTo>
                    <a:pt x="83" y="4"/>
                  </a:lnTo>
                  <a:lnTo>
                    <a:pt x="89" y="0"/>
                  </a:lnTo>
                  <a:lnTo>
                    <a:pt x="92" y="0"/>
                  </a:lnTo>
                  <a:lnTo>
                    <a:pt x="92" y="0"/>
                  </a:lnTo>
                  <a:lnTo>
                    <a:pt x="92" y="0"/>
                  </a:lnTo>
                  <a:lnTo>
                    <a:pt x="92" y="0"/>
                  </a:lnTo>
                  <a:lnTo>
                    <a:pt x="9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4" name="Freeform 150">
              <a:extLst>
                <a:ext uri="{FF2B5EF4-FFF2-40B4-BE49-F238E27FC236}">
                  <a16:creationId xmlns:a16="http://schemas.microsoft.com/office/drawing/2014/main" id="{C5FEC8DD-F020-49F2-B6E9-3068901A42AA}"/>
                </a:ext>
              </a:extLst>
            </p:cNvPr>
            <p:cNvSpPr>
              <a:spLocks/>
            </p:cNvSpPr>
            <p:nvPr/>
          </p:nvSpPr>
          <p:spPr bwMode="auto">
            <a:xfrm>
              <a:off x="4764088" y="4730751"/>
              <a:ext cx="363538" cy="341313"/>
            </a:xfrm>
            <a:custGeom>
              <a:avLst/>
              <a:gdLst/>
              <a:ahLst/>
              <a:cxnLst>
                <a:cxn ang="0">
                  <a:pos x="140" y="88"/>
                </a:cxn>
                <a:cxn ang="0">
                  <a:pos x="172" y="28"/>
                </a:cxn>
                <a:cxn ang="0">
                  <a:pos x="196" y="22"/>
                </a:cxn>
                <a:cxn ang="0">
                  <a:pos x="196" y="26"/>
                </a:cxn>
                <a:cxn ang="0">
                  <a:pos x="196" y="31"/>
                </a:cxn>
                <a:cxn ang="0">
                  <a:pos x="208" y="22"/>
                </a:cxn>
                <a:cxn ang="0">
                  <a:pos x="215" y="19"/>
                </a:cxn>
                <a:cxn ang="0">
                  <a:pos x="224" y="15"/>
                </a:cxn>
                <a:cxn ang="0">
                  <a:pos x="227" y="12"/>
                </a:cxn>
                <a:cxn ang="0">
                  <a:pos x="222" y="10"/>
                </a:cxn>
                <a:cxn ang="0">
                  <a:pos x="217" y="10"/>
                </a:cxn>
                <a:cxn ang="0">
                  <a:pos x="172" y="19"/>
                </a:cxn>
                <a:cxn ang="0">
                  <a:pos x="167" y="19"/>
                </a:cxn>
                <a:cxn ang="0">
                  <a:pos x="163" y="19"/>
                </a:cxn>
                <a:cxn ang="0">
                  <a:pos x="158" y="19"/>
                </a:cxn>
                <a:cxn ang="0">
                  <a:pos x="154" y="19"/>
                </a:cxn>
                <a:cxn ang="0">
                  <a:pos x="146" y="15"/>
                </a:cxn>
                <a:cxn ang="0">
                  <a:pos x="140" y="17"/>
                </a:cxn>
                <a:cxn ang="0">
                  <a:pos x="132" y="19"/>
                </a:cxn>
                <a:cxn ang="0">
                  <a:pos x="127" y="15"/>
                </a:cxn>
                <a:cxn ang="0">
                  <a:pos x="118" y="14"/>
                </a:cxn>
                <a:cxn ang="0">
                  <a:pos x="113" y="8"/>
                </a:cxn>
                <a:cxn ang="0">
                  <a:pos x="47" y="7"/>
                </a:cxn>
                <a:cxn ang="0">
                  <a:pos x="41" y="10"/>
                </a:cxn>
                <a:cxn ang="0">
                  <a:pos x="33" y="5"/>
                </a:cxn>
                <a:cxn ang="0">
                  <a:pos x="29" y="3"/>
                </a:cxn>
                <a:cxn ang="0">
                  <a:pos x="28" y="3"/>
                </a:cxn>
                <a:cxn ang="0">
                  <a:pos x="19" y="0"/>
                </a:cxn>
                <a:cxn ang="0">
                  <a:pos x="14" y="7"/>
                </a:cxn>
                <a:cxn ang="0">
                  <a:pos x="5" y="5"/>
                </a:cxn>
                <a:cxn ang="0">
                  <a:pos x="1" y="8"/>
                </a:cxn>
                <a:cxn ang="0">
                  <a:pos x="0" y="22"/>
                </a:cxn>
                <a:cxn ang="0">
                  <a:pos x="24" y="61"/>
                </a:cxn>
                <a:cxn ang="0">
                  <a:pos x="34" y="85"/>
                </a:cxn>
                <a:cxn ang="0">
                  <a:pos x="41" y="106"/>
                </a:cxn>
                <a:cxn ang="0">
                  <a:pos x="50" y="141"/>
                </a:cxn>
                <a:cxn ang="0">
                  <a:pos x="47" y="155"/>
                </a:cxn>
                <a:cxn ang="0">
                  <a:pos x="54" y="167"/>
                </a:cxn>
                <a:cxn ang="0">
                  <a:pos x="54" y="175"/>
                </a:cxn>
                <a:cxn ang="0">
                  <a:pos x="59" y="189"/>
                </a:cxn>
                <a:cxn ang="0">
                  <a:pos x="69" y="203"/>
                </a:cxn>
                <a:cxn ang="0">
                  <a:pos x="80" y="205"/>
                </a:cxn>
                <a:cxn ang="0">
                  <a:pos x="81" y="198"/>
                </a:cxn>
                <a:cxn ang="0">
                  <a:pos x="90" y="201"/>
                </a:cxn>
                <a:cxn ang="0">
                  <a:pos x="97" y="212"/>
                </a:cxn>
                <a:cxn ang="0">
                  <a:pos x="106" y="214"/>
                </a:cxn>
                <a:cxn ang="0">
                  <a:pos x="113" y="212"/>
                </a:cxn>
                <a:cxn ang="0">
                  <a:pos x="118" y="215"/>
                </a:cxn>
                <a:cxn ang="0">
                  <a:pos x="123" y="208"/>
                </a:cxn>
                <a:cxn ang="0">
                  <a:pos x="134" y="203"/>
                </a:cxn>
                <a:cxn ang="0">
                  <a:pos x="137" y="141"/>
                </a:cxn>
              </a:cxnLst>
              <a:rect l="0" t="0" r="r" b="b"/>
              <a:pathLst>
                <a:path w="229" h="215">
                  <a:moveTo>
                    <a:pt x="137" y="141"/>
                  </a:moveTo>
                  <a:lnTo>
                    <a:pt x="137" y="141"/>
                  </a:lnTo>
                  <a:lnTo>
                    <a:pt x="140" y="88"/>
                  </a:lnTo>
                  <a:lnTo>
                    <a:pt x="154" y="88"/>
                  </a:lnTo>
                  <a:lnTo>
                    <a:pt x="158" y="26"/>
                  </a:lnTo>
                  <a:lnTo>
                    <a:pt x="172" y="28"/>
                  </a:lnTo>
                  <a:lnTo>
                    <a:pt x="187" y="22"/>
                  </a:lnTo>
                  <a:lnTo>
                    <a:pt x="193" y="22"/>
                  </a:lnTo>
                  <a:lnTo>
                    <a:pt x="196" y="22"/>
                  </a:lnTo>
                  <a:lnTo>
                    <a:pt x="196" y="22"/>
                  </a:lnTo>
                  <a:lnTo>
                    <a:pt x="196" y="22"/>
                  </a:lnTo>
                  <a:lnTo>
                    <a:pt x="196" y="26"/>
                  </a:lnTo>
                  <a:lnTo>
                    <a:pt x="200" y="26"/>
                  </a:lnTo>
                  <a:lnTo>
                    <a:pt x="196" y="26"/>
                  </a:lnTo>
                  <a:lnTo>
                    <a:pt x="196" y="31"/>
                  </a:lnTo>
                  <a:lnTo>
                    <a:pt x="200" y="31"/>
                  </a:lnTo>
                  <a:lnTo>
                    <a:pt x="205" y="26"/>
                  </a:lnTo>
                  <a:lnTo>
                    <a:pt x="208" y="22"/>
                  </a:lnTo>
                  <a:lnTo>
                    <a:pt x="212" y="19"/>
                  </a:lnTo>
                  <a:lnTo>
                    <a:pt x="215" y="19"/>
                  </a:lnTo>
                  <a:lnTo>
                    <a:pt x="215" y="19"/>
                  </a:lnTo>
                  <a:lnTo>
                    <a:pt x="219" y="19"/>
                  </a:lnTo>
                  <a:lnTo>
                    <a:pt x="220" y="19"/>
                  </a:lnTo>
                  <a:lnTo>
                    <a:pt x="224" y="15"/>
                  </a:lnTo>
                  <a:lnTo>
                    <a:pt x="229" y="15"/>
                  </a:lnTo>
                  <a:lnTo>
                    <a:pt x="227" y="12"/>
                  </a:lnTo>
                  <a:lnTo>
                    <a:pt x="227" y="12"/>
                  </a:lnTo>
                  <a:lnTo>
                    <a:pt x="224" y="10"/>
                  </a:lnTo>
                  <a:lnTo>
                    <a:pt x="224" y="12"/>
                  </a:lnTo>
                  <a:lnTo>
                    <a:pt x="222" y="10"/>
                  </a:lnTo>
                  <a:lnTo>
                    <a:pt x="222" y="10"/>
                  </a:lnTo>
                  <a:lnTo>
                    <a:pt x="220" y="10"/>
                  </a:lnTo>
                  <a:lnTo>
                    <a:pt x="217" y="10"/>
                  </a:lnTo>
                  <a:lnTo>
                    <a:pt x="215" y="10"/>
                  </a:lnTo>
                  <a:lnTo>
                    <a:pt x="172" y="19"/>
                  </a:lnTo>
                  <a:lnTo>
                    <a:pt x="172" y="19"/>
                  </a:lnTo>
                  <a:lnTo>
                    <a:pt x="170" y="19"/>
                  </a:lnTo>
                  <a:lnTo>
                    <a:pt x="168" y="19"/>
                  </a:lnTo>
                  <a:lnTo>
                    <a:pt x="167" y="19"/>
                  </a:lnTo>
                  <a:lnTo>
                    <a:pt x="165" y="19"/>
                  </a:lnTo>
                  <a:lnTo>
                    <a:pt x="165" y="19"/>
                  </a:lnTo>
                  <a:lnTo>
                    <a:pt x="163" y="19"/>
                  </a:lnTo>
                  <a:lnTo>
                    <a:pt x="161" y="19"/>
                  </a:lnTo>
                  <a:lnTo>
                    <a:pt x="160" y="17"/>
                  </a:lnTo>
                  <a:lnTo>
                    <a:pt x="158" y="19"/>
                  </a:lnTo>
                  <a:lnTo>
                    <a:pt x="158" y="19"/>
                  </a:lnTo>
                  <a:lnTo>
                    <a:pt x="156" y="19"/>
                  </a:lnTo>
                  <a:lnTo>
                    <a:pt x="154" y="19"/>
                  </a:lnTo>
                  <a:lnTo>
                    <a:pt x="151" y="19"/>
                  </a:lnTo>
                  <a:lnTo>
                    <a:pt x="147" y="15"/>
                  </a:lnTo>
                  <a:lnTo>
                    <a:pt x="146" y="15"/>
                  </a:lnTo>
                  <a:lnTo>
                    <a:pt x="142" y="15"/>
                  </a:lnTo>
                  <a:lnTo>
                    <a:pt x="142" y="17"/>
                  </a:lnTo>
                  <a:lnTo>
                    <a:pt x="140" y="17"/>
                  </a:lnTo>
                  <a:lnTo>
                    <a:pt x="137" y="15"/>
                  </a:lnTo>
                  <a:lnTo>
                    <a:pt x="134" y="17"/>
                  </a:lnTo>
                  <a:lnTo>
                    <a:pt x="132" y="19"/>
                  </a:lnTo>
                  <a:lnTo>
                    <a:pt x="128" y="17"/>
                  </a:lnTo>
                  <a:lnTo>
                    <a:pt x="128" y="15"/>
                  </a:lnTo>
                  <a:lnTo>
                    <a:pt x="127" y="15"/>
                  </a:lnTo>
                  <a:lnTo>
                    <a:pt x="123" y="15"/>
                  </a:lnTo>
                  <a:lnTo>
                    <a:pt x="120" y="15"/>
                  </a:lnTo>
                  <a:lnTo>
                    <a:pt x="118" y="14"/>
                  </a:lnTo>
                  <a:lnTo>
                    <a:pt x="116" y="12"/>
                  </a:lnTo>
                  <a:lnTo>
                    <a:pt x="114" y="8"/>
                  </a:lnTo>
                  <a:lnTo>
                    <a:pt x="113" y="8"/>
                  </a:lnTo>
                  <a:lnTo>
                    <a:pt x="50" y="8"/>
                  </a:lnTo>
                  <a:lnTo>
                    <a:pt x="47" y="7"/>
                  </a:lnTo>
                  <a:lnTo>
                    <a:pt x="47" y="7"/>
                  </a:lnTo>
                  <a:lnTo>
                    <a:pt x="45" y="8"/>
                  </a:lnTo>
                  <a:lnTo>
                    <a:pt x="43" y="8"/>
                  </a:lnTo>
                  <a:lnTo>
                    <a:pt x="41" y="10"/>
                  </a:lnTo>
                  <a:lnTo>
                    <a:pt x="36" y="8"/>
                  </a:lnTo>
                  <a:lnTo>
                    <a:pt x="33" y="5"/>
                  </a:lnTo>
                  <a:lnTo>
                    <a:pt x="33" y="5"/>
                  </a:lnTo>
                  <a:lnTo>
                    <a:pt x="33" y="3"/>
                  </a:lnTo>
                  <a:lnTo>
                    <a:pt x="31" y="3"/>
                  </a:lnTo>
                  <a:lnTo>
                    <a:pt x="29" y="3"/>
                  </a:lnTo>
                  <a:lnTo>
                    <a:pt x="28" y="0"/>
                  </a:lnTo>
                  <a:lnTo>
                    <a:pt x="28" y="0"/>
                  </a:lnTo>
                  <a:lnTo>
                    <a:pt x="28" y="3"/>
                  </a:lnTo>
                  <a:lnTo>
                    <a:pt x="24" y="3"/>
                  </a:lnTo>
                  <a:lnTo>
                    <a:pt x="22" y="0"/>
                  </a:lnTo>
                  <a:lnTo>
                    <a:pt x="19" y="0"/>
                  </a:lnTo>
                  <a:lnTo>
                    <a:pt x="15" y="3"/>
                  </a:lnTo>
                  <a:lnTo>
                    <a:pt x="15" y="5"/>
                  </a:lnTo>
                  <a:lnTo>
                    <a:pt x="14" y="7"/>
                  </a:lnTo>
                  <a:lnTo>
                    <a:pt x="10" y="5"/>
                  </a:lnTo>
                  <a:lnTo>
                    <a:pt x="7" y="5"/>
                  </a:lnTo>
                  <a:lnTo>
                    <a:pt x="5" y="5"/>
                  </a:lnTo>
                  <a:lnTo>
                    <a:pt x="5" y="8"/>
                  </a:lnTo>
                  <a:lnTo>
                    <a:pt x="3" y="8"/>
                  </a:lnTo>
                  <a:lnTo>
                    <a:pt x="1" y="8"/>
                  </a:lnTo>
                  <a:lnTo>
                    <a:pt x="0" y="7"/>
                  </a:lnTo>
                  <a:lnTo>
                    <a:pt x="0" y="7"/>
                  </a:lnTo>
                  <a:lnTo>
                    <a:pt x="0" y="22"/>
                  </a:lnTo>
                  <a:lnTo>
                    <a:pt x="10" y="31"/>
                  </a:lnTo>
                  <a:lnTo>
                    <a:pt x="15" y="42"/>
                  </a:lnTo>
                  <a:lnTo>
                    <a:pt x="24" y="61"/>
                  </a:lnTo>
                  <a:lnTo>
                    <a:pt x="28" y="68"/>
                  </a:lnTo>
                  <a:lnTo>
                    <a:pt x="34" y="80"/>
                  </a:lnTo>
                  <a:lnTo>
                    <a:pt x="34" y="85"/>
                  </a:lnTo>
                  <a:lnTo>
                    <a:pt x="45" y="99"/>
                  </a:lnTo>
                  <a:lnTo>
                    <a:pt x="45" y="104"/>
                  </a:lnTo>
                  <a:lnTo>
                    <a:pt x="41" y="106"/>
                  </a:lnTo>
                  <a:lnTo>
                    <a:pt x="45" y="115"/>
                  </a:lnTo>
                  <a:lnTo>
                    <a:pt x="45" y="127"/>
                  </a:lnTo>
                  <a:lnTo>
                    <a:pt x="50" y="141"/>
                  </a:lnTo>
                  <a:lnTo>
                    <a:pt x="50" y="148"/>
                  </a:lnTo>
                  <a:lnTo>
                    <a:pt x="50" y="153"/>
                  </a:lnTo>
                  <a:lnTo>
                    <a:pt x="47" y="155"/>
                  </a:lnTo>
                  <a:lnTo>
                    <a:pt x="50" y="156"/>
                  </a:lnTo>
                  <a:lnTo>
                    <a:pt x="50" y="167"/>
                  </a:lnTo>
                  <a:lnTo>
                    <a:pt x="54" y="167"/>
                  </a:lnTo>
                  <a:lnTo>
                    <a:pt x="55" y="168"/>
                  </a:lnTo>
                  <a:lnTo>
                    <a:pt x="54" y="172"/>
                  </a:lnTo>
                  <a:lnTo>
                    <a:pt x="54" y="175"/>
                  </a:lnTo>
                  <a:lnTo>
                    <a:pt x="55" y="177"/>
                  </a:lnTo>
                  <a:lnTo>
                    <a:pt x="55" y="184"/>
                  </a:lnTo>
                  <a:lnTo>
                    <a:pt x="59" y="189"/>
                  </a:lnTo>
                  <a:lnTo>
                    <a:pt x="64" y="198"/>
                  </a:lnTo>
                  <a:lnTo>
                    <a:pt x="67" y="200"/>
                  </a:lnTo>
                  <a:lnTo>
                    <a:pt x="69" y="203"/>
                  </a:lnTo>
                  <a:lnTo>
                    <a:pt x="73" y="207"/>
                  </a:lnTo>
                  <a:lnTo>
                    <a:pt x="78" y="207"/>
                  </a:lnTo>
                  <a:lnTo>
                    <a:pt x="80" y="205"/>
                  </a:lnTo>
                  <a:lnTo>
                    <a:pt x="80" y="203"/>
                  </a:lnTo>
                  <a:lnTo>
                    <a:pt x="80" y="201"/>
                  </a:lnTo>
                  <a:lnTo>
                    <a:pt x="81" y="198"/>
                  </a:lnTo>
                  <a:lnTo>
                    <a:pt x="85" y="198"/>
                  </a:lnTo>
                  <a:lnTo>
                    <a:pt x="87" y="201"/>
                  </a:lnTo>
                  <a:lnTo>
                    <a:pt x="90" y="201"/>
                  </a:lnTo>
                  <a:lnTo>
                    <a:pt x="88" y="205"/>
                  </a:lnTo>
                  <a:lnTo>
                    <a:pt x="92" y="208"/>
                  </a:lnTo>
                  <a:lnTo>
                    <a:pt x="97" y="212"/>
                  </a:lnTo>
                  <a:lnTo>
                    <a:pt x="100" y="214"/>
                  </a:lnTo>
                  <a:lnTo>
                    <a:pt x="102" y="214"/>
                  </a:lnTo>
                  <a:lnTo>
                    <a:pt x="106" y="214"/>
                  </a:lnTo>
                  <a:lnTo>
                    <a:pt x="107" y="214"/>
                  </a:lnTo>
                  <a:lnTo>
                    <a:pt x="109" y="212"/>
                  </a:lnTo>
                  <a:lnTo>
                    <a:pt x="113" y="212"/>
                  </a:lnTo>
                  <a:lnTo>
                    <a:pt x="114" y="215"/>
                  </a:lnTo>
                  <a:lnTo>
                    <a:pt x="116" y="215"/>
                  </a:lnTo>
                  <a:lnTo>
                    <a:pt x="118" y="215"/>
                  </a:lnTo>
                  <a:lnTo>
                    <a:pt x="118" y="212"/>
                  </a:lnTo>
                  <a:lnTo>
                    <a:pt x="120" y="208"/>
                  </a:lnTo>
                  <a:lnTo>
                    <a:pt x="123" y="208"/>
                  </a:lnTo>
                  <a:lnTo>
                    <a:pt x="123" y="205"/>
                  </a:lnTo>
                  <a:lnTo>
                    <a:pt x="127" y="203"/>
                  </a:lnTo>
                  <a:lnTo>
                    <a:pt x="134" y="203"/>
                  </a:lnTo>
                  <a:lnTo>
                    <a:pt x="135" y="203"/>
                  </a:lnTo>
                  <a:lnTo>
                    <a:pt x="137" y="141"/>
                  </a:lnTo>
                  <a:lnTo>
                    <a:pt x="137" y="141"/>
                  </a:lnTo>
                  <a:lnTo>
                    <a:pt x="137" y="141"/>
                  </a:lnTo>
                  <a:lnTo>
                    <a:pt x="137"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5" name="Freeform 151">
              <a:extLst>
                <a:ext uri="{FF2B5EF4-FFF2-40B4-BE49-F238E27FC236}">
                  <a16:creationId xmlns:a16="http://schemas.microsoft.com/office/drawing/2014/main" id="{EC2C35E4-AF00-4C7C-ADC2-291C3DA911BB}"/>
                </a:ext>
              </a:extLst>
            </p:cNvPr>
            <p:cNvSpPr>
              <a:spLocks noEditPoints="1"/>
            </p:cNvSpPr>
            <p:nvPr/>
          </p:nvSpPr>
          <p:spPr bwMode="auto">
            <a:xfrm>
              <a:off x="5607050" y="4592638"/>
              <a:ext cx="201613" cy="385763"/>
            </a:xfrm>
            <a:custGeom>
              <a:avLst/>
              <a:gdLst/>
              <a:ahLst/>
              <a:cxnLst>
                <a:cxn ang="0">
                  <a:pos x="37" y="240"/>
                </a:cxn>
                <a:cxn ang="0">
                  <a:pos x="59" y="233"/>
                </a:cxn>
                <a:cxn ang="0">
                  <a:pos x="66" y="221"/>
                </a:cxn>
                <a:cxn ang="0">
                  <a:pos x="70" y="208"/>
                </a:cxn>
                <a:cxn ang="0">
                  <a:pos x="73" y="200"/>
                </a:cxn>
                <a:cxn ang="0">
                  <a:pos x="84" y="175"/>
                </a:cxn>
                <a:cxn ang="0">
                  <a:pos x="96" y="141"/>
                </a:cxn>
                <a:cxn ang="0">
                  <a:pos x="105" y="122"/>
                </a:cxn>
                <a:cxn ang="0">
                  <a:pos x="112" y="99"/>
                </a:cxn>
                <a:cxn ang="0">
                  <a:pos x="113" y="83"/>
                </a:cxn>
                <a:cxn ang="0">
                  <a:pos x="117" y="71"/>
                </a:cxn>
                <a:cxn ang="0">
                  <a:pos x="117" y="62"/>
                </a:cxn>
                <a:cxn ang="0">
                  <a:pos x="124" y="71"/>
                </a:cxn>
                <a:cxn ang="0">
                  <a:pos x="126" y="62"/>
                </a:cxn>
                <a:cxn ang="0">
                  <a:pos x="122" y="49"/>
                </a:cxn>
                <a:cxn ang="0">
                  <a:pos x="124" y="36"/>
                </a:cxn>
                <a:cxn ang="0">
                  <a:pos x="119" y="14"/>
                </a:cxn>
                <a:cxn ang="0">
                  <a:pos x="113" y="9"/>
                </a:cxn>
                <a:cxn ang="0">
                  <a:pos x="110" y="7"/>
                </a:cxn>
                <a:cxn ang="0">
                  <a:pos x="105" y="12"/>
                </a:cxn>
                <a:cxn ang="0">
                  <a:pos x="103" y="19"/>
                </a:cxn>
                <a:cxn ang="0">
                  <a:pos x="96" y="29"/>
                </a:cxn>
                <a:cxn ang="0">
                  <a:pos x="92" y="29"/>
                </a:cxn>
                <a:cxn ang="0">
                  <a:pos x="91" y="40"/>
                </a:cxn>
                <a:cxn ang="0">
                  <a:pos x="86" y="40"/>
                </a:cxn>
                <a:cxn ang="0">
                  <a:pos x="89" y="49"/>
                </a:cxn>
                <a:cxn ang="0">
                  <a:pos x="79" y="54"/>
                </a:cxn>
                <a:cxn ang="0">
                  <a:pos x="77" y="50"/>
                </a:cxn>
                <a:cxn ang="0">
                  <a:pos x="73" y="59"/>
                </a:cxn>
                <a:cxn ang="0">
                  <a:pos x="72" y="62"/>
                </a:cxn>
                <a:cxn ang="0">
                  <a:pos x="70" y="57"/>
                </a:cxn>
                <a:cxn ang="0">
                  <a:pos x="61" y="71"/>
                </a:cxn>
                <a:cxn ang="0">
                  <a:pos x="56" y="66"/>
                </a:cxn>
                <a:cxn ang="0">
                  <a:pos x="47" y="68"/>
                </a:cxn>
                <a:cxn ang="0">
                  <a:pos x="46" y="71"/>
                </a:cxn>
                <a:cxn ang="0">
                  <a:pos x="33" y="75"/>
                </a:cxn>
                <a:cxn ang="0">
                  <a:pos x="25" y="76"/>
                </a:cxn>
                <a:cxn ang="0">
                  <a:pos x="18" y="95"/>
                </a:cxn>
                <a:cxn ang="0">
                  <a:pos x="20" y="109"/>
                </a:cxn>
                <a:cxn ang="0">
                  <a:pos x="25" y="129"/>
                </a:cxn>
                <a:cxn ang="0">
                  <a:pos x="21" y="141"/>
                </a:cxn>
                <a:cxn ang="0">
                  <a:pos x="16" y="153"/>
                </a:cxn>
                <a:cxn ang="0">
                  <a:pos x="6" y="165"/>
                </a:cxn>
                <a:cxn ang="0">
                  <a:pos x="2" y="181"/>
                </a:cxn>
                <a:cxn ang="0">
                  <a:pos x="6" y="196"/>
                </a:cxn>
                <a:cxn ang="0">
                  <a:pos x="11" y="203"/>
                </a:cxn>
                <a:cxn ang="0">
                  <a:pos x="6" y="214"/>
                </a:cxn>
                <a:cxn ang="0">
                  <a:pos x="7" y="228"/>
                </a:cxn>
                <a:cxn ang="0">
                  <a:pos x="16" y="235"/>
                </a:cxn>
                <a:cxn ang="0">
                  <a:pos x="25" y="240"/>
                </a:cxn>
                <a:cxn ang="0">
                  <a:pos x="28" y="243"/>
                </a:cxn>
                <a:cxn ang="0">
                  <a:pos x="99" y="17"/>
                </a:cxn>
                <a:cxn ang="0">
                  <a:pos x="99" y="17"/>
                </a:cxn>
                <a:cxn ang="0">
                  <a:pos x="99" y="22"/>
                </a:cxn>
                <a:cxn ang="0">
                  <a:pos x="99" y="22"/>
                </a:cxn>
                <a:cxn ang="0">
                  <a:pos x="94" y="21"/>
                </a:cxn>
                <a:cxn ang="0">
                  <a:pos x="94" y="24"/>
                </a:cxn>
                <a:cxn ang="0">
                  <a:pos x="94" y="22"/>
                </a:cxn>
                <a:cxn ang="0">
                  <a:pos x="117" y="87"/>
                </a:cxn>
                <a:cxn ang="0">
                  <a:pos x="119" y="85"/>
                </a:cxn>
                <a:cxn ang="0">
                  <a:pos x="117" y="90"/>
                </a:cxn>
              </a:cxnLst>
              <a:rect l="0" t="0" r="r" b="b"/>
              <a:pathLst>
                <a:path w="127" h="243">
                  <a:moveTo>
                    <a:pt x="28" y="243"/>
                  </a:moveTo>
                  <a:lnTo>
                    <a:pt x="28" y="242"/>
                  </a:lnTo>
                  <a:lnTo>
                    <a:pt x="33" y="242"/>
                  </a:lnTo>
                  <a:lnTo>
                    <a:pt x="37" y="240"/>
                  </a:lnTo>
                  <a:lnTo>
                    <a:pt x="39" y="236"/>
                  </a:lnTo>
                  <a:lnTo>
                    <a:pt x="51" y="235"/>
                  </a:lnTo>
                  <a:lnTo>
                    <a:pt x="54" y="235"/>
                  </a:lnTo>
                  <a:lnTo>
                    <a:pt x="59" y="233"/>
                  </a:lnTo>
                  <a:lnTo>
                    <a:pt x="59" y="231"/>
                  </a:lnTo>
                  <a:lnTo>
                    <a:pt x="63" y="231"/>
                  </a:lnTo>
                  <a:lnTo>
                    <a:pt x="65" y="226"/>
                  </a:lnTo>
                  <a:lnTo>
                    <a:pt x="66" y="221"/>
                  </a:lnTo>
                  <a:lnTo>
                    <a:pt x="68" y="217"/>
                  </a:lnTo>
                  <a:lnTo>
                    <a:pt x="72" y="215"/>
                  </a:lnTo>
                  <a:lnTo>
                    <a:pt x="70" y="210"/>
                  </a:lnTo>
                  <a:lnTo>
                    <a:pt x="70" y="208"/>
                  </a:lnTo>
                  <a:lnTo>
                    <a:pt x="72" y="207"/>
                  </a:lnTo>
                  <a:lnTo>
                    <a:pt x="73" y="203"/>
                  </a:lnTo>
                  <a:lnTo>
                    <a:pt x="73" y="200"/>
                  </a:lnTo>
                  <a:lnTo>
                    <a:pt x="73" y="200"/>
                  </a:lnTo>
                  <a:lnTo>
                    <a:pt x="79" y="196"/>
                  </a:lnTo>
                  <a:lnTo>
                    <a:pt x="79" y="184"/>
                  </a:lnTo>
                  <a:lnTo>
                    <a:pt x="82" y="177"/>
                  </a:lnTo>
                  <a:lnTo>
                    <a:pt x="84" y="175"/>
                  </a:lnTo>
                  <a:lnTo>
                    <a:pt x="86" y="168"/>
                  </a:lnTo>
                  <a:lnTo>
                    <a:pt x="91" y="160"/>
                  </a:lnTo>
                  <a:lnTo>
                    <a:pt x="94" y="146"/>
                  </a:lnTo>
                  <a:lnTo>
                    <a:pt x="96" y="141"/>
                  </a:lnTo>
                  <a:lnTo>
                    <a:pt x="96" y="135"/>
                  </a:lnTo>
                  <a:lnTo>
                    <a:pt x="99" y="129"/>
                  </a:lnTo>
                  <a:lnTo>
                    <a:pt x="101" y="127"/>
                  </a:lnTo>
                  <a:lnTo>
                    <a:pt x="105" y="122"/>
                  </a:lnTo>
                  <a:lnTo>
                    <a:pt x="106" y="111"/>
                  </a:lnTo>
                  <a:lnTo>
                    <a:pt x="108" y="104"/>
                  </a:lnTo>
                  <a:lnTo>
                    <a:pt x="110" y="102"/>
                  </a:lnTo>
                  <a:lnTo>
                    <a:pt x="112" y="99"/>
                  </a:lnTo>
                  <a:lnTo>
                    <a:pt x="110" y="94"/>
                  </a:lnTo>
                  <a:lnTo>
                    <a:pt x="112" y="90"/>
                  </a:lnTo>
                  <a:lnTo>
                    <a:pt x="113" y="85"/>
                  </a:lnTo>
                  <a:lnTo>
                    <a:pt x="113" y="83"/>
                  </a:lnTo>
                  <a:lnTo>
                    <a:pt x="117" y="80"/>
                  </a:lnTo>
                  <a:lnTo>
                    <a:pt x="117" y="76"/>
                  </a:lnTo>
                  <a:lnTo>
                    <a:pt x="113" y="75"/>
                  </a:lnTo>
                  <a:lnTo>
                    <a:pt x="117" y="71"/>
                  </a:lnTo>
                  <a:lnTo>
                    <a:pt x="113" y="68"/>
                  </a:lnTo>
                  <a:lnTo>
                    <a:pt x="113" y="68"/>
                  </a:lnTo>
                  <a:lnTo>
                    <a:pt x="113" y="62"/>
                  </a:lnTo>
                  <a:lnTo>
                    <a:pt x="117" y="62"/>
                  </a:lnTo>
                  <a:lnTo>
                    <a:pt x="117" y="62"/>
                  </a:lnTo>
                  <a:lnTo>
                    <a:pt x="117" y="68"/>
                  </a:lnTo>
                  <a:lnTo>
                    <a:pt x="120" y="71"/>
                  </a:lnTo>
                  <a:lnTo>
                    <a:pt x="124" y="71"/>
                  </a:lnTo>
                  <a:lnTo>
                    <a:pt x="124" y="68"/>
                  </a:lnTo>
                  <a:lnTo>
                    <a:pt x="124" y="66"/>
                  </a:lnTo>
                  <a:lnTo>
                    <a:pt x="126" y="66"/>
                  </a:lnTo>
                  <a:lnTo>
                    <a:pt x="126" y="62"/>
                  </a:lnTo>
                  <a:lnTo>
                    <a:pt x="127" y="59"/>
                  </a:lnTo>
                  <a:lnTo>
                    <a:pt x="127" y="57"/>
                  </a:lnTo>
                  <a:lnTo>
                    <a:pt x="124" y="52"/>
                  </a:lnTo>
                  <a:lnTo>
                    <a:pt x="122" y="49"/>
                  </a:lnTo>
                  <a:lnTo>
                    <a:pt x="124" y="47"/>
                  </a:lnTo>
                  <a:lnTo>
                    <a:pt x="124" y="43"/>
                  </a:lnTo>
                  <a:lnTo>
                    <a:pt x="122" y="40"/>
                  </a:lnTo>
                  <a:lnTo>
                    <a:pt x="124" y="36"/>
                  </a:lnTo>
                  <a:lnTo>
                    <a:pt x="124" y="29"/>
                  </a:lnTo>
                  <a:lnTo>
                    <a:pt x="120" y="26"/>
                  </a:lnTo>
                  <a:lnTo>
                    <a:pt x="120" y="17"/>
                  </a:lnTo>
                  <a:lnTo>
                    <a:pt x="119" y="14"/>
                  </a:lnTo>
                  <a:lnTo>
                    <a:pt x="119" y="17"/>
                  </a:lnTo>
                  <a:lnTo>
                    <a:pt x="117" y="12"/>
                  </a:lnTo>
                  <a:lnTo>
                    <a:pt x="113" y="9"/>
                  </a:lnTo>
                  <a:lnTo>
                    <a:pt x="113" y="9"/>
                  </a:lnTo>
                  <a:lnTo>
                    <a:pt x="113" y="3"/>
                  </a:lnTo>
                  <a:lnTo>
                    <a:pt x="113" y="0"/>
                  </a:lnTo>
                  <a:lnTo>
                    <a:pt x="108" y="5"/>
                  </a:lnTo>
                  <a:lnTo>
                    <a:pt x="110" y="7"/>
                  </a:lnTo>
                  <a:lnTo>
                    <a:pt x="106" y="9"/>
                  </a:lnTo>
                  <a:lnTo>
                    <a:pt x="103" y="7"/>
                  </a:lnTo>
                  <a:lnTo>
                    <a:pt x="101" y="7"/>
                  </a:lnTo>
                  <a:lnTo>
                    <a:pt x="105" y="12"/>
                  </a:lnTo>
                  <a:lnTo>
                    <a:pt x="105" y="12"/>
                  </a:lnTo>
                  <a:lnTo>
                    <a:pt x="106" y="14"/>
                  </a:lnTo>
                  <a:lnTo>
                    <a:pt x="106" y="17"/>
                  </a:lnTo>
                  <a:lnTo>
                    <a:pt x="103" y="19"/>
                  </a:lnTo>
                  <a:lnTo>
                    <a:pt x="103" y="24"/>
                  </a:lnTo>
                  <a:lnTo>
                    <a:pt x="101" y="28"/>
                  </a:lnTo>
                  <a:lnTo>
                    <a:pt x="99" y="26"/>
                  </a:lnTo>
                  <a:lnTo>
                    <a:pt x="96" y="29"/>
                  </a:lnTo>
                  <a:lnTo>
                    <a:pt x="96" y="31"/>
                  </a:lnTo>
                  <a:lnTo>
                    <a:pt x="94" y="35"/>
                  </a:lnTo>
                  <a:lnTo>
                    <a:pt x="92" y="31"/>
                  </a:lnTo>
                  <a:lnTo>
                    <a:pt x="92" y="29"/>
                  </a:lnTo>
                  <a:lnTo>
                    <a:pt x="91" y="29"/>
                  </a:lnTo>
                  <a:lnTo>
                    <a:pt x="87" y="31"/>
                  </a:lnTo>
                  <a:lnTo>
                    <a:pt x="87" y="35"/>
                  </a:lnTo>
                  <a:lnTo>
                    <a:pt x="91" y="40"/>
                  </a:lnTo>
                  <a:lnTo>
                    <a:pt x="92" y="40"/>
                  </a:lnTo>
                  <a:lnTo>
                    <a:pt x="91" y="40"/>
                  </a:lnTo>
                  <a:lnTo>
                    <a:pt x="89" y="40"/>
                  </a:lnTo>
                  <a:lnTo>
                    <a:pt x="86" y="40"/>
                  </a:lnTo>
                  <a:lnTo>
                    <a:pt x="86" y="43"/>
                  </a:lnTo>
                  <a:lnTo>
                    <a:pt x="89" y="45"/>
                  </a:lnTo>
                  <a:lnTo>
                    <a:pt x="91" y="47"/>
                  </a:lnTo>
                  <a:lnTo>
                    <a:pt x="89" y="49"/>
                  </a:lnTo>
                  <a:lnTo>
                    <a:pt x="87" y="47"/>
                  </a:lnTo>
                  <a:lnTo>
                    <a:pt x="84" y="49"/>
                  </a:lnTo>
                  <a:lnTo>
                    <a:pt x="84" y="50"/>
                  </a:lnTo>
                  <a:lnTo>
                    <a:pt x="79" y="54"/>
                  </a:lnTo>
                  <a:lnTo>
                    <a:pt x="79" y="50"/>
                  </a:lnTo>
                  <a:lnTo>
                    <a:pt x="79" y="50"/>
                  </a:lnTo>
                  <a:lnTo>
                    <a:pt x="79" y="47"/>
                  </a:lnTo>
                  <a:lnTo>
                    <a:pt x="77" y="50"/>
                  </a:lnTo>
                  <a:lnTo>
                    <a:pt x="79" y="52"/>
                  </a:lnTo>
                  <a:lnTo>
                    <a:pt x="77" y="54"/>
                  </a:lnTo>
                  <a:lnTo>
                    <a:pt x="73" y="55"/>
                  </a:lnTo>
                  <a:lnTo>
                    <a:pt x="73" y="59"/>
                  </a:lnTo>
                  <a:lnTo>
                    <a:pt x="77" y="59"/>
                  </a:lnTo>
                  <a:lnTo>
                    <a:pt x="77" y="62"/>
                  </a:lnTo>
                  <a:lnTo>
                    <a:pt x="73" y="62"/>
                  </a:lnTo>
                  <a:lnTo>
                    <a:pt x="72" y="62"/>
                  </a:lnTo>
                  <a:lnTo>
                    <a:pt x="72" y="62"/>
                  </a:lnTo>
                  <a:lnTo>
                    <a:pt x="70" y="62"/>
                  </a:lnTo>
                  <a:lnTo>
                    <a:pt x="72" y="59"/>
                  </a:lnTo>
                  <a:lnTo>
                    <a:pt x="70" y="57"/>
                  </a:lnTo>
                  <a:lnTo>
                    <a:pt x="63" y="62"/>
                  </a:lnTo>
                  <a:lnTo>
                    <a:pt x="63" y="68"/>
                  </a:lnTo>
                  <a:lnTo>
                    <a:pt x="63" y="71"/>
                  </a:lnTo>
                  <a:lnTo>
                    <a:pt x="61" y="71"/>
                  </a:lnTo>
                  <a:lnTo>
                    <a:pt x="59" y="71"/>
                  </a:lnTo>
                  <a:lnTo>
                    <a:pt x="59" y="71"/>
                  </a:lnTo>
                  <a:lnTo>
                    <a:pt x="59" y="66"/>
                  </a:lnTo>
                  <a:lnTo>
                    <a:pt x="56" y="66"/>
                  </a:lnTo>
                  <a:lnTo>
                    <a:pt x="54" y="68"/>
                  </a:lnTo>
                  <a:lnTo>
                    <a:pt x="49" y="68"/>
                  </a:lnTo>
                  <a:lnTo>
                    <a:pt x="49" y="68"/>
                  </a:lnTo>
                  <a:lnTo>
                    <a:pt x="47" y="68"/>
                  </a:lnTo>
                  <a:lnTo>
                    <a:pt x="47" y="71"/>
                  </a:lnTo>
                  <a:lnTo>
                    <a:pt x="46" y="71"/>
                  </a:lnTo>
                  <a:lnTo>
                    <a:pt x="46" y="73"/>
                  </a:lnTo>
                  <a:lnTo>
                    <a:pt x="46" y="71"/>
                  </a:lnTo>
                  <a:lnTo>
                    <a:pt x="42" y="68"/>
                  </a:lnTo>
                  <a:lnTo>
                    <a:pt x="42" y="71"/>
                  </a:lnTo>
                  <a:lnTo>
                    <a:pt x="39" y="68"/>
                  </a:lnTo>
                  <a:lnTo>
                    <a:pt x="33" y="75"/>
                  </a:lnTo>
                  <a:lnTo>
                    <a:pt x="32" y="75"/>
                  </a:lnTo>
                  <a:lnTo>
                    <a:pt x="30" y="75"/>
                  </a:lnTo>
                  <a:lnTo>
                    <a:pt x="28" y="75"/>
                  </a:lnTo>
                  <a:lnTo>
                    <a:pt x="25" y="76"/>
                  </a:lnTo>
                  <a:lnTo>
                    <a:pt x="28" y="82"/>
                  </a:lnTo>
                  <a:lnTo>
                    <a:pt x="21" y="90"/>
                  </a:lnTo>
                  <a:lnTo>
                    <a:pt x="21" y="90"/>
                  </a:lnTo>
                  <a:lnTo>
                    <a:pt x="18" y="95"/>
                  </a:lnTo>
                  <a:lnTo>
                    <a:pt x="18" y="99"/>
                  </a:lnTo>
                  <a:lnTo>
                    <a:pt x="20" y="101"/>
                  </a:lnTo>
                  <a:lnTo>
                    <a:pt x="18" y="104"/>
                  </a:lnTo>
                  <a:lnTo>
                    <a:pt x="20" y="109"/>
                  </a:lnTo>
                  <a:lnTo>
                    <a:pt x="20" y="115"/>
                  </a:lnTo>
                  <a:lnTo>
                    <a:pt x="25" y="122"/>
                  </a:lnTo>
                  <a:lnTo>
                    <a:pt x="21" y="125"/>
                  </a:lnTo>
                  <a:lnTo>
                    <a:pt x="25" y="129"/>
                  </a:lnTo>
                  <a:lnTo>
                    <a:pt x="25" y="130"/>
                  </a:lnTo>
                  <a:lnTo>
                    <a:pt x="25" y="132"/>
                  </a:lnTo>
                  <a:lnTo>
                    <a:pt x="25" y="134"/>
                  </a:lnTo>
                  <a:lnTo>
                    <a:pt x="21" y="141"/>
                  </a:lnTo>
                  <a:lnTo>
                    <a:pt x="20" y="146"/>
                  </a:lnTo>
                  <a:lnTo>
                    <a:pt x="20" y="149"/>
                  </a:lnTo>
                  <a:lnTo>
                    <a:pt x="16" y="149"/>
                  </a:lnTo>
                  <a:lnTo>
                    <a:pt x="16" y="153"/>
                  </a:lnTo>
                  <a:lnTo>
                    <a:pt x="13" y="155"/>
                  </a:lnTo>
                  <a:lnTo>
                    <a:pt x="13" y="162"/>
                  </a:lnTo>
                  <a:lnTo>
                    <a:pt x="11" y="163"/>
                  </a:lnTo>
                  <a:lnTo>
                    <a:pt x="6" y="165"/>
                  </a:lnTo>
                  <a:lnTo>
                    <a:pt x="6" y="167"/>
                  </a:lnTo>
                  <a:lnTo>
                    <a:pt x="6" y="172"/>
                  </a:lnTo>
                  <a:lnTo>
                    <a:pt x="2" y="175"/>
                  </a:lnTo>
                  <a:lnTo>
                    <a:pt x="2" y="181"/>
                  </a:lnTo>
                  <a:lnTo>
                    <a:pt x="0" y="182"/>
                  </a:lnTo>
                  <a:lnTo>
                    <a:pt x="2" y="184"/>
                  </a:lnTo>
                  <a:lnTo>
                    <a:pt x="2" y="191"/>
                  </a:lnTo>
                  <a:lnTo>
                    <a:pt x="6" y="196"/>
                  </a:lnTo>
                  <a:lnTo>
                    <a:pt x="6" y="200"/>
                  </a:lnTo>
                  <a:lnTo>
                    <a:pt x="6" y="203"/>
                  </a:lnTo>
                  <a:lnTo>
                    <a:pt x="7" y="203"/>
                  </a:lnTo>
                  <a:lnTo>
                    <a:pt x="11" y="203"/>
                  </a:lnTo>
                  <a:lnTo>
                    <a:pt x="7" y="203"/>
                  </a:lnTo>
                  <a:lnTo>
                    <a:pt x="6" y="205"/>
                  </a:lnTo>
                  <a:lnTo>
                    <a:pt x="6" y="208"/>
                  </a:lnTo>
                  <a:lnTo>
                    <a:pt x="6" y="214"/>
                  </a:lnTo>
                  <a:lnTo>
                    <a:pt x="6" y="222"/>
                  </a:lnTo>
                  <a:lnTo>
                    <a:pt x="7" y="222"/>
                  </a:lnTo>
                  <a:lnTo>
                    <a:pt x="7" y="226"/>
                  </a:lnTo>
                  <a:lnTo>
                    <a:pt x="7" y="228"/>
                  </a:lnTo>
                  <a:lnTo>
                    <a:pt x="11" y="231"/>
                  </a:lnTo>
                  <a:lnTo>
                    <a:pt x="11" y="231"/>
                  </a:lnTo>
                  <a:lnTo>
                    <a:pt x="13" y="233"/>
                  </a:lnTo>
                  <a:lnTo>
                    <a:pt x="16" y="235"/>
                  </a:lnTo>
                  <a:lnTo>
                    <a:pt x="18" y="235"/>
                  </a:lnTo>
                  <a:lnTo>
                    <a:pt x="20" y="236"/>
                  </a:lnTo>
                  <a:lnTo>
                    <a:pt x="21" y="236"/>
                  </a:lnTo>
                  <a:lnTo>
                    <a:pt x="25" y="240"/>
                  </a:lnTo>
                  <a:lnTo>
                    <a:pt x="25" y="242"/>
                  </a:lnTo>
                  <a:lnTo>
                    <a:pt x="28" y="242"/>
                  </a:lnTo>
                  <a:lnTo>
                    <a:pt x="28" y="243"/>
                  </a:lnTo>
                  <a:lnTo>
                    <a:pt x="28" y="243"/>
                  </a:lnTo>
                  <a:lnTo>
                    <a:pt x="28" y="243"/>
                  </a:lnTo>
                  <a:lnTo>
                    <a:pt x="28" y="243"/>
                  </a:lnTo>
                  <a:close/>
                  <a:moveTo>
                    <a:pt x="99" y="17"/>
                  </a:moveTo>
                  <a:lnTo>
                    <a:pt x="99" y="17"/>
                  </a:lnTo>
                  <a:lnTo>
                    <a:pt x="101" y="12"/>
                  </a:lnTo>
                  <a:lnTo>
                    <a:pt x="101" y="14"/>
                  </a:lnTo>
                  <a:lnTo>
                    <a:pt x="99" y="17"/>
                  </a:lnTo>
                  <a:lnTo>
                    <a:pt x="99" y="17"/>
                  </a:lnTo>
                  <a:lnTo>
                    <a:pt x="99" y="17"/>
                  </a:lnTo>
                  <a:lnTo>
                    <a:pt x="99" y="17"/>
                  </a:lnTo>
                  <a:close/>
                  <a:moveTo>
                    <a:pt x="99" y="22"/>
                  </a:moveTo>
                  <a:lnTo>
                    <a:pt x="99" y="22"/>
                  </a:lnTo>
                  <a:lnTo>
                    <a:pt x="99" y="24"/>
                  </a:lnTo>
                  <a:lnTo>
                    <a:pt x="99" y="24"/>
                  </a:lnTo>
                  <a:lnTo>
                    <a:pt x="99" y="22"/>
                  </a:lnTo>
                  <a:lnTo>
                    <a:pt x="99" y="22"/>
                  </a:lnTo>
                  <a:lnTo>
                    <a:pt x="99" y="22"/>
                  </a:lnTo>
                  <a:lnTo>
                    <a:pt x="99" y="22"/>
                  </a:lnTo>
                  <a:close/>
                  <a:moveTo>
                    <a:pt x="94" y="22"/>
                  </a:moveTo>
                  <a:lnTo>
                    <a:pt x="94" y="21"/>
                  </a:lnTo>
                  <a:lnTo>
                    <a:pt x="94" y="22"/>
                  </a:lnTo>
                  <a:lnTo>
                    <a:pt x="96" y="22"/>
                  </a:lnTo>
                  <a:lnTo>
                    <a:pt x="96" y="26"/>
                  </a:lnTo>
                  <a:lnTo>
                    <a:pt x="94" y="24"/>
                  </a:lnTo>
                  <a:lnTo>
                    <a:pt x="92" y="24"/>
                  </a:lnTo>
                  <a:lnTo>
                    <a:pt x="94" y="22"/>
                  </a:lnTo>
                  <a:lnTo>
                    <a:pt x="94" y="22"/>
                  </a:lnTo>
                  <a:lnTo>
                    <a:pt x="94" y="22"/>
                  </a:lnTo>
                  <a:lnTo>
                    <a:pt x="94" y="22"/>
                  </a:lnTo>
                  <a:close/>
                  <a:moveTo>
                    <a:pt x="117" y="90"/>
                  </a:moveTo>
                  <a:lnTo>
                    <a:pt x="117" y="89"/>
                  </a:lnTo>
                  <a:lnTo>
                    <a:pt x="117" y="87"/>
                  </a:lnTo>
                  <a:lnTo>
                    <a:pt x="117" y="85"/>
                  </a:lnTo>
                  <a:lnTo>
                    <a:pt x="117" y="85"/>
                  </a:lnTo>
                  <a:lnTo>
                    <a:pt x="119" y="83"/>
                  </a:lnTo>
                  <a:lnTo>
                    <a:pt x="119" y="85"/>
                  </a:lnTo>
                  <a:lnTo>
                    <a:pt x="117" y="89"/>
                  </a:lnTo>
                  <a:lnTo>
                    <a:pt x="117" y="90"/>
                  </a:lnTo>
                  <a:lnTo>
                    <a:pt x="117" y="90"/>
                  </a:lnTo>
                  <a:lnTo>
                    <a:pt x="117" y="9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6" name="Freeform 152">
              <a:extLst>
                <a:ext uri="{FF2B5EF4-FFF2-40B4-BE49-F238E27FC236}">
                  <a16:creationId xmlns:a16="http://schemas.microsoft.com/office/drawing/2014/main" id="{C73D0D8F-E539-483C-83E1-293AA729CE5F}"/>
                </a:ext>
              </a:extLst>
            </p:cNvPr>
            <p:cNvSpPr>
              <a:spLocks/>
            </p:cNvSpPr>
            <p:nvPr/>
          </p:nvSpPr>
          <p:spPr bwMode="auto">
            <a:xfrm>
              <a:off x="5265738" y="4552951"/>
              <a:ext cx="287338" cy="455613"/>
            </a:xfrm>
            <a:custGeom>
              <a:avLst/>
              <a:gdLst/>
              <a:ahLst/>
              <a:cxnLst>
                <a:cxn ang="0">
                  <a:pos x="31" y="180"/>
                </a:cxn>
                <a:cxn ang="0">
                  <a:pos x="36" y="169"/>
                </a:cxn>
                <a:cxn ang="0">
                  <a:pos x="40" y="157"/>
                </a:cxn>
                <a:cxn ang="0">
                  <a:pos x="40" y="147"/>
                </a:cxn>
                <a:cxn ang="0">
                  <a:pos x="42" y="136"/>
                </a:cxn>
                <a:cxn ang="0">
                  <a:pos x="43" y="120"/>
                </a:cxn>
                <a:cxn ang="0">
                  <a:pos x="45" y="110"/>
                </a:cxn>
                <a:cxn ang="0">
                  <a:pos x="28" y="103"/>
                </a:cxn>
                <a:cxn ang="0">
                  <a:pos x="12" y="98"/>
                </a:cxn>
                <a:cxn ang="0">
                  <a:pos x="0" y="82"/>
                </a:cxn>
                <a:cxn ang="0">
                  <a:pos x="33" y="67"/>
                </a:cxn>
                <a:cxn ang="0">
                  <a:pos x="56" y="65"/>
                </a:cxn>
                <a:cxn ang="0">
                  <a:pos x="62" y="68"/>
                </a:cxn>
                <a:cxn ang="0">
                  <a:pos x="75" y="75"/>
                </a:cxn>
                <a:cxn ang="0">
                  <a:pos x="68" y="93"/>
                </a:cxn>
                <a:cxn ang="0">
                  <a:pos x="78" y="108"/>
                </a:cxn>
                <a:cxn ang="0">
                  <a:pos x="83" y="117"/>
                </a:cxn>
                <a:cxn ang="0">
                  <a:pos x="87" y="98"/>
                </a:cxn>
                <a:cxn ang="0">
                  <a:pos x="92" y="84"/>
                </a:cxn>
                <a:cxn ang="0">
                  <a:pos x="96" y="79"/>
                </a:cxn>
                <a:cxn ang="0">
                  <a:pos x="90" y="65"/>
                </a:cxn>
                <a:cxn ang="0">
                  <a:pos x="78" y="51"/>
                </a:cxn>
                <a:cxn ang="0">
                  <a:pos x="94" y="16"/>
                </a:cxn>
                <a:cxn ang="0">
                  <a:pos x="102" y="18"/>
                </a:cxn>
                <a:cxn ang="0">
                  <a:pos x="113" y="16"/>
                </a:cxn>
                <a:cxn ang="0">
                  <a:pos x="122" y="18"/>
                </a:cxn>
                <a:cxn ang="0">
                  <a:pos x="132" y="13"/>
                </a:cxn>
                <a:cxn ang="0">
                  <a:pos x="144" y="13"/>
                </a:cxn>
                <a:cxn ang="0">
                  <a:pos x="160" y="9"/>
                </a:cxn>
                <a:cxn ang="0">
                  <a:pos x="174" y="0"/>
                </a:cxn>
                <a:cxn ang="0">
                  <a:pos x="179" y="4"/>
                </a:cxn>
                <a:cxn ang="0">
                  <a:pos x="175" y="14"/>
                </a:cxn>
                <a:cxn ang="0">
                  <a:pos x="177" y="28"/>
                </a:cxn>
                <a:cxn ang="0">
                  <a:pos x="175" y="44"/>
                </a:cxn>
                <a:cxn ang="0">
                  <a:pos x="172" y="61"/>
                </a:cxn>
                <a:cxn ang="0">
                  <a:pos x="179" y="74"/>
                </a:cxn>
                <a:cxn ang="0">
                  <a:pos x="174" y="79"/>
                </a:cxn>
                <a:cxn ang="0">
                  <a:pos x="174" y="84"/>
                </a:cxn>
                <a:cxn ang="0">
                  <a:pos x="163" y="101"/>
                </a:cxn>
                <a:cxn ang="0">
                  <a:pos x="146" y="112"/>
                </a:cxn>
                <a:cxn ang="0">
                  <a:pos x="120" y="124"/>
                </a:cxn>
                <a:cxn ang="0">
                  <a:pos x="109" y="129"/>
                </a:cxn>
                <a:cxn ang="0">
                  <a:pos x="101" y="143"/>
                </a:cxn>
                <a:cxn ang="0">
                  <a:pos x="83" y="154"/>
                </a:cxn>
                <a:cxn ang="0">
                  <a:pos x="73" y="160"/>
                </a:cxn>
                <a:cxn ang="0">
                  <a:pos x="71" y="167"/>
                </a:cxn>
                <a:cxn ang="0">
                  <a:pos x="73" y="185"/>
                </a:cxn>
                <a:cxn ang="0">
                  <a:pos x="78" y="207"/>
                </a:cxn>
                <a:cxn ang="0">
                  <a:pos x="82" y="207"/>
                </a:cxn>
                <a:cxn ang="0">
                  <a:pos x="82" y="218"/>
                </a:cxn>
                <a:cxn ang="0">
                  <a:pos x="76" y="232"/>
                </a:cxn>
                <a:cxn ang="0">
                  <a:pos x="78" y="244"/>
                </a:cxn>
                <a:cxn ang="0">
                  <a:pos x="36" y="265"/>
                </a:cxn>
                <a:cxn ang="0">
                  <a:pos x="28" y="272"/>
                </a:cxn>
                <a:cxn ang="0">
                  <a:pos x="33" y="280"/>
                </a:cxn>
                <a:cxn ang="0">
                  <a:pos x="31" y="286"/>
                </a:cxn>
                <a:cxn ang="0">
                  <a:pos x="21" y="286"/>
                </a:cxn>
                <a:cxn ang="0">
                  <a:pos x="19" y="275"/>
                </a:cxn>
                <a:cxn ang="0">
                  <a:pos x="19" y="258"/>
                </a:cxn>
                <a:cxn ang="0">
                  <a:pos x="17" y="233"/>
                </a:cxn>
                <a:cxn ang="0">
                  <a:pos x="12" y="211"/>
                </a:cxn>
              </a:cxnLst>
              <a:rect l="0" t="0" r="r" b="b"/>
              <a:pathLst>
                <a:path w="181" h="287">
                  <a:moveTo>
                    <a:pt x="12" y="211"/>
                  </a:moveTo>
                  <a:lnTo>
                    <a:pt x="31" y="192"/>
                  </a:lnTo>
                  <a:lnTo>
                    <a:pt x="31" y="185"/>
                  </a:lnTo>
                  <a:lnTo>
                    <a:pt x="31" y="185"/>
                  </a:lnTo>
                  <a:lnTo>
                    <a:pt x="31" y="180"/>
                  </a:lnTo>
                  <a:lnTo>
                    <a:pt x="33" y="178"/>
                  </a:lnTo>
                  <a:lnTo>
                    <a:pt x="33" y="174"/>
                  </a:lnTo>
                  <a:lnTo>
                    <a:pt x="33" y="173"/>
                  </a:lnTo>
                  <a:lnTo>
                    <a:pt x="36" y="171"/>
                  </a:lnTo>
                  <a:lnTo>
                    <a:pt x="36" y="169"/>
                  </a:lnTo>
                  <a:lnTo>
                    <a:pt x="40" y="167"/>
                  </a:lnTo>
                  <a:lnTo>
                    <a:pt x="42" y="164"/>
                  </a:lnTo>
                  <a:lnTo>
                    <a:pt x="42" y="160"/>
                  </a:lnTo>
                  <a:lnTo>
                    <a:pt x="40" y="160"/>
                  </a:lnTo>
                  <a:lnTo>
                    <a:pt x="40" y="157"/>
                  </a:lnTo>
                  <a:lnTo>
                    <a:pt x="42" y="154"/>
                  </a:lnTo>
                  <a:lnTo>
                    <a:pt x="40" y="152"/>
                  </a:lnTo>
                  <a:lnTo>
                    <a:pt x="38" y="148"/>
                  </a:lnTo>
                  <a:lnTo>
                    <a:pt x="38" y="148"/>
                  </a:lnTo>
                  <a:lnTo>
                    <a:pt x="40" y="147"/>
                  </a:lnTo>
                  <a:lnTo>
                    <a:pt x="40" y="143"/>
                  </a:lnTo>
                  <a:lnTo>
                    <a:pt x="40" y="141"/>
                  </a:lnTo>
                  <a:lnTo>
                    <a:pt x="43" y="138"/>
                  </a:lnTo>
                  <a:lnTo>
                    <a:pt x="43" y="136"/>
                  </a:lnTo>
                  <a:lnTo>
                    <a:pt x="42" y="136"/>
                  </a:lnTo>
                  <a:lnTo>
                    <a:pt x="40" y="134"/>
                  </a:lnTo>
                  <a:lnTo>
                    <a:pt x="42" y="131"/>
                  </a:lnTo>
                  <a:lnTo>
                    <a:pt x="42" y="126"/>
                  </a:lnTo>
                  <a:lnTo>
                    <a:pt x="43" y="124"/>
                  </a:lnTo>
                  <a:lnTo>
                    <a:pt x="43" y="120"/>
                  </a:lnTo>
                  <a:lnTo>
                    <a:pt x="43" y="120"/>
                  </a:lnTo>
                  <a:lnTo>
                    <a:pt x="43" y="119"/>
                  </a:lnTo>
                  <a:lnTo>
                    <a:pt x="43" y="115"/>
                  </a:lnTo>
                  <a:lnTo>
                    <a:pt x="45" y="114"/>
                  </a:lnTo>
                  <a:lnTo>
                    <a:pt x="45" y="110"/>
                  </a:lnTo>
                  <a:lnTo>
                    <a:pt x="40" y="110"/>
                  </a:lnTo>
                  <a:lnTo>
                    <a:pt x="38" y="107"/>
                  </a:lnTo>
                  <a:lnTo>
                    <a:pt x="36" y="105"/>
                  </a:lnTo>
                  <a:lnTo>
                    <a:pt x="31" y="103"/>
                  </a:lnTo>
                  <a:lnTo>
                    <a:pt x="28" y="103"/>
                  </a:lnTo>
                  <a:lnTo>
                    <a:pt x="24" y="101"/>
                  </a:lnTo>
                  <a:lnTo>
                    <a:pt x="19" y="96"/>
                  </a:lnTo>
                  <a:lnTo>
                    <a:pt x="16" y="96"/>
                  </a:lnTo>
                  <a:lnTo>
                    <a:pt x="14" y="96"/>
                  </a:lnTo>
                  <a:lnTo>
                    <a:pt x="12" y="98"/>
                  </a:lnTo>
                  <a:lnTo>
                    <a:pt x="10" y="96"/>
                  </a:lnTo>
                  <a:lnTo>
                    <a:pt x="9" y="96"/>
                  </a:lnTo>
                  <a:lnTo>
                    <a:pt x="3" y="96"/>
                  </a:lnTo>
                  <a:lnTo>
                    <a:pt x="3" y="87"/>
                  </a:lnTo>
                  <a:lnTo>
                    <a:pt x="0" y="82"/>
                  </a:lnTo>
                  <a:lnTo>
                    <a:pt x="3" y="79"/>
                  </a:lnTo>
                  <a:lnTo>
                    <a:pt x="9" y="75"/>
                  </a:lnTo>
                  <a:lnTo>
                    <a:pt x="12" y="75"/>
                  </a:lnTo>
                  <a:lnTo>
                    <a:pt x="31" y="68"/>
                  </a:lnTo>
                  <a:lnTo>
                    <a:pt x="33" y="67"/>
                  </a:lnTo>
                  <a:lnTo>
                    <a:pt x="43" y="65"/>
                  </a:lnTo>
                  <a:lnTo>
                    <a:pt x="49" y="61"/>
                  </a:lnTo>
                  <a:lnTo>
                    <a:pt x="54" y="61"/>
                  </a:lnTo>
                  <a:lnTo>
                    <a:pt x="54" y="61"/>
                  </a:lnTo>
                  <a:lnTo>
                    <a:pt x="56" y="65"/>
                  </a:lnTo>
                  <a:lnTo>
                    <a:pt x="56" y="65"/>
                  </a:lnTo>
                  <a:lnTo>
                    <a:pt x="56" y="68"/>
                  </a:lnTo>
                  <a:lnTo>
                    <a:pt x="59" y="70"/>
                  </a:lnTo>
                  <a:lnTo>
                    <a:pt x="59" y="68"/>
                  </a:lnTo>
                  <a:lnTo>
                    <a:pt x="62" y="68"/>
                  </a:lnTo>
                  <a:lnTo>
                    <a:pt x="64" y="67"/>
                  </a:lnTo>
                  <a:lnTo>
                    <a:pt x="68" y="67"/>
                  </a:lnTo>
                  <a:lnTo>
                    <a:pt x="73" y="68"/>
                  </a:lnTo>
                  <a:lnTo>
                    <a:pt x="75" y="74"/>
                  </a:lnTo>
                  <a:lnTo>
                    <a:pt x="75" y="75"/>
                  </a:lnTo>
                  <a:lnTo>
                    <a:pt x="73" y="80"/>
                  </a:lnTo>
                  <a:lnTo>
                    <a:pt x="69" y="84"/>
                  </a:lnTo>
                  <a:lnTo>
                    <a:pt x="69" y="89"/>
                  </a:lnTo>
                  <a:lnTo>
                    <a:pt x="66" y="91"/>
                  </a:lnTo>
                  <a:lnTo>
                    <a:pt x="68" y="93"/>
                  </a:lnTo>
                  <a:lnTo>
                    <a:pt x="68" y="98"/>
                  </a:lnTo>
                  <a:lnTo>
                    <a:pt x="69" y="101"/>
                  </a:lnTo>
                  <a:lnTo>
                    <a:pt x="71" y="103"/>
                  </a:lnTo>
                  <a:lnTo>
                    <a:pt x="75" y="107"/>
                  </a:lnTo>
                  <a:lnTo>
                    <a:pt x="78" y="108"/>
                  </a:lnTo>
                  <a:lnTo>
                    <a:pt x="78" y="110"/>
                  </a:lnTo>
                  <a:lnTo>
                    <a:pt x="82" y="114"/>
                  </a:lnTo>
                  <a:lnTo>
                    <a:pt x="78" y="115"/>
                  </a:lnTo>
                  <a:lnTo>
                    <a:pt x="82" y="117"/>
                  </a:lnTo>
                  <a:lnTo>
                    <a:pt x="83" y="117"/>
                  </a:lnTo>
                  <a:lnTo>
                    <a:pt x="83" y="114"/>
                  </a:lnTo>
                  <a:lnTo>
                    <a:pt x="83" y="108"/>
                  </a:lnTo>
                  <a:lnTo>
                    <a:pt x="87" y="107"/>
                  </a:lnTo>
                  <a:lnTo>
                    <a:pt x="87" y="103"/>
                  </a:lnTo>
                  <a:lnTo>
                    <a:pt x="87" y="98"/>
                  </a:lnTo>
                  <a:lnTo>
                    <a:pt x="90" y="96"/>
                  </a:lnTo>
                  <a:lnTo>
                    <a:pt x="94" y="96"/>
                  </a:lnTo>
                  <a:lnTo>
                    <a:pt x="94" y="93"/>
                  </a:lnTo>
                  <a:lnTo>
                    <a:pt x="94" y="87"/>
                  </a:lnTo>
                  <a:lnTo>
                    <a:pt x="92" y="84"/>
                  </a:lnTo>
                  <a:lnTo>
                    <a:pt x="94" y="82"/>
                  </a:lnTo>
                  <a:lnTo>
                    <a:pt x="92" y="82"/>
                  </a:lnTo>
                  <a:lnTo>
                    <a:pt x="92" y="80"/>
                  </a:lnTo>
                  <a:lnTo>
                    <a:pt x="96" y="80"/>
                  </a:lnTo>
                  <a:lnTo>
                    <a:pt x="96" y="79"/>
                  </a:lnTo>
                  <a:lnTo>
                    <a:pt x="97" y="77"/>
                  </a:lnTo>
                  <a:lnTo>
                    <a:pt x="97" y="75"/>
                  </a:lnTo>
                  <a:lnTo>
                    <a:pt x="97" y="74"/>
                  </a:lnTo>
                  <a:lnTo>
                    <a:pt x="96" y="68"/>
                  </a:lnTo>
                  <a:lnTo>
                    <a:pt x="90" y="65"/>
                  </a:lnTo>
                  <a:lnTo>
                    <a:pt x="90" y="61"/>
                  </a:lnTo>
                  <a:lnTo>
                    <a:pt x="83" y="56"/>
                  </a:lnTo>
                  <a:lnTo>
                    <a:pt x="82" y="54"/>
                  </a:lnTo>
                  <a:lnTo>
                    <a:pt x="82" y="53"/>
                  </a:lnTo>
                  <a:lnTo>
                    <a:pt x="78" y="51"/>
                  </a:lnTo>
                  <a:lnTo>
                    <a:pt x="73" y="47"/>
                  </a:lnTo>
                  <a:lnTo>
                    <a:pt x="71" y="32"/>
                  </a:lnTo>
                  <a:lnTo>
                    <a:pt x="75" y="16"/>
                  </a:lnTo>
                  <a:lnTo>
                    <a:pt x="90" y="16"/>
                  </a:lnTo>
                  <a:lnTo>
                    <a:pt x="94" y="16"/>
                  </a:lnTo>
                  <a:lnTo>
                    <a:pt x="94" y="14"/>
                  </a:lnTo>
                  <a:lnTo>
                    <a:pt x="97" y="14"/>
                  </a:lnTo>
                  <a:lnTo>
                    <a:pt x="97" y="14"/>
                  </a:lnTo>
                  <a:lnTo>
                    <a:pt x="99" y="16"/>
                  </a:lnTo>
                  <a:lnTo>
                    <a:pt x="102" y="18"/>
                  </a:lnTo>
                  <a:lnTo>
                    <a:pt x="104" y="18"/>
                  </a:lnTo>
                  <a:lnTo>
                    <a:pt x="106" y="20"/>
                  </a:lnTo>
                  <a:lnTo>
                    <a:pt x="106" y="21"/>
                  </a:lnTo>
                  <a:lnTo>
                    <a:pt x="109" y="20"/>
                  </a:lnTo>
                  <a:lnTo>
                    <a:pt x="113" y="16"/>
                  </a:lnTo>
                  <a:lnTo>
                    <a:pt x="115" y="16"/>
                  </a:lnTo>
                  <a:lnTo>
                    <a:pt x="118" y="14"/>
                  </a:lnTo>
                  <a:lnTo>
                    <a:pt x="118" y="16"/>
                  </a:lnTo>
                  <a:lnTo>
                    <a:pt x="118" y="18"/>
                  </a:lnTo>
                  <a:lnTo>
                    <a:pt x="122" y="18"/>
                  </a:lnTo>
                  <a:lnTo>
                    <a:pt x="123" y="20"/>
                  </a:lnTo>
                  <a:lnTo>
                    <a:pt x="127" y="18"/>
                  </a:lnTo>
                  <a:lnTo>
                    <a:pt x="132" y="18"/>
                  </a:lnTo>
                  <a:lnTo>
                    <a:pt x="132" y="14"/>
                  </a:lnTo>
                  <a:lnTo>
                    <a:pt x="132" y="13"/>
                  </a:lnTo>
                  <a:lnTo>
                    <a:pt x="132" y="11"/>
                  </a:lnTo>
                  <a:lnTo>
                    <a:pt x="137" y="13"/>
                  </a:lnTo>
                  <a:lnTo>
                    <a:pt x="141" y="11"/>
                  </a:lnTo>
                  <a:lnTo>
                    <a:pt x="141" y="13"/>
                  </a:lnTo>
                  <a:lnTo>
                    <a:pt x="144" y="13"/>
                  </a:lnTo>
                  <a:lnTo>
                    <a:pt x="146" y="11"/>
                  </a:lnTo>
                  <a:lnTo>
                    <a:pt x="153" y="9"/>
                  </a:lnTo>
                  <a:lnTo>
                    <a:pt x="155" y="11"/>
                  </a:lnTo>
                  <a:lnTo>
                    <a:pt x="158" y="9"/>
                  </a:lnTo>
                  <a:lnTo>
                    <a:pt x="160" y="9"/>
                  </a:lnTo>
                  <a:lnTo>
                    <a:pt x="163" y="9"/>
                  </a:lnTo>
                  <a:lnTo>
                    <a:pt x="165" y="6"/>
                  </a:lnTo>
                  <a:lnTo>
                    <a:pt x="168" y="6"/>
                  </a:lnTo>
                  <a:lnTo>
                    <a:pt x="170" y="4"/>
                  </a:lnTo>
                  <a:lnTo>
                    <a:pt x="174" y="0"/>
                  </a:lnTo>
                  <a:lnTo>
                    <a:pt x="175" y="0"/>
                  </a:lnTo>
                  <a:lnTo>
                    <a:pt x="177" y="0"/>
                  </a:lnTo>
                  <a:lnTo>
                    <a:pt x="179" y="0"/>
                  </a:lnTo>
                  <a:lnTo>
                    <a:pt x="181" y="0"/>
                  </a:lnTo>
                  <a:lnTo>
                    <a:pt x="179" y="4"/>
                  </a:lnTo>
                  <a:lnTo>
                    <a:pt x="179" y="6"/>
                  </a:lnTo>
                  <a:lnTo>
                    <a:pt x="179" y="6"/>
                  </a:lnTo>
                  <a:lnTo>
                    <a:pt x="175" y="11"/>
                  </a:lnTo>
                  <a:lnTo>
                    <a:pt x="175" y="13"/>
                  </a:lnTo>
                  <a:lnTo>
                    <a:pt x="175" y="14"/>
                  </a:lnTo>
                  <a:lnTo>
                    <a:pt x="175" y="16"/>
                  </a:lnTo>
                  <a:lnTo>
                    <a:pt x="175" y="18"/>
                  </a:lnTo>
                  <a:lnTo>
                    <a:pt x="175" y="23"/>
                  </a:lnTo>
                  <a:lnTo>
                    <a:pt x="177" y="28"/>
                  </a:lnTo>
                  <a:lnTo>
                    <a:pt x="177" y="28"/>
                  </a:lnTo>
                  <a:lnTo>
                    <a:pt x="177" y="34"/>
                  </a:lnTo>
                  <a:lnTo>
                    <a:pt x="177" y="34"/>
                  </a:lnTo>
                  <a:lnTo>
                    <a:pt x="177" y="37"/>
                  </a:lnTo>
                  <a:lnTo>
                    <a:pt x="175" y="39"/>
                  </a:lnTo>
                  <a:lnTo>
                    <a:pt x="175" y="44"/>
                  </a:lnTo>
                  <a:lnTo>
                    <a:pt x="175" y="53"/>
                  </a:lnTo>
                  <a:lnTo>
                    <a:pt x="174" y="53"/>
                  </a:lnTo>
                  <a:lnTo>
                    <a:pt x="175" y="54"/>
                  </a:lnTo>
                  <a:lnTo>
                    <a:pt x="175" y="61"/>
                  </a:lnTo>
                  <a:lnTo>
                    <a:pt x="172" y="61"/>
                  </a:lnTo>
                  <a:lnTo>
                    <a:pt x="172" y="65"/>
                  </a:lnTo>
                  <a:lnTo>
                    <a:pt x="174" y="65"/>
                  </a:lnTo>
                  <a:lnTo>
                    <a:pt x="177" y="65"/>
                  </a:lnTo>
                  <a:lnTo>
                    <a:pt x="177" y="65"/>
                  </a:lnTo>
                  <a:lnTo>
                    <a:pt x="179" y="74"/>
                  </a:lnTo>
                  <a:lnTo>
                    <a:pt x="177" y="74"/>
                  </a:lnTo>
                  <a:lnTo>
                    <a:pt x="175" y="75"/>
                  </a:lnTo>
                  <a:lnTo>
                    <a:pt x="175" y="77"/>
                  </a:lnTo>
                  <a:lnTo>
                    <a:pt x="175" y="79"/>
                  </a:lnTo>
                  <a:lnTo>
                    <a:pt x="174" y="79"/>
                  </a:lnTo>
                  <a:lnTo>
                    <a:pt x="170" y="82"/>
                  </a:lnTo>
                  <a:lnTo>
                    <a:pt x="172" y="82"/>
                  </a:lnTo>
                  <a:lnTo>
                    <a:pt x="172" y="82"/>
                  </a:lnTo>
                  <a:lnTo>
                    <a:pt x="175" y="82"/>
                  </a:lnTo>
                  <a:lnTo>
                    <a:pt x="174" y="84"/>
                  </a:lnTo>
                  <a:lnTo>
                    <a:pt x="172" y="87"/>
                  </a:lnTo>
                  <a:lnTo>
                    <a:pt x="170" y="89"/>
                  </a:lnTo>
                  <a:lnTo>
                    <a:pt x="168" y="93"/>
                  </a:lnTo>
                  <a:lnTo>
                    <a:pt x="168" y="96"/>
                  </a:lnTo>
                  <a:lnTo>
                    <a:pt x="163" y="101"/>
                  </a:lnTo>
                  <a:lnTo>
                    <a:pt x="160" y="101"/>
                  </a:lnTo>
                  <a:lnTo>
                    <a:pt x="160" y="103"/>
                  </a:lnTo>
                  <a:lnTo>
                    <a:pt x="149" y="110"/>
                  </a:lnTo>
                  <a:lnTo>
                    <a:pt x="148" y="110"/>
                  </a:lnTo>
                  <a:lnTo>
                    <a:pt x="146" y="112"/>
                  </a:lnTo>
                  <a:lnTo>
                    <a:pt x="137" y="119"/>
                  </a:lnTo>
                  <a:lnTo>
                    <a:pt x="132" y="117"/>
                  </a:lnTo>
                  <a:lnTo>
                    <a:pt x="132" y="119"/>
                  </a:lnTo>
                  <a:lnTo>
                    <a:pt x="127" y="120"/>
                  </a:lnTo>
                  <a:lnTo>
                    <a:pt x="120" y="124"/>
                  </a:lnTo>
                  <a:lnTo>
                    <a:pt x="118" y="124"/>
                  </a:lnTo>
                  <a:lnTo>
                    <a:pt x="118" y="126"/>
                  </a:lnTo>
                  <a:lnTo>
                    <a:pt x="113" y="131"/>
                  </a:lnTo>
                  <a:lnTo>
                    <a:pt x="113" y="131"/>
                  </a:lnTo>
                  <a:lnTo>
                    <a:pt x="109" y="129"/>
                  </a:lnTo>
                  <a:lnTo>
                    <a:pt x="109" y="134"/>
                  </a:lnTo>
                  <a:lnTo>
                    <a:pt x="109" y="134"/>
                  </a:lnTo>
                  <a:lnTo>
                    <a:pt x="108" y="136"/>
                  </a:lnTo>
                  <a:lnTo>
                    <a:pt x="101" y="141"/>
                  </a:lnTo>
                  <a:lnTo>
                    <a:pt x="101" y="143"/>
                  </a:lnTo>
                  <a:lnTo>
                    <a:pt x="99" y="145"/>
                  </a:lnTo>
                  <a:lnTo>
                    <a:pt x="97" y="145"/>
                  </a:lnTo>
                  <a:lnTo>
                    <a:pt x="97" y="148"/>
                  </a:lnTo>
                  <a:lnTo>
                    <a:pt x="92" y="148"/>
                  </a:lnTo>
                  <a:lnTo>
                    <a:pt x="83" y="154"/>
                  </a:lnTo>
                  <a:lnTo>
                    <a:pt x="83" y="157"/>
                  </a:lnTo>
                  <a:lnTo>
                    <a:pt x="82" y="160"/>
                  </a:lnTo>
                  <a:lnTo>
                    <a:pt x="78" y="160"/>
                  </a:lnTo>
                  <a:lnTo>
                    <a:pt x="76" y="162"/>
                  </a:lnTo>
                  <a:lnTo>
                    <a:pt x="73" y="160"/>
                  </a:lnTo>
                  <a:lnTo>
                    <a:pt x="71" y="160"/>
                  </a:lnTo>
                  <a:lnTo>
                    <a:pt x="71" y="160"/>
                  </a:lnTo>
                  <a:lnTo>
                    <a:pt x="73" y="164"/>
                  </a:lnTo>
                  <a:lnTo>
                    <a:pt x="73" y="166"/>
                  </a:lnTo>
                  <a:lnTo>
                    <a:pt x="71" y="167"/>
                  </a:lnTo>
                  <a:lnTo>
                    <a:pt x="71" y="171"/>
                  </a:lnTo>
                  <a:lnTo>
                    <a:pt x="69" y="173"/>
                  </a:lnTo>
                  <a:lnTo>
                    <a:pt x="75" y="180"/>
                  </a:lnTo>
                  <a:lnTo>
                    <a:pt x="75" y="183"/>
                  </a:lnTo>
                  <a:lnTo>
                    <a:pt x="73" y="185"/>
                  </a:lnTo>
                  <a:lnTo>
                    <a:pt x="75" y="185"/>
                  </a:lnTo>
                  <a:lnTo>
                    <a:pt x="76" y="188"/>
                  </a:lnTo>
                  <a:lnTo>
                    <a:pt x="76" y="192"/>
                  </a:lnTo>
                  <a:lnTo>
                    <a:pt x="78" y="195"/>
                  </a:lnTo>
                  <a:lnTo>
                    <a:pt x="78" y="207"/>
                  </a:lnTo>
                  <a:lnTo>
                    <a:pt x="78" y="211"/>
                  </a:lnTo>
                  <a:lnTo>
                    <a:pt x="78" y="211"/>
                  </a:lnTo>
                  <a:lnTo>
                    <a:pt x="78" y="207"/>
                  </a:lnTo>
                  <a:lnTo>
                    <a:pt x="82" y="202"/>
                  </a:lnTo>
                  <a:lnTo>
                    <a:pt x="82" y="207"/>
                  </a:lnTo>
                  <a:lnTo>
                    <a:pt x="82" y="207"/>
                  </a:lnTo>
                  <a:lnTo>
                    <a:pt x="82" y="211"/>
                  </a:lnTo>
                  <a:lnTo>
                    <a:pt x="82" y="213"/>
                  </a:lnTo>
                  <a:lnTo>
                    <a:pt x="82" y="216"/>
                  </a:lnTo>
                  <a:lnTo>
                    <a:pt x="82" y="218"/>
                  </a:lnTo>
                  <a:lnTo>
                    <a:pt x="78" y="225"/>
                  </a:lnTo>
                  <a:lnTo>
                    <a:pt x="78" y="227"/>
                  </a:lnTo>
                  <a:lnTo>
                    <a:pt x="78" y="228"/>
                  </a:lnTo>
                  <a:lnTo>
                    <a:pt x="78" y="232"/>
                  </a:lnTo>
                  <a:lnTo>
                    <a:pt x="76" y="232"/>
                  </a:lnTo>
                  <a:lnTo>
                    <a:pt x="78" y="235"/>
                  </a:lnTo>
                  <a:lnTo>
                    <a:pt x="78" y="233"/>
                  </a:lnTo>
                  <a:lnTo>
                    <a:pt x="82" y="235"/>
                  </a:lnTo>
                  <a:lnTo>
                    <a:pt x="78" y="239"/>
                  </a:lnTo>
                  <a:lnTo>
                    <a:pt x="78" y="244"/>
                  </a:lnTo>
                  <a:lnTo>
                    <a:pt x="71" y="249"/>
                  </a:lnTo>
                  <a:lnTo>
                    <a:pt x="59" y="254"/>
                  </a:lnTo>
                  <a:lnTo>
                    <a:pt x="45" y="258"/>
                  </a:lnTo>
                  <a:lnTo>
                    <a:pt x="38" y="263"/>
                  </a:lnTo>
                  <a:lnTo>
                    <a:pt x="36" y="265"/>
                  </a:lnTo>
                  <a:lnTo>
                    <a:pt x="33" y="267"/>
                  </a:lnTo>
                  <a:lnTo>
                    <a:pt x="31" y="268"/>
                  </a:lnTo>
                  <a:lnTo>
                    <a:pt x="31" y="272"/>
                  </a:lnTo>
                  <a:lnTo>
                    <a:pt x="28" y="272"/>
                  </a:lnTo>
                  <a:lnTo>
                    <a:pt x="28" y="272"/>
                  </a:lnTo>
                  <a:lnTo>
                    <a:pt x="28" y="275"/>
                  </a:lnTo>
                  <a:lnTo>
                    <a:pt x="28" y="277"/>
                  </a:lnTo>
                  <a:lnTo>
                    <a:pt x="28" y="280"/>
                  </a:lnTo>
                  <a:lnTo>
                    <a:pt x="31" y="280"/>
                  </a:lnTo>
                  <a:lnTo>
                    <a:pt x="33" y="280"/>
                  </a:lnTo>
                  <a:lnTo>
                    <a:pt x="33" y="275"/>
                  </a:lnTo>
                  <a:lnTo>
                    <a:pt x="36" y="275"/>
                  </a:lnTo>
                  <a:lnTo>
                    <a:pt x="36" y="277"/>
                  </a:lnTo>
                  <a:lnTo>
                    <a:pt x="33" y="282"/>
                  </a:lnTo>
                  <a:lnTo>
                    <a:pt x="31" y="286"/>
                  </a:lnTo>
                  <a:lnTo>
                    <a:pt x="31" y="287"/>
                  </a:lnTo>
                  <a:lnTo>
                    <a:pt x="28" y="287"/>
                  </a:lnTo>
                  <a:lnTo>
                    <a:pt x="24" y="287"/>
                  </a:lnTo>
                  <a:lnTo>
                    <a:pt x="23" y="287"/>
                  </a:lnTo>
                  <a:lnTo>
                    <a:pt x="21" y="286"/>
                  </a:lnTo>
                  <a:lnTo>
                    <a:pt x="23" y="282"/>
                  </a:lnTo>
                  <a:lnTo>
                    <a:pt x="23" y="280"/>
                  </a:lnTo>
                  <a:lnTo>
                    <a:pt x="23" y="280"/>
                  </a:lnTo>
                  <a:lnTo>
                    <a:pt x="21" y="277"/>
                  </a:lnTo>
                  <a:lnTo>
                    <a:pt x="19" y="275"/>
                  </a:lnTo>
                  <a:lnTo>
                    <a:pt x="17" y="275"/>
                  </a:lnTo>
                  <a:lnTo>
                    <a:pt x="17" y="275"/>
                  </a:lnTo>
                  <a:lnTo>
                    <a:pt x="17" y="268"/>
                  </a:lnTo>
                  <a:lnTo>
                    <a:pt x="17" y="263"/>
                  </a:lnTo>
                  <a:lnTo>
                    <a:pt x="19" y="258"/>
                  </a:lnTo>
                  <a:lnTo>
                    <a:pt x="19" y="244"/>
                  </a:lnTo>
                  <a:lnTo>
                    <a:pt x="17" y="240"/>
                  </a:lnTo>
                  <a:lnTo>
                    <a:pt x="17" y="237"/>
                  </a:lnTo>
                  <a:lnTo>
                    <a:pt x="17" y="233"/>
                  </a:lnTo>
                  <a:lnTo>
                    <a:pt x="17" y="233"/>
                  </a:lnTo>
                  <a:lnTo>
                    <a:pt x="17" y="225"/>
                  </a:lnTo>
                  <a:lnTo>
                    <a:pt x="16" y="220"/>
                  </a:lnTo>
                  <a:lnTo>
                    <a:pt x="14" y="216"/>
                  </a:lnTo>
                  <a:lnTo>
                    <a:pt x="12" y="213"/>
                  </a:lnTo>
                  <a:lnTo>
                    <a:pt x="12" y="211"/>
                  </a:lnTo>
                  <a:lnTo>
                    <a:pt x="12" y="211"/>
                  </a:lnTo>
                  <a:lnTo>
                    <a:pt x="12" y="2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7" name="Freeform 153">
              <a:extLst>
                <a:ext uri="{FF2B5EF4-FFF2-40B4-BE49-F238E27FC236}">
                  <a16:creationId xmlns:a16="http://schemas.microsoft.com/office/drawing/2014/main" id="{7546B7CC-F2D9-4105-8F95-308310F897A6}"/>
                </a:ext>
              </a:extLst>
            </p:cNvPr>
            <p:cNvSpPr>
              <a:spLocks/>
            </p:cNvSpPr>
            <p:nvPr/>
          </p:nvSpPr>
          <p:spPr bwMode="auto">
            <a:xfrm>
              <a:off x="5265738" y="4978401"/>
              <a:ext cx="38100" cy="39688"/>
            </a:xfrm>
            <a:custGeom>
              <a:avLst/>
              <a:gdLst/>
              <a:ahLst/>
              <a:cxnLst>
                <a:cxn ang="0">
                  <a:pos x="21" y="7"/>
                </a:cxn>
                <a:cxn ang="0">
                  <a:pos x="21" y="7"/>
                </a:cxn>
                <a:cxn ang="0">
                  <a:pos x="21" y="7"/>
                </a:cxn>
                <a:cxn ang="0">
                  <a:pos x="23" y="9"/>
                </a:cxn>
                <a:cxn ang="0">
                  <a:pos x="24" y="11"/>
                </a:cxn>
                <a:cxn ang="0">
                  <a:pos x="24" y="12"/>
                </a:cxn>
                <a:cxn ang="0">
                  <a:pos x="24" y="14"/>
                </a:cxn>
                <a:cxn ang="0">
                  <a:pos x="23" y="16"/>
                </a:cxn>
                <a:cxn ang="0">
                  <a:pos x="24" y="19"/>
                </a:cxn>
                <a:cxn ang="0">
                  <a:pos x="23" y="19"/>
                </a:cxn>
                <a:cxn ang="0">
                  <a:pos x="21" y="19"/>
                </a:cxn>
                <a:cxn ang="0">
                  <a:pos x="21" y="21"/>
                </a:cxn>
                <a:cxn ang="0">
                  <a:pos x="21" y="25"/>
                </a:cxn>
                <a:cxn ang="0">
                  <a:pos x="17" y="25"/>
                </a:cxn>
                <a:cxn ang="0">
                  <a:pos x="12" y="25"/>
                </a:cxn>
                <a:cxn ang="0">
                  <a:pos x="7" y="23"/>
                </a:cxn>
                <a:cxn ang="0">
                  <a:pos x="3" y="19"/>
                </a:cxn>
                <a:cxn ang="0">
                  <a:pos x="3" y="16"/>
                </a:cxn>
                <a:cxn ang="0">
                  <a:pos x="0" y="16"/>
                </a:cxn>
                <a:cxn ang="0">
                  <a:pos x="3" y="12"/>
                </a:cxn>
                <a:cxn ang="0">
                  <a:pos x="7" y="5"/>
                </a:cxn>
                <a:cxn ang="0">
                  <a:pos x="7" y="2"/>
                </a:cxn>
                <a:cxn ang="0">
                  <a:pos x="10" y="0"/>
                </a:cxn>
                <a:cxn ang="0">
                  <a:pos x="16" y="4"/>
                </a:cxn>
                <a:cxn ang="0">
                  <a:pos x="17" y="5"/>
                </a:cxn>
                <a:cxn ang="0">
                  <a:pos x="21" y="7"/>
                </a:cxn>
                <a:cxn ang="0">
                  <a:pos x="21" y="7"/>
                </a:cxn>
                <a:cxn ang="0">
                  <a:pos x="21" y="7"/>
                </a:cxn>
                <a:cxn ang="0">
                  <a:pos x="21" y="7"/>
                </a:cxn>
              </a:cxnLst>
              <a:rect l="0" t="0" r="r" b="b"/>
              <a:pathLst>
                <a:path w="24" h="25">
                  <a:moveTo>
                    <a:pt x="21" y="7"/>
                  </a:moveTo>
                  <a:lnTo>
                    <a:pt x="21" y="7"/>
                  </a:lnTo>
                  <a:lnTo>
                    <a:pt x="21" y="7"/>
                  </a:lnTo>
                  <a:lnTo>
                    <a:pt x="23" y="9"/>
                  </a:lnTo>
                  <a:lnTo>
                    <a:pt x="24" y="11"/>
                  </a:lnTo>
                  <a:lnTo>
                    <a:pt x="24" y="12"/>
                  </a:lnTo>
                  <a:lnTo>
                    <a:pt x="24" y="14"/>
                  </a:lnTo>
                  <a:lnTo>
                    <a:pt x="23" y="16"/>
                  </a:lnTo>
                  <a:lnTo>
                    <a:pt x="24" y="19"/>
                  </a:lnTo>
                  <a:lnTo>
                    <a:pt x="23" y="19"/>
                  </a:lnTo>
                  <a:lnTo>
                    <a:pt x="21" y="19"/>
                  </a:lnTo>
                  <a:lnTo>
                    <a:pt x="21" y="21"/>
                  </a:lnTo>
                  <a:lnTo>
                    <a:pt x="21" y="25"/>
                  </a:lnTo>
                  <a:lnTo>
                    <a:pt x="17" y="25"/>
                  </a:lnTo>
                  <a:lnTo>
                    <a:pt x="12" y="25"/>
                  </a:lnTo>
                  <a:lnTo>
                    <a:pt x="7" y="23"/>
                  </a:lnTo>
                  <a:lnTo>
                    <a:pt x="3" y="19"/>
                  </a:lnTo>
                  <a:lnTo>
                    <a:pt x="3" y="16"/>
                  </a:lnTo>
                  <a:lnTo>
                    <a:pt x="0" y="16"/>
                  </a:lnTo>
                  <a:lnTo>
                    <a:pt x="3" y="12"/>
                  </a:lnTo>
                  <a:lnTo>
                    <a:pt x="7" y="5"/>
                  </a:lnTo>
                  <a:lnTo>
                    <a:pt x="7" y="2"/>
                  </a:lnTo>
                  <a:lnTo>
                    <a:pt x="10" y="0"/>
                  </a:lnTo>
                  <a:lnTo>
                    <a:pt x="16" y="4"/>
                  </a:lnTo>
                  <a:lnTo>
                    <a:pt x="17" y="5"/>
                  </a:lnTo>
                  <a:lnTo>
                    <a:pt x="21" y="7"/>
                  </a:lnTo>
                  <a:lnTo>
                    <a:pt x="21" y="7"/>
                  </a:lnTo>
                  <a:lnTo>
                    <a:pt x="21" y="7"/>
                  </a:lnTo>
                  <a:lnTo>
                    <a:pt x="21"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8" name="Freeform 154">
              <a:extLst>
                <a:ext uri="{FF2B5EF4-FFF2-40B4-BE49-F238E27FC236}">
                  <a16:creationId xmlns:a16="http://schemas.microsoft.com/office/drawing/2014/main" id="{93B9F5FE-8858-4309-A4E3-4FB1E7CCAE66}"/>
                </a:ext>
              </a:extLst>
            </p:cNvPr>
            <p:cNvSpPr>
              <a:spLocks/>
            </p:cNvSpPr>
            <p:nvPr/>
          </p:nvSpPr>
          <p:spPr bwMode="auto">
            <a:xfrm>
              <a:off x="5157788" y="5064126"/>
              <a:ext cx="69850" cy="63500"/>
            </a:xfrm>
            <a:custGeom>
              <a:avLst/>
              <a:gdLst/>
              <a:ahLst/>
              <a:cxnLst>
                <a:cxn ang="0">
                  <a:pos x="5" y="31"/>
                </a:cxn>
                <a:cxn ang="0">
                  <a:pos x="5" y="30"/>
                </a:cxn>
                <a:cxn ang="0">
                  <a:pos x="5" y="26"/>
                </a:cxn>
                <a:cxn ang="0">
                  <a:pos x="5" y="23"/>
                </a:cxn>
                <a:cxn ang="0">
                  <a:pos x="0" y="23"/>
                </a:cxn>
                <a:cxn ang="0">
                  <a:pos x="0" y="19"/>
                </a:cxn>
                <a:cxn ang="0">
                  <a:pos x="2" y="18"/>
                </a:cxn>
                <a:cxn ang="0">
                  <a:pos x="9" y="14"/>
                </a:cxn>
                <a:cxn ang="0">
                  <a:pos x="11" y="9"/>
                </a:cxn>
                <a:cxn ang="0">
                  <a:pos x="14" y="7"/>
                </a:cxn>
                <a:cxn ang="0">
                  <a:pos x="21" y="4"/>
                </a:cxn>
                <a:cxn ang="0">
                  <a:pos x="21" y="2"/>
                </a:cxn>
                <a:cxn ang="0">
                  <a:pos x="25" y="2"/>
                </a:cxn>
                <a:cxn ang="0">
                  <a:pos x="25" y="0"/>
                </a:cxn>
                <a:cxn ang="0">
                  <a:pos x="28" y="0"/>
                </a:cxn>
                <a:cxn ang="0">
                  <a:pos x="30" y="2"/>
                </a:cxn>
                <a:cxn ang="0">
                  <a:pos x="31" y="0"/>
                </a:cxn>
                <a:cxn ang="0">
                  <a:pos x="33" y="2"/>
                </a:cxn>
                <a:cxn ang="0">
                  <a:pos x="37" y="2"/>
                </a:cxn>
                <a:cxn ang="0">
                  <a:pos x="40" y="4"/>
                </a:cxn>
                <a:cxn ang="0">
                  <a:pos x="44" y="11"/>
                </a:cxn>
                <a:cxn ang="0">
                  <a:pos x="44" y="16"/>
                </a:cxn>
                <a:cxn ang="0">
                  <a:pos x="40" y="19"/>
                </a:cxn>
                <a:cxn ang="0">
                  <a:pos x="37" y="21"/>
                </a:cxn>
                <a:cxn ang="0">
                  <a:pos x="37" y="23"/>
                </a:cxn>
                <a:cxn ang="0">
                  <a:pos x="38" y="23"/>
                </a:cxn>
                <a:cxn ang="0">
                  <a:pos x="38" y="26"/>
                </a:cxn>
                <a:cxn ang="0">
                  <a:pos x="35" y="30"/>
                </a:cxn>
                <a:cxn ang="0">
                  <a:pos x="31" y="28"/>
                </a:cxn>
                <a:cxn ang="0">
                  <a:pos x="30" y="30"/>
                </a:cxn>
                <a:cxn ang="0">
                  <a:pos x="26" y="30"/>
                </a:cxn>
                <a:cxn ang="0">
                  <a:pos x="21" y="31"/>
                </a:cxn>
                <a:cxn ang="0">
                  <a:pos x="21" y="35"/>
                </a:cxn>
                <a:cxn ang="0">
                  <a:pos x="21" y="35"/>
                </a:cxn>
                <a:cxn ang="0">
                  <a:pos x="19" y="37"/>
                </a:cxn>
                <a:cxn ang="0">
                  <a:pos x="16" y="40"/>
                </a:cxn>
                <a:cxn ang="0">
                  <a:pos x="11" y="37"/>
                </a:cxn>
                <a:cxn ang="0">
                  <a:pos x="11" y="35"/>
                </a:cxn>
                <a:cxn ang="0">
                  <a:pos x="5" y="31"/>
                </a:cxn>
                <a:cxn ang="0">
                  <a:pos x="5" y="31"/>
                </a:cxn>
                <a:cxn ang="0">
                  <a:pos x="5" y="31"/>
                </a:cxn>
              </a:cxnLst>
              <a:rect l="0" t="0" r="r" b="b"/>
              <a:pathLst>
                <a:path w="44" h="40">
                  <a:moveTo>
                    <a:pt x="5" y="31"/>
                  </a:moveTo>
                  <a:lnTo>
                    <a:pt x="5" y="30"/>
                  </a:lnTo>
                  <a:lnTo>
                    <a:pt x="5" y="26"/>
                  </a:lnTo>
                  <a:lnTo>
                    <a:pt x="5" y="23"/>
                  </a:lnTo>
                  <a:lnTo>
                    <a:pt x="0" y="23"/>
                  </a:lnTo>
                  <a:lnTo>
                    <a:pt x="0" y="19"/>
                  </a:lnTo>
                  <a:lnTo>
                    <a:pt x="2" y="18"/>
                  </a:lnTo>
                  <a:lnTo>
                    <a:pt x="9" y="14"/>
                  </a:lnTo>
                  <a:lnTo>
                    <a:pt x="11" y="9"/>
                  </a:lnTo>
                  <a:lnTo>
                    <a:pt x="14" y="7"/>
                  </a:lnTo>
                  <a:lnTo>
                    <a:pt x="21" y="4"/>
                  </a:lnTo>
                  <a:lnTo>
                    <a:pt x="21" y="2"/>
                  </a:lnTo>
                  <a:lnTo>
                    <a:pt x="25" y="2"/>
                  </a:lnTo>
                  <a:lnTo>
                    <a:pt x="25" y="0"/>
                  </a:lnTo>
                  <a:lnTo>
                    <a:pt x="28" y="0"/>
                  </a:lnTo>
                  <a:lnTo>
                    <a:pt x="30" y="2"/>
                  </a:lnTo>
                  <a:lnTo>
                    <a:pt x="31" y="0"/>
                  </a:lnTo>
                  <a:lnTo>
                    <a:pt x="33" y="2"/>
                  </a:lnTo>
                  <a:lnTo>
                    <a:pt x="37" y="2"/>
                  </a:lnTo>
                  <a:lnTo>
                    <a:pt x="40" y="4"/>
                  </a:lnTo>
                  <a:lnTo>
                    <a:pt x="44" y="11"/>
                  </a:lnTo>
                  <a:lnTo>
                    <a:pt x="44" y="16"/>
                  </a:lnTo>
                  <a:lnTo>
                    <a:pt x="40" y="19"/>
                  </a:lnTo>
                  <a:lnTo>
                    <a:pt x="37" y="21"/>
                  </a:lnTo>
                  <a:lnTo>
                    <a:pt x="37" y="23"/>
                  </a:lnTo>
                  <a:lnTo>
                    <a:pt x="38" y="23"/>
                  </a:lnTo>
                  <a:lnTo>
                    <a:pt x="38" y="26"/>
                  </a:lnTo>
                  <a:lnTo>
                    <a:pt x="35" y="30"/>
                  </a:lnTo>
                  <a:lnTo>
                    <a:pt x="31" y="28"/>
                  </a:lnTo>
                  <a:lnTo>
                    <a:pt x="30" y="30"/>
                  </a:lnTo>
                  <a:lnTo>
                    <a:pt x="26" y="30"/>
                  </a:lnTo>
                  <a:lnTo>
                    <a:pt x="21" y="31"/>
                  </a:lnTo>
                  <a:lnTo>
                    <a:pt x="21" y="35"/>
                  </a:lnTo>
                  <a:lnTo>
                    <a:pt x="21" y="35"/>
                  </a:lnTo>
                  <a:lnTo>
                    <a:pt x="19" y="37"/>
                  </a:lnTo>
                  <a:lnTo>
                    <a:pt x="16" y="40"/>
                  </a:lnTo>
                  <a:lnTo>
                    <a:pt x="11" y="37"/>
                  </a:lnTo>
                  <a:lnTo>
                    <a:pt x="11" y="35"/>
                  </a:lnTo>
                  <a:lnTo>
                    <a:pt x="5" y="31"/>
                  </a:lnTo>
                  <a:lnTo>
                    <a:pt x="5" y="31"/>
                  </a:lnTo>
                  <a:lnTo>
                    <a:pt x="5" y="3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9" name="Freeform 155">
              <a:extLst>
                <a:ext uri="{FF2B5EF4-FFF2-40B4-BE49-F238E27FC236}">
                  <a16:creationId xmlns:a16="http://schemas.microsoft.com/office/drawing/2014/main" id="{3D5F35C0-B6BE-4D19-BC88-F08861A4702B}"/>
                </a:ext>
              </a:extLst>
            </p:cNvPr>
            <p:cNvSpPr>
              <a:spLocks noEditPoints="1"/>
            </p:cNvSpPr>
            <p:nvPr/>
          </p:nvSpPr>
          <p:spPr bwMode="auto">
            <a:xfrm>
              <a:off x="4625975" y="1214438"/>
              <a:ext cx="287338" cy="307975"/>
            </a:xfrm>
            <a:custGeom>
              <a:avLst/>
              <a:gdLst/>
              <a:ahLst/>
              <a:cxnLst>
                <a:cxn ang="0">
                  <a:pos x="81" y="19"/>
                </a:cxn>
                <a:cxn ang="0">
                  <a:pos x="121" y="39"/>
                </a:cxn>
                <a:cxn ang="0">
                  <a:pos x="113" y="50"/>
                </a:cxn>
                <a:cxn ang="0">
                  <a:pos x="111" y="55"/>
                </a:cxn>
                <a:cxn ang="0">
                  <a:pos x="139" y="69"/>
                </a:cxn>
                <a:cxn ang="0">
                  <a:pos x="167" y="57"/>
                </a:cxn>
                <a:cxn ang="0">
                  <a:pos x="177" y="22"/>
                </a:cxn>
                <a:cxn ang="0">
                  <a:pos x="149" y="10"/>
                </a:cxn>
                <a:cxn ang="0">
                  <a:pos x="141" y="8"/>
                </a:cxn>
                <a:cxn ang="0">
                  <a:pos x="132" y="10"/>
                </a:cxn>
                <a:cxn ang="0">
                  <a:pos x="121" y="6"/>
                </a:cxn>
                <a:cxn ang="0">
                  <a:pos x="118" y="15"/>
                </a:cxn>
                <a:cxn ang="0">
                  <a:pos x="99" y="8"/>
                </a:cxn>
                <a:cxn ang="0">
                  <a:pos x="94" y="19"/>
                </a:cxn>
                <a:cxn ang="0">
                  <a:pos x="80" y="20"/>
                </a:cxn>
                <a:cxn ang="0">
                  <a:pos x="83" y="39"/>
                </a:cxn>
                <a:cxn ang="0">
                  <a:pos x="132" y="114"/>
                </a:cxn>
                <a:cxn ang="0">
                  <a:pos x="154" y="126"/>
                </a:cxn>
                <a:cxn ang="0">
                  <a:pos x="149" y="154"/>
                </a:cxn>
                <a:cxn ang="0">
                  <a:pos x="139" y="146"/>
                </a:cxn>
                <a:cxn ang="0">
                  <a:pos x="130" y="135"/>
                </a:cxn>
                <a:cxn ang="0">
                  <a:pos x="108" y="76"/>
                </a:cxn>
                <a:cxn ang="0">
                  <a:pos x="115" y="104"/>
                </a:cxn>
                <a:cxn ang="0">
                  <a:pos x="134" y="107"/>
                </a:cxn>
                <a:cxn ang="0">
                  <a:pos x="121" y="93"/>
                </a:cxn>
                <a:cxn ang="0">
                  <a:pos x="14" y="113"/>
                </a:cxn>
                <a:cxn ang="0">
                  <a:pos x="9" y="95"/>
                </a:cxn>
                <a:cxn ang="0">
                  <a:pos x="17" y="118"/>
                </a:cxn>
                <a:cxn ang="0">
                  <a:pos x="73" y="186"/>
                </a:cxn>
                <a:cxn ang="0">
                  <a:pos x="66" y="173"/>
                </a:cxn>
                <a:cxn ang="0">
                  <a:pos x="48" y="159"/>
                </a:cxn>
                <a:cxn ang="0">
                  <a:pos x="50" y="147"/>
                </a:cxn>
                <a:cxn ang="0">
                  <a:pos x="52" y="140"/>
                </a:cxn>
                <a:cxn ang="0">
                  <a:pos x="76" y="130"/>
                </a:cxn>
                <a:cxn ang="0">
                  <a:pos x="50" y="135"/>
                </a:cxn>
                <a:cxn ang="0">
                  <a:pos x="45" y="125"/>
                </a:cxn>
                <a:cxn ang="0">
                  <a:pos x="68" y="109"/>
                </a:cxn>
                <a:cxn ang="0">
                  <a:pos x="68" y="92"/>
                </a:cxn>
                <a:cxn ang="0">
                  <a:pos x="55" y="93"/>
                </a:cxn>
                <a:cxn ang="0">
                  <a:pos x="45" y="93"/>
                </a:cxn>
                <a:cxn ang="0">
                  <a:pos x="35" y="119"/>
                </a:cxn>
                <a:cxn ang="0">
                  <a:pos x="26" y="100"/>
                </a:cxn>
                <a:cxn ang="0">
                  <a:pos x="9" y="85"/>
                </a:cxn>
                <a:cxn ang="0">
                  <a:pos x="14" y="81"/>
                </a:cxn>
                <a:cxn ang="0">
                  <a:pos x="7" y="76"/>
                </a:cxn>
                <a:cxn ang="0">
                  <a:pos x="3" y="46"/>
                </a:cxn>
                <a:cxn ang="0">
                  <a:pos x="17" y="45"/>
                </a:cxn>
                <a:cxn ang="0">
                  <a:pos x="22" y="50"/>
                </a:cxn>
                <a:cxn ang="0">
                  <a:pos x="31" y="57"/>
                </a:cxn>
                <a:cxn ang="0">
                  <a:pos x="40" y="45"/>
                </a:cxn>
                <a:cxn ang="0">
                  <a:pos x="50" y="73"/>
                </a:cxn>
                <a:cxn ang="0">
                  <a:pos x="55" y="59"/>
                </a:cxn>
                <a:cxn ang="0">
                  <a:pos x="64" y="36"/>
                </a:cxn>
                <a:cxn ang="0">
                  <a:pos x="76" y="64"/>
                </a:cxn>
                <a:cxn ang="0">
                  <a:pos x="99" y="69"/>
                </a:cxn>
                <a:cxn ang="0">
                  <a:pos x="113" y="92"/>
                </a:cxn>
                <a:cxn ang="0">
                  <a:pos x="99" y="123"/>
                </a:cxn>
                <a:cxn ang="0">
                  <a:pos x="90" y="149"/>
                </a:cxn>
                <a:cxn ang="0">
                  <a:pos x="87" y="186"/>
                </a:cxn>
              </a:cxnLst>
              <a:rect l="0" t="0" r="r" b="b"/>
              <a:pathLst>
                <a:path w="181" h="194">
                  <a:moveTo>
                    <a:pt x="81" y="19"/>
                  </a:moveTo>
                  <a:lnTo>
                    <a:pt x="80" y="15"/>
                  </a:lnTo>
                  <a:lnTo>
                    <a:pt x="78" y="13"/>
                  </a:lnTo>
                  <a:lnTo>
                    <a:pt x="80" y="12"/>
                  </a:lnTo>
                  <a:lnTo>
                    <a:pt x="81" y="10"/>
                  </a:lnTo>
                  <a:lnTo>
                    <a:pt x="83" y="12"/>
                  </a:lnTo>
                  <a:lnTo>
                    <a:pt x="85" y="13"/>
                  </a:lnTo>
                  <a:lnTo>
                    <a:pt x="85" y="15"/>
                  </a:lnTo>
                  <a:lnTo>
                    <a:pt x="83" y="17"/>
                  </a:lnTo>
                  <a:lnTo>
                    <a:pt x="81" y="19"/>
                  </a:lnTo>
                  <a:lnTo>
                    <a:pt x="81" y="19"/>
                  </a:lnTo>
                  <a:lnTo>
                    <a:pt x="81" y="19"/>
                  </a:lnTo>
                  <a:lnTo>
                    <a:pt x="81" y="19"/>
                  </a:lnTo>
                  <a:close/>
                  <a:moveTo>
                    <a:pt x="99" y="45"/>
                  </a:moveTo>
                  <a:lnTo>
                    <a:pt x="99" y="45"/>
                  </a:lnTo>
                  <a:lnTo>
                    <a:pt x="99" y="43"/>
                  </a:lnTo>
                  <a:lnTo>
                    <a:pt x="102" y="41"/>
                  </a:lnTo>
                  <a:lnTo>
                    <a:pt x="104" y="39"/>
                  </a:lnTo>
                  <a:lnTo>
                    <a:pt x="111" y="39"/>
                  </a:lnTo>
                  <a:lnTo>
                    <a:pt x="116" y="39"/>
                  </a:lnTo>
                  <a:lnTo>
                    <a:pt x="118" y="38"/>
                  </a:lnTo>
                  <a:lnTo>
                    <a:pt x="121" y="38"/>
                  </a:lnTo>
                  <a:lnTo>
                    <a:pt x="121" y="38"/>
                  </a:lnTo>
                  <a:lnTo>
                    <a:pt x="121" y="39"/>
                  </a:lnTo>
                  <a:lnTo>
                    <a:pt x="121" y="41"/>
                  </a:lnTo>
                  <a:lnTo>
                    <a:pt x="118" y="43"/>
                  </a:lnTo>
                  <a:lnTo>
                    <a:pt x="118" y="45"/>
                  </a:lnTo>
                  <a:lnTo>
                    <a:pt x="115" y="43"/>
                  </a:lnTo>
                  <a:lnTo>
                    <a:pt x="109" y="45"/>
                  </a:lnTo>
                  <a:lnTo>
                    <a:pt x="106" y="43"/>
                  </a:lnTo>
                  <a:lnTo>
                    <a:pt x="106" y="45"/>
                  </a:lnTo>
                  <a:lnTo>
                    <a:pt x="108" y="46"/>
                  </a:lnTo>
                  <a:lnTo>
                    <a:pt x="113" y="46"/>
                  </a:lnTo>
                  <a:lnTo>
                    <a:pt x="115" y="48"/>
                  </a:lnTo>
                  <a:lnTo>
                    <a:pt x="115" y="50"/>
                  </a:lnTo>
                  <a:lnTo>
                    <a:pt x="113" y="50"/>
                  </a:lnTo>
                  <a:lnTo>
                    <a:pt x="109" y="48"/>
                  </a:lnTo>
                  <a:lnTo>
                    <a:pt x="108" y="50"/>
                  </a:lnTo>
                  <a:lnTo>
                    <a:pt x="106" y="50"/>
                  </a:lnTo>
                  <a:lnTo>
                    <a:pt x="102" y="48"/>
                  </a:lnTo>
                  <a:lnTo>
                    <a:pt x="99" y="46"/>
                  </a:lnTo>
                  <a:lnTo>
                    <a:pt x="95" y="48"/>
                  </a:lnTo>
                  <a:lnTo>
                    <a:pt x="95" y="50"/>
                  </a:lnTo>
                  <a:lnTo>
                    <a:pt x="99" y="50"/>
                  </a:lnTo>
                  <a:lnTo>
                    <a:pt x="104" y="55"/>
                  </a:lnTo>
                  <a:lnTo>
                    <a:pt x="106" y="55"/>
                  </a:lnTo>
                  <a:lnTo>
                    <a:pt x="109" y="53"/>
                  </a:lnTo>
                  <a:lnTo>
                    <a:pt x="111" y="55"/>
                  </a:lnTo>
                  <a:lnTo>
                    <a:pt x="113" y="59"/>
                  </a:lnTo>
                  <a:lnTo>
                    <a:pt x="113" y="60"/>
                  </a:lnTo>
                  <a:lnTo>
                    <a:pt x="115" y="62"/>
                  </a:lnTo>
                  <a:lnTo>
                    <a:pt x="118" y="60"/>
                  </a:lnTo>
                  <a:lnTo>
                    <a:pt x="121" y="60"/>
                  </a:lnTo>
                  <a:lnTo>
                    <a:pt x="127" y="59"/>
                  </a:lnTo>
                  <a:lnTo>
                    <a:pt x="130" y="59"/>
                  </a:lnTo>
                  <a:lnTo>
                    <a:pt x="134" y="57"/>
                  </a:lnTo>
                  <a:lnTo>
                    <a:pt x="135" y="59"/>
                  </a:lnTo>
                  <a:lnTo>
                    <a:pt x="134" y="62"/>
                  </a:lnTo>
                  <a:lnTo>
                    <a:pt x="135" y="66"/>
                  </a:lnTo>
                  <a:lnTo>
                    <a:pt x="139" y="69"/>
                  </a:lnTo>
                  <a:lnTo>
                    <a:pt x="142" y="69"/>
                  </a:lnTo>
                  <a:lnTo>
                    <a:pt x="148" y="67"/>
                  </a:lnTo>
                  <a:lnTo>
                    <a:pt x="149" y="66"/>
                  </a:lnTo>
                  <a:lnTo>
                    <a:pt x="149" y="64"/>
                  </a:lnTo>
                  <a:lnTo>
                    <a:pt x="149" y="62"/>
                  </a:lnTo>
                  <a:lnTo>
                    <a:pt x="149" y="60"/>
                  </a:lnTo>
                  <a:lnTo>
                    <a:pt x="153" y="57"/>
                  </a:lnTo>
                  <a:lnTo>
                    <a:pt x="154" y="57"/>
                  </a:lnTo>
                  <a:lnTo>
                    <a:pt x="158" y="59"/>
                  </a:lnTo>
                  <a:lnTo>
                    <a:pt x="160" y="60"/>
                  </a:lnTo>
                  <a:lnTo>
                    <a:pt x="161" y="60"/>
                  </a:lnTo>
                  <a:lnTo>
                    <a:pt x="167" y="57"/>
                  </a:lnTo>
                  <a:lnTo>
                    <a:pt x="167" y="55"/>
                  </a:lnTo>
                  <a:lnTo>
                    <a:pt x="167" y="50"/>
                  </a:lnTo>
                  <a:lnTo>
                    <a:pt x="165" y="50"/>
                  </a:lnTo>
                  <a:lnTo>
                    <a:pt x="168" y="48"/>
                  </a:lnTo>
                  <a:lnTo>
                    <a:pt x="170" y="45"/>
                  </a:lnTo>
                  <a:lnTo>
                    <a:pt x="172" y="39"/>
                  </a:lnTo>
                  <a:lnTo>
                    <a:pt x="175" y="36"/>
                  </a:lnTo>
                  <a:lnTo>
                    <a:pt x="177" y="33"/>
                  </a:lnTo>
                  <a:lnTo>
                    <a:pt x="181" y="31"/>
                  </a:lnTo>
                  <a:lnTo>
                    <a:pt x="181" y="27"/>
                  </a:lnTo>
                  <a:lnTo>
                    <a:pt x="177" y="26"/>
                  </a:lnTo>
                  <a:lnTo>
                    <a:pt x="177" y="22"/>
                  </a:lnTo>
                  <a:lnTo>
                    <a:pt x="177" y="20"/>
                  </a:lnTo>
                  <a:lnTo>
                    <a:pt x="177" y="19"/>
                  </a:lnTo>
                  <a:lnTo>
                    <a:pt x="177" y="17"/>
                  </a:lnTo>
                  <a:lnTo>
                    <a:pt x="172" y="17"/>
                  </a:lnTo>
                  <a:lnTo>
                    <a:pt x="170" y="15"/>
                  </a:lnTo>
                  <a:lnTo>
                    <a:pt x="168" y="15"/>
                  </a:lnTo>
                  <a:lnTo>
                    <a:pt x="161" y="15"/>
                  </a:lnTo>
                  <a:lnTo>
                    <a:pt x="160" y="15"/>
                  </a:lnTo>
                  <a:lnTo>
                    <a:pt x="158" y="13"/>
                  </a:lnTo>
                  <a:lnTo>
                    <a:pt x="153" y="13"/>
                  </a:lnTo>
                  <a:lnTo>
                    <a:pt x="153" y="12"/>
                  </a:lnTo>
                  <a:lnTo>
                    <a:pt x="149" y="10"/>
                  </a:lnTo>
                  <a:lnTo>
                    <a:pt x="149" y="8"/>
                  </a:lnTo>
                  <a:lnTo>
                    <a:pt x="148" y="10"/>
                  </a:lnTo>
                  <a:lnTo>
                    <a:pt x="148" y="10"/>
                  </a:lnTo>
                  <a:lnTo>
                    <a:pt x="148" y="6"/>
                  </a:lnTo>
                  <a:lnTo>
                    <a:pt x="148" y="5"/>
                  </a:lnTo>
                  <a:lnTo>
                    <a:pt x="146" y="6"/>
                  </a:lnTo>
                  <a:lnTo>
                    <a:pt x="144" y="10"/>
                  </a:lnTo>
                  <a:lnTo>
                    <a:pt x="142" y="10"/>
                  </a:lnTo>
                  <a:lnTo>
                    <a:pt x="142" y="6"/>
                  </a:lnTo>
                  <a:lnTo>
                    <a:pt x="141" y="5"/>
                  </a:lnTo>
                  <a:lnTo>
                    <a:pt x="141" y="6"/>
                  </a:lnTo>
                  <a:lnTo>
                    <a:pt x="141" y="8"/>
                  </a:lnTo>
                  <a:lnTo>
                    <a:pt x="141" y="10"/>
                  </a:lnTo>
                  <a:lnTo>
                    <a:pt x="137" y="13"/>
                  </a:lnTo>
                  <a:lnTo>
                    <a:pt x="137" y="15"/>
                  </a:lnTo>
                  <a:lnTo>
                    <a:pt x="137" y="19"/>
                  </a:lnTo>
                  <a:lnTo>
                    <a:pt x="134" y="17"/>
                  </a:lnTo>
                  <a:lnTo>
                    <a:pt x="134" y="15"/>
                  </a:lnTo>
                  <a:lnTo>
                    <a:pt x="132" y="15"/>
                  </a:lnTo>
                  <a:lnTo>
                    <a:pt x="132" y="17"/>
                  </a:lnTo>
                  <a:lnTo>
                    <a:pt x="132" y="19"/>
                  </a:lnTo>
                  <a:lnTo>
                    <a:pt x="130" y="17"/>
                  </a:lnTo>
                  <a:lnTo>
                    <a:pt x="130" y="15"/>
                  </a:lnTo>
                  <a:lnTo>
                    <a:pt x="132" y="10"/>
                  </a:lnTo>
                  <a:lnTo>
                    <a:pt x="132" y="5"/>
                  </a:lnTo>
                  <a:lnTo>
                    <a:pt x="130" y="3"/>
                  </a:lnTo>
                  <a:lnTo>
                    <a:pt x="127" y="0"/>
                  </a:lnTo>
                  <a:lnTo>
                    <a:pt x="127" y="0"/>
                  </a:lnTo>
                  <a:lnTo>
                    <a:pt x="125" y="0"/>
                  </a:lnTo>
                  <a:lnTo>
                    <a:pt x="125" y="3"/>
                  </a:lnTo>
                  <a:lnTo>
                    <a:pt x="127" y="3"/>
                  </a:lnTo>
                  <a:lnTo>
                    <a:pt x="127" y="5"/>
                  </a:lnTo>
                  <a:lnTo>
                    <a:pt x="125" y="5"/>
                  </a:lnTo>
                  <a:lnTo>
                    <a:pt x="121" y="3"/>
                  </a:lnTo>
                  <a:lnTo>
                    <a:pt x="121" y="3"/>
                  </a:lnTo>
                  <a:lnTo>
                    <a:pt x="121" y="6"/>
                  </a:lnTo>
                  <a:lnTo>
                    <a:pt x="125" y="10"/>
                  </a:lnTo>
                  <a:lnTo>
                    <a:pt x="125" y="13"/>
                  </a:lnTo>
                  <a:lnTo>
                    <a:pt x="125" y="17"/>
                  </a:lnTo>
                  <a:lnTo>
                    <a:pt x="125" y="20"/>
                  </a:lnTo>
                  <a:lnTo>
                    <a:pt x="127" y="26"/>
                  </a:lnTo>
                  <a:lnTo>
                    <a:pt x="125" y="27"/>
                  </a:lnTo>
                  <a:lnTo>
                    <a:pt x="125" y="27"/>
                  </a:lnTo>
                  <a:lnTo>
                    <a:pt x="121" y="26"/>
                  </a:lnTo>
                  <a:lnTo>
                    <a:pt x="118" y="22"/>
                  </a:lnTo>
                  <a:lnTo>
                    <a:pt x="116" y="20"/>
                  </a:lnTo>
                  <a:lnTo>
                    <a:pt x="116" y="19"/>
                  </a:lnTo>
                  <a:lnTo>
                    <a:pt x="118" y="15"/>
                  </a:lnTo>
                  <a:lnTo>
                    <a:pt x="118" y="13"/>
                  </a:lnTo>
                  <a:lnTo>
                    <a:pt x="116" y="13"/>
                  </a:lnTo>
                  <a:lnTo>
                    <a:pt x="113" y="15"/>
                  </a:lnTo>
                  <a:lnTo>
                    <a:pt x="111" y="15"/>
                  </a:lnTo>
                  <a:lnTo>
                    <a:pt x="109" y="15"/>
                  </a:lnTo>
                  <a:lnTo>
                    <a:pt x="108" y="19"/>
                  </a:lnTo>
                  <a:lnTo>
                    <a:pt x="104" y="17"/>
                  </a:lnTo>
                  <a:lnTo>
                    <a:pt x="104" y="15"/>
                  </a:lnTo>
                  <a:lnTo>
                    <a:pt x="104" y="13"/>
                  </a:lnTo>
                  <a:lnTo>
                    <a:pt x="102" y="13"/>
                  </a:lnTo>
                  <a:lnTo>
                    <a:pt x="101" y="10"/>
                  </a:lnTo>
                  <a:lnTo>
                    <a:pt x="99" y="8"/>
                  </a:lnTo>
                  <a:lnTo>
                    <a:pt x="99" y="6"/>
                  </a:lnTo>
                  <a:lnTo>
                    <a:pt x="95" y="6"/>
                  </a:lnTo>
                  <a:lnTo>
                    <a:pt x="95" y="5"/>
                  </a:lnTo>
                  <a:lnTo>
                    <a:pt x="95" y="3"/>
                  </a:lnTo>
                  <a:lnTo>
                    <a:pt x="94" y="0"/>
                  </a:lnTo>
                  <a:lnTo>
                    <a:pt x="94" y="0"/>
                  </a:lnTo>
                  <a:lnTo>
                    <a:pt x="92" y="3"/>
                  </a:lnTo>
                  <a:lnTo>
                    <a:pt x="90" y="5"/>
                  </a:lnTo>
                  <a:lnTo>
                    <a:pt x="92" y="10"/>
                  </a:lnTo>
                  <a:lnTo>
                    <a:pt x="94" y="13"/>
                  </a:lnTo>
                  <a:lnTo>
                    <a:pt x="94" y="19"/>
                  </a:lnTo>
                  <a:lnTo>
                    <a:pt x="94" y="19"/>
                  </a:lnTo>
                  <a:lnTo>
                    <a:pt x="90" y="17"/>
                  </a:lnTo>
                  <a:lnTo>
                    <a:pt x="90" y="13"/>
                  </a:lnTo>
                  <a:lnTo>
                    <a:pt x="88" y="12"/>
                  </a:lnTo>
                  <a:lnTo>
                    <a:pt x="88" y="15"/>
                  </a:lnTo>
                  <a:lnTo>
                    <a:pt x="88" y="19"/>
                  </a:lnTo>
                  <a:lnTo>
                    <a:pt x="90" y="22"/>
                  </a:lnTo>
                  <a:lnTo>
                    <a:pt x="90" y="22"/>
                  </a:lnTo>
                  <a:lnTo>
                    <a:pt x="90" y="27"/>
                  </a:lnTo>
                  <a:lnTo>
                    <a:pt x="88" y="26"/>
                  </a:lnTo>
                  <a:lnTo>
                    <a:pt x="87" y="22"/>
                  </a:lnTo>
                  <a:lnTo>
                    <a:pt x="85" y="20"/>
                  </a:lnTo>
                  <a:lnTo>
                    <a:pt x="80" y="20"/>
                  </a:lnTo>
                  <a:lnTo>
                    <a:pt x="76" y="19"/>
                  </a:lnTo>
                  <a:lnTo>
                    <a:pt x="76" y="20"/>
                  </a:lnTo>
                  <a:lnTo>
                    <a:pt x="76" y="26"/>
                  </a:lnTo>
                  <a:lnTo>
                    <a:pt x="78" y="22"/>
                  </a:lnTo>
                  <a:lnTo>
                    <a:pt x="81" y="26"/>
                  </a:lnTo>
                  <a:lnTo>
                    <a:pt x="80" y="27"/>
                  </a:lnTo>
                  <a:lnTo>
                    <a:pt x="80" y="27"/>
                  </a:lnTo>
                  <a:lnTo>
                    <a:pt x="83" y="27"/>
                  </a:lnTo>
                  <a:lnTo>
                    <a:pt x="85" y="31"/>
                  </a:lnTo>
                  <a:lnTo>
                    <a:pt x="80" y="33"/>
                  </a:lnTo>
                  <a:lnTo>
                    <a:pt x="80" y="34"/>
                  </a:lnTo>
                  <a:lnTo>
                    <a:pt x="83" y="39"/>
                  </a:lnTo>
                  <a:lnTo>
                    <a:pt x="87" y="41"/>
                  </a:lnTo>
                  <a:lnTo>
                    <a:pt x="88" y="43"/>
                  </a:lnTo>
                  <a:lnTo>
                    <a:pt x="94" y="43"/>
                  </a:lnTo>
                  <a:lnTo>
                    <a:pt x="95" y="43"/>
                  </a:lnTo>
                  <a:lnTo>
                    <a:pt x="99" y="45"/>
                  </a:lnTo>
                  <a:lnTo>
                    <a:pt x="99" y="45"/>
                  </a:lnTo>
                  <a:lnTo>
                    <a:pt x="99" y="45"/>
                  </a:lnTo>
                  <a:lnTo>
                    <a:pt x="99" y="45"/>
                  </a:lnTo>
                  <a:close/>
                  <a:moveTo>
                    <a:pt x="121" y="121"/>
                  </a:moveTo>
                  <a:lnTo>
                    <a:pt x="121" y="118"/>
                  </a:lnTo>
                  <a:lnTo>
                    <a:pt x="127" y="116"/>
                  </a:lnTo>
                  <a:lnTo>
                    <a:pt x="132" y="114"/>
                  </a:lnTo>
                  <a:lnTo>
                    <a:pt x="135" y="113"/>
                  </a:lnTo>
                  <a:lnTo>
                    <a:pt x="141" y="109"/>
                  </a:lnTo>
                  <a:lnTo>
                    <a:pt x="146" y="107"/>
                  </a:lnTo>
                  <a:lnTo>
                    <a:pt x="146" y="111"/>
                  </a:lnTo>
                  <a:lnTo>
                    <a:pt x="149" y="114"/>
                  </a:lnTo>
                  <a:lnTo>
                    <a:pt x="149" y="116"/>
                  </a:lnTo>
                  <a:lnTo>
                    <a:pt x="146" y="118"/>
                  </a:lnTo>
                  <a:lnTo>
                    <a:pt x="146" y="119"/>
                  </a:lnTo>
                  <a:lnTo>
                    <a:pt x="146" y="123"/>
                  </a:lnTo>
                  <a:lnTo>
                    <a:pt x="149" y="126"/>
                  </a:lnTo>
                  <a:lnTo>
                    <a:pt x="153" y="130"/>
                  </a:lnTo>
                  <a:lnTo>
                    <a:pt x="154" y="126"/>
                  </a:lnTo>
                  <a:lnTo>
                    <a:pt x="160" y="126"/>
                  </a:lnTo>
                  <a:lnTo>
                    <a:pt x="161" y="126"/>
                  </a:lnTo>
                  <a:lnTo>
                    <a:pt x="163" y="130"/>
                  </a:lnTo>
                  <a:lnTo>
                    <a:pt x="167" y="130"/>
                  </a:lnTo>
                  <a:lnTo>
                    <a:pt x="165" y="130"/>
                  </a:lnTo>
                  <a:lnTo>
                    <a:pt x="161" y="132"/>
                  </a:lnTo>
                  <a:lnTo>
                    <a:pt x="158" y="137"/>
                  </a:lnTo>
                  <a:lnTo>
                    <a:pt x="158" y="140"/>
                  </a:lnTo>
                  <a:lnTo>
                    <a:pt x="158" y="147"/>
                  </a:lnTo>
                  <a:lnTo>
                    <a:pt x="153" y="149"/>
                  </a:lnTo>
                  <a:lnTo>
                    <a:pt x="149" y="149"/>
                  </a:lnTo>
                  <a:lnTo>
                    <a:pt x="149" y="154"/>
                  </a:lnTo>
                  <a:lnTo>
                    <a:pt x="149" y="154"/>
                  </a:lnTo>
                  <a:lnTo>
                    <a:pt x="146" y="158"/>
                  </a:lnTo>
                  <a:lnTo>
                    <a:pt x="144" y="158"/>
                  </a:lnTo>
                  <a:lnTo>
                    <a:pt x="144" y="154"/>
                  </a:lnTo>
                  <a:lnTo>
                    <a:pt x="146" y="153"/>
                  </a:lnTo>
                  <a:lnTo>
                    <a:pt x="144" y="149"/>
                  </a:lnTo>
                  <a:lnTo>
                    <a:pt x="146" y="144"/>
                  </a:lnTo>
                  <a:lnTo>
                    <a:pt x="146" y="140"/>
                  </a:lnTo>
                  <a:lnTo>
                    <a:pt x="144" y="140"/>
                  </a:lnTo>
                  <a:lnTo>
                    <a:pt x="142" y="140"/>
                  </a:lnTo>
                  <a:lnTo>
                    <a:pt x="141" y="142"/>
                  </a:lnTo>
                  <a:lnTo>
                    <a:pt x="139" y="146"/>
                  </a:lnTo>
                  <a:lnTo>
                    <a:pt x="135" y="147"/>
                  </a:lnTo>
                  <a:lnTo>
                    <a:pt x="134" y="147"/>
                  </a:lnTo>
                  <a:lnTo>
                    <a:pt x="130" y="149"/>
                  </a:lnTo>
                  <a:lnTo>
                    <a:pt x="127" y="149"/>
                  </a:lnTo>
                  <a:lnTo>
                    <a:pt x="125" y="153"/>
                  </a:lnTo>
                  <a:lnTo>
                    <a:pt x="121" y="153"/>
                  </a:lnTo>
                  <a:lnTo>
                    <a:pt x="121" y="149"/>
                  </a:lnTo>
                  <a:lnTo>
                    <a:pt x="125" y="147"/>
                  </a:lnTo>
                  <a:lnTo>
                    <a:pt x="121" y="146"/>
                  </a:lnTo>
                  <a:lnTo>
                    <a:pt x="127" y="142"/>
                  </a:lnTo>
                  <a:lnTo>
                    <a:pt x="127" y="137"/>
                  </a:lnTo>
                  <a:lnTo>
                    <a:pt x="130" y="135"/>
                  </a:lnTo>
                  <a:lnTo>
                    <a:pt x="130" y="130"/>
                  </a:lnTo>
                  <a:lnTo>
                    <a:pt x="130" y="126"/>
                  </a:lnTo>
                  <a:lnTo>
                    <a:pt x="130" y="126"/>
                  </a:lnTo>
                  <a:lnTo>
                    <a:pt x="127" y="126"/>
                  </a:lnTo>
                  <a:lnTo>
                    <a:pt x="121" y="123"/>
                  </a:lnTo>
                  <a:lnTo>
                    <a:pt x="121" y="121"/>
                  </a:lnTo>
                  <a:lnTo>
                    <a:pt x="121" y="121"/>
                  </a:lnTo>
                  <a:lnTo>
                    <a:pt x="121" y="121"/>
                  </a:lnTo>
                  <a:lnTo>
                    <a:pt x="121" y="121"/>
                  </a:lnTo>
                  <a:close/>
                  <a:moveTo>
                    <a:pt x="104" y="73"/>
                  </a:moveTo>
                  <a:lnTo>
                    <a:pt x="106" y="76"/>
                  </a:lnTo>
                  <a:lnTo>
                    <a:pt x="108" y="76"/>
                  </a:lnTo>
                  <a:lnTo>
                    <a:pt x="111" y="79"/>
                  </a:lnTo>
                  <a:lnTo>
                    <a:pt x="115" y="76"/>
                  </a:lnTo>
                  <a:lnTo>
                    <a:pt x="115" y="73"/>
                  </a:lnTo>
                  <a:lnTo>
                    <a:pt x="111" y="73"/>
                  </a:lnTo>
                  <a:lnTo>
                    <a:pt x="106" y="71"/>
                  </a:lnTo>
                  <a:lnTo>
                    <a:pt x="104" y="71"/>
                  </a:lnTo>
                  <a:lnTo>
                    <a:pt x="104" y="73"/>
                  </a:lnTo>
                  <a:lnTo>
                    <a:pt x="104" y="73"/>
                  </a:lnTo>
                  <a:lnTo>
                    <a:pt x="104" y="73"/>
                  </a:lnTo>
                  <a:lnTo>
                    <a:pt x="104" y="73"/>
                  </a:lnTo>
                  <a:close/>
                  <a:moveTo>
                    <a:pt x="111" y="102"/>
                  </a:moveTo>
                  <a:lnTo>
                    <a:pt x="115" y="104"/>
                  </a:lnTo>
                  <a:lnTo>
                    <a:pt x="118" y="104"/>
                  </a:lnTo>
                  <a:lnTo>
                    <a:pt x="118" y="107"/>
                  </a:lnTo>
                  <a:lnTo>
                    <a:pt x="118" y="107"/>
                  </a:lnTo>
                  <a:lnTo>
                    <a:pt x="118" y="109"/>
                  </a:lnTo>
                  <a:lnTo>
                    <a:pt x="121" y="111"/>
                  </a:lnTo>
                  <a:lnTo>
                    <a:pt x="118" y="114"/>
                  </a:lnTo>
                  <a:lnTo>
                    <a:pt x="121" y="113"/>
                  </a:lnTo>
                  <a:lnTo>
                    <a:pt x="125" y="114"/>
                  </a:lnTo>
                  <a:lnTo>
                    <a:pt x="125" y="113"/>
                  </a:lnTo>
                  <a:lnTo>
                    <a:pt x="130" y="109"/>
                  </a:lnTo>
                  <a:lnTo>
                    <a:pt x="132" y="109"/>
                  </a:lnTo>
                  <a:lnTo>
                    <a:pt x="134" y="107"/>
                  </a:lnTo>
                  <a:lnTo>
                    <a:pt x="134" y="107"/>
                  </a:lnTo>
                  <a:lnTo>
                    <a:pt x="134" y="104"/>
                  </a:lnTo>
                  <a:lnTo>
                    <a:pt x="135" y="102"/>
                  </a:lnTo>
                  <a:lnTo>
                    <a:pt x="137" y="99"/>
                  </a:lnTo>
                  <a:lnTo>
                    <a:pt x="135" y="95"/>
                  </a:lnTo>
                  <a:lnTo>
                    <a:pt x="132" y="95"/>
                  </a:lnTo>
                  <a:lnTo>
                    <a:pt x="132" y="93"/>
                  </a:lnTo>
                  <a:lnTo>
                    <a:pt x="130" y="93"/>
                  </a:lnTo>
                  <a:lnTo>
                    <a:pt x="130" y="95"/>
                  </a:lnTo>
                  <a:lnTo>
                    <a:pt x="125" y="95"/>
                  </a:lnTo>
                  <a:lnTo>
                    <a:pt x="125" y="95"/>
                  </a:lnTo>
                  <a:lnTo>
                    <a:pt x="121" y="93"/>
                  </a:lnTo>
                  <a:lnTo>
                    <a:pt x="118" y="95"/>
                  </a:lnTo>
                  <a:lnTo>
                    <a:pt x="118" y="99"/>
                  </a:lnTo>
                  <a:lnTo>
                    <a:pt x="118" y="99"/>
                  </a:lnTo>
                  <a:lnTo>
                    <a:pt x="116" y="99"/>
                  </a:lnTo>
                  <a:lnTo>
                    <a:pt x="113" y="102"/>
                  </a:lnTo>
                  <a:lnTo>
                    <a:pt x="111" y="102"/>
                  </a:lnTo>
                  <a:lnTo>
                    <a:pt x="111" y="102"/>
                  </a:lnTo>
                  <a:lnTo>
                    <a:pt x="111" y="102"/>
                  </a:lnTo>
                  <a:lnTo>
                    <a:pt x="111" y="102"/>
                  </a:lnTo>
                  <a:close/>
                  <a:moveTo>
                    <a:pt x="17" y="118"/>
                  </a:moveTo>
                  <a:lnTo>
                    <a:pt x="14" y="113"/>
                  </a:lnTo>
                  <a:lnTo>
                    <a:pt x="14" y="113"/>
                  </a:lnTo>
                  <a:lnTo>
                    <a:pt x="14" y="109"/>
                  </a:lnTo>
                  <a:lnTo>
                    <a:pt x="10" y="107"/>
                  </a:lnTo>
                  <a:lnTo>
                    <a:pt x="7" y="107"/>
                  </a:lnTo>
                  <a:lnTo>
                    <a:pt x="5" y="104"/>
                  </a:lnTo>
                  <a:lnTo>
                    <a:pt x="5" y="99"/>
                  </a:lnTo>
                  <a:lnTo>
                    <a:pt x="3" y="95"/>
                  </a:lnTo>
                  <a:lnTo>
                    <a:pt x="2" y="93"/>
                  </a:lnTo>
                  <a:lnTo>
                    <a:pt x="2" y="88"/>
                  </a:lnTo>
                  <a:lnTo>
                    <a:pt x="2" y="86"/>
                  </a:lnTo>
                  <a:lnTo>
                    <a:pt x="3" y="88"/>
                  </a:lnTo>
                  <a:lnTo>
                    <a:pt x="7" y="92"/>
                  </a:lnTo>
                  <a:lnTo>
                    <a:pt x="9" y="95"/>
                  </a:lnTo>
                  <a:lnTo>
                    <a:pt x="7" y="99"/>
                  </a:lnTo>
                  <a:lnTo>
                    <a:pt x="10" y="102"/>
                  </a:lnTo>
                  <a:lnTo>
                    <a:pt x="12" y="104"/>
                  </a:lnTo>
                  <a:lnTo>
                    <a:pt x="14" y="104"/>
                  </a:lnTo>
                  <a:lnTo>
                    <a:pt x="14" y="104"/>
                  </a:lnTo>
                  <a:lnTo>
                    <a:pt x="14" y="104"/>
                  </a:lnTo>
                  <a:lnTo>
                    <a:pt x="17" y="107"/>
                  </a:lnTo>
                  <a:lnTo>
                    <a:pt x="17" y="113"/>
                  </a:lnTo>
                  <a:lnTo>
                    <a:pt x="21" y="116"/>
                  </a:lnTo>
                  <a:lnTo>
                    <a:pt x="21" y="118"/>
                  </a:lnTo>
                  <a:lnTo>
                    <a:pt x="17" y="118"/>
                  </a:lnTo>
                  <a:lnTo>
                    <a:pt x="17" y="118"/>
                  </a:lnTo>
                  <a:lnTo>
                    <a:pt x="17" y="118"/>
                  </a:lnTo>
                  <a:lnTo>
                    <a:pt x="17" y="118"/>
                  </a:lnTo>
                  <a:lnTo>
                    <a:pt x="17" y="118"/>
                  </a:lnTo>
                  <a:lnTo>
                    <a:pt x="17" y="118"/>
                  </a:lnTo>
                  <a:close/>
                  <a:moveTo>
                    <a:pt x="80" y="194"/>
                  </a:moveTo>
                  <a:lnTo>
                    <a:pt x="78" y="193"/>
                  </a:lnTo>
                  <a:lnTo>
                    <a:pt x="76" y="193"/>
                  </a:lnTo>
                  <a:lnTo>
                    <a:pt x="76" y="194"/>
                  </a:lnTo>
                  <a:lnTo>
                    <a:pt x="76" y="194"/>
                  </a:lnTo>
                  <a:lnTo>
                    <a:pt x="76" y="193"/>
                  </a:lnTo>
                  <a:lnTo>
                    <a:pt x="76" y="189"/>
                  </a:lnTo>
                  <a:lnTo>
                    <a:pt x="73" y="186"/>
                  </a:lnTo>
                  <a:lnTo>
                    <a:pt x="71" y="186"/>
                  </a:lnTo>
                  <a:lnTo>
                    <a:pt x="68" y="180"/>
                  </a:lnTo>
                  <a:lnTo>
                    <a:pt x="68" y="177"/>
                  </a:lnTo>
                  <a:lnTo>
                    <a:pt x="71" y="177"/>
                  </a:lnTo>
                  <a:lnTo>
                    <a:pt x="71" y="177"/>
                  </a:lnTo>
                  <a:lnTo>
                    <a:pt x="71" y="175"/>
                  </a:lnTo>
                  <a:lnTo>
                    <a:pt x="71" y="173"/>
                  </a:lnTo>
                  <a:lnTo>
                    <a:pt x="71" y="172"/>
                  </a:lnTo>
                  <a:lnTo>
                    <a:pt x="71" y="172"/>
                  </a:lnTo>
                  <a:lnTo>
                    <a:pt x="68" y="172"/>
                  </a:lnTo>
                  <a:lnTo>
                    <a:pt x="68" y="172"/>
                  </a:lnTo>
                  <a:lnTo>
                    <a:pt x="66" y="173"/>
                  </a:lnTo>
                  <a:lnTo>
                    <a:pt x="62" y="175"/>
                  </a:lnTo>
                  <a:lnTo>
                    <a:pt x="59" y="172"/>
                  </a:lnTo>
                  <a:lnTo>
                    <a:pt x="59" y="170"/>
                  </a:lnTo>
                  <a:lnTo>
                    <a:pt x="57" y="168"/>
                  </a:lnTo>
                  <a:lnTo>
                    <a:pt x="55" y="166"/>
                  </a:lnTo>
                  <a:lnTo>
                    <a:pt x="54" y="166"/>
                  </a:lnTo>
                  <a:lnTo>
                    <a:pt x="52" y="166"/>
                  </a:lnTo>
                  <a:lnTo>
                    <a:pt x="50" y="163"/>
                  </a:lnTo>
                  <a:lnTo>
                    <a:pt x="50" y="161"/>
                  </a:lnTo>
                  <a:lnTo>
                    <a:pt x="48" y="159"/>
                  </a:lnTo>
                  <a:lnTo>
                    <a:pt x="48" y="159"/>
                  </a:lnTo>
                  <a:lnTo>
                    <a:pt x="48" y="159"/>
                  </a:lnTo>
                  <a:lnTo>
                    <a:pt x="48" y="158"/>
                  </a:lnTo>
                  <a:lnTo>
                    <a:pt x="45" y="158"/>
                  </a:lnTo>
                  <a:lnTo>
                    <a:pt x="45" y="154"/>
                  </a:lnTo>
                  <a:lnTo>
                    <a:pt x="45" y="154"/>
                  </a:lnTo>
                  <a:lnTo>
                    <a:pt x="45" y="154"/>
                  </a:lnTo>
                  <a:lnTo>
                    <a:pt x="45" y="149"/>
                  </a:lnTo>
                  <a:lnTo>
                    <a:pt x="45" y="149"/>
                  </a:lnTo>
                  <a:lnTo>
                    <a:pt x="43" y="147"/>
                  </a:lnTo>
                  <a:lnTo>
                    <a:pt x="43" y="146"/>
                  </a:lnTo>
                  <a:lnTo>
                    <a:pt x="45" y="144"/>
                  </a:lnTo>
                  <a:lnTo>
                    <a:pt x="48" y="144"/>
                  </a:lnTo>
                  <a:lnTo>
                    <a:pt x="50" y="147"/>
                  </a:lnTo>
                  <a:lnTo>
                    <a:pt x="50" y="147"/>
                  </a:lnTo>
                  <a:lnTo>
                    <a:pt x="52" y="147"/>
                  </a:lnTo>
                  <a:lnTo>
                    <a:pt x="54" y="146"/>
                  </a:lnTo>
                  <a:lnTo>
                    <a:pt x="55" y="147"/>
                  </a:lnTo>
                  <a:lnTo>
                    <a:pt x="57" y="147"/>
                  </a:lnTo>
                  <a:lnTo>
                    <a:pt x="61" y="147"/>
                  </a:lnTo>
                  <a:lnTo>
                    <a:pt x="66" y="147"/>
                  </a:lnTo>
                  <a:lnTo>
                    <a:pt x="68" y="146"/>
                  </a:lnTo>
                  <a:lnTo>
                    <a:pt x="64" y="144"/>
                  </a:lnTo>
                  <a:lnTo>
                    <a:pt x="61" y="144"/>
                  </a:lnTo>
                  <a:lnTo>
                    <a:pt x="55" y="142"/>
                  </a:lnTo>
                  <a:lnTo>
                    <a:pt x="52" y="140"/>
                  </a:lnTo>
                  <a:lnTo>
                    <a:pt x="52" y="140"/>
                  </a:lnTo>
                  <a:lnTo>
                    <a:pt x="55" y="139"/>
                  </a:lnTo>
                  <a:lnTo>
                    <a:pt x="57" y="139"/>
                  </a:lnTo>
                  <a:lnTo>
                    <a:pt x="64" y="137"/>
                  </a:lnTo>
                  <a:lnTo>
                    <a:pt x="68" y="135"/>
                  </a:lnTo>
                  <a:lnTo>
                    <a:pt x="71" y="135"/>
                  </a:lnTo>
                  <a:lnTo>
                    <a:pt x="73" y="135"/>
                  </a:lnTo>
                  <a:lnTo>
                    <a:pt x="73" y="135"/>
                  </a:lnTo>
                  <a:lnTo>
                    <a:pt x="76" y="135"/>
                  </a:lnTo>
                  <a:lnTo>
                    <a:pt x="76" y="132"/>
                  </a:lnTo>
                  <a:lnTo>
                    <a:pt x="76" y="130"/>
                  </a:lnTo>
                  <a:lnTo>
                    <a:pt x="76" y="130"/>
                  </a:lnTo>
                  <a:lnTo>
                    <a:pt x="76" y="130"/>
                  </a:lnTo>
                  <a:lnTo>
                    <a:pt x="73" y="130"/>
                  </a:lnTo>
                  <a:lnTo>
                    <a:pt x="71" y="132"/>
                  </a:lnTo>
                  <a:lnTo>
                    <a:pt x="66" y="132"/>
                  </a:lnTo>
                  <a:lnTo>
                    <a:pt x="62" y="132"/>
                  </a:lnTo>
                  <a:lnTo>
                    <a:pt x="62" y="130"/>
                  </a:lnTo>
                  <a:lnTo>
                    <a:pt x="59" y="130"/>
                  </a:lnTo>
                  <a:lnTo>
                    <a:pt x="59" y="132"/>
                  </a:lnTo>
                  <a:lnTo>
                    <a:pt x="57" y="132"/>
                  </a:lnTo>
                  <a:lnTo>
                    <a:pt x="55" y="135"/>
                  </a:lnTo>
                  <a:lnTo>
                    <a:pt x="52" y="135"/>
                  </a:lnTo>
                  <a:lnTo>
                    <a:pt x="50" y="135"/>
                  </a:lnTo>
                  <a:lnTo>
                    <a:pt x="48" y="137"/>
                  </a:lnTo>
                  <a:lnTo>
                    <a:pt x="45" y="137"/>
                  </a:lnTo>
                  <a:lnTo>
                    <a:pt x="43" y="139"/>
                  </a:lnTo>
                  <a:lnTo>
                    <a:pt x="40" y="139"/>
                  </a:lnTo>
                  <a:lnTo>
                    <a:pt x="40" y="137"/>
                  </a:lnTo>
                  <a:lnTo>
                    <a:pt x="40" y="135"/>
                  </a:lnTo>
                  <a:lnTo>
                    <a:pt x="38" y="130"/>
                  </a:lnTo>
                  <a:lnTo>
                    <a:pt x="40" y="126"/>
                  </a:lnTo>
                  <a:lnTo>
                    <a:pt x="40" y="126"/>
                  </a:lnTo>
                  <a:lnTo>
                    <a:pt x="40" y="125"/>
                  </a:lnTo>
                  <a:lnTo>
                    <a:pt x="43" y="123"/>
                  </a:lnTo>
                  <a:lnTo>
                    <a:pt x="45" y="125"/>
                  </a:lnTo>
                  <a:lnTo>
                    <a:pt x="45" y="126"/>
                  </a:lnTo>
                  <a:lnTo>
                    <a:pt x="45" y="126"/>
                  </a:lnTo>
                  <a:lnTo>
                    <a:pt x="45" y="125"/>
                  </a:lnTo>
                  <a:lnTo>
                    <a:pt x="48" y="123"/>
                  </a:lnTo>
                  <a:lnTo>
                    <a:pt x="50" y="123"/>
                  </a:lnTo>
                  <a:lnTo>
                    <a:pt x="52" y="119"/>
                  </a:lnTo>
                  <a:lnTo>
                    <a:pt x="55" y="116"/>
                  </a:lnTo>
                  <a:lnTo>
                    <a:pt x="59" y="114"/>
                  </a:lnTo>
                  <a:lnTo>
                    <a:pt x="59" y="113"/>
                  </a:lnTo>
                  <a:lnTo>
                    <a:pt x="59" y="111"/>
                  </a:lnTo>
                  <a:lnTo>
                    <a:pt x="64" y="109"/>
                  </a:lnTo>
                  <a:lnTo>
                    <a:pt x="68" y="109"/>
                  </a:lnTo>
                  <a:lnTo>
                    <a:pt x="71" y="107"/>
                  </a:lnTo>
                  <a:lnTo>
                    <a:pt x="76" y="107"/>
                  </a:lnTo>
                  <a:lnTo>
                    <a:pt x="76" y="104"/>
                  </a:lnTo>
                  <a:lnTo>
                    <a:pt x="76" y="104"/>
                  </a:lnTo>
                  <a:lnTo>
                    <a:pt x="76" y="104"/>
                  </a:lnTo>
                  <a:lnTo>
                    <a:pt x="71" y="104"/>
                  </a:lnTo>
                  <a:lnTo>
                    <a:pt x="71" y="107"/>
                  </a:lnTo>
                  <a:lnTo>
                    <a:pt x="68" y="104"/>
                  </a:lnTo>
                  <a:lnTo>
                    <a:pt x="68" y="102"/>
                  </a:lnTo>
                  <a:lnTo>
                    <a:pt x="68" y="99"/>
                  </a:lnTo>
                  <a:lnTo>
                    <a:pt x="68" y="95"/>
                  </a:lnTo>
                  <a:lnTo>
                    <a:pt x="68" y="92"/>
                  </a:lnTo>
                  <a:lnTo>
                    <a:pt x="66" y="92"/>
                  </a:lnTo>
                  <a:lnTo>
                    <a:pt x="66" y="95"/>
                  </a:lnTo>
                  <a:lnTo>
                    <a:pt x="66" y="99"/>
                  </a:lnTo>
                  <a:lnTo>
                    <a:pt x="64" y="102"/>
                  </a:lnTo>
                  <a:lnTo>
                    <a:pt x="59" y="107"/>
                  </a:lnTo>
                  <a:lnTo>
                    <a:pt x="57" y="107"/>
                  </a:lnTo>
                  <a:lnTo>
                    <a:pt x="55" y="107"/>
                  </a:lnTo>
                  <a:lnTo>
                    <a:pt x="54" y="102"/>
                  </a:lnTo>
                  <a:lnTo>
                    <a:pt x="55" y="100"/>
                  </a:lnTo>
                  <a:lnTo>
                    <a:pt x="57" y="99"/>
                  </a:lnTo>
                  <a:lnTo>
                    <a:pt x="57" y="95"/>
                  </a:lnTo>
                  <a:lnTo>
                    <a:pt x="55" y="93"/>
                  </a:lnTo>
                  <a:lnTo>
                    <a:pt x="55" y="90"/>
                  </a:lnTo>
                  <a:lnTo>
                    <a:pt x="54" y="88"/>
                  </a:lnTo>
                  <a:lnTo>
                    <a:pt x="52" y="88"/>
                  </a:lnTo>
                  <a:lnTo>
                    <a:pt x="52" y="90"/>
                  </a:lnTo>
                  <a:lnTo>
                    <a:pt x="52" y="95"/>
                  </a:lnTo>
                  <a:lnTo>
                    <a:pt x="52" y="99"/>
                  </a:lnTo>
                  <a:lnTo>
                    <a:pt x="50" y="100"/>
                  </a:lnTo>
                  <a:lnTo>
                    <a:pt x="48" y="99"/>
                  </a:lnTo>
                  <a:lnTo>
                    <a:pt x="50" y="95"/>
                  </a:lnTo>
                  <a:lnTo>
                    <a:pt x="48" y="93"/>
                  </a:lnTo>
                  <a:lnTo>
                    <a:pt x="48" y="93"/>
                  </a:lnTo>
                  <a:lnTo>
                    <a:pt x="45" y="93"/>
                  </a:lnTo>
                  <a:lnTo>
                    <a:pt x="45" y="95"/>
                  </a:lnTo>
                  <a:lnTo>
                    <a:pt x="45" y="99"/>
                  </a:lnTo>
                  <a:lnTo>
                    <a:pt x="45" y="102"/>
                  </a:lnTo>
                  <a:lnTo>
                    <a:pt x="48" y="104"/>
                  </a:lnTo>
                  <a:lnTo>
                    <a:pt x="48" y="107"/>
                  </a:lnTo>
                  <a:lnTo>
                    <a:pt x="48" y="111"/>
                  </a:lnTo>
                  <a:lnTo>
                    <a:pt x="48" y="109"/>
                  </a:lnTo>
                  <a:lnTo>
                    <a:pt x="45" y="111"/>
                  </a:lnTo>
                  <a:lnTo>
                    <a:pt x="43" y="114"/>
                  </a:lnTo>
                  <a:lnTo>
                    <a:pt x="43" y="118"/>
                  </a:lnTo>
                  <a:lnTo>
                    <a:pt x="40" y="119"/>
                  </a:lnTo>
                  <a:lnTo>
                    <a:pt x="35" y="119"/>
                  </a:lnTo>
                  <a:lnTo>
                    <a:pt x="31" y="119"/>
                  </a:lnTo>
                  <a:lnTo>
                    <a:pt x="31" y="118"/>
                  </a:lnTo>
                  <a:lnTo>
                    <a:pt x="33" y="116"/>
                  </a:lnTo>
                  <a:lnTo>
                    <a:pt x="31" y="113"/>
                  </a:lnTo>
                  <a:lnTo>
                    <a:pt x="28" y="109"/>
                  </a:lnTo>
                  <a:lnTo>
                    <a:pt x="26" y="109"/>
                  </a:lnTo>
                  <a:lnTo>
                    <a:pt x="26" y="109"/>
                  </a:lnTo>
                  <a:lnTo>
                    <a:pt x="21" y="107"/>
                  </a:lnTo>
                  <a:lnTo>
                    <a:pt x="21" y="104"/>
                  </a:lnTo>
                  <a:lnTo>
                    <a:pt x="26" y="104"/>
                  </a:lnTo>
                  <a:lnTo>
                    <a:pt x="28" y="102"/>
                  </a:lnTo>
                  <a:lnTo>
                    <a:pt x="26" y="100"/>
                  </a:lnTo>
                  <a:lnTo>
                    <a:pt x="26" y="100"/>
                  </a:lnTo>
                  <a:lnTo>
                    <a:pt x="22" y="102"/>
                  </a:lnTo>
                  <a:lnTo>
                    <a:pt x="21" y="100"/>
                  </a:lnTo>
                  <a:lnTo>
                    <a:pt x="21" y="99"/>
                  </a:lnTo>
                  <a:lnTo>
                    <a:pt x="17" y="95"/>
                  </a:lnTo>
                  <a:lnTo>
                    <a:pt x="14" y="95"/>
                  </a:lnTo>
                  <a:lnTo>
                    <a:pt x="14" y="92"/>
                  </a:lnTo>
                  <a:lnTo>
                    <a:pt x="14" y="90"/>
                  </a:lnTo>
                  <a:lnTo>
                    <a:pt x="14" y="90"/>
                  </a:lnTo>
                  <a:lnTo>
                    <a:pt x="14" y="88"/>
                  </a:lnTo>
                  <a:lnTo>
                    <a:pt x="10" y="86"/>
                  </a:lnTo>
                  <a:lnTo>
                    <a:pt x="9" y="85"/>
                  </a:lnTo>
                  <a:lnTo>
                    <a:pt x="9" y="81"/>
                  </a:lnTo>
                  <a:lnTo>
                    <a:pt x="10" y="81"/>
                  </a:lnTo>
                  <a:lnTo>
                    <a:pt x="14" y="85"/>
                  </a:lnTo>
                  <a:lnTo>
                    <a:pt x="14" y="86"/>
                  </a:lnTo>
                  <a:lnTo>
                    <a:pt x="14" y="86"/>
                  </a:lnTo>
                  <a:lnTo>
                    <a:pt x="17" y="86"/>
                  </a:lnTo>
                  <a:lnTo>
                    <a:pt x="17" y="85"/>
                  </a:lnTo>
                  <a:lnTo>
                    <a:pt x="17" y="81"/>
                  </a:lnTo>
                  <a:lnTo>
                    <a:pt x="17" y="81"/>
                  </a:lnTo>
                  <a:lnTo>
                    <a:pt x="17" y="81"/>
                  </a:lnTo>
                  <a:lnTo>
                    <a:pt x="14" y="81"/>
                  </a:lnTo>
                  <a:lnTo>
                    <a:pt x="14" y="81"/>
                  </a:lnTo>
                  <a:lnTo>
                    <a:pt x="12" y="76"/>
                  </a:lnTo>
                  <a:lnTo>
                    <a:pt x="12" y="76"/>
                  </a:lnTo>
                  <a:lnTo>
                    <a:pt x="12" y="76"/>
                  </a:lnTo>
                  <a:lnTo>
                    <a:pt x="14" y="71"/>
                  </a:lnTo>
                  <a:lnTo>
                    <a:pt x="14" y="67"/>
                  </a:lnTo>
                  <a:lnTo>
                    <a:pt x="14" y="67"/>
                  </a:lnTo>
                  <a:lnTo>
                    <a:pt x="12" y="67"/>
                  </a:lnTo>
                  <a:lnTo>
                    <a:pt x="10" y="66"/>
                  </a:lnTo>
                  <a:lnTo>
                    <a:pt x="9" y="66"/>
                  </a:lnTo>
                  <a:lnTo>
                    <a:pt x="9" y="71"/>
                  </a:lnTo>
                  <a:lnTo>
                    <a:pt x="9" y="73"/>
                  </a:lnTo>
                  <a:lnTo>
                    <a:pt x="7" y="76"/>
                  </a:lnTo>
                  <a:lnTo>
                    <a:pt x="5" y="76"/>
                  </a:lnTo>
                  <a:lnTo>
                    <a:pt x="5" y="73"/>
                  </a:lnTo>
                  <a:lnTo>
                    <a:pt x="0" y="69"/>
                  </a:lnTo>
                  <a:lnTo>
                    <a:pt x="0" y="64"/>
                  </a:lnTo>
                  <a:lnTo>
                    <a:pt x="0" y="60"/>
                  </a:lnTo>
                  <a:lnTo>
                    <a:pt x="0" y="57"/>
                  </a:lnTo>
                  <a:lnTo>
                    <a:pt x="2" y="57"/>
                  </a:lnTo>
                  <a:lnTo>
                    <a:pt x="3" y="53"/>
                  </a:lnTo>
                  <a:lnTo>
                    <a:pt x="5" y="53"/>
                  </a:lnTo>
                  <a:lnTo>
                    <a:pt x="5" y="50"/>
                  </a:lnTo>
                  <a:lnTo>
                    <a:pt x="3" y="50"/>
                  </a:lnTo>
                  <a:lnTo>
                    <a:pt x="3" y="46"/>
                  </a:lnTo>
                  <a:lnTo>
                    <a:pt x="7" y="43"/>
                  </a:lnTo>
                  <a:lnTo>
                    <a:pt x="10" y="43"/>
                  </a:lnTo>
                  <a:lnTo>
                    <a:pt x="12" y="48"/>
                  </a:lnTo>
                  <a:lnTo>
                    <a:pt x="14" y="50"/>
                  </a:lnTo>
                  <a:lnTo>
                    <a:pt x="14" y="50"/>
                  </a:lnTo>
                  <a:lnTo>
                    <a:pt x="17" y="50"/>
                  </a:lnTo>
                  <a:lnTo>
                    <a:pt x="14" y="45"/>
                  </a:lnTo>
                  <a:lnTo>
                    <a:pt x="14" y="41"/>
                  </a:lnTo>
                  <a:lnTo>
                    <a:pt x="14" y="41"/>
                  </a:lnTo>
                  <a:lnTo>
                    <a:pt x="17" y="41"/>
                  </a:lnTo>
                  <a:lnTo>
                    <a:pt x="17" y="45"/>
                  </a:lnTo>
                  <a:lnTo>
                    <a:pt x="17" y="45"/>
                  </a:lnTo>
                  <a:lnTo>
                    <a:pt x="21" y="45"/>
                  </a:lnTo>
                  <a:lnTo>
                    <a:pt x="26" y="38"/>
                  </a:lnTo>
                  <a:lnTo>
                    <a:pt x="31" y="38"/>
                  </a:lnTo>
                  <a:lnTo>
                    <a:pt x="33" y="39"/>
                  </a:lnTo>
                  <a:lnTo>
                    <a:pt x="35" y="43"/>
                  </a:lnTo>
                  <a:lnTo>
                    <a:pt x="35" y="46"/>
                  </a:lnTo>
                  <a:lnTo>
                    <a:pt x="31" y="48"/>
                  </a:lnTo>
                  <a:lnTo>
                    <a:pt x="29" y="48"/>
                  </a:lnTo>
                  <a:lnTo>
                    <a:pt x="29" y="46"/>
                  </a:lnTo>
                  <a:lnTo>
                    <a:pt x="28" y="46"/>
                  </a:lnTo>
                  <a:lnTo>
                    <a:pt x="22" y="50"/>
                  </a:lnTo>
                  <a:lnTo>
                    <a:pt x="22" y="50"/>
                  </a:lnTo>
                  <a:lnTo>
                    <a:pt x="21" y="50"/>
                  </a:lnTo>
                  <a:lnTo>
                    <a:pt x="21" y="53"/>
                  </a:lnTo>
                  <a:lnTo>
                    <a:pt x="22" y="53"/>
                  </a:lnTo>
                  <a:lnTo>
                    <a:pt x="26" y="53"/>
                  </a:lnTo>
                  <a:lnTo>
                    <a:pt x="29" y="50"/>
                  </a:lnTo>
                  <a:lnTo>
                    <a:pt x="31" y="53"/>
                  </a:lnTo>
                  <a:lnTo>
                    <a:pt x="31" y="53"/>
                  </a:lnTo>
                  <a:lnTo>
                    <a:pt x="28" y="55"/>
                  </a:lnTo>
                  <a:lnTo>
                    <a:pt x="28" y="57"/>
                  </a:lnTo>
                  <a:lnTo>
                    <a:pt x="29" y="59"/>
                  </a:lnTo>
                  <a:lnTo>
                    <a:pt x="29" y="57"/>
                  </a:lnTo>
                  <a:lnTo>
                    <a:pt x="31" y="57"/>
                  </a:lnTo>
                  <a:lnTo>
                    <a:pt x="33" y="59"/>
                  </a:lnTo>
                  <a:lnTo>
                    <a:pt x="35" y="60"/>
                  </a:lnTo>
                  <a:lnTo>
                    <a:pt x="35" y="62"/>
                  </a:lnTo>
                  <a:lnTo>
                    <a:pt x="35" y="67"/>
                  </a:lnTo>
                  <a:lnTo>
                    <a:pt x="36" y="69"/>
                  </a:lnTo>
                  <a:lnTo>
                    <a:pt x="38" y="69"/>
                  </a:lnTo>
                  <a:lnTo>
                    <a:pt x="38" y="64"/>
                  </a:lnTo>
                  <a:lnTo>
                    <a:pt x="35" y="60"/>
                  </a:lnTo>
                  <a:lnTo>
                    <a:pt x="35" y="57"/>
                  </a:lnTo>
                  <a:lnTo>
                    <a:pt x="36" y="53"/>
                  </a:lnTo>
                  <a:lnTo>
                    <a:pt x="40" y="48"/>
                  </a:lnTo>
                  <a:lnTo>
                    <a:pt x="40" y="45"/>
                  </a:lnTo>
                  <a:lnTo>
                    <a:pt x="40" y="43"/>
                  </a:lnTo>
                  <a:lnTo>
                    <a:pt x="43" y="43"/>
                  </a:lnTo>
                  <a:lnTo>
                    <a:pt x="45" y="48"/>
                  </a:lnTo>
                  <a:lnTo>
                    <a:pt x="48" y="50"/>
                  </a:lnTo>
                  <a:lnTo>
                    <a:pt x="48" y="50"/>
                  </a:lnTo>
                  <a:lnTo>
                    <a:pt x="48" y="57"/>
                  </a:lnTo>
                  <a:lnTo>
                    <a:pt x="52" y="66"/>
                  </a:lnTo>
                  <a:lnTo>
                    <a:pt x="52" y="67"/>
                  </a:lnTo>
                  <a:lnTo>
                    <a:pt x="52" y="71"/>
                  </a:lnTo>
                  <a:lnTo>
                    <a:pt x="48" y="73"/>
                  </a:lnTo>
                  <a:lnTo>
                    <a:pt x="48" y="73"/>
                  </a:lnTo>
                  <a:lnTo>
                    <a:pt x="50" y="73"/>
                  </a:lnTo>
                  <a:lnTo>
                    <a:pt x="52" y="73"/>
                  </a:lnTo>
                  <a:lnTo>
                    <a:pt x="55" y="73"/>
                  </a:lnTo>
                  <a:lnTo>
                    <a:pt x="57" y="76"/>
                  </a:lnTo>
                  <a:lnTo>
                    <a:pt x="59" y="81"/>
                  </a:lnTo>
                  <a:lnTo>
                    <a:pt x="61" y="85"/>
                  </a:lnTo>
                  <a:lnTo>
                    <a:pt x="62" y="85"/>
                  </a:lnTo>
                  <a:lnTo>
                    <a:pt x="64" y="81"/>
                  </a:lnTo>
                  <a:lnTo>
                    <a:pt x="61" y="76"/>
                  </a:lnTo>
                  <a:lnTo>
                    <a:pt x="61" y="73"/>
                  </a:lnTo>
                  <a:lnTo>
                    <a:pt x="57" y="69"/>
                  </a:lnTo>
                  <a:lnTo>
                    <a:pt x="55" y="64"/>
                  </a:lnTo>
                  <a:lnTo>
                    <a:pt x="55" y="59"/>
                  </a:lnTo>
                  <a:lnTo>
                    <a:pt x="55" y="50"/>
                  </a:lnTo>
                  <a:lnTo>
                    <a:pt x="54" y="48"/>
                  </a:lnTo>
                  <a:lnTo>
                    <a:pt x="54" y="46"/>
                  </a:lnTo>
                  <a:lnTo>
                    <a:pt x="54" y="43"/>
                  </a:lnTo>
                  <a:lnTo>
                    <a:pt x="54" y="39"/>
                  </a:lnTo>
                  <a:lnTo>
                    <a:pt x="55" y="36"/>
                  </a:lnTo>
                  <a:lnTo>
                    <a:pt x="55" y="31"/>
                  </a:lnTo>
                  <a:lnTo>
                    <a:pt x="57" y="27"/>
                  </a:lnTo>
                  <a:lnTo>
                    <a:pt x="59" y="27"/>
                  </a:lnTo>
                  <a:lnTo>
                    <a:pt x="61" y="27"/>
                  </a:lnTo>
                  <a:lnTo>
                    <a:pt x="64" y="33"/>
                  </a:lnTo>
                  <a:lnTo>
                    <a:pt x="64" y="36"/>
                  </a:lnTo>
                  <a:lnTo>
                    <a:pt x="66" y="38"/>
                  </a:lnTo>
                  <a:lnTo>
                    <a:pt x="68" y="34"/>
                  </a:lnTo>
                  <a:lnTo>
                    <a:pt x="71" y="33"/>
                  </a:lnTo>
                  <a:lnTo>
                    <a:pt x="71" y="34"/>
                  </a:lnTo>
                  <a:lnTo>
                    <a:pt x="76" y="39"/>
                  </a:lnTo>
                  <a:lnTo>
                    <a:pt x="76" y="45"/>
                  </a:lnTo>
                  <a:lnTo>
                    <a:pt x="76" y="48"/>
                  </a:lnTo>
                  <a:lnTo>
                    <a:pt x="76" y="50"/>
                  </a:lnTo>
                  <a:lnTo>
                    <a:pt x="76" y="55"/>
                  </a:lnTo>
                  <a:lnTo>
                    <a:pt x="76" y="60"/>
                  </a:lnTo>
                  <a:lnTo>
                    <a:pt x="76" y="62"/>
                  </a:lnTo>
                  <a:lnTo>
                    <a:pt x="76" y="64"/>
                  </a:lnTo>
                  <a:lnTo>
                    <a:pt x="78" y="60"/>
                  </a:lnTo>
                  <a:lnTo>
                    <a:pt x="78" y="57"/>
                  </a:lnTo>
                  <a:lnTo>
                    <a:pt x="78" y="50"/>
                  </a:lnTo>
                  <a:lnTo>
                    <a:pt x="78" y="48"/>
                  </a:lnTo>
                  <a:lnTo>
                    <a:pt x="81" y="46"/>
                  </a:lnTo>
                  <a:lnTo>
                    <a:pt x="85" y="50"/>
                  </a:lnTo>
                  <a:lnTo>
                    <a:pt x="88" y="55"/>
                  </a:lnTo>
                  <a:lnTo>
                    <a:pt x="90" y="64"/>
                  </a:lnTo>
                  <a:lnTo>
                    <a:pt x="90" y="66"/>
                  </a:lnTo>
                  <a:lnTo>
                    <a:pt x="92" y="69"/>
                  </a:lnTo>
                  <a:lnTo>
                    <a:pt x="95" y="69"/>
                  </a:lnTo>
                  <a:lnTo>
                    <a:pt x="99" y="69"/>
                  </a:lnTo>
                  <a:lnTo>
                    <a:pt x="101" y="73"/>
                  </a:lnTo>
                  <a:lnTo>
                    <a:pt x="102" y="76"/>
                  </a:lnTo>
                  <a:lnTo>
                    <a:pt x="108" y="81"/>
                  </a:lnTo>
                  <a:lnTo>
                    <a:pt x="111" y="81"/>
                  </a:lnTo>
                  <a:lnTo>
                    <a:pt x="118" y="85"/>
                  </a:lnTo>
                  <a:lnTo>
                    <a:pt x="121" y="85"/>
                  </a:lnTo>
                  <a:lnTo>
                    <a:pt x="121" y="88"/>
                  </a:lnTo>
                  <a:lnTo>
                    <a:pt x="121" y="90"/>
                  </a:lnTo>
                  <a:lnTo>
                    <a:pt x="118" y="93"/>
                  </a:lnTo>
                  <a:lnTo>
                    <a:pt x="118" y="93"/>
                  </a:lnTo>
                  <a:lnTo>
                    <a:pt x="116" y="90"/>
                  </a:lnTo>
                  <a:lnTo>
                    <a:pt x="113" y="92"/>
                  </a:lnTo>
                  <a:lnTo>
                    <a:pt x="111" y="92"/>
                  </a:lnTo>
                  <a:lnTo>
                    <a:pt x="106" y="95"/>
                  </a:lnTo>
                  <a:lnTo>
                    <a:pt x="102" y="95"/>
                  </a:lnTo>
                  <a:lnTo>
                    <a:pt x="102" y="95"/>
                  </a:lnTo>
                  <a:lnTo>
                    <a:pt x="102" y="99"/>
                  </a:lnTo>
                  <a:lnTo>
                    <a:pt x="102" y="100"/>
                  </a:lnTo>
                  <a:lnTo>
                    <a:pt x="99" y="104"/>
                  </a:lnTo>
                  <a:lnTo>
                    <a:pt x="99" y="104"/>
                  </a:lnTo>
                  <a:lnTo>
                    <a:pt x="99" y="109"/>
                  </a:lnTo>
                  <a:lnTo>
                    <a:pt x="99" y="116"/>
                  </a:lnTo>
                  <a:lnTo>
                    <a:pt x="99" y="118"/>
                  </a:lnTo>
                  <a:lnTo>
                    <a:pt x="99" y="123"/>
                  </a:lnTo>
                  <a:lnTo>
                    <a:pt x="99" y="123"/>
                  </a:lnTo>
                  <a:lnTo>
                    <a:pt x="99" y="126"/>
                  </a:lnTo>
                  <a:lnTo>
                    <a:pt x="95" y="125"/>
                  </a:lnTo>
                  <a:lnTo>
                    <a:pt x="95" y="126"/>
                  </a:lnTo>
                  <a:lnTo>
                    <a:pt x="95" y="130"/>
                  </a:lnTo>
                  <a:lnTo>
                    <a:pt x="95" y="135"/>
                  </a:lnTo>
                  <a:lnTo>
                    <a:pt x="95" y="137"/>
                  </a:lnTo>
                  <a:lnTo>
                    <a:pt x="95" y="140"/>
                  </a:lnTo>
                  <a:lnTo>
                    <a:pt x="95" y="146"/>
                  </a:lnTo>
                  <a:lnTo>
                    <a:pt x="95" y="149"/>
                  </a:lnTo>
                  <a:lnTo>
                    <a:pt x="95" y="149"/>
                  </a:lnTo>
                  <a:lnTo>
                    <a:pt x="90" y="149"/>
                  </a:lnTo>
                  <a:lnTo>
                    <a:pt x="88" y="149"/>
                  </a:lnTo>
                  <a:lnTo>
                    <a:pt x="90" y="153"/>
                  </a:lnTo>
                  <a:lnTo>
                    <a:pt x="90" y="154"/>
                  </a:lnTo>
                  <a:lnTo>
                    <a:pt x="88" y="154"/>
                  </a:lnTo>
                  <a:lnTo>
                    <a:pt x="88" y="158"/>
                  </a:lnTo>
                  <a:lnTo>
                    <a:pt x="88" y="159"/>
                  </a:lnTo>
                  <a:lnTo>
                    <a:pt x="87" y="172"/>
                  </a:lnTo>
                  <a:lnTo>
                    <a:pt x="87" y="175"/>
                  </a:lnTo>
                  <a:lnTo>
                    <a:pt x="85" y="177"/>
                  </a:lnTo>
                  <a:lnTo>
                    <a:pt x="85" y="180"/>
                  </a:lnTo>
                  <a:lnTo>
                    <a:pt x="87" y="184"/>
                  </a:lnTo>
                  <a:lnTo>
                    <a:pt x="87" y="186"/>
                  </a:lnTo>
                  <a:lnTo>
                    <a:pt x="85" y="189"/>
                  </a:lnTo>
                  <a:lnTo>
                    <a:pt x="85" y="191"/>
                  </a:lnTo>
                  <a:lnTo>
                    <a:pt x="83" y="194"/>
                  </a:lnTo>
                  <a:lnTo>
                    <a:pt x="80" y="194"/>
                  </a:lnTo>
                  <a:lnTo>
                    <a:pt x="80" y="194"/>
                  </a:lnTo>
                  <a:lnTo>
                    <a:pt x="80" y="194"/>
                  </a:lnTo>
                  <a:lnTo>
                    <a:pt x="80"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0" name="Freeform 156">
              <a:extLst>
                <a:ext uri="{FF2B5EF4-FFF2-40B4-BE49-F238E27FC236}">
                  <a16:creationId xmlns:a16="http://schemas.microsoft.com/office/drawing/2014/main" id="{13E49EC4-97F5-44DA-B497-D5801C5E4782}"/>
                </a:ext>
              </a:extLst>
            </p:cNvPr>
            <p:cNvSpPr>
              <a:spLocks noEditPoints="1"/>
            </p:cNvSpPr>
            <p:nvPr/>
          </p:nvSpPr>
          <p:spPr bwMode="auto">
            <a:xfrm>
              <a:off x="3914775" y="2089151"/>
              <a:ext cx="239713" cy="153988"/>
            </a:xfrm>
            <a:custGeom>
              <a:avLst/>
              <a:gdLst/>
              <a:ahLst/>
              <a:cxnLst>
                <a:cxn ang="0">
                  <a:pos x="55" y="95"/>
                </a:cxn>
                <a:cxn ang="0">
                  <a:pos x="45" y="81"/>
                </a:cxn>
                <a:cxn ang="0">
                  <a:pos x="57" y="87"/>
                </a:cxn>
                <a:cxn ang="0">
                  <a:pos x="81" y="92"/>
                </a:cxn>
                <a:cxn ang="0">
                  <a:pos x="88" y="87"/>
                </a:cxn>
                <a:cxn ang="0">
                  <a:pos x="95" y="83"/>
                </a:cxn>
                <a:cxn ang="0">
                  <a:pos x="106" y="80"/>
                </a:cxn>
                <a:cxn ang="0">
                  <a:pos x="126" y="68"/>
                </a:cxn>
                <a:cxn ang="0">
                  <a:pos x="130" y="66"/>
                </a:cxn>
                <a:cxn ang="0">
                  <a:pos x="137" y="57"/>
                </a:cxn>
                <a:cxn ang="0">
                  <a:pos x="142" y="55"/>
                </a:cxn>
                <a:cxn ang="0">
                  <a:pos x="142" y="41"/>
                </a:cxn>
                <a:cxn ang="0">
                  <a:pos x="151" y="33"/>
                </a:cxn>
                <a:cxn ang="0">
                  <a:pos x="142" y="24"/>
                </a:cxn>
                <a:cxn ang="0">
                  <a:pos x="139" y="19"/>
                </a:cxn>
                <a:cxn ang="0">
                  <a:pos x="132" y="10"/>
                </a:cxn>
                <a:cxn ang="0">
                  <a:pos x="137" y="1"/>
                </a:cxn>
                <a:cxn ang="0">
                  <a:pos x="123" y="8"/>
                </a:cxn>
                <a:cxn ang="0">
                  <a:pos x="114" y="1"/>
                </a:cxn>
                <a:cxn ang="0">
                  <a:pos x="109" y="10"/>
                </a:cxn>
                <a:cxn ang="0">
                  <a:pos x="100" y="14"/>
                </a:cxn>
                <a:cxn ang="0">
                  <a:pos x="86" y="10"/>
                </a:cxn>
                <a:cxn ang="0">
                  <a:pos x="83" y="19"/>
                </a:cxn>
                <a:cxn ang="0">
                  <a:pos x="73" y="14"/>
                </a:cxn>
                <a:cxn ang="0">
                  <a:pos x="66" y="19"/>
                </a:cxn>
                <a:cxn ang="0">
                  <a:pos x="57" y="19"/>
                </a:cxn>
                <a:cxn ang="0">
                  <a:pos x="55" y="28"/>
                </a:cxn>
                <a:cxn ang="0">
                  <a:pos x="45" y="34"/>
                </a:cxn>
                <a:cxn ang="0">
                  <a:pos x="41" y="24"/>
                </a:cxn>
                <a:cxn ang="0">
                  <a:pos x="46" y="15"/>
                </a:cxn>
                <a:cxn ang="0">
                  <a:pos x="40" y="8"/>
                </a:cxn>
                <a:cxn ang="0">
                  <a:pos x="27" y="0"/>
                </a:cxn>
                <a:cxn ang="0">
                  <a:pos x="24" y="1"/>
                </a:cxn>
                <a:cxn ang="0">
                  <a:pos x="27" y="5"/>
                </a:cxn>
                <a:cxn ang="0">
                  <a:pos x="31" y="14"/>
                </a:cxn>
                <a:cxn ang="0">
                  <a:pos x="22" y="14"/>
                </a:cxn>
                <a:cxn ang="0">
                  <a:pos x="17" y="10"/>
                </a:cxn>
                <a:cxn ang="0">
                  <a:pos x="13" y="14"/>
                </a:cxn>
                <a:cxn ang="0">
                  <a:pos x="12" y="19"/>
                </a:cxn>
                <a:cxn ang="0">
                  <a:pos x="13" y="22"/>
                </a:cxn>
                <a:cxn ang="0">
                  <a:pos x="8" y="28"/>
                </a:cxn>
                <a:cxn ang="0">
                  <a:pos x="3" y="28"/>
                </a:cxn>
                <a:cxn ang="0">
                  <a:pos x="19" y="22"/>
                </a:cxn>
                <a:cxn ang="0">
                  <a:pos x="22" y="28"/>
                </a:cxn>
                <a:cxn ang="0">
                  <a:pos x="29" y="28"/>
                </a:cxn>
                <a:cxn ang="0">
                  <a:pos x="36" y="28"/>
                </a:cxn>
                <a:cxn ang="0">
                  <a:pos x="29" y="34"/>
                </a:cxn>
                <a:cxn ang="0">
                  <a:pos x="34" y="36"/>
                </a:cxn>
                <a:cxn ang="0">
                  <a:pos x="27" y="41"/>
                </a:cxn>
                <a:cxn ang="0">
                  <a:pos x="19" y="40"/>
                </a:cxn>
                <a:cxn ang="0">
                  <a:pos x="13" y="43"/>
                </a:cxn>
                <a:cxn ang="0">
                  <a:pos x="5" y="47"/>
                </a:cxn>
                <a:cxn ang="0">
                  <a:pos x="22" y="50"/>
                </a:cxn>
                <a:cxn ang="0">
                  <a:pos x="27" y="57"/>
                </a:cxn>
                <a:cxn ang="0">
                  <a:pos x="29" y="61"/>
                </a:cxn>
                <a:cxn ang="0">
                  <a:pos x="40" y="66"/>
                </a:cxn>
                <a:cxn ang="0">
                  <a:pos x="27" y="69"/>
                </a:cxn>
                <a:cxn ang="0">
                  <a:pos x="19" y="68"/>
                </a:cxn>
                <a:cxn ang="0">
                  <a:pos x="19" y="74"/>
                </a:cxn>
                <a:cxn ang="0">
                  <a:pos x="31" y="81"/>
                </a:cxn>
                <a:cxn ang="0">
                  <a:pos x="45" y="81"/>
                </a:cxn>
              </a:cxnLst>
              <a:rect l="0" t="0" r="r" b="b"/>
              <a:pathLst>
                <a:path w="151" h="97">
                  <a:moveTo>
                    <a:pt x="52" y="97"/>
                  </a:moveTo>
                  <a:lnTo>
                    <a:pt x="50" y="95"/>
                  </a:lnTo>
                  <a:lnTo>
                    <a:pt x="52" y="92"/>
                  </a:lnTo>
                  <a:lnTo>
                    <a:pt x="55" y="92"/>
                  </a:lnTo>
                  <a:lnTo>
                    <a:pt x="55" y="95"/>
                  </a:lnTo>
                  <a:lnTo>
                    <a:pt x="52" y="97"/>
                  </a:lnTo>
                  <a:lnTo>
                    <a:pt x="52" y="97"/>
                  </a:lnTo>
                  <a:lnTo>
                    <a:pt x="52" y="97"/>
                  </a:lnTo>
                  <a:lnTo>
                    <a:pt x="52" y="97"/>
                  </a:lnTo>
                  <a:close/>
                  <a:moveTo>
                    <a:pt x="45" y="81"/>
                  </a:moveTo>
                  <a:lnTo>
                    <a:pt x="46" y="80"/>
                  </a:lnTo>
                  <a:lnTo>
                    <a:pt x="46" y="83"/>
                  </a:lnTo>
                  <a:lnTo>
                    <a:pt x="52" y="88"/>
                  </a:lnTo>
                  <a:lnTo>
                    <a:pt x="55" y="90"/>
                  </a:lnTo>
                  <a:lnTo>
                    <a:pt x="57" y="87"/>
                  </a:lnTo>
                  <a:lnTo>
                    <a:pt x="60" y="87"/>
                  </a:lnTo>
                  <a:lnTo>
                    <a:pt x="66" y="94"/>
                  </a:lnTo>
                  <a:lnTo>
                    <a:pt x="73" y="92"/>
                  </a:lnTo>
                  <a:lnTo>
                    <a:pt x="74" y="94"/>
                  </a:lnTo>
                  <a:lnTo>
                    <a:pt x="81" y="92"/>
                  </a:lnTo>
                  <a:lnTo>
                    <a:pt x="81" y="88"/>
                  </a:lnTo>
                  <a:lnTo>
                    <a:pt x="81" y="87"/>
                  </a:lnTo>
                  <a:lnTo>
                    <a:pt x="83" y="88"/>
                  </a:lnTo>
                  <a:lnTo>
                    <a:pt x="86" y="90"/>
                  </a:lnTo>
                  <a:lnTo>
                    <a:pt x="88" y="87"/>
                  </a:lnTo>
                  <a:lnTo>
                    <a:pt x="90" y="81"/>
                  </a:lnTo>
                  <a:lnTo>
                    <a:pt x="93" y="81"/>
                  </a:lnTo>
                  <a:lnTo>
                    <a:pt x="92" y="83"/>
                  </a:lnTo>
                  <a:lnTo>
                    <a:pt x="93" y="85"/>
                  </a:lnTo>
                  <a:lnTo>
                    <a:pt x="95" y="83"/>
                  </a:lnTo>
                  <a:lnTo>
                    <a:pt x="97" y="83"/>
                  </a:lnTo>
                  <a:lnTo>
                    <a:pt x="100" y="78"/>
                  </a:lnTo>
                  <a:lnTo>
                    <a:pt x="102" y="80"/>
                  </a:lnTo>
                  <a:lnTo>
                    <a:pt x="104" y="80"/>
                  </a:lnTo>
                  <a:lnTo>
                    <a:pt x="106" y="80"/>
                  </a:lnTo>
                  <a:lnTo>
                    <a:pt x="106" y="80"/>
                  </a:lnTo>
                  <a:lnTo>
                    <a:pt x="109" y="80"/>
                  </a:lnTo>
                  <a:lnTo>
                    <a:pt x="114" y="74"/>
                  </a:lnTo>
                  <a:lnTo>
                    <a:pt x="118" y="69"/>
                  </a:lnTo>
                  <a:lnTo>
                    <a:pt x="126" y="68"/>
                  </a:lnTo>
                  <a:lnTo>
                    <a:pt x="128" y="66"/>
                  </a:lnTo>
                  <a:lnTo>
                    <a:pt x="126" y="62"/>
                  </a:lnTo>
                  <a:lnTo>
                    <a:pt x="128" y="61"/>
                  </a:lnTo>
                  <a:lnTo>
                    <a:pt x="130" y="61"/>
                  </a:lnTo>
                  <a:lnTo>
                    <a:pt x="130" y="66"/>
                  </a:lnTo>
                  <a:lnTo>
                    <a:pt x="133" y="66"/>
                  </a:lnTo>
                  <a:lnTo>
                    <a:pt x="137" y="62"/>
                  </a:lnTo>
                  <a:lnTo>
                    <a:pt x="137" y="61"/>
                  </a:lnTo>
                  <a:lnTo>
                    <a:pt x="137" y="61"/>
                  </a:lnTo>
                  <a:lnTo>
                    <a:pt x="137" y="57"/>
                  </a:lnTo>
                  <a:lnTo>
                    <a:pt x="137" y="57"/>
                  </a:lnTo>
                  <a:lnTo>
                    <a:pt x="137" y="54"/>
                  </a:lnTo>
                  <a:lnTo>
                    <a:pt x="137" y="52"/>
                  </a:lnTo>
                  <a:lnTo>
                    <a:pt x="142" y="54"/>
                  </a:lnTo>
                  <a:lnTo>
                    <a:pt x="142" y="55"/>
                  </a:lnTo>
                  <a:lnTo>
                    <a:pt x="144" y="55"/>
                  </a:lnTo>
                  <a:lnTo>
                    <a:pt x="145" y="52"/>
                  </a:lnTo>
                  <a:lnTo>
                    <a:pt x="145" y="48"/>
                  </a:lnTo>
                  <a:lnTo>
                    <a:pt x="142" y="45"/>
                  </a:lnTo>
                  <a:lnTo>
                    <a:pt x="142" y="41"/>
                  </a:lnTo>
                  <a:lnTo>
                    <a:pt x="144" y="40"/>
                  </a:lnTo>
                  <a:lnTo>
                    <a:pt x="144" y="36"/>
                  </a:lnTo>
                  <a:lnTo>
                    <a:pt x="147" y="34"/>
                  </a:lnTo>
                  <a:lnTo>
                    <a:pt x="149" y="34"/>
                  </a:lnTo>
                  <a:lnTo>
                    <a:pt x="151" y="33"/>
                  </a:lnTo>
                  <a:lnTo>
                    <a:pt x="147" y="29"/>
                  </a:lnTo>
                  <a:lnTo>
                    <a:pt x="142" y="29"/>
                  </a:lnTo>
                  <a:lnTo>
                    <a:pt x="139" y="31"/>
                  </a:lnTo>
                  <a:lnTo>
                    <a:pt x="142" y="28"/>
                  </a:lnTo>
                  <a:lnTo>
                    <a:pt x="142" y="24"/>
                  </a:lnTo>
                  <a:lnTo>
                    <a:pt x="137" y="24"/>
                  </a:lnTo>
                  <a:lnTo>
                    <a:pt x="137" y="28"/>
                  </a:lnTo>
                  <a:lnTo>
                    <a:pt x="133" y="22"/>
                  </a:lnTo>
                  <a:lnTo>
                    <a:pt x="137" y="19"/>
                  </a:lnTo>
                  <a:lnTo>
                    <a:pt x="139" y="19"/>
                  </a:lnTo>
                  <a:lnTo>
                    <a:pt x="139" y="14"/>
                  </a:lnTo>
                  <a:lnTo>
                    <a:pt x="137" y="14"/>
                  </a:lnTo>
                  <a:lnTo>
                    <a:pt x="133" y="14"/>
                  </a:lnTo>
                  <a:lnTo>
                    <a:pt x="133" y="14"/>
                  </a:lnTo>
                  <a:lnTo>
                    <a:pt x="132" y="10"/>
                  </a:lnTo>
                  <a:lnTo>
                    <a:pt x="133" y="10"/>
                  </a:lnTo>
                  <a:lnTo>
                    <a:pt x="133" y="5"/>
                  </a:lnTo>
                  <a:lnTo>
                    <a:pt x="137" y="5"/>
                  </a:lnTo>
                  <a:lnTo>
                    <a:pt x="139" y="5"/>
                  </a:lnTo>
                  <a:lnTo>
                    <a:pt x="137" y="1"/>
                  </a:lnTo>
                  <a:lnTo>
                    <a:pt x="133" y="1"/>
                  </a:lnTo>
                  <a:lnTo>
                    <a:pt x="128" y="10"/>
                  </a:lnTo>
                  <a:lnTo>
                    <a:pt x="126" y="10"/>
                  </a:lnTo>
                  <a:lnTo>
                    <a:pt x="125" y="10"/>
                  </a:lnTo>
                  <a:lnTo>
                    <a:pt x="123" y="8"/>
                  </a:lnTo>
                  <a:lnTo>
                    <a:pt x="123" y="5"/>
                  </a:lnTo>
                  <a:lnTo>
                    <a:pt x="121" y="5"/>
                  </a:lnTo>
                  <a:lnTo>
                    <a:pt x="121" y="1"/>
                  </a:lnTo>
                  <a:lnTo>
                    <a:pt x="118" y="1"/>
                  </a:lnTo>
                  <a:lnTo>
                    <a:pt x="114" y="1"/>
                  </a:lnTo>
                  <a:lnTo>
                    <a:pt x="114" y="1"/>
                  </a:lnTo>
                  <a:lnTo>
                    <a:pt x="111" y="5"/>
                  </a:lnTo>
                  <a:lnTo>
                    <a:pt x="114" y="8"/>
                  </a:lnTo>
                  <a:lnTo>
                    <a:pt x="111" y="10"/>
                  </a:lnTo>
                  <a:lnTo>
                    <a:pt x="109" y="10"/>
                  </a:lnTo>
                  <a:lnTo>
                    <a:pt x="106" y="14"/>
                  </a:lnTo>
                  <a:lnTo>
                    <a:pt x="106" y="10"/>
                  </a:lnTo>
                  <a:lnTo>
                    <a:pt x="104" y="8"/>
                  </a:lnTo>
                  <a:lnTo>
                    <a:pt x="102" y="10"/>
                  </a:lnTo>
                  <a:lnTo>
                    <a:pt x="100" y="14"/>
                  </a:lnTo>
                  <a:lnTo>
                    <a:pt x="97" y="14"/>
                  </a:lnTo>
                  <a:lnTo>
                    <a:pt x="93" y="10"/>
                  </a:lnTo>
                  <a:lnTo>
                    <a:pt x="90" y="10"/>
                  </a:lnTo>
                  <a:lnTo>
                    <a:pt x="90" y="10"/>
                  </a:lnTo>
                  <a:lnTo>
                    <a:pt x="86" y="10"/>
                  </a:lnTo>
                  <a:lnTo>
                    <a:pt x="86" y="14"/>
                  </a:lnTo>
                  <a:lnTo>
                    <a:pt x="88" y="21"/>
                  </a:lnTo>
                  <a:lnTo>
                    <a:pt x="86" y="29"/>
                  </a:lnTo>
                  <a:lnTo>
                    <a:pt x="86" y="22"/>
                  </a:lnTo>
                  <a:lnTo>
                    <a:pt x="83" y="19"/>
                  </a:lnTo>
                  <a:lnTo>
                    <a:pt x="83" y="14"/>
                  </a:lnTo>
                  <a:lnTo>
                    <a:pt x="83" y="14"/>
                  </a:lnTo>
                  <a:lnTo>
                    <a:pt x="83" y="10"/>
                  </a:lnTo>
                  <a:lnTo>
                    <a:pt x="78" y="8"/>
                  </a:lnTo>
                  <a:lnTo>
                    <a:pt x="73" y="14"/>
                  </a:lnTo>
                  <a:lnTo>
                    <a:pt x="71" y="15"/>
                  </a:lnTo>
                  <a:lnTo>
                    <a:pt x="73" y="19"/>
                  </a:lnTo>
                  <a:lnTo>
                    <a:pt x="69" y="22"/>
                  </a:lnTo>
                  <a:lnTo>
                    <a:pt x="67" y="22"/>
                  </a:lnTo>
                  <a:lnTo>
                    <a:pt x="66" y="19"/>
                  </a:lnTo>
                  <a:lnTo>
                    <a:pt x="64" y="19"/>
                  </a:lnTo>
                  <a:lnTo>
                    <a:pt x="64" y="10"/>
                  </a:lnTo>
                  <a:lnTo>
                    <a:pt x="60" y="8"/>
                  </a:lnTo>
                  <a:lnTo>
                    <a:pt x="57" y="10"/>
                  </a:lnTo>
                  <a:lnTo>
                    <a:pt x="57" y="19"/>
                  </a:lnTo>
                  <a:lnTo>
                    <a:pt x="59" y="22"/>
                  </a:lnTo>
                  <a:lnTo>
                    <a:pt x="59" y="28"/>
                  </a:lnTo>
                  <a:lnTo>
                    <a:pt x="57" y="31"/>
                  </a:lnTo>
                  <a:lnTo>
                    <a:pt x="55" y="31"/>
                  </a:lnTo>
                  <a:lnTo>
                    <a:pt x="55" y="28"/>
                  </a:lnTo>
                  <a:lnTo>
                    <a:pt x="50" y="28"/>
                  </a:lnTo>
                  <a:lnTo>
                    <a:pt x="50" y="33"/>
                  </a:lnTo>
                  <a:lnTo>
                    <a:pt x="46" y="34"/>
                  </a:lnTo>
                  <a:lnTo>
                    <a:pt x="46" y="40"/>
                  </a:lnTo>
                  <a:lnTo>
                    <a:pt x="45" y="34"/>
                  </a:lnTo>
                  <a:lnTo>
                    <a:pt x="43" y="33"/>
                  </a:lnTo>
                  <a:lnTo>
                    <a:pt x="43" y="31"/>
                  </a:lnTo>
                  <a:lnTo>
                    <a:pt x="45" y="28"/>
                  </a:lnTo>
                  <a:lnTo>
                    <a:pt x="45" y="24"/>
                  </a:lnTo>
                  <a:lnTo>
                    <a:pt x="41" y="24"/>
                  </a:lnTo>
                  <a:lnTo>
                    <a:pt x="43" y="22"/>
                  </a:lnTo>
                  <a:lnTo>
                    <a:pt x="41" y="19"/>
                  </a:lnTo>
                  <a:lnTo>
                    <a:pt x="43" y="21"/>
                  </a:lnTo>
                  <a:lnTo>
                    <a:pt x="46" y="19"/>
                  </a:lnTo>
                  <a:lnTo>
                    <a:pt x="46" y="15"/>
                  </a:lnTo>
                  <a:lnTo>
                    <a:pt x="43" y="14"/>
                  </a:lnTo>
                  <a:lnTo>
                    <a:pt x="45" y="10"/>
                  </a:lnTo>
                  <a:lnTo>
                    <a:pt x="43" y="10"/>
                  </a:lnTo>
                  <a:lnTo>
                    <a:pt x="41" y="10"/>
                  </a:lnTo>
                  <a:lnTo>
                    <a:pt x="40" y="8"/>
                  </a:lnTo>
                  <a:lnTo>
                    <a:pt x="34" y="5"/>
                  </a:lnTo>
                  <a:lnTo>
                    <a:pt x="34" y="1"/>
                  </a:lnTo>
                  <a:lnTo>
                    <a:pt x="33" y="0"/>
                  </a:lnTo>
                  <a:lnTo>
                    <a:pt x="29" y="0"/>
                  </a:lnTo>
                  <a:lnTo>
                    <a:pt x="27" y="0"/>
                  </a:lnTo>
                  <a:lnTo>
                    <a:pt x="22" y="0"/>
                  </a:lnTo>
                  <a:lnTo>
                    <a:pt x="19" y="1"/>
                  </a:lnTo>
                  <a:lnTo>
                    <a:pt x="22" y="1"/>
                  </a:lnTo>
                  <a:lnTo>
                    <a:pt x="24" y="1"/>
                  </a:lnTo>
                  <a:lnTo>
                    <a:pt x="24" y="1"/>
                  </a:lnTo>
                  <a:lnTo>
                    <a:pt x="27" y="1"/>
                  </a:lnTo>
                  <a:lnTo>
                    <a:pt x="29" y="1"/>
                  </a:lnTo>
                  <a:lnTo>
                    <a:pt x="31" y="1"/>
                  </a:lnTo>
                  <a:lnTo>
                    <a:pt x="29" y="5"/>
                  </a:lnTo>
                  <a:lnTo>
                    <a:pt x="27" y="5"/>
                  </a:lnTo>
                  <a:lnTo>
                    <a:pt x="24" y="5"/>
                  </a:lnTo>
                  <a:lnTo>
                    <a:pt x="24" y="5"/>
                  </a:lnTo>
                  <a:lnTo>
                    <a:pt x="29" y="8"/>
                  </a:lnTo>
                  <a:lnTo>
                    <a:pt x="33" y="14"/>
                  </a:lnTo>
                  <a:lnTo>
                    <a:pt x="31" y="14"/>
                  </a:lnTo>
                  <a:lnTo>
                    <a:pt x="29" y="14"/>
                  </a:lnTo>
                  <a:lnTo>
                    <a:pt x="29" y="14"/>
                  </a:lnTo>
                  <a:lnTo>
                    <a:pt x="27" y="10"/>
                  </a:lnTo>
                  <a:lnTo>
                    <a:pt x="24" y="14"/>
                  </a:lnTo>
                  <a:lnTo>
                    <a:pt x="22" y="14"/>
                  </a:lnTo>
                  <a:lnTo>
                    <a:pt x="22" y="10"/>
                  </a:lnTo>
                  <a:lnTo>
                    <a:pt x="19" y="5"/>
                  </a:lnTo>
                  <a:lnTo>
                    <a:pt x="17" y="5"/>
                  </a:lnTo>
                  <a:lnTo>
                    <a:pt x="15" y="5"/>
                  </a:lnTo>
                  <a:lnTo>
                    <a:pt x="17" y="10"/>
                  </a:lnTo>
                  <a:lnTo>
                    <a:pt x="17" y="10"/>
                  </a:lnTo>
                  <a:lnTo>
                    <a:pt x="15" y="8"/>
                  </a:lnTo>
                  <a:lnTo>
                    <a:pt x="12" y="8"/>
                  </a:lnTo>
                  <a:lnTo>
                    <a:pt x="10" y="10"/>
                  </a:lnTo>
                  <a:lnTo>
                    <a:pt x="13" y="14"/>
                  </a:lnTo>
                  <a:lnTo>
                    <a:pt x="15" y="14"/>
                  </a:lnTo>
                  <a:lnTo>
                    <a:pt x="17" y="14"/>
                  </a:lnTo>
                  <a:lnTo>
                    <a:pt x="13" y="14"/>
                  </a:lnTo>
                  <a:lnTo>
                    <a:pt x="10" y="14"/>
                  </a:lnTo>
                  <a:lnTo>
                    <a:pt x="12" y="19"/>
                  </a:lnTo>
                  <a:lnTo>
                    <a:pt x="17" y="19"/>
                  </a:lnTo>
                  <a:lnTo>
                    <a:pt x="13" y="19"/>
                  </a:lnTo>
                  <a:lnTo>
                    <a:pt x="13" y="21"/>
                  </a:lnTo>
                  <a:lnTo>
                    <a:pt x="13" y="22"/>
                  </a:lnTo>
                  <a:lnTo>
                    <a:pt x="13" y="22"/>
                  </a:lnTo>
                  <a:lnTo>
                    <a:pt x="8" y="19"/>
                  </a:lnTo>
                  <a:lnTo>
                    <a:pt x="6" y="19"/>
                  </a:lnTo>
                  <a:lnTo>
                    <a:pt x="5" y="19"/>
                  </a:lnTo>
                  <a:lnTo>
                    <a:pt x="6" y="22"/>
                  </a:lnTo>
                  <a:lnTo>
                    <a:pt x="8" y="28"/>
                  </a:lnTo>
                  <a:lnTo>
                    <a:pt x="6" y="28"/>
                  </a:lnTo>
                  <a:lnTo>
                    <a:pt x="3" y="22"/>
                  </a:lnTo>
                  <a:lnTo>
                    <a:pt x="1" y="21"/>
                  </a:lnTo>
                  <a:lnTo>
                    <a:pt x="0" y="24"/>
                  </a:lnTo>
                  <a:lnTo>
                    <a:pt x="3" y="28"/>
                  </a:lnTo>
                  <a:lnTo>
                    <a:pt x="5" y="29"/>
                  </a:lnTo>
                  <a:lnTo>
                    <a:pt x="10" y="31"/>
                  </a:lnTo>
                  <a:lnTo>
                    <a:pt x="12" y="28"/>
                  </a:lnTo>
                  <a:lnTo>
                    <a:pt x="17" y="28"/>
                  </a:lnTo>
                  <a:lnTo>
                    <a:pt x="19" y="22"/>
                  </a:lnTo>
                  <a:lnTo>
                    <a:pt x="19" y="24"/>
                  </a:lnTo>
                  <a:lnTo>
                    <a:pt x="19" y="28"/>
                  </a:lnTo>
                  <a:lnTo>
                    <a:pt x="19" y="28"/>
                  </a:lnTo>
                  <a:lnTo>
                    <a:pt x="22" y="24"/>
                  </a:lnTo>
                  <a:lnTo>
                    <a:pt x="22" y="28"/>
                  </a:lnTo>
                  <a:lnTo>
                    <a:pt x="24" y="28"/>
                  </a:lnTo>
                  <a:lnTo>
                    <a:pt x="27" y="28"/>
                  </a:lnTo>
                  <a:lnTo>
                    <a:pt x="27" y="24"/>
                  </a:lnTo>
                  <a:lnTo>
                    <a:pt x="27" y="28"/>
                  </a:lnTo>
                  <a:lnTo>
                    <a:pt x="29" y="28"/>
                  </a:lnTo>
                  <a:lnTo>
                    <a:pt x="33" y="24"/>
                  </a:lnTo>
                  <a:lnTo>
                    <a:pt x="33" y="28"/>
                  </a:lnTo>
                  <a:lnTo>
                    <a:pt x="31" y="29"/>
                  </a:lnTo>
                  <a:lnTo>
                    <a:pt x="33" y="31"/>
                  </a:lnTo>
                  <a:lnTo>
                    <a:pt x="36" y="28"/>
                  </a:lnTo>
                  <a:lnTo>
                    <a:pt x="40" y="31"/>
                  </a:lnTo>
                  <a:lnTo>
                    <a:pt x="38" y="31"/>
                  </a:lnTo>
                  <a:lnTo>
                    <a:pt x="34" y="31"/>
                  </a:lnTo>
                  <a:lnTo>
                    <a:pt x="33" y="33"/>
                  </a:lnTo>
                  <a:lnTo>
                    <a:pt x="29" y="34"/>
                  </a:lnTo>
                  <a:lnTo>
                    <a:pt x="24" y="36"/>
                  </a:lnTo>
                  <a:lnTo>
                    <a:pt x="24" y="36"/>
                  </a:lnTo>
                  <a:lnTo>
                    <a:pt x="31" y="38"/>
                  </a:lnTo>
                  <a:lnTo>
                    <a:pt x="34" y="38"/>
                  </a:lnTo>
                  <a:lnTo>
                    <a:pt x="34" y="36"/>
                  </a:lnTo>
                  <a:lnTo>
                    <a:pt x="38" y="34"/>
                  </a:lnTo>
                  <a:lnTo>
                    <a:pt x="38" y="38"/>
                  </a:lnTo>
                  <a:lnTo>
                    <a:pt x="34" y="41"/>
                  </a:lnTo>
                  <a:lnTo>
                    <a:pt x="29" y="41"/>
                  </a:lnTo>
                  <a:lnTo>
                    <a:pt x="27" y="41"/>
                  </a:lnTo>
                  <a:lnTo>
                    <a:pt x="24" y="43"/>
                  </a:lnTo>
                  <a:lnTo>
                    <a:pt x="22" y="41"/>
                  </a:lnTo>
                  <a:lnTo>
                    <a:pt x="22" y="41"/>
                  </a:lnTo>
                  <a:lnTo>
                    <a:pt x="22" y="40"/>
                  </a:lnTo>
                  <a:lnTo>
                    <a:pt x="19" y="40"/>
                  </a:lnTo>
                  <a:lnTo>
                    <a:pt x="19" y="40"/>
                  </a:lnTo>
                  <a:lnTo>
                    <a:pt x="19" y="41"/>
                  </a:lnTo>
                  <a:lnTo>
                    <a:pt x="19" y="43"/>
                  </a:lnTo>
                  <a:lnTo>
                    <a:pt x="17" y="41"/>
                  </a:lnTo>
                  <a:lnTo>
                    <a:pt x="13" y="43"/>
                  </a:lnTo>
                  <a:lnTo>
                    <a:pt x="10" y="43"/>
                  </a:lnTo>
                  <a:lnTo>
                    <a:pt x="6" y="43"/>
                  </a:lnTo>
                  <a:lnTo>
                    <a:pt x="3" y="43"/>
                  </a:lnTo>
                  <a:lnTo>
                    <a:pt x="1" y="43"/>
                  </a:lnTo>
                  <a:lnTo>
                    <a:pt x="5" y="47"/>
                  </a:lnTo>
                  <a:lnTo>
                    <a:pt x="6" y="50"/>
                  </a:lnTo>
                  <a:lnTo>
                    <a:pt x="10" y="50"/>
                  </a:lnTo>
                  <a:lnTo>
                    <a:pt x="10" y="50"/>
                  </a:lnTo>
                  <a:lnTo>
                    <a:pt x="17" y="52"/>
                  </a:lnTo>
                  <a:lnTo>
                    <a:pt x="22" y="50"/>
                  </a:lnTo>
                  <a:lnTo>
                    <a:pt x="27" y="50"/>
                  </a:lnTo>
                  <a:lnTo>
                    <a:pt x="27" y="52"/>
                  </a:lnTo>
                  <a:lnTo>
                    <a:pt x="22" y="54"/>
                  </a:lnTo>
                  <a:lnTo>
                    <a:pt x="22" y="55"/>
                  </a:lnTo>
                  <a:lnTo>
                    <a:pt x="27" y="57"/>
                  </a:lnTo>
                  <a:lnTo>
                    <a:pt x="27" y="61"/>
                  </a:lnTo>
                  <a:lnTo>
                    <a:pt x="29" y="61"/>
                  </a:lnTo>
                  <a:lnTo>
                    <a:pt x="34" y="57"/>
                  </a:lnTo>
                  <a:lnTo>
                    <a:pt x="33" y="57"/>
                  </a:lnTo>
                  <a:lnTo>
                    <a:pt x="29" y="61"/>
                  </a:lnTo>
                  <a:lnTo>
                    <a:pt x="27" y="62"/>
                  </a:lnTo>
                  <a:lnTo>
                    <a:pt x="31" y="66"/>
                  </a:lnTo>
                  <a:lnTo>
                    <a:pt x="36" y="61"/>
                  </a:lnTo>
                  <a:lnTo>
                    <a:pt x="40" y="62"/>
                  </a:lnTo>
                  <a:lnTo>
                    <a:pt x="40" y="66"/>
                  </a:lnTo>
                  <a:lnTo>
                    <a:pt x="38" y="62"/>
                  </a:lnTo>
                  <a:lnTo>
                    <a:pt x="34" y="66"/>
                  </a:lnTo>
                  <a:lnTo>
                    <a:pt x="33" y="66"/>
                  </a:lnTo>
                  <a:lnTo>
                    <a:pt x="29" y="66"/>
                  </a:lnTo>
                  <a:lnTo>
                    <a:pt x="27" y="69"/>
                  </a:lnTo>
                  <a:lnTo>
                    <a:pt x="27" y="71"/>
                  </a:lnTo>
                  <a:lnTo>
                    <a:pt x="24" y="71"/>
                  </a:lnTo>
                  <a:lnTo>
                    <a:pt x="22" y="71"/>
                  </a:lnTo>
                  <a:lnTo>
                    <a:pt x="22" y="69"/>
                  </a:lnTo>
                  <a:lnTo>
                    <a:pt x="19" y="68"/>
                  </a:lnTo>
                  <a:lnTo>
                    <a:pt x="19" y="69"/>
                  </a:lnTo>
                  <a:lnTo>
                    <a:pt x="19" y="69"/>
                  </a:lnTo>
                  <a:lnTo>
                    <a:pt x="19" y="74"/>
                  </a:lnTo>
                  <a:lnTo>
                    <a:pt x="19" y="74"/>
                  </a:lnTo>
                  <a:lnTo>
                    <a:pt x="19" y="74"/>
                  </a:lnTo>
                  <a:lnTo>
                    <a:pt x="19" y="81"/>
                  </a:lnTo>
                  <a:lnTo>
                    <a:pt x="22" y="81"/>
                  </a:lnTo>
                  <a:lnTo>
                    <a:pt x="22" y="80"/>
                  </a:lnTo>
                  <a:lnTo>
                    <a:pt x="27" y="81"/>
                  </a:lnTo>
                  <a:lnTo>
                    <a:pt x="31" y="81"/>
                  </a:lnTo>
                  <a:lnTo>
                    <a:pt x="36" y="78"/>
                  </a:lnTo>
                  <a:lnTo>
                    <a:pt x="40" y="80"/>
                  </a:lnTo>
                  <a:lnTo>
                    <a:pt x="43" y="78"/>
                  </a:lnTo>
                  <a:lnTo>
                    <a:pt x="43" y="81"/>
                  </a:lnTo>
                  <a:lnTo>
                    <a:pt x="45" y="81"/>
                  </a:lnTo>
                  <a:lnTo>
                    <a:pt x="45" y="81"/>
                  </a:lnTo>
                  <a:lnTo>
                    <a:pt x="45" y="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1" name="Freeform 157">
              <a:extLst>
                <a:ext uri="{FF2B5EF4-FFF2-40B4-BE49-F238E27FC236}">
                  <a16:creationId xmlns:a16="http://schemas.microsoft.com/office/drawing/2014/main" id="{403D7CF9-BAF3-451F-AA01-E81F1C418599}"/>
                </a:ext>
              </a:extLst>
            </p:cNvPr>
            <p:cNvSpPr>
              <a:spLocks noEditPoints="1"/>
            </p:cNvSpPr>
            <p:nvPr/>
          </p:nvSpPr>
          <p:spPr bwMode="auto">
            <a:xfrm>
              <a:off x="3111500" y="887413"/>
              <a:ext cx="1144588" cy="1479550"/>
            </a:xfrm>
            <a:custGeom>
              <a:avLst/>
              <a:gdLst/>
              <a:ahLst/>
              <a:cxnLst>
                <a:cxn ang="0">
                  <a:pos x="179" y="885"/>
                </a:cxn>
                <a:cxn ang="0">
                  <a:pos x="135" y="854"/>
                </a:cxn>
                <a:cxn ang="0">
                  <a:pos x="130" y="800"/>
                </a:cxn>
                <a:cxn ang="0">
                  <a:pos x="116" y="769"/>
                </a:cxn>
                <a:cxn ang="0">
                  <a:pos x="144" y="718"/>
                </a:cxn>
                <a:cxn ang="0">
                  <a:pos x="108" y="698"/>
                </a:cxn>
                <a:cxn ang="0">
                  <a:pos x="122" y="678"/>
                </a:cxn>
                <a:cxn ang="0">
                  <a:pos x="161" y="652"/>
                </a:cxn>
                <a:cxn ang="0">
                  <a:pos x="134" y="595"/>
                </a:cxn>
                <a:cxn ang="0">
                  <a:pos x="160" y="569"/>
                </a:cxn>
                <a:cxn ang="0">
                  <a:pos x="130" y="558"/>
                </a:cxn>
                <a:cxn ang="0">
                  <a:pos x="142" y="475"/>
                </a:cxn>
                <a:cxn ang="0">
                  <a:pos x="122" y="364"/>
                </a:cxn>
                <a:cxn ang="0">
                  <a:pos x="24" y="319"/>
                </a:cxn>
                <a:cxn ang="0">
                  <a:pos x="66" y="270"/>
                </a:cxn>
                <a:cxn ang="0">
                  <a:pos x="45" y="214"/>
                </a:cxn>
                <a:cxn ang="0">
                  <a:pos x="120" y="152"/>
                </a:cxn>
                <a:cxn ang="0">
                  <a:pos x="207" y="87"/>
                </a:cxn>
                <a:cxn ang="0">
                  <a:pos x="297" y="87"/>
                </a:cxn>
                <a:cxn ang="0">
                  <a:pos x="365" y="82"/>
                </a:cxn>
                <a:cxn ang="0">
                  <a:pos x="424" y="52"/>
                </a:cxn>
                <a:cxn ang="0">
                  <a:pos x="452" y="32"/>
                </a:cxn>
                <a:cxn ang="0">
                  <a:pos x="585" y="28"/>
                </a:cxn>
                <a:cxn ang="0">
                  <a:pos x="511" y="44"/>
                </a:cxn>
                <a:cxn ang="0">
                  <a:pos x="622" y="65"/>
                </a:cxn>
                <a:cxn ang="0">
                  <a:pos x="526" y="110"/>
                </a:cxn>
                <a:cxn ang="0">
                  <a:pos x="591" y="141"/>
                </a:cxn>
                <a:cxn ang="0">
                  <a:pos x="617" y="169"/>
                </a:cxn>
                <a:cxn ang="0">
                  <a:pos x="686" y="183"/>
                </a:cxn>
                <a:cxn ang="0">
                  <a:pos x="622" y="230"/>
                </a:cxn>
                <a:cxn ang="0">
                  <a:pos x="618" y="355"/>
                </a:cxn>
                <a:cxn ang="0">
                  <a:pos x="584" y="386"/>
                </a:cxn>
                <a:cxn ang="0">
                  <a:pos x="594" y="451"/>
                </a:cxn>
                <a:cxn ang="0">
                  <a:pos x="594" y="485"/>
                </a:cxn>
                <a:cxn ang="0">
                  <a:pos x="542" y="508"/>
                </a:cxn>
                <a:cxn ang="0">
                  <a:pos x="497" y="525"/>
                </a:cxn>
                <a:cxn ang="0">
                  <a:pos x="528" y="553"/>
                </a:cxn>
                <a:cxn ang="0">
                  <a:pos x="554" y="626"/>
                </a:cxn>
                <a:cxn ang="0">
                  <a:pos x="492" y="588"/>
                </a:cxn>
                <a:cxn ang="0">
                  <a:pos x="483" y="638"/>
                </a:cxn>
                <a:cxn ang="0">
                  <a:pos x="504" y="672"/>
                </a:cxn>
                <a:cxn ang="0">
                  <a:pos x="406" y="678"/>
                </a:cxn>
                <a:cxn ang="0">
                  <a:pos x="347" y="758"/>
                </a:cxn>
                <a:cxn ang="0">
                  <a:pos x="287" y="781"/>
                </a:cxn>
                <a:cxn ang="0">
                  <a:pos x="257" y="837"/>
                </a:cxn>
                <a:cxn ang="0">
                  <a:pos x="233" y="877"/>
                </a:cxn>
                <a:cxn ang="0">
                  <a:pos x="215" y="922"/>
                </a:cxn>
                <a:cxn ang="0">
                  <a:pos x="241" y="852"/>
                </a:cxn>
                <a:cxn ang="0">
                  <a:pos x="320" y="769"/>
                </a:cxn>
                <a:cxn ang="0">
                  <a:pos x="552" y="552"/>
                </a:cxn>
                <a:cxn ang="0">
                  <a:pos x="533" y="520"/>
                </a:cxn>
                <a:cxn ang="0">
                  <a:pos x="629" y="459"/>
                </a:cxn>
                <a:cxn ang="0">
                  <a:pos x="610" y="336"/>
                </a:cxn>
                <a:cxn ang="0">
                  <a:pos x="664" y="136"/>
                </a:cxn>
                <a:cxn ang="0">
                  <a:pos x="446" y="19"/>
                </a:cxn>
                <a:cxn ang="0">
                  <a:pos x="370" y="99"/>
                </a:cxn>
                <a:cxn ang="0">
                  <a:pos x="16" y="273"/>
                </a:cxn>
                <a:cxn ang="0">
                  <a:pos x="142" y="482"/>
                </a:cxn>
                <a:cxn ang="0">
                  <a:pos x="135" y="510"/>
                </a:cxn>
                <a:cxn ang="0">
                  <a:pos x="172" y="899"/>
                </a:cxn>
                <a:cxn ang="0">
                  <a:pos x="108" y="718"/>
                </a:cxn>
                <a:cxn ang="0">
                  <a:pos x="165" y="586"/>
                </a:cxn>
                <a:cxn ang="0">
                  <a:pos x="161" y="618"/>
                </a:cxn>
              </a:cxnLst>
              <a:rect l="0" t="0" r="r" b="b"/>
              <a:pathLst>
                <a:path w="721" h="932">
                  <a:moveTo>
                    <a:pt x="215" y="922"/>
                  </a:moveTo>
                  <a:lnTo>
                    <a:pt x="207" y="918"/>
                  </a:lnTo>
                  <a:lnTo>
                    <a:pt x="203" y="918"/>
                  </a:lnTo>
                  <a:lnTo>
                    <a:pt x="201" y="918"/>
                  </a:lnTo>
                  <a:lnTo>
                    <a:pt x="203" y="915"/>
                  </a:lnTo>
                  <a:lnTo>
                    <a:pt x="203" y="915"/>
                  </a:lnTo>
                  <a:lnTo>
                    <a:pt x="203" y="913"/>
                  </a:lnTo>
                  <a:lnTo>
                    <a:pt x="201" y="913"/>
                  </a:lnTo>
                  <a:lnTo>
                    <a:pt x="200" y="915"/>
                  </a:lnTo>
                  <a:lnTo>
                    <a:pt x="200" y="915"/>
                  </a:lnTo>
                  <a:lnTo>
                    <a:pt x="198" y="918"/>
                  </a:lnTo>
                  <a:lnTo>
                    <a:pt x="196" y="918"/>
                  </a:lnTo>
                  <a:lnTo>
                    <a:pt x="195" y="918"/>
                  </a:lnTo>
                  <a:lnTo>
                    <a:pt x="195" y="918"/>
                  </a:lnTo>
                  <a:lnTo>
                    <a:pt x="195" y="922"/>
                  </a:lnTo>
                  <a:lnTo>
                    <a:pt x="193" y="924"/>
                  </a:lnTo>
                  <a:lnTo>
                    <a:pt x="191" y="922"/>
                  </a:lnTo>
                  <a:lnTo>
                    <a:pt x="193" y="918"/>
                  </a:lnTo>
                  <a:lnTo>
                    <a:pt x="193" y="918"/>
                  </a:lnTo>
                  <a:lnTo>
                    <a:pt x="193" y="915"/>
                  </a:lnTo>
                  <a:lnTo>
                    <a:pt x="196" y="911"/>
                  </a:lnTo>
                  <a:lnTo>
                    <a:pt x="196" y="910"/>
                  </a:lnTo>
                  <a:lnTo>
                    <a:pt x="195" y="911"/>
                  </a:lnTo>
                  <a:lnTo>
                    <a:pt x="191" y="918"/>
                  </a:lnTo>
                  <a:lnTo>
                    <a:pt x="188" y="918"/>
                  </a:lnTo>
                  <a:lnTo>
                    <a:pt x="188" y="918"/>
                  </a:lnTo>
                  <a:lnTo>
                    <a:pt x="188" y="918"/>
                  </a:lnTo>
                  <a:lnTo>
                    <a:pt x="191" y="915"/>
                  </a:lnTo>
                  <a:lnTo>
                    <a:pt x="191" y="911"/>
                  </a:lnTo>
                  <a:lnTo>
                    <a:pt x="193" y="908"/>
                  </a:lnTo>
                  <a:lnTo>
                    <a:pt x="191" y="908"/>
                  </a:lnTo>
                  <a:lnTo>
                    <a:pt x="189" y="908"/>
                  </a:lnTo>
                  <a:lnTo>
                    <a:pt x="188" y="911"/>
                  </a:lnTo>
                  <a:lnTo>
                    <a:pt x="188" y="911"/>
                  </a:lnTo>
                  <a:lnTo>
                    <a:pt x="188" y="911"/>
                  </a:lnTo>
                  <a:lnTo>
                    <a:pt x="188" y="908"/>
                  </a:lnTo>
                  <a:lnTo>
                    <a:pt x="189" y="906"/>
                  </a:lnTo>
                  <a:lnTo>
                    <a:pt x="188" y="905"/>
                  </a:lnTo>
                  <a:lnTo>
                    <a:pt x="188" y="906"/>
                  </a:lnTo>
                  <a:lnTo>
                    <a:pt x="184" y="908"/>
                  </a:lnTo>
                  <a:lnTo>
                    <a:pt x="184" y="908"/>
                  </a:lnTo>
                  <a:lnTo>
                    <a:pt x="184" y="911"/>
                  </a:lnTo>
                  <a:lnTo>
                    <a:pt x="182" y="908"/>
                  </a:lnTo>
                  <a:lnTo>
                    <a:pt x="182" y="906"/>
                  </a:lnTo>
                  <a:lnTo>
                    <a:pt x="181" y="906"/>
                  </a:lnTo>
                  <a:lnTo>
                    <a:pt x="179" y="908"/>
                  </a:lnTo>
                  <a:lnTo>
                    <a:pt x="177" y="908"/>
                  </a:lnTo>
                  <a:lnTo>
                    <a:pt x="179" y="906"/>
                  </a:lnTo>
                  <a:lnTo>
                    <a:pt x="184" y="903"/>
                  </a:lnTo>
                  <a:lnTo>
                    <a:pt x="184" y="901"/>
                  </a:lnTo>
                  <a:lnTo>
                    <a:pt x="184" y="899"/>
                  </a:lnTo>
                  <a:lnTo>
                    <a:pt x="188" y="899"/>
                  </a:lnTo>
                  <a:lnTo>
                    <a:pt x="188" y="896"/>
                  </a:lnTo>
                  <a:lnTo>
                    <a:pt x="184" y="899"/>
                  </a:lnTo>
                  <a:lnTo>
                    <a:pt x="182" y="899"/>
                  </a:lnTo>
                  <a:lnTo>
                    <a:pt x="181" y="899"/>
                  </a:lnTo>
                  <a:lnTo>
                    <a:pt x="182" y="899"/>
                  </a:lnTo>
                  <a:lnTo>
                    <a:pt x="184" y="899"/>
                  </a:lnTo>
                  <a:lnTo>
                    <a:pt x="188" y="896"/>
                  </a:lnTo>
                  <a:lnTo>
                    <a:pt x="189" y="896"/>
                  </a:lnTo>
                  <a:lnTo>
                    <a:pt x="191" y="894"/>
                  </a:lnTo>
                  <a:lnTo>
                    <a:pt x="191" y="891"/>
                  </a:lnTo>
                  <a:lnTo>
                    <a:pt x="191" y="887"/>
                  </a:lnTo>
                  <a:lnTo>
                    <a:pt x="189" y="887"/>
                  </a:lnTo>
                  <a:lnTo>
                    <a:pt x="188" y="894"/>
                  </a:lnTo>
                  <a:lnTo>
                    <a:pt x="182" y="896"/>
                  </a:lnTo>
                  <a:lnTo>
                    <a:pt x="179" y="896"/>
                  </a:lnTo>
                  <a:lnTo>
                    <a:pt x="177" y="896"/>
                  </a:lnTo>
                  <a:lnTo>
                    <a:pt x="179" y="896"/>
                  </a:lnTo>
                  <a:lnTo>
                    <a:pt x="181" y="896"/>
                  </a:lnTo>
                  <a:lnTo>
                    <a:pt x="184" y="891"/>
                  </a:lnTo>
                  <a:lnTo>
                    <a:pt x="184" y="887"/>
                  </a:lnTo>
                  <a:lnTo>
                    <a:pt x="182" y="885"/>
                  </a:lnTo>
                  <a:lnTo>
                    <a:pt x="181" y="885"/>
                  </a:lnTo>
                  <a:lnTo>
                    <a:pt x="179" y="885"/>
                  </a:lnTo>
                  <a:lnTo>
                    <a:pt x="179" y="887"/>
                  </a:lnTo>
                  <a:lnTo>
                    <a:pt x="181" y="887"/>
                  </a:lnTo>
                  <a:lnTo>
                    <a:pt x="181" y="891"/>
                  </a:lnTo>
                  <a:lnTo>
                    <a:pt x="179" y="891"/>
                  </a:lnTo>
                  <a:lnTo>
                    <a:pt x="177" y="891"/>
                  </a:lnTo>
                  <a:lnTo>
                    <a:pt x="174" y="891"/>
                  </a:lnTo>
                  <a:lnTo>
                    <a:pt x="172" y="891"/>
                  </a:lnTo>
                  <a:lnTo>
                    <a:pt x="170" y="894"/>
                  </a:lnTo>
                  <a:lnTo>
                    <a:pt x="168" y="896"/>
                  </a:lnTo>
                  <a:lnTo>
                    <a:pt x="167" y="896"/>
                  </a:lnTo>
                  <a:lnTo>
                    <a:pt x="165" y="896"/>
                  </a:lnTo>
                  <a:lnTo>
                    <a:pt x="165" y="896"/>
                  </a:lnTo>
                  <a:lnTo>
                    <a:pt x="161" y="896"/>
                  </a:lnTo>
                  <a:lnTo>
                    <a:pt x="160" y="896"/>
                  </a:lnTo>
                  <a:lnTo>
                    <a:pt x="158" y="896"/>
                  </a:lnTo>
                  <a:lnTo>
                    <a:pt x="156" y="896"/>
                  </a:lnTo>
                  <a:lnTo>
                    <a:pt x="156" y="899"/>
                  </a:lnTo>
                  <a:lnTo>
                    <a:pt x="156" y="899"/>
                  </a:lnTo>
                  <a:lnTo>
                    <a:pt x="156" y="899"/>
                  </a:lnTo>
                  <a:lnTo>
                    <a:pt x="151" y="899"/>
                  </a:lnTo>
                  <a:lnTo>
                    <a:pt x="149" y="896"/>
                  </a:lnTo>
                  <a:lnTo>
                    <a:pt x="151" y="896"/>
                  </a:lnTo>
                  <a:lnTo>
                    <a:pt x="155" y="896"/>
                  </a:lnTo>
                  <a:lnTo>
                    <a:pt x="156" y="894"/>
                  </a:lnTo>
                  <a:lnTo>
                    <a:pt x="156" y="891"/>
                  </a:lnTo>
                  <a:lnTo>
                    <a:pt x="153" y="891"/>
                  </a:lnTo>
                  <a:lnTo>
                    <a:pt x="153" y="887"/>
                  </a:lnTo>
                  <a:lnTo>
                    <a:pt x="149" y="885"/>
                  </a:lnTo>
                  <a:lnTo>
                    <a:pt x="149" y="884"/>
                  </a:lnTo>
                  <a:lnTo>
                    <a:pt x="148" y="885"/>
                  </a:lnTo>
                  <a:lnTo>
                    <a:pt x="142" y="887"/>
                  </a:lnTo>
                  <a:lnTo>
                    <a:pt x="142" y="887"/>
                  </a:lnTo>
                  <a:lnTo>
                    <a:pt x="139" y="885"/>
                  </a:lnTo>
                  <a:lnTo>
                    <a:pt x="142" y="882"/>
                  </a:lnTo>
                  <a:lnTo>
                    <a:pt x="142" y="880"/>
                  </a:lnTo>
                  <a:lnTo>
                    <a:pt x="139" y="880"/>
                  </a:lnTo>
                  <a:lnTo>
                    <a:pt x="139" y="880"/>
                  </a:lnTo>
                  <a:lnTo>
                    <a:pt x="142" y="878"/>
                  </a:lnTo>
                  <a:lnTo>
                    <a:pt x="146" y="878"/>
                  </a:lnTo>
                  <a:lnTo>
                    <a:pt x="146" y="877"/>
                  </a:lnTo>
                  <a:lnTo>
                    <a:pt x="146" y="875"/>
                  </a:lnTo>
                  <a:lnTo>
                    <a:pt x="144" y="875"/>
                  </a:lnTo>
                  <a:lnTo>
                    <a:pt x="142" y="875"/>
                  </a:lnTo>
                  <a:lnTo>
                    <a:pt x="139" y="877"/>
                  </a:lnTo>
                  <a:lnTo>
                    <a:pt x="135" y="878"/>
                  </a:lnTo>
                  <a:lnTo>
                    <a:pt x="130" y="877"/>
                  </a:lnTo>
                  <a:lnTo>
                    <a:pt x="134" y="875"/>
                  </a:lnTo>
                  <a:lnTo>
                    <a:pt x="135" y="875"/>
                  </a:lnTo>
                  <a:lnTo>
                    <a:pt x="137" y="873"/>
                  </a:lnTo>
                  <a:lnTo>
                    <a:pt x="137" y="871"/>
                  </a:lnTo>
                  <a:lnTo>
                    <a:pt x="139" y="868"/>
                  </a:lnTo>
                  <a:lnTo>
                    <a:pt x="142" y="868"/>
                  </a:lnTo>
                  <a:lnTo>
                    <a:pt x="142" y="868"/>
                  </a:lnTo>
                  <a:lnTo>
                    <a:pt x="139" y="865"/>
                  </a:lnTo>
                  <a:lnTo>
                    <a:pt x="137" y="868"/>
                  </a:lnTo>
                  <a:lnTo>
                    <a:pt x="134" y="868"/>
                  </a:lnTo>
                  <a:lnTo>
                    <a:pt x="130" y="868"/>
                  </a:lnTo>
                  <a:lnTo>
                    <a:pt x="134" y="865"/>
                  </a:lnTo>
                  <a:lnTo>
                    <a:pt x="135" y="863"/>
                  </a:lnTo>
                  <a:lnTo>
                    <a:pt x="139" y="865"/>
                  </a:lnTo>
                  <a:lnTo>
                    <a:pt x="139" y="863"/>
                  </a:lnTo>
                  <a:lnTo>
                    <a:pt x="142" y="863"/>
                  </a:lnTo>
                  <a:lnTo>
                    <a:pt x="142" y="859"/>
                  </a:lnTo>
                  <a:lnTo>
                    <a:pt x="142" y="859"/>
                  </a:lnTo>
                  <a:lnTo>
                    <a:pt x="142" y="858"/>
                  </a:lnTo>
                  <a:lnTo>
                    <a:pt x="137" y="859"/>
                  </a:lnTo>
                  <a:lnTo>
                    <a:pt x="137" y="859"/>
                  </a:lnTo>
                  <a:lnTo>
                    <a:pt x="135" y="863"/>
                  </a:lnTo>
                  <a:lnTo>
                    <a:pt x="130" y="863"/>
                  </a:lnTo>
                  <a:lnTo>
                    <a:pt x="134" y="859"/>
                  </a:lnTo>
                  <a:lnTo>
                    <a:pt x="135" y="859"/>
                  </a:lnTo>
                  <a:lnTo>
                    <a:pt x="135" y="858"/>
                  </a:lnTo>
                  <a:lnTo>
                    <a:pt x="134" y="856"/>
                  </a:lnTo>
                  <a:lnTo>
                    <a:pt x="135" y="854"/>
                  </a:lnTo>
                  <a:lnTo>
                    <a:pt x="135" y="854"/>
                  </a:lnTo>
                  <a:lnTo>
                    <a:pt x="134" y="852"/>
                  </a:lnTo>
                  <a:lnTo>
                    <a:pt x="130" y="852"/>
                  </a:lnTo>
                  <a:lnTo>
                    <a:pt x="130" y="852"/>
                  </a:lnTo>
                  <a:lnTo>
                    <a:pt x="134" y="851"/>
                  </a:lnTo>
                  <a:lnTo>
                    <a:pt x="130" y="847"/>
                  </a:lnTo>
                  <a:lnTo>
                    <a:pt x="130" y="847"/>
                  </a:lnTo>
                  <a:lnTo>
                    <a:pt x="128" y="849"/>
                  </a:lnTo>
                  <a:lnTo>
                    <a:pt x="127" y="849"/>
                  </a:lnTo>
                  <a:lnTo>
                    <a:pt x="127" y="847"/>
                  </a:lnTo>
                  <a:lnTo>
                    <a:pt x="128" y="845"/>
                  </a:lnTo>
                  <a:lnTo>
                    <a:pt x="130" y="842"/>
                  </a:lnTo>
                  <a:lnTo>
                    <a:pt x="130" y="842"/>
                  </a:lnTo>
                  <a:lnTo>
                    <a:pt x="134" y="840"/>
                  </a:lnTo>
                  <a:lnTo>
                    <a:pt x="130" y="837"/>
                  </a:lnTo>
                  <a:lnTo>
                    <a:pt x="134" y="837"/>
                  </a:lnTo>
                  <a:lnTo>
                    <a:pt x="134" y="835"/>
                  </a:lnTo>
                  <a:lnTo>
                    <a:pt x="134" y="831"/>
                  </a:lnTo>
                  <a:lnTo>
                    <a:pt x="130" y="835"/>
                  </a:lnTo>
                  <a:lnTo>
                    <a:pt x="130" y="835"/>
                  </a:lnTo>
                  <a:lnTo>
                    <a:pt x="130" y="831"/>
                  </a:lnTo>
                  <a:lnTo>
                    <a:pt x="127" y="831"/>
                  </a:lnTo>
                  <a:lnTo>
                    <a:pt x="127" y="835"/>
                  </a:lnTo>
                  <a:lnTo>
                    <a:pt x="125" y="835"/>
                  </a:lnTo>
                  <a:lnTo>
                    <a:pt x="123" y="831"/>
                  </a:lnTo>
                  <a:lnTo>
                    <a:pt x="125" y="830"/>
                  </a:lnTo>
                  <a:lnTo>
                    <a:pt x="128" y="828"/>
                  </a:lnTo>
                  <a:lnTo>
                    <a:pt x="128" y="826"/>
                  </a:lnTo>
                  <a:lnTo>
                    <a:pt x="127" y="825"/>
                  </a:lnTo>
                  <a:lnTo>
                    <a:pt x="123" y="825"/>
                  </a:lnTo>
                  <a:lnTo>
                    <a:pt x="122" y="826"/>
                  </a:lnTo>
                  <a:lnTo>
                    <a:pt x="120" y="826"/>
                  </a:lnTo>
                  <a:lnTo>
                    <a:pt x="120" y="825"/>
                  </a:lnTo>
                  <a:lnTo>
                    <a:pt x="120" y="823"/>
                  </a:lnTo>
                  <a:lnTo>
                    <a:pt x="122" y="823"/>
                  </a:lnTo>
                  <a:lnTo>
                    <a:pt x="125" y="823"/>
                  </a:lnTo>
                  <a:lnTo>
                    <a:pt x="128" y="823"/>
                  </a:lnTo>
                  <a:lnTo>
                    <a:pt x="130" y="821"/>
                  </a:lnTo>
                  <a:lnTo>
                    <a:pt x="128" y="821"/>
                  </a:lnTo>
                  <a:lnTo>
                    <a:pt x="127" y="819"/>
                  </a:lnTo>
                  <a:lnTo>
                    <a:pt x="123" y="819"/>
                  </a:lnTo>
                  <a:lnTo>
                    <a:pt x="122" y="821"/>
                  </a:lnTo>
                  <a:lnTo>
                    <a:pt x="120" y="821"/>
                  </a:lnTo>
                  <a:lnTo>
                    <a:pt x="120" y="819"/>
                  </a:lnTo>
                  <a:lnTo>
                    <a:pt x="122" y="816"/>
                  </a:lnTo>
                  <a:lnTo>
                    <a:pt x="125" y="816"/>
                  </a:lnTo>
                  <a:lnTo>
                    <a:pt x="127" y="816"/>
                  </a:lnTo>
                  <a:lnTo>
                    <a:pt x="125" y="814"/>
                  </a:lnTo>
                  <a:lnTo>
                    <a:pt x="123" y="814"/>
                  </a:lnTo>
                  <a:lnTo>
                    <a:pt x="122" y="812"/>
                  </a:lnTo>
                  <a:lnTo>
                    <a:pt x="123" y="812"/>
                  </a:lnTo>
                  <a:lnTo>
                    <a:pt x="125" y="812"/>
                  </a:lnTo>
                  <a:lnTo>
                    <a:pt x="127" y="814"/>
                  </a:lnTo>
                  <a:lnTo>
                    <a:pt x="130" y="812"/>
                  </a:lnTo>
                  <a:lnTo>
                    <a:pt x="130" y="812"/>
                  </a:lnTo>
                  <a:lnTo>
                    <a:pt x="130" y="809"/>
                  </a:lnTo>
                  <a:lnTo>
                    <a:pt x="130" y="812"/>
                  </a:lnTo>
                  <a:lnTo>
                    <a:pt x="127" y="812"/>
                  </a:lnTo>
                  <a:lnTo>
                    <a:pt x="125" y="812"/>
                  </a:lnTo>
                  <a:lnTo>
                    <a:pt x="123" y="812"/>
                  </a:lnTo>
                  <a:lnTo>
                    <a:pt x="122" y="812"/>
                  </a:lnTo>
                  <a:lnTo>
                    <a:pt x="120" y="812"/>
                  </a:lnTo>
                  <a:lnTo>
                    <a:pt x="120" y="814"/>
                  </a:lnTo>
                  <a:lnTo>
                    <a:pt x="116" y="812"/>
                  </a:lnTo>
                  <a:lnTo>
                    <a:pt x="116" y="809"/>
                  </a:lnTo>
                  <a:lnTo>
                    <a:pt x="116" y="809"/>
                  </a:lnTo>
                  <a:lnTo>
                    <a:pt x="120" y="809"/>
                  </a:lnTo>
                  <a:lnTo>
                    <a:pt x="123" y="807"/>
                  </a:lnTo>
                  <a:lnTo>
                    <a:pt x="123" y="804"/>
                  </a:lnTo>
                  <a:lnTo>
                    <a:pt x="120" y="807"/>
                  </a:lnTo>
                  <a:lnTo>
                    <a:pt x="116" y="804"/>
                  </a:lnTo>
                  <a:lnTo>
                    <a:pt x="116" y="804"/>
                  </a:lnTo>
                  <a:lnTo>
                    <a:pt x="116" y="800"/>
                  </a:lnTo>
                  <a:lnTo>
                    <a:pt x="120" y="800"/>
                  </a:lnTo>
                  <a:lnTo>
                    <a:pt x="127" y="800"/>
                  </a:lnTo>
                  <a:lnTo>
                    <a:pt x="130" y="800"/>
                  </a:lnTo>
                  <a:lnTo>
                    <a:pt x="135" y="800"/>
                  </a:lnTo>
                  <a:lnTo>
                    <a:pt x="137" y="797"/>
                  </a:lnTo>
                  <a:lnTo>
                    <a:pt x="137" y="797"/>
                  </a:lnTo>
                  <a:lnTo>
                    <a:pt x="135" y="797"/>
                  </a:lnTo>
                  <a:lnTo>
                    <a:pt x="130" y="795"/>
                  </a:lnTo>
                  <a:lnTo>
                    <a:pt x="128" y="797"/>
                  </a:lnTo>
                  <a:lnTo>
                    <a:pt x="123" y="798"/>
                  </a:lnTo>
                  <a:lnTo>
                    <a:pt x="122" y="800"/>
                  </a:lnTo>
                  <a:lnTo>
                    <a:pt x="120" y="800"/>
                  </a:lnTo>
                  <a:lnTo>
                    <a:pt x="116" y="798"/>
                  </a:lnTo>
                  <a:lnTo>
                    <a:pt x="120" y="797"/>
                  </a:lnTo>
                  <a:lnTo>
                    <a:pt x="123" y="798"/>
                  </a:lnTo>
                  <a:lnTo>
                    <a:pt x="125" y="797"/>
                  </a:lnTo>
                  <a:lnTo>
                    <a:pt x="128" y="791"/>
                  </a:lnTo>
                  <a:lnTo>
                    <a:pt x="130" y="791"/>
                  </a:lnTo>
                  <a:lnTo>
                    <a:pt x="134" y="791"/>
                  </a:lnTo>
                  <a:lnTo>
                    <a:pt x="135" y="795"/>
                  </a:lnTo>
                  <a:lnTo>
                    <a:pt x="137" y="795"/>
                  </a:lnTo>
                  <a:lnTo>
                    <a:pt x="139" y="793"/>
                  </a:lnTo>
                  <a:lnTo>
                    <a:pt x="137" y="793"/>
                  </a:lnTo>
                  <a:lnTo>
                    <a:pt x="134" y="790"/>
                  </a:lnTo>
                  <a:lnTo>
                    <a:pt x="130" y="790"/>
                  </a:lnTo>
                  <a:lnTo>
                    <a:pt x="130" y="788"/>
                  </a:lnTo>
                  <a:lnTo>
                    <a:pt x="130" y="786"/>
                  </a:lnTo>
                  <a:lnTo>
                    <a:pt x="134" y="786"/>
                  </a:lnTo>
                  <a:lnTo>
                    <a:pt x="135" y="785"/>
                  </a:lnTo>
                  <a:lnTo>
                    <a:pt x="135" y="785"/>
                  </a:lnTo>
                  <a:lnTo>
                    <a:pt x="137" y="788"/>
                  </a:lnTo>
                  <a:lnTo>
                    <a:pt x="139" y="791"/>
                  </a:lnTo>
                  <a:lnTo>
                    <a:pt x="142" y="793"/>
                  </a:lnTo>
                  <a:lnTo>
                    <a:pt x="142" y="791"/>
                  </a:lnTo>
                  <a:lnTo>
                    <a:pt x="142" y="790"/>
                  </a:lnTo>
                  <a:lnTo>
                    <a:pt x="139" y="788"/>
                  </a:lnTo>
                  <a:lnTo>
                    <a:pt x="139" y="785"/>
                  </a:lnTo>
                  <a:lnTo>
                    <a:pt x="142" y="781"/>
                  </a:lnTo>
                  <a:lnTo>
                    <a:pt x="142" y="781"/>
                  </a:lnTo>
                  <a:lnTo>
                    <a:pt x="139" y="781"/>
                  </a:lnTo>
                  <a:lnTo>
                    <a:pt x="139" y="781"/>
                  </a:lnTo>
                  <a:lnTo>
                    <a:pt x="137" y="781"/>
                  </a:lnTo>
                  <a:lnTo>
                    <a:pt x="135" y="781"/>
                  </a:lnTo>
                  <a:lnTo>
                    <a:pt x="134" y="781"/>
                  </a:lnTo>
                  <a:lnTo>
                    <a:pt x="130" y="785"/>
                  </a:lnTo>
                  <a:lnTo>
                    <a:pt x="128" y="785"/>
                  </a:lnTo>
                  <a:lnTo>
                    <a:pt x="127" y="785"/>
                  </a:lnTo>
                  <a:lnTo>
                    <a:pt x="127" y="785"/>
                  </a:lnTo>
                  <a:lnTo>
                    <a:pt x="128" y="781"/>
                  </a:lnTo>
                  <a:lnTo>
                    <a:pt x="128" y="781"/>
                  </a:lnTo>
                  <a:lnTo>
                    <a:pt x="127" y="781"/>
                  </a:lnTo>
                  <a:lnTo>
                    <a:pt x="125" y="785"/>
                  </a:lnTo>
                  <a:lnTo>
                    <a:pt x="123" y="785"/>
                  </a:lnTo>
                  <a:lnTo>
                    <a:pt x="120" y="788"/>
                  </a:lnTo>
                  <a:lnTo>
                    <a:pt x="120" y="790"/>
                  </a:lnTo>
                  <a:lnTo>
                    <a:pt x="116" y="793"/>
                  </a:lnTo>
                  <a:lnTo>
                    <a:pt x="115" y="793"/>
                  </a:lnTo>
                  <a:lnTo>
                    <a:pt x="115" y="790"/>
                  </a:lnTo>
                  <a:lnTo>
                    <a:pt x="115" y="786"/>
                  </a:lnTo>
                  <a:lnTo>
                    <a:pt x="116" y="785"/>
                  </a:lnTo>
                  <a:lnTo>
                    <a:pt x="113" y="785"/>
                  </a:lnTo>
                  <a:lnTo>
                    <a:pt x="115" y="781"/>
                  </a:lnTo>
                  <a:lnTo>
                    <a:pt x="115" y="778"/>
                  </a:lnTo>
                  <a:lnTo>
                    <a:pt x="116" y="778"/>
                  </a:lnTo>
                  <a:lnTo>
                    <a:pt x="120" y="778"/>
                  </a:lnTo>
                  <a:lnTo>
                    <a:pt x="123" y="778"/>
                  </a:lnTo>
                  <a:lnTo>
                    <a:pt x="125" y="772"/>
                  </a:lnTo>
                  <a:lnTo>
                    <a:pt x="127" y="772"/>
                  </a:lnTo>
                  <a:lnTo>
                    <a:pt x="125" y="772"/>
                  </a:lnTo>
                  <a:lnTo>
                    <a:pt x="123" y="772"/>
                  </a:lnTo>
                  <a:lnTo>
                    <a:pt x="122" y="772"/>
                  </a:lnTo>
                  <a:lnTo>
                    <a:pt x="120" y="772"/>
                  </a:lnTo>
                  <a:lnTo>
                    <a:pt x="120" y="776"/>
                  </a:lnTo>
                  <a:lnTo>
                    <a:pt x="116" y="778"/>
                  </a:lnTo>
                  <a:lnTo>
                    <a:pt x="116" y="778"/>
                  </a:lnTo>
                  <a:lnTo>
                    <a:pt x="115" y="772"/>
                  </a:lnTo>
                  <a:lnTo>
                    <a:pt x="115" y="769"/>
                  </a:lnTo>
                  <a:lnTo>
                    <a:pt x="116" y="769"/>
                  </a:lnTo>
                  <a:lnTo>
                    <a:pt x="116" y="765"/>
                  </a:lnTo>
                  <a:lnTo>
                    <a:pt x="115" y="762"/>
                  </a:lnTo>
                  <a:lnTo>
                    <a:pt x="115" y="762"/>
                  </a:lnTo>
                  <a:lnTo>
                    <a:pt x="113" y="765"/>
                  </a:lnTo>
                  <a:lnTo>
                    <a:pt x="111" y="764"/>
                  </a:lnTo>
                  <a:lnTo>
                    <a:pt x="108" y="762"/>
                  </a:lnTo>
                  <a:lnTo>
                    <a:pt x="113" y="760"/>
                  </a:lnTo>
                  <a:lnTo>
                    <a:pt x="116" y="760"/>
                  </a:lnTo>
                  <a:lnTo>
                    <a:pt x="116" y="758"/>
                  </a:lnTo>
                  <a:lnTo>
                    <a:pt x="122" y="757"/>
                  </a:lnTo>
                  <a:lnTo>
                    <a:pt x="123" y="755"/>
                  </a:lnTo>
                  <a:lnTo>
                    <a:pt x="125" y="755"/>
                  </a:lnTo>
                  <a:lnTo>
                    <a:pt x="125" y="753"/>
                  </a:lnTo>
                  <a:lnTo>
                    <a:pt x="127" y="750"/>
                  </a:lnTo>
                  <a:lnTo>
                    <a:pt x="128" y="753"/>
                  </a:lnTo>
                  <a:lnTo>
                    <a:pt x="128" y="750"/>
                  </a:lnTo>
                  <a:lnTo>
                    <a:pt x="135" y="750"/>
                  </a:lnTo>
                  <a:lnTo>
                    <a:pt x="137" y="753"/>
                  </a:lnTo>
                  <a:lnTo>
                    <a:pt x="139" y="753"/>
                  </a:lnTo>
                  <a:lnTo>
                    <a:pt x="139" y="750"/>
                  </a:lnTo>
                  <a:lnTo>
                    <a:pt x="135" y="750"/>
                  </a:lnTo>
                  <a:lnTo>
                    <a:pt x="134" y="748"/>
                  </a:lnTo>
                  <a:lnTo>
                    <a:pt x="130" y="748"/>
                  </a:lnTo>
                  <a:lnTo>
                    <a:pt x="125" y="750"/>
                  </a:lnTo>
                  <a:lnTo>
                    <a:pt x="123" y="750"/>
                  </a:lnTo>
                  <a:lnTo>
                    <a:pt x="122" y="750"/>
                  </a:lnTo>
                  <a:lnTo>
                    <a:pt x="122" y="753"/>
                  </a:lnTo>
                  <a:lnTo>
                    <a:pt x="120" y="755"/>
                  </a:lnTo>
                  <a:lnTo>
                    <a:pt x="116" y="755"/>
                  </a:lnTo>
                  <a:lnTo>
                    <a:pt x="116" y="758"/>
                  </a:lnTo>
                  <a:lnTo>
                    <a:pt x="115" y="758"/>
                  </a:lnTo>
                  <a:lnTo>
                    <a:pt x="113" y="757"/>
                  </a:lnTo>
                  <a:lnTo>
                    <a:pt x="115" y="755"/>
                  </a:lnTo>
                  <a:lnTo>
                    <a:pt x="111" y="753"/>
                  </a:lnTo>
                  <a:lnTo>
                    <a:pt x="113" y="753"/>
                  </a:lnTo>
                  <a:lnTo>
                    <a:pt x="115" y="750"/>
                  </a:lnTo>
                  <a:lnTo>
                    <a:pt x="111" y="750"/>
                  </a:lnTo>
                  <a:lnTo>
                    <a:pt x="108" y="750"/>
                  </a:lnTo>
                  <a:lnTo>
                    <a:pt x="108" y="748"/>
                  </a:lnTo>
                  <a:lnTo>
                    <a:pt x="108" y="745"/>
                  </a:lnTo>
                  <a:lnTo>
                    <a:pt x="111" y="745"/>
                  </a:lnTo>
                  <a:lnTo>
                    <a:pt x="115" y="743"/>
                  </a:lnTo>
                  <a:lnTo>
                    <a:pt x="116" y="743"/>
                  </a:lnTo>
                  <a:lnTo>
                    <a:pt x="116" y="745"/>
                  </a:lnTo>
                  <a:lnTo>
                    <a:pt x="120" y="745"/>
                  </a:lnTo>
                  <a:lnTo>
                    <a:pt x="122" y="743"/>
                  </a:lnTo>
                  <a:lnTo>
                    <a:pt x="123" y="741"/>
                  </a:lnTo>
                  <a:lnTo>
                    <a:pt x="127" y="741"/>
                  </a:lnTo>
                  <a:lnTo>
                    <a:pt x="127" y="739"/>
                  </a:lnTo>
                  <a:lnTo>
                    <a:pt x="127" y="739"/>
                  </a:lnTo>
                  <a:lnTo>
                    <a:pt x="123" y="738"/>
                  </a:lnTo>
                  <a:lnTo>
                    <a:pt x="120" y="741"/>
                  </a:lnTo>
                  <a:lnTo>
                    <a:pt x="120" y="743"/>
                  </a:lnTo>
                  <a:lnTo>
                    <a:pt x="116" y="741"/>
                  </a:lnTo>
                  <a:lnTo>
                    <a:pt x="116" y="739"/>
                  </a:lnTo>
                  <a:lnTo>
                    <a:pt x="115" y="739"/>
                  </a:lnTo>
                  <a:lnTo>
                    <a:pt x="113" y="741"/>
                  </a:lnTo>
                  <a:lnTo>
                    <a:pt x="108" y="743"/>
                  </a:lnTo>
                  <a:lnTo>
                    <a:pt x="108" y="741"/>
                  </a:lnTo>
                  <a:lnTo>
                    <a:pt x="108" y="741"/>
                  </a:lnTo>
                  <a:lnTo>
                    <a:pt x="106" y="741"/>
                  </a:lnTo>
                  <a:lnTo>
                    <a:pt x="104" y="741"/>
                  </a:lnTo>
                  <a:lnTo>
                    <a:pt x="104" y="739"/>
                  </a:lnTo>
                  <a:lnTo>
                    <a:pt x="106" y="739"/>
                  </a:lnTo>
                  <a:lnTo>
                    <a:pt x="111" y="738"/>
                  </a:lnTo>
                  <a:lnTo>
                    <a:pt x="116" y="734"/>
                  </a:lnTo>
                  <a:lnTo>
                    <a:pt x="120" y="734"/>
                  </a:lnTo>
                  <a:lnTo>
                    <a:pt x="123" y="732"/>
                  </a:lnTo>
                  <a:lnTo>
                    <a:pt x="125" y="729"/>
                  </a:lnTo>
                  <a:lnTo>
                    <a:pt x="130" y="725"/>
                  </a:lnTo>
                  <a:lnTo>
                    <a:pt x="137" y="722"/>
                  </a:lnTo>
                  <a:lnTo>
                    <a:pt x="139" y="720"/>
                  </a:lnTo>
                  <a:lnTo>
                    <a:pt x="142" y="720"/>
                  </a:lnTo>
                  <a:lnTo>
                    <a:pt x="144" y="718"/>
                  </a:lnTo>
                  <a:lnTo>
                    <a:pt x="144" y="718"/>
                  </a:lnTo>
                  <a:lnTo>
                    <a:pt x="142" y="717"/>
                  </a:lnTo>
                  <a:lnTo>
                    <a:pt x="139" y="718"/>
                  </a:lnTo>
                  <a:lnTo>
                    <a:pt x="128" y="722"/>
                  </a:lnTo>
                  <a:lnTo>
                    <a:pt x="125" y="725"/>
                  </a:lnTo>
                  <a:lnTo>
                    <a:pt x="123" y="729"/>
                  </a:lnTo>
                  <a:lnTo>
                    <a:pt x="120" y="731"/>
                  </a:lnTo>
                  <a:lnTo>
                    <a:pt x="115" y="732"/>
                  </a:lnTo>
                  <a:lnTo>
                    <a:pt x="113" y="734"/>
                  </a:lnTo>
                  <a:lnTo>
                    <a:pt x="106" y="736"/>
                  </a:lnTo>
                  <a:lnTo>
                    <a:pt x="102" y="736"/>
                  </a:lnTo>
                  <a:lnTo>
                    <a:pt x="102" y="734"/>
                  </a:lnTo>
                  <a:lnTo>
                    <a:pt x="104" y="734"/>
                  </a:lnTo>
                  <a:lnTo>
                    <a:pt x="104" y="727"/>
                  </a:lnTo>
                  <a:lnTo>
                    <a:pt x="106" y="725"/>
                  </a:lnTo>
                  <a:lnTo>
                    <a:pt x="108" y="725"/>
                  </a:lnTo>
                  <a:lnTo>
                    <a:pt x="108" y="727"/>
                  </a:lnTo>
                  <a:lnTo>
                    <a:pt x="113" y="725"/>
                  </a:lnTo>
                  <a:lnTo>
                    <a:pt x="116" y="725"/>
                  </a:lnTo>
                  <a:lnTo>
                    <a:pt x="120" y="725"/>
                  </a:lnTo>
                  <a:lnTo>
                    <a:pt x="116" y="725"/>
                  </a:lnTo>
                  <a:lnTo>
                    <a:pt x="116" y="725"/>
                  </a:lnTo>
                  <a:lnTo>
                    <a:pt x="113" y="725"/>
                  </a:lnTo>
                  <a:lnTo>
                    <a:pt x="111" y="725"/>
                  </a:lnTo>
                  <a:lnTo>
                    <a:pt x="108" y="725"/>
                  </a:lnTo>
                  <a:lnTo>
                    <a:pt x="108" y="722"/>
                  </a:lnTo>
                  <a:lnTo>
                    <a:pt x="108" y="722"/>
                  </a:lnTo>
                  <a:lnTo>
                    <a:pt x="111" y="720"/>
                  </a:lnTo>
                  <a:lnTo>
                    <a:pt x="115" y="722"/>
                  </a:lnTo>
                  <a:lnTo>
                    <a:pt x="116" y="722"/>
                  </a:lnTo>
                  <a:lnTo>
                    <a:pt x="120" y="722"/>
                  </a:lnTo>
                  <a:lnTo>
                    <a:pt x="120" y="720"/>
                  </a:lnTo>
                  <a:lnTo>
                    <a:pt x="116" y="720"/>
                  </a:lnTo>
                  <a:lnTo>
                    <a:pt x="116" y="720"/>
                  </a:lnTo>
                  <a:lnTo>
                    <a:pt x="116" y="718"/>
                  </a:lnTo>
                  <a:lnTo>
                    <a:pt x="116" y="717"/>
                  </a:lnTo>
                  <a:lnTo>
                    <a:pt x="120" y="717"/>
                  </a:lnTo>
                  <a:lnTo>
                    <a:pt x="120" y="717"/>
                  </a:lnTo>
                  <a:lnTo>
                    <a:pt x="120" y="717"/>
                  </a:lnTo>
                  <a:lnTo>
                    <a:pt x="122" y="717"/>
                  </a:lnTo>
                  <a:lnTo>
                    <a:pt x="123" y="717"/>
                  </a:lnTo>
                  <a:lnTo>
                    <a:pt x="123" y="713"/>
                  </a:lnTo>
                  <a:lnTo>
                    <a:pt x="123" y="712"/>
                  </a:lnTo>
                  <a:lnTo>
                    <a:pt x="123" y="712"/>
                  </a:lnTo>
                  <a:lnTo>
                    <a:pt x="120" y="712"/>
                  </a:lnTo>
                  <a:lnTo>
                    <a:pt x="120" y="713"/>
                  </a:lnTo>
                  <a:lnTo>
                    <a:pt x="116" y="713"/>
                  </a:lnTo>
                  <a:lnTo>
                    <a:pt x="108" y="710"/>
                  </a:lnTo>
                  <a:lnTo>
                    <a:pt x="108" y="710"/>
                  </a:lnTo>
                  <a:lnTo>
                    <a:pt x="104" y="708"/>
                  </a:lnTo>
                  <a:lnTo>
                    <a:pt x="106" y="708"/>
                  </a:lnTo>
                  <a:lnTo>
                    <a:pt x="108" y="708"/>
                  </a:lnTo>
                  <a:lnTo>
                    <a:pt x="111" y="708"/>
                  </a:lnTo>
                  <a:lnTo>
                    <a:pt x="113" y="708"/>
                  </a:lnTo>
                  <a:lnTo>
                    <a:pt x="111" y="706"/>
                  </a:lnTo>
                  <a:lnTo>
                    <a:pt x="108" y="706"/>
                  </a:lnTo>
                  <a:lnTo>
                    <a:pt x="108" y="705"/>
                  </a:lnTo>
                  <a:lnTo>
                    <a:pt x="108" y="703"/>
                  </a:lnTo>
                  <a:lnTo>
                    <a:pt x="113" y="703"/>
                  </a:lnTo>
                  <a:lnTo>
                    <a:pt x="113" y="703"/>
                  </a:lnTo>
                  <a:lnTo>
                    <a:pt x="116" y="703"/>
                  </a:lnTo>
                  <a:lnTo>
                    <a:pt x="127" y="703"/>
                  </a:lnTo>
                  <a:lnTo>
                    <a:pt x="130" y="703"/>
                  </a:lnTo>
                  <a:lnTo>
                    <a:pt x="134" y="703"/>
                  </a:lnTo>
                  <a:lnTo>
                    <a:pt x="135" y="703"/>
                  </a:lnTo>
                  <a:lnTo>
                    <a:pt x="135" y="703"/>
                  </a:lnTo>
                  <a:lnTo>
                    <a:pt x="130" y="699"/>
                  </a:lnTo>
                  <a:lnTo>
                    <a:pt x="125" y="699"/>
                  </a:lnTo>
                  <a:lnTo>
                    <a:pt x="120" y="699"/>
                  </a:lnTo>
                  <a:lnTo>
                    <a:pt x="116" y="703"/>
                  </a:lnTo>
                  <a:lnTo>
                    <a:pt x="116" y="699"/>
                  </a:lnTo>
                  <a:lnTo>
                    <a:pt x="115" y="699"/>
                  </a:lnTo>
                  <a:lnTo>
                    <a:pt x="111" y="699"/>
                  </a:lnTo>
                  <a:lnTo>
                    <a:pt x="108" y="703"/>
                  </a:lnTo>
                  <a:lnTo>
                    <a:pt x="108" y="703"/>
                  </a:lnTo>
                  <a:lnTo>
                    <a:pt x="108" y="698"/>
                  </a:lnTo>
                  <a:lnTo>
                    <a:pt x="111" y="698"/>
                  </a:lnTo>
                  <a:lnTo>
                    <a:pt x="113" y="694"/>
                  </a:lnTo>
                  <a:lnTo>
                    <a:pt x="116" y="694"/>
                  </a:lnTo>
                  <a:lnTo>
                    <a:pt x="120" y="691"/>
                  </a:lnTo>
                  <a:lnTo>
                    <a:pt x="120" y="689"/>
                  </a:lnTo>
                  <a:lnTo>
                    <a:pt x="122" y="685"/>
                  </a:lnTo>
                  <a:lnTo>
                    <a:pt x="123" y="685"/>
                  </a:lnTo>
                  <a:lnTo>
                    <a:pt x="125" y="689"/>
                  </a:lnTo>
                  <a:lnTo>
                    <a:pt x="128" y="685"/>
                  </a:lnTo>
                  <a:lnTo>
                    <a:pt x="130" y="685"/>
                  </a:lnTo>
                  <a:lnTo>
                    <a:pt x="130" y="685"/>
                  </a:lnTo>
                  <a:lnTo>
                    <a:pt x="134" y="689"/>
                  </a:lnTo>
                  <a:lnTo>
                    <a:pt x="137" y="689"/>
                  </a:lnTo>
                  <a:lnTo>
                    <a:pt x="139" y="691"/>
                  </a:lnTo>
                  <a:lnTo>
                    <a:pt x="142" y="691"/>
                  </a:lnTo>
                  <a:lnTo>
                    <a:pt x="146" y="694"/>
                  </a:lnTo>
                  <a:lnTo>
                    <a:pt x="149" y="698"/>
                  </a:lnTo>
                  <a:lnTo>
                    <a:pt x="153" y="698"/>
                  </a:lnTo>
                  <a:lnTo>
                    <a:pt x="158" y="699"/>
                  </a:lnTo>
                  <a:lnTo>
                    <a:pt x="160" y="698"/>
                  </a:lnTo>
                  <a:lnTo>
                    <a:pt x="161" y="698"/>
                  </a:lnTo>
                  <a:lnTo>
                    <a:pt x="161" y="698"/>
                  </a:lnTo>
                  <a:lnTo>
                    <a:pt x="161" y="698"/>
                  </a:lnTo>
                  <a:lnTo>
                    <a:pt x="158" y="698"/>
                  </a:lnTo>
                  <a:lnTo>
                    <a:pt x="158" y="698"/>
                  </a:lnTo>
                  <a:lnTo>
                    <a:pt x="155" y="698"/>
                  </a:lnTo>
                  <a:lnTo>
                    <a:pt x="151" y="694"/>
                  </a:lnTo>
                  <a:lnTo>
                    <a:pt x="148" y="691"/>
                  </a:lnTo>
                  <a:lnTo>
                    <a:pt x="148" y="691"/>
                  </a:lnTo>
                  <a:lnTo>
                    <a:pt x="149" y="691"/>
                  </a:lnTo>
                  <a:lnTo>
                    <a:pt x="155" y="691"/>
                  </a:lnTo>
                  <a:lnTo>
                    <a:pt x="160" y="689"/>
                  </a:lnTo>
                  <a:lnTo>
                    <a:pt x="161" y="685"/>
                  </a:lnTo>
                  <a:lnTo>
                    <a:pt x="160" y="685"/>
                  </a:lnTo>
                  <a:lnTo>
                    <a:pt x="156" y="684"/>
                  </a:lnTo>
                  <a:lnTo>
                    <a:pt x="155" y="684"/>
                  </a:lnTo>
                  <a:lnTo>
                    <a:pt x="155" y="685"/>
                  </a:lnTo>
                  <a:lnTo>
                    <a:pt x="155" y="685"/>
                  </a:lnTo>
                  <a:lnTo>
                    <a:pt x="155" y="685"/>
                  </a:lnTo>
                  <a:lnTo>
                    <a:pt x="149" y="685"/>
                  </a:lnTo>
                  <a:lnTo>
                    <a:pt x="148" y="685"/>
                  </a:lnTo>
                  <a:lnTo>
                    <a:pt x="148" y="684"/>
                  </a:lnTo>
                  <a:lnTo>
                    <a:pt x="149" y="684"/>
                  </a:lnTo>
                  <a:lnTo>
                    <a:pt x="151" y="684"/>
                  </a:lnTo>
                  <a:lnTo>
                    <a:pt x="151" y="682"/>
                  </a:lnTo>
                  <a:lnTo>
                    <a:pt x="149" y="680"/>
                  </a:lnTo>
                  <a:lnTo>
                    <a:pt x="148" y="680"/>
                  </a:lnTo>
                  <a:lnTo>
                    <a:pt x="148" y="680"/>
                  </a:lnTo>
                  <a:lnTo>
                    <a:pt x="146" y="680"/>
                  </a:lnTo>
                  <a:lnTo>
                    <a:pt x="144" y="680"/>
                  </a:lnTo>
                  <a:lnTo>
                    <a:pt x="144" y="682"/>
                  </a:lnTo>
                  <a:lnTo>
                    <a:pt x="144" y="684"/>
                  </a:lnTo>
                  <a:lnTo>
                    <a:pt x="144" y="685"/>
                  </a:lnTo>
                  <a:lnTo>
                    <a:pt x="142" y="689"/>
                  </a:lnTo>
                  <a:lnTo>
                    <a:pt x="139" y="691"/>
                  </a:lnTo>
                  <a:lnTo>
                    <a:pt x="139" y="689"/>
                  </a:lnTo>
                  <a:lnTo>
                    <a:pt x="135" y="685"/>
                  </a:lnTo>
                  <a:lnTo>
                    <a:pt x="134" y="685"/>
                  </a:lnTo>
                  <a:lnTo>
                    <a:pt x="130" y="684"/>
                  </a:lnTo>
                  <a:lnTo>
                    <a:pt x="130" y="682"/>
                  </a:lnTo>
                  <a:lnTo>
                    <a:pt x="130" y="682"/>
                  </a:lnTo>
                  <a:lnTo>
                    <a:pt x="128" y="684"/>
                  </a:lnTo>
                  <a:lnTo>
                    <a:pt x="125" y="685"/>
                  </a:lnTo>
                  <a:lnTo>
                    <a:pt x="122" y="685"/>
                  </a:lnTo>
                  <a:lnTo>
                    <a:pt x="120" y="685"/>
                  </a:lnTo>
                  <a:lnTo>
                    <a:pt x="116" y="691"/>
                  </a:lnTo>
                  <a:lnTo>
                    <a:pt x="115" y="691"/>
                  </a:lnTo>
                  <a:lnTo>
                    <a:pt x="113" y="691"/>
                  </a:lnTo>
                  <a:lnTo>
                    <a:pt x="113" y="689"/>
                  </a:lnTo>
                  <a:lnTo>
                    <a:pt x="116" y="684"/>
                  </a:lnTo>
                  <a:lnTo>
                    <a:pt x="120" y="684"/>
                  </a:lnTo>
                  <a:lnTo>
                    <a:pt x="120" y="682"/>
                  </a:lnTo>
                  <a:lnTo>
                    <a:pt x="120" y="680"/>
                  </a:lnTo>
                  <a:lnTo>
                    <a:pt x="120" y="680"/>
                  </a:lnTo>
                  <a:lnTo>
                    <a:pt x="122" y="678"/>
                  </a:lnTo>
                  <a:lnTo>
                    <a:pt x="122" y="677"/>
                  </a:lnTo>
                  <a:lnTo>
                    <a:pt x="123" y="675"/>
                  </a:lnTo>
                  <a:lnTo>
                    <a:pt x="125" y="675"/>
                  </a:lnTo>
                  <a:lnTo>
                    <a:pt x="127" y="677"/>
                  </a:lnTo>
                  <a:lnTo>
                    <a:pt x="130" y="678"/>
                  </a:lnTo>
                  <a:lnTo>
                    <a:pt x="135" y="678"/>
                  </a:lnTo>
                  <a:lnTo>
                    <a:pt x="135" y="678"/>
                  </a:lnTo>
                  <a:lnTo>
                    <a:pt x="134" y="677"/>
                  </a:lnTo>
                  <a:lnTo>
                    <a:pt x="130" y="677"/>
                  </a:lnTo>
                  <a:lnTo>
                    <a:pt x="128" y="675"/>
                  </a:lnTo>
                  <a:lnTo>
                    <a:pt x="125" y="672"/>
                  </a:lnTo>
                  <a:lnTo>
                    <a:pt x="123" y="670"/>
                  </a:lnTo>
                  <a:lnTo>
                    <a:pt x="122" y="668"/>
                  </a:lnTo>
                  <a:lnTo>
                    <a:pt x="122" y="666"/>
                  </a:lnTo>
                  <a:lnTo>
                    <a:pt x="123" y="666"/>
                  </a:lnTo>
                  <a:lnTo>
                    <a:pt x="127" y="666"/>
                  </a:lnTo>
                  <a:lnTo>
                    <a:pt x="130" y="672"/>
                  </a:lnTo>
                  <a:lnTo>
                    <a:pt x="134" y="675"/>
                  </a:lnTo>
                  <a:lnTo>
                    <a:pt x="134" y="673"/>
                  </a:lnTo>
                  <a:lnTo>
                    <a:pt x="134" y="672"/>
                  </a:lnTo>
                  <a:lnTo>
                    <a:pt x="130" y="668"/>
                  </a:lnTo>
                  <a:lnTo>
                    <a:pt x="134" y="668"/>
                  </a:lnTo>
                  <a:lnTo>
                    <a:pt x="135" y="672"/>
                  </a:lnTo>
                  <a:lnTo>
                    <a:pt x="135" y="673"/>
                  </a:lnTo>
                  <a:lnTo>
                    <a:pt x="142" y="677"/>
                  </a:lnTo>
                  <a:lnTo>
                    <a:pt x="142" y="677"/>
                  </a:lnTo>
                  <a:lnTo>
                    <a:pt x="144" y="675"/>
                  </a:lnTo>
                  <a:lnTo>
                    <a:pt x="148" y="675"/>
                  </a:lnTo>
                  <a:lnTo>
                    <a:pt x="149" y="677"/>
                  </a:lnTo>
                  <a:lnTo>
                    <a:pt x="153" y="680"/>
                  </a:lnTo>
                  <a:lnTo>
                    <a:pt x="156" y="680"/>
                  </a:lnTo>
                  <a:lnTo>
                    <a:pt x="156" y="682"/>
                  </a:lnTo>
                  <a:lnTo>
                    <a:pt x="160" y="682"/>
                  </a:lnTo>
                  <a:lnTo>
                    <a:pt x="160" y="680"/>
                  </a:lnTo>
                  <a:lnTo>
                    <a:pt x="156" y="678"/>
                  </a:lnTo>
                  <a:lnTo>
                    <a:pt x="149" y="672"/>
                  </a:lnTo>
                  <a:lnTo>
                    <a:pt x="148" y="670"/>
                  </a:lnTo>
                  <a:lnTo>
                    <a:pt x="149" y="668"/>
                  </a:lnTo>
                  <a:lnTo>
                    <a:pt x="153" y="668"/>
                  </a:lnTo>
                  <a:lnTo>
                    <a:pt x="153" y="666"/>
                  </a:lnTo>
                  <a:lnTo>
                    <a:pt x="155" y="663"/>
                  </a:lnTo>
                  <a:lnTo>
                    <a:pt x="156" y="663"/>
                  </a:lnTo>
                  <a:lnTo>
                    <a:pt x="156" y="663"/>
                  </a:lnTo>
                  <a:lnTo>
                    <a:pt x="153" y="663"/>
                  </a:lnTo>
                  <a:lnTo>
                    <a:pt x="151" y="663"/>
                  </a:lnTo>
                  <a:lnTo>
                    <a:pt x="146" y="663"/>
                  </a:lnTo>
                  <a:lnTo>
                    <a:pt x="144" y="663"/>
                  </a:lnTo>
                  <a:lnTo>
                    <a:pt x="146" y="666"/>
                  </a:lnTo>
                  <a:lnTo>
                    <a:pt x="148" y="666"/>
                  </a:lnTo>
                  <a:lnTo>
                    <a:pt x="148" y="668"/>
                  </a:lnTo>
                  <a:lnTo>
                    <a:pt x="142" y="668"/>
                  </a:lnTo>
                  <a:lnTo>
                    <a:pt x="142" y="668"/>
                  </a:lnTo>
                  <a:lnTo>
                    <a:pt x="139" y="668"/>
                  </a:lnTo>
                  <a:lnTo>
                    <a:pt x="137" y="668"/>
                  </a:lnTo>
                  <a:lnTo>
                    <a:pt x="135" y="666"/>
                  </a:lnTo>
                  <a:lnTo>
                    <a:pt x="134" y="666"/>
                  </a:lnTo>
                  <a:lnTo>
                    <a:pt x="130" y="663"/>
                  </a:lnTo>
                  <a:lnTo>
                    <a:pt x="134" y="663"/>
                  </a:lnTo>
                  <a:lnTo>
                    <a:pt x="135" y="663"/>
                  </a:lnTo>
                  <a:lnTo>
                    <a:pt x="134" y="663"/>
                  </a:lnTo>
                  <a:lnTo>
                    <a:pt x="130" y="663"/>
                  </a:lnTo>
                  <a:lnTo>
                    <a:pt x="130" y="663"/>
                  </a:lnTo>
                  <a:lnTo>
                    <a:pt x="134" y="661"/>
                  </a:lnTo>
                  <a:lnTo>
                    <a:pt x="139" y="659"/>
                  </a:lnTo>
                  <a:lnTo>
                    <a:pt x="139" y="658"/>
                  </a:lnTo>
                  <a:lnTo>
                    <a:pt x="142" y="658"/>
                  </a:lnTo>
                  <a:lnTo>
                    <a:pt x="144" y="659"/>
                  </a:lnTo>
                  <a:lnTo>
                    <a:pt x="148" y="659"/>
                  </a:lnTo>
                  <a:lnTo>
                    <a:pt x="151" y="659"/>
                  </a:lnTo>
                  <a:lnTo>
                    <a:pt x="155" y="659"/>
                  </a:lnTo>
                  <a:lnTo>
                    <a:pt x="155" y="658"/>
                  </a:lnTo>
                  <a:lnTo>
                    <a:pt x="156" y="656"/>
                  </a:lnTo>
                  <a:lnTo>
                    <a:pt x="158" y="656"/>
                  </a:lnTo>
                  <a:lnTo>
                    <a:pt x="160" y="654"/>
                  </a:lnTo>
                  <a:lnTo>
                    <a:pt x="161" y="652"/>
                  </a:lnTo>
                  <a:lnTo>
                    <a:pt x="160" y="651"/>
                  </a:lnTo>
                  <a:lnTo>
                    <a:pt x="158" y="654"/>
                  </a:lnTo>
                  <a:lnTo>
                    <a:pt x="156" y="654"/>
                  </a:lnTo>
                  <a:lnTo>
                    <a:pt x="155" y="652"/>
                  </a:lnTo>
                  <a:lnTo>
                    <a:pt x="156" y="649"/>
                  </a:lnTo>
                  <a:lnTo>
                    <a:pt x="158" y="644"/>
                  </a:lnTo>
                  <a:lnTo>
                    <a:pt x="158" y="638"/>
                  </a:lnTo>
                  <a:lnTo>
                    <a:pt x="160" y="638"/>
                  </a:lnTo>
                  <a:lnTo>
                    <a:pt x="161" y="638"/>
                  </a:lnTo>
                  <a:lnTo>
                    <a:pt x="161" y="644"/>
                  </a:lnTo>
                  <a:lnTo>
                    <a:pt x="161" y="644"/>
                  </a:lnTo>
                  <a:lnTo>
                    <a:pt x="161" y="645"/>
                  </a:lnTo>
                  <a:lnTo>
                    <a:pt x="165" y="645"/>
                  </a:lnTo>
                  <a:lnTo>
                    <a:pt x="165" y="645"/>
                  </a:lnTo>
                  <a:lnTo>
                    <a:pt x="167" y="647"/>
                  </a:lnTo>
                  <a:lnTo>
                    <a:pt x="168" y="647"/>
                  </a:lnTo>
                  <a:lnTo>
                    <a:pt x="170" y="645"/>
                  </a:lnTo>
                  <a:lnTo>
                    <a:pt x="172" y="647"/>
                  </a:lnTo>
                  <a:lnTo>
                    <a:pt x="172" y="647"/>
                  </a:lnTo>
                  <a:lnTo>
                    <a:pt x="172" y="645"/>
                  </a:lnTo>
                  <a:lnTo>
                    <a:pt x="170" y="644"/>
                  </a:lnTo>
                  <a:lnTo>
                    <a:pt x="167" y="644"/>
                  </a:lnTo>
                  <a:lnTo>
                    <a:pt x="167" y="644"/>
                  </a:lnTo>
                  <a:lnTo>
                    <a:pt x="168" y="644"/>
                  </a:lnTo>
                  <a:lnTo>
                    <a:pt x="172" y="640"/>
                  </a:lnTo>
                  <a:lnTo>
                    <a:pt x="172" y="640"/>
                  </a:lnTo>
                  <a:lnTo>
                    <a:pt x="170" y="638"/>
                  </a:lnTo>
                  <a:lnTo>
                    <a:pt x="168" y="638"/>
                  </a:lnTo>
                  <a:lnTo>
                    <a:pt x="168" y="638"/>
                  </a:lnTo>
                  <a:lnTo>
                    <a:pt x="167" y="638"/>
                  </a:lnTo>
                  <a:lnTo>
                    <a:pt x="165" y="638"/>
                  </a:lnTo>
                  <a:lnTo>
                    <a:pt x="165" y="638"/>
                  </a:lnTo>
                  <a:lnTo>
                    <a:pt x="161" y="638"/>
                  </a:lnTo>
                  <a:lnTo>
                    <a:pt x="161" y="635"/>
                  </a:lnTo>
                  <a:lnTo>
                    <a:pt x="161" y="635"/>
                  </a:lnTo>
                  <a:lnTo>
                    <a:pt x="165" y="635"/>
                  </a:lnTo>
                  <a:lnTo>
                    <a:pt x="167" y="632"/>
                  </a:lnTo>
                  <a:lnTo>
                    <a:pt x="168" y="630"/>
                  </a:lnTo>
                  <a:lnTo>
                    <a:pt x="170" y="630"/>
                  </a:lnTo>
                  <a:lnTo>
                    <a:pt x="172" y="630"/>
                  </a:lnTo>
                  <a:lnTo>
                    <a:pt x="174" y="630"/>
                  </a:lnTo>
                  <a:lnTo>
                    <a:pt x="174" y="626"/>
                  </a:lnTo>
                  <a:lnTo>
                    <a:pt x="170" y="626"/>
                  </a:lnTo>
                  <a:lnTo>
                    <a:pt x="168" y="626"/>
                  </a:lnTo>
                  <a:lnTo>
                    <a:pt x="167" y="626"/>
                  </a:lnTo>
                  <a:lnTo>
                    <a:pt x="168" y="625"/>
                  </a:lnTo>
                  <a:lnTo>
                    <a:pt x="172" y="623"/>
                  </a:lnTo>
                  <a:lnTo>
                    <a:pt x="174" y="621"/>
                  </a:lnTo>
                  <a:lnTo>
                    <a:pt x="175" y="621"/>
                  </a:lnTo>
                  <a:lnTo>
                    <a:pt x="175" y="619"/>
                  </a:lnTo>
                  <a:lnTo>
                    <a:pt x="179" y="618"/>
                  </a:lnTo>
                  <a:lnTo>
                    <a:pt x="177" y="616"/>
                  </a:lnTo>
                  <a:lnTo>
                    <a:pt x="174" y="616"/>
                  </a:lnTo>
                  <a:lnTo>
                    <a:pt x="174" y="616"/>
                  </a:lnTo>
                  <a:lnTo>
                    <a:pt x="177" y="612"/>
                  </a:lnTo>
                  <a:lnTo>
                    <a:pt x="179" y="616"/>
                  </a:lnTo>
                  <a:lnTo>
                    <a:pt x="179" y="611"/>
                  </a:lnTo>
                  <a:lnTo>
                    <a:pt x="177" y="611"/>
                  </a:lnTo>
                  <a:lnTo>
                    <a:pt x="174" y="611"/>
                  </a:lnTo>
                  <a:lnTo>
                    <a:pt x="170" y="612"/>
                  </a:lnTo>
                  <a:lnTo>
                    <a:pt x="168" y="612"/>
                  </a:lnTo>
                  <a:lnTo>
                    <a:pt x="165" y="611"/>
                  </a:lnTo>
                  <a:lnTo>
                    <a:pt x="165" y="612"/>
                  </a:lnTo>
                  <a:lnTo>
                    <a:pt x="161" y="611"/>
                  </a:lnTo>
                  <a:lnTo>
                    <a:pt x="161" y="611"/>
                  </a:lnTo>
                  <a:lnTo>
                    <a:pt x="160" y="611"/>
                  </a:lnTo>
                  <a:lnTo>
                    <a:pt x="156" y="611"/>
                  </a:lnTo>
                  <a:lnTo>
                    <a:pt x="155" y="607"/>
                  </a:lnTo>
                  <a:lnTo>
                    <a:pt x="151" y="607"/>
                  </a:lnTo>
                  <a:lnTo>
                    <a:pt x="149" y="607"/>
                  </a:lnTo>
                  <a:lnTo>
                    <a:pt x="149" y="604"/>
                  </a:lnTo>
                  <a:lnTo>
                    <a:pt x="148" y="602"/>
                  </a:lnTo>
                  <a:lnTo>
                    <a:pt x="144" y="600"/>
                  </a:lnTo>
                  <a:lnTo>
                    <a:pt x="139" y="597"/>
                  </a:lnTo>
                  <a:lnTo>
                    <a:pt x="134" y="595"/>
                  </a:lnTo>
                  <a:lnTo>
                    <a:pt x="130" y="592"/>
                  </a:lnTo>
                  <a:lnTo>
                    <a:pt x="130" y="590"/>
                  </a:lnTo>
                  <a:lnTo>
                    <a:pt x="130" y="586"/>
                  </a:lnTo>
                  <a:lnTo>
                    <a:pt x="127" y="585"/>
                  </a:lnTo>
                  <a:lnTo>
                    <a:pt x="125" y="581"/>
                  </a:lnTo>
                  <a:lnTo>
                    <a:pt x="125" y="579"/>
                  </a:lnTo>
                  <a:lnTo>
                    <a:pt x="130" y="576"/>
                  </a:lnTo>
                  <a:lnTo>
                    <a:pt x="134" y="576"/>
                  </a:lnTo>
                  <a:lnTo>
                    <a:pt x="135" y="576"/>
                  </a:lnTo>
                  <a:lnTo>
                    <a:pt x="137" y="576"/>
                  </a:lnTo>
                  <a:lnTo>
                    <a:pt x="139" y="576"/>
                  </a:lnTo>
                  <a:lnTo>
                    <a:pt x="142" y="579"/>
                  </a:lnTo>
                  <a:lnTo>
                    <a:pt x="146" y="579"/>
                  </a:lnTo>
                  <a:lnTo>
                    <a:pt x="148" y="581"/>
                  </a:lnTo>
                  <a:lnTo>
                    <a:pt x="149" y="581"/>
                  </a:lnTo>
                  <a:lnTo>
                    <a:pt x="153" y="581"/>
                  </a:lnTo>
                  <a:lnTo>
                    <a:pt x="155" y="585"/>
                  </a:lnTo>
                  <a:lnTo>
                    <a:pt x="158" y="585"/>
                  </a:lnTo>
                  <a:lnTo>
                    <a:pt x="160" y="585"/>
                  </a:lnTo>
                  <a:lnTo>
                    <a:pt x="161" y="586"/>
                  </a:lnTo>
                  <a:lnTo>
                    <a:pt x="161" y="593"/>
                  </a:lnTo>
                  <a:lnTo>
                    <a:pt x="165" y="597"/>
                  </a:lnTo>
                  <a:lnTo>
                    <a:pt x="167" y="598"/>
                  </a:lnTo>
                  <a:lnTo>
                    <a:pt x="170" y="602"/>
                  </a:lnTo>
                  <a:lnTo>
                    <a:pt x="174" y="602"/>
                  </a:lnTo>
                  <a:lnTo>
                    <a:pt x="175" y="602"/>
                  </a:lnTo>
                  <a:lnTo>
                    <a:pt x="177" y="598"/>
                  </a:lnTo>
                  <a:lnTo>
                    <a:pt x="177" y="598"/>
                  </a:lnTo>
                  <a:lnTo>
                    <a:pt x="174" y="598"/>
                  </a:lnTo>
                  <a:lnTo>
                    <a:pt x="174" y="600"/>
                  </a:lnTo>
                  <a:lnTo>
                    <a:pt x="170" y="598"/>
                  </a:lnTo>
                  <a:lnTo>
                    <a:pt x="167" y="593"/>
                  </a:lnTo>
                  <a:lnTo>
                    <a:pt x="167" y="592"/>
                  </a:lnTo>
                  <a:lnTo>
                    <a:pt x="168" y="592"/>
                  </a:lnTo>
                  <a:lnTo>
                    <a:pt x="172" y="595"/>
                  </a:lnTo>
                  <a:lnTo>
                    <a:pt x="174" y="595"/>
                  </a:lnTo>
                  <a:lnTo>
                    <a:pt x="174" y="593"/>
                  </a:lnTo>
                  <a:lnTo>
                    <a:pt x="175" y="593"/>
                  </a:lnTo>
                  <a:lnTo>
                    <a:pt x="175" y="592"/>
                  </a:lnTo>
                  <a:lnTo>
                    <a:pt x="172" y="590"/>
                  </a:lnTo>
                  <a:lnTo>
                    <a:pt x="167" y="586"/>
                  </a:lnTo>
                  <a:lnTo>
                    <a:pt x="167" y="585"/>
                  </a:lnTo>
                  <a:lnTo>
                    <a:pt x="167" y="585"/>
                  </a:lnTo>
                  <a:lnTo>
                    <a:pt x="168" y="585"/>
                  </a:lnTo>
                  <a:lnTo>
                    <a:pt x="170" y="586"/>
                  </a:lnTo>
                  <a:lnTo>
                    <a:pt x="172" y="586"/>
                  </a:lnTo>
                  <a:lnTo>
                    <a:pt x="170" y="585"/>
                  </a:lnTo>
                  <a:lnTo>
                    <a:pt x="167" y="579"/>
                  </a:lnTo>
                  <a:lnTo>
                    <a:pt x="165" y="576"/>
                  </a:lnTo>
                  <a:lnTo>
                    <a:pt x="165" y="576"/>
                  </a:lnTo>
                  <a:lnTo>
                    <a:pt x="165" y="574"/>
                  </a:lnTo>
                  <a:lnTo>
                    <a:pt x="167" y="576"/>
                  </a:lnTo>
                  <a:lnTo>
                    <a:pt x="174" y="576"/>
                  </a:lnTo>
                  <a:lnTo>
                    <a:pt x="177" y="576"/>
                  </a:lnTo>
                  <a:lnTo>
                    <a:pt x="177" y="576"/>
                  </a:lnTo>
                  <a:lnTo>
                    <a:pt x="174" y="572"/>
                  </a:lnTo>
                  <a:lnTo>
                    <a:pt x="172" y="572"/>
                  </a:lnTo>
                  <a:lnTo>
                    <a:pt x="170" y="572"/>
                  </a:lnTo>
                  <a:lnTo>
                    <a:pt x="168" y="574"/>
                  </a:lnTo>
                  <a:lnTo>
                    <a:pt x="165" y="572"/>
                  </a:lnTo>
                  <a:lnTo>
                    <a:pt x="165" y="571"/>
                  </a:lnTo>
                  <a:lnTo>
                    <a:pt x="165" y="571"/>
                  </a:lnTo>
                  <a:lnTo>
                    <a:pt x="168" y="567"/>
                  </a:lnTo>
                  <a:lnTo>
                    <a:pt x="170" y="569"/>
                  </a:lnTo>
                  <a:lnTo>
                    <a:pt x="172" y="571"/>
                  </a:lnTo>
                  <a:lnTo>
                    <a:pt x="174" y="569"/>
                  </a:lnTo>
                  <a:lnTo>
                    <a:pt x="174" y="567"/>
                  </a:lnTo>
                  <a:lnTo>
                    <a:pt x="170" y="564"/>
                  </a:lnTo>
                  <a:lnTo>
                    <a:pt x="170" y="564"/>
                  </a:lnTo>
                  <a:lnTo>
                    <a:pt x="168" y="565"/>
                  </a:lnTo>
                  <a:lnTo>
                    <a:pt x="167" y="565"/>
                  </a:lnTo>
                  <a:lnTo>
                    <a:pt x="165" y="567"/>
                  </a:lnTo>
                  <a:lnTo>
                    <a:pt x="161" y="571"/>
                  </a:lnTo>
                  <a:lnTo>
                    <a:pt x="160" y="571"/>
                  </a:lnTo>
                  <a:lnTo>
                    <a:pt x="160" y="569"/>
                  </a:lnTo>
                  <a:lnTo>
                    <a:pt x="161" y="567"/>
                  </a:lnTo>
                  <a:lnTo>
                    <a:pt x="161" y="565"/>
                  </a:lnTo>
                  <a:lnTo>
                    <a:pt x="165" y="562"/>
                  </a:lnTo>
                  <a:lnTo>
                    <a:pt x="165" y="562"/>
                  </a:lnTo>
                  <a:lnTo>
                    <a:pt x="167" y="562"/>
                  </a:lnTo>
                  <a:lnTo>
                    <a:pt x="168" y="560"/>
                  </a:lnTo>
                  <a:lnTo>
                    <a:pt x="172" y="560"/>
                  </a:lnTo>
                  <a:lnTo>
                    <a:pt x="174" y="558"/>
                  </a:lnTo>
                  <a:lnTo>
                    <a:pt x="172" y="558"/>
                  </a:lnTo>
                  <a:lnTo>
                    <a:pt x="168" y="557"/>
                  </a:lnTo>
                  <a:lnTo>
                    <a:pt x="165" y="560"/>
                  </a:lnTo>
                  <a:lnTo>
                    <a:pt x="165" y="560"/>
                  </a:lnTo>
                  <a:lnTo>
                    <a:pt x="161" y="558"/>
                  </a:lnTo>
                  <a:lnTo>
                    <a:pt x="160" y="560"/>
                  </a:lnTo>
                  <a:lnTo>
                    <a:pt x="158" y="558"/>
                  </a:lnTo>
                  <a:lnTo>
                    <a:pt x="158" y="557"/>
                  </a:lnTo>
                  <a:lnTo>
                    <a:pt x="160" y="557"/>
                  </a:lnTo>
                  <a:lnTo>
                    <a:pt x="161" y="553"/>
                  </a:lnTo>
                  <a:lnTo>
                    <a:pt x="165" y="553"/>
                  </a:lnTo>
                  <a:lnTo>
                    <a:pt x="170" y="552"/>
                  </a:lnTo>
                  <a:lnTo>
                    <a:pt x="175" y="552"/>
                  </a:lnTo>
                  <a:lnTo>
                    <a:pt x="175" y="548"/>
                  </a:lnTo>
                  <a:lnTo>
                    <a:pt x="174" y="548"/>
                  </a:lnTo>
                  <a:lnTo>
                    <a:pt x="172" y="548"/>
                  </a:lnTo>
                  <a:lnTo>
                    <a:pt x="170" y="552"/>
                  </a:lnTo>
                  <a:lnTo>
                    <a:pt x="167" y="552"/>
                  </a:lnTo>
                  <a:lnTo>
                    <a:pt x="165" y="552"/>
                  </a:lnTo>
                  <a:lnTo>
                    <a:pt x="165" y="548"/>
                  </a:lnTo>
                  <a:lnTo>
                    <a:pt x="161" y="548"/>
                  </a:lnTo>
                  <a:lnTo>
                    <a:pt x="160" y="548"/>
                  </a:lnTo>
                  <a:lnTo>
                    <a:pt x="160" y="548"/>
                  </a:lnTo>
                  <a:lnTo>
                    <a:pt x="160" y="546"/>
                  </a:lnTo>
                  <a:lnTo>
                    <a:pt x="161" y="545"/>
                  </a:lnTo>
                  <a:lnTo>
                    <a:pt x="161" y="539"/>
                  </a:lnTo>
                  <a:lnTo>
                    <a:pt x="165" y="539"/>
                  </a:lnTo>
                  <a:lnTo>
                    <a:pt x="165" y="538"/>
                  </a:lnTo>
                  <a:lnTo>
                    <a:pt x="165" y="536"/>
                  </a:lnTo>
                  <a:lnTo>
                    <a:pt x="165" y="536"/>
                  </a:lnTo>
                  <a:lnTo>
                    <a:pt x="161" y="538"/>
                  </a:lnTo>
                  <a:lnTo>
                    <a:pt x="160" y="541"/>
                  </a:lnTo>
                  <a:lnTo>
                    <a:pt x="160" y="543"/>
                  </a:lnTo>
                  <a:lnTo>
                    <a:pt x="156" y="545"/>
                  </a:lnTo>
                  <a:lnTo>
                    <a:pt x="156" y="546"/>
                  </a:lnTo>
                  <a:lnTo>
                    <a:pt x="155" y="546"/>
                  </a:lnTo>
                  <a:lnTo>
                    <a:pt x="155" y="543"/>
                  </a:lnTo>
                  <a:lnTo>
                    <a:pt x="156" y="539"/>
                  </a:lnTo>
                  <a:lnTo>
                    <a:pt x="156" y="534"/>
                  </a:lnTo>
                  <a:lnTo>
                    <a:pt x="155" y="531"/>
                  </a:lnTo>
                  <a:lnTo>
                    <a:pt x="155" y="529"/>
                  </a:lnTo>
                  <a:lnTo>
                    <a:pt x="155" y="525"/>
                  </a:lnTo>
                  <a:lnTo>
                    <a:pt x="155" y="524"/>
                  </a:lnTo>
                  <a:lnTo>
                    <a:pt x="155" y="524"/>
                  </a:lnTo>
                  <a:lnTo>
                    <a:pt x="153" y="525"/>
                  </a:lnTo>
                  <a:lnTo>
                    <a:pt x="153" y="531"/>
                  </a:lnTo>
                  <a:lnTo>
                    <a:pt x="153" y="532"/>
                  </a:lnTo>
                  <a:lnTo>
                    <a:pt x="155" y="536"/>
                  </a:lnTo>
                  <a:lnTo>
                    <a:pt x="155" y="539"/>
                  </a:lnTo>
                  <a:lnTo>
                    <a:pt x="155" y="545"/>
                  </a:lnTo>
                  <a:lnTo>
                    <a:pt x="153" y="546"/>
                  </a:lnTo>
                  <a:lnTo>
                    <a:pt x="151" y="546"/>
                  </a:lnTo>
                  <a:lnTo>
                    <a:pt x="149" y="545"/>
                  </a:lnTo>
                  <a:lnTo>
                    <a:pt x="148" y="543"/>
                  </a:lnTo>
                  <a:lnTo>
                    <a:pt x="148" y="548"/>
                  </a:lnTo>
                  <a:lnTo>
                    <a:pt x="146" y="548"/>
                  </a:lnTo>
                  <a:lnTo>
                    <a:pt x="144" y="548"/>
                  </a:lnTo>
                  <a:lnTo>
                    <a:pt x="142" y="548"/>
                  </a:lnTo>
                  <a:lnTo>
                    <a:pt x="144" y="548"/>
                  </a:lnTo>
                  <a:lnTo>
                    <a:pt x="146" y="552"/>
                  </a:lnTo>
                  <a:lnTo>
                    <a:pt x="144" y="553"/>
                  </a:lnTo>
                  <a:lnTo>
                    <a:pt x="142" y="557"/>
                  </a:lnTo>
                  <a:lnTo>
                    <a:pt x="142" y="557"/>
                  </a:lnTo>
                  <a:lnTo>
                    <a:pt x="139" y="557"/>
                  </a:lnTo>
                  <a:lnTo>
                    <a:pt x="139" y="557"/>
                  </a:lnTo>
                  <a:lnTo>
                    <a:pt x="137" y="558"/>
                  </a:lnTo>
                  <a:lnTo>
                    <a:pt x="130" y="558"/>
                  </a:lnTo>
                  <a:lnTo>
                    <a:pt x="130" y="557"/>
                  </a:lnTo>
                  <a:lnTo>
                    <a:pt x="130" y="557"/>
                  </a:lnTo>
                  <a:lnTo>
                    <a:pt x="130" y="552"/>
                  </a:lnTo>
                  <a:lnTo>
                    <a:pt x="128" y="552"/>
                  </a:lnTo>
                  <a:lnTo>
                    <a:pt x="127" y="552"/>
                  </a:lnTo>
                  <a:lnTo>
                    <a:pt x="127" y="553"/>
                  </a:lnTo>
                  <a:lnTo>
                    <a:pt x="125" y="553"/>
                  </a:lnTo>
                  <a:lnTo>
                    <a:pt x="125" y="552"/>
                  </a:lnTo>
                  <a:lnTo>
                    <a:pt x="125" y="548"/>
                  </a:lnTo>
                  <a:lnTo>
                    <a:pt x="125" y="546"/>
                  </a:lnTo>
                  <a:lnTo>
                    <a:pt x="123" y="545"/>
                  </a:lnTo>
                  <a:lnTo>
                    <a:pt x="123" y="543"/>
                  </a:lnTo>
                  <a:lnTo>
                    <a:pt x="127" y="541"/>
                  </a:lnTo>
                  <a:lnTo>
                    <a:pt x="130" y="541"/>
                  </a:lnTo>
                  <a:lnTo>
                    <a:pt x="130" y="541"/>
                  </a:lnTo>
                  <a:lnTo>
                    <a:pt x="130" y="539"/>
                  </a:lnTo>
                  <a:lnTo>
                    <a:pt x="134" y="538"/>
                  </a:lnTo>
                  <a:lnTo>
                    <a:pt x="139" y="538"/>
                  </a:lnTo>
                  <a:lnTo>
                    <a:pt x="139" y="538"/>
                  </a:lnTo>
                  <a:lnTo>
                    <a:pt x="142" y="534"/>
                  </a:lnTo>
                  <a:lnTo>
                    <a:pt x="146" y="529"/>
                  </a:lnTo>
                  <a:lnTo>
                    <a:pt x="146" y="529"/>
                  </a:lnTo>
                  <a:lnTo>
                    <a:pt x="146" y="529"/>
                  </a:lnTo>
                  <a:lnTo>
                    <a:pt x="144" y="529"/>
                  </a:lnTo>
                  <a:lnTo>
                    <a:pt x="142" y="531"/>
                  </a:lnTo>
                  <a:lnTo>
                    <a:pt x="139" y="534"/>
                  </a:lnTo>
                  <a:lnTo>
                    <a:pt x="137" y="536"/>
                  </a:lnTo>
                  <a:lnTo>
                    <a:pt x="130" y="534"/>
                  </a:lnTo>
                  <a:lnTo>
                    <a:pt x="130" y="532"/>
                  </a:lnTo>
                  <a:lnTo>
                    <a:pt x="130" y="531"/>
                  </a:lnTo>
                  <a:lnTo>
                    <a:pt x="134" y="529"/>
                  </a:lnTo>
                  <a:lnTo>
                    <a:pt x="137" y="525"/>
                  </a:lnTo>
                  <a:lnTo>
                    <a:pt x="139" y="525"/>
                  </a:lnTo>
                  <a:lnTo>
                    <a:pt x="139" y="525"/>
                  </a:lnTo>
                  <a:lnTo>
                    <a:pt x="139" y="524"/>
                  </a:lnTo>
                  <a:lnTo>
                    <a:pt x="139" y="520"/>
                  </a:lnTo>
                  <a:lnTo>
                    <a:pt x="142" y="520"/>
                  </a:lnTo>
                  <a:lnTo>
                    <a:pt x="142" y="520"/>
                  </a:lnTo>
                  <a:lnTo>
                    <a:pt x="142" y="520"/>
                  </a:lnTo>
                  <a:lnTo>
                    <a:pt x="142" y="517"/>
                  </a:lnTo>
                  <a:lnTo>
                    <a:pt x="142" y="517"/>
                  </a:lnTo>
                  <a:lnTo>
                    <a:pt x="139" y="517"/>
                  </a:lnTo>
                  <a:lnTo>
                    <a:pt x="139" y="517"/>
                  </a:lnTo>
                  <a:lnTo>
                    <a:pt x="134" y="517"/>
                  </a:lnTo>
                  <a:lnTo>
                    <a:pt x="134" y="517"/>
                  </a:lnTo>
                  <a:lnTo>
                    <a:pt x="130" y="517"/>
                  </a:lnTo>
                  <a:lnTo>
                    <a:pt x="134" y="515"/>
                  </a:lnTo>
                  <a:lnTo>
                    <a:pt x="137" y="513"/>
                  </a:lnTo>
                  <a:lnTo>
                    <a:pt x="139" y="513"/>
                  </a:lnTo>
                  <a:lnTo>
                    <a:pt x="139" y="515"/>
                  </a:lnTo>
                  <a:lnTo>
                    <a:pt x="142" y="515"/>
                  </a:lnTo>
                  <a:lnTo>
                    <a:pt x="144" y="513"/>
                  </a:lnTo>
                  <a:lnTo>
                    <a:pt x="148" y="508"/>
                  </a:lnTo>
                  <a:lnTo>
                    <a:pt x="146" y="506"/>
                  </a:lnTo>
                  <a:lnTo>
                    <a:pt x="146" y="505"/>
                  </a:lnTo>
                  <a:lnTo>
                    <a:pt x="149" y="501"/>
                  </a:lnTo>
                  <a:lnTo>
                    <a:pt x="149" y="498"/>
                  </a:lnTo>
                  <a:lnTo>
                    <a:pt x="149" y="494"/>
                  </a:lnTo>
                  <a:lnTo>
                    <a:pt x="148" y="492"/>
                  </a:lnTo>
                  <a:lnTo>
                    <a:pt x="146" y="492"/>
                  </a:lnTo>
                  <a:lnTo>
                    <a:pt x="144" y="492"/>
                  </a:lnTo>
                  <a:lnTo>
                    <a:pt x="142" y="489"/>
                  </a:lnTo>
                  <a:lnTo>
                    <a:pt x="142" y="489"/>
                  </a:lnTo>
                  <a:lnTo>
                    <a:pt x="139" y="489"/>
                  </a:lnTo>
                  <a:lnTo>
                    <a:pt x="139" y="489"/>
                  </a:lnTo>
                  <a:lnTo>
                    <a:pt x="139" y="487"/>
                  </a:lnTo>
                  <a:lnTo>
                    <a:pt x="142" y="489"/>
                  </a:lnTo>
                  <a:lnTo>
                    <a:pt x="144" y="487"/>
                  </a:lnTo>
                  <a:lnTo>
                    <a:pt x="146" y="485"/>
                  </a:lnTo>
                  <a:lnTo>
                    <a:pt x="146" y="482"/>
                  </a:lnTo>
                  <a:lnTo>
                    <a:pt x="148" y="480"/>
                  </a:lnTo>
                  <a:lnTo>
                    <a:pt x="148" y="478"/>
                  </a:lnTo>
                  <a:lnTo>
                    <a:pt x="146" y="477"/>
                  </a:lnTo>
                  <a:lnTo>
                    <a:pt x="144" y="477"/>
                  </a:lnTo>
                  <a:lnTo>
                    <a:pt x="142" y="475"/>
                  </a:lnTo>
                  <a:lnTo>
                    <a:pt x="142" y="473"/>
                  </a:lnTo>
                  <a:lnTo>
                    <a:pt x="144" y="472"/>
                  </a:lnTo>
                  <a:lnTo>
                    <a:pt x="146" y="472"/>
                  </a:lnTo>
                  <a:lnTo>
                    <a:pt x="146" y="470"/>
                  </a:lnTo>
                  <a:lnTo>
                    <a:pt x="142" y="466"/>
                  </a:lnTo>
                  <a:lnTo>
                    <a:pt x="142" y="465"/>
                  </a:lnTo>
                  <a:lnTo>
                    <a:pt x="144" y="465"/>
                  </a:lnTo>
                  <a:lnTo>
                    <a:pt x="146" y="466"/>
                  </a:lnTo>
                  <a:lnTo>
                    <a:pt x="146" y="465"/>
                  </a:lnTo>
                  <a:lnTo>
                    <a:pt x="144" y="461"/>
                  </a:lnTo>
                  <a:lnTo>
                    <a:pt x="144" y="461"/>
                  </a:lnTo>
                  <a:lnTo>
                    <a:pt x="146" y="458"/>
                  </a:lnTo>
                  <a:lnTo>
                    <a:pt x="146" y="454"/>
                  </a:lnTo>
                  <a:lnTo>
                    <a:pt x="144" y="452"/>
                  </a:lnTo>
                  <a:lnTo>
                    <a:pt x="144" y="449"/>
                  </a:lnTo>
                  <a:lnTo>
                    <a:pt x="142" y="447"/>
                  </a:lnTo>
                  <a:lnTo>
                    <a:pt x="144" y="445"/>
                  </a:lnTo>
                  <a:lnTo>
                    <a:pt x="146" y="442"/>
                  </a:lnTo>
                  <a:lnTo>
                    <a:pt x="144" y="442"/>
                  </a:lnTo>
                  <a:lnTo>
                    <a:pt x="142" y="442"/>
                  </a:lnTo>
                  <a:lnTo>
                    <a:pt x="139" y="445"/>
                  </a:lnTo>
                  <a:lnTo>
                    <a:pt x="139" y="445"/>
                  </a:lnTo>
                  <a:lnTo>
                    <a:pt x="137" y="445"/>
                  </a:lnTo>
                  <a:lnTo>
                    <a:pt x="135" y="447"/>
                  </a:lnTo>
                  <a:lnTo>
                    <a:pt x="134" y="445"/>
                  </a:lnTo>
                  <a:lnTo>
                    <a:pt x="135" y="445"/>
                  </a:lnTo>
                  <a:lnTo>
                    <a:pt x="139" y="442"/>
                  </a:lnTo>
                  <a:lnTo>
                    <a:pt x="139" y="442"/>
                  </a:lnTo>
                  <a:lnTo>
                    <a:pt x="142" y="442"/>
                  </a:lnTo>
                  <a:lnTo>
                    <a:pt x="142" y="439"/>
                  </a:lnTo>
                  <a:lnTo>
                    <a:pt x="144" y="435"/>
                  </a:lnTo>
                  <a:lnTo>
                    <a:pt x="148" y="433"/>
                  </a:lnTo>
                  <a:lnTo>
                    <a:pt x="148" y="433"/>
                  </a:lnTo>
                  <a:lnTo>
                    <a:pt x="148" y="430"/>
                  </a:lnTo>
                  <a:lnTo>
                    <a:pt x="146" y="428"/>
                  </a:lnTo>
                  <a:lnTo>
                    <a:pt x="144" y="426"/>
                  </a:lnTo>
                  <a:lnTo>
                    <a:pt x="142" y="423"/>
                  </a:lnTo>
                  <a:lnTo>
                    <a:pt x="142" y="421"/>
                  </a:lnTo>
                  <a:lnTo>
                    <a:pt x="142" y="421"/>
                  </a:lnTo>
                  <a:lnTo>
                    <a:pt x="139" y="419"/>
                  </a:lnTo>
                  <a:lnTo>
                    <a:pt x="139" y="418"/>
                  </a:lnTo>
                  <a:lnTo>
                    <a:pt x="142" y="416"/>
                  </a:lnTo>
                  <a:lnTo>
                    <a:pt x="139" y="414"/>
                  </a:lnTo>
                  <a:lnTo>
                    <a:pt x="139" y="411"/>
                  </a:lnTo>
                  <a:lnTo>
                    <a:pt x="139" y="407"/>
                  </a:lnTo>
                  <a:lnTo>
                    <a:pt x="134" y="402"/>
                  </a:lnTo>
                  <a:lnTo>
                    <a:pt x="134" y="402"/>
                  </a:lnTo>
                  <a:lnTo>
                    <a:pt x="130" y="400"/>
                  </a:lnTo>
                  <a:lnTo>
                    <a:pt x="130" y="400"/>
                  </a:lnTo>
                  <a:lnTo>
                    <a:pt x="130" y="399"/>
                  </a:lnTo>
                  <a:lnTo>
                    <a:pt x="130" y="397"/>
                  </a:lnTo>
                  <a:lnTo>
                    <a:pt x="135" y="395"/>
                  </a:lnTo>
                  <a:lnTo>
                    <a:pt x="137" y="393"/>
                  </a:lnTo>
                  <a:lnTo>
                    <a:pt x="139" y="392"/>
                  </a:lnTo>
                  <a:lnTo>
                    <a:pt x="137" y="390"/>
                  </a:lnTo>
                  <a:lnTo>
                    <a:pt x="135" y="390"/>
                  </a:lnTo>
                  <a:lnTo>
                    <a:pt x="135" y="390"/>
                  </a:lnTo>
                  <a:lnTo>
                    <a:pt x="137" y="388"/>
                  </a:lnTo>
                  <a:lnTo>
                    <a:pt x="139" y="385"/>
                  </a:lnTo>
                  <a:lnTo>
                    <a:pt x="139" y="383"/>
                  </a:lnTo>
                  <a:lnTo>
                    <a:pt x="139" y="383"/>
                  </a:lnTo>
                  <a:lnTo>
                    <a:pt x="139" y="379"/>
                  </a:lnTo>
                  <a:lnTo>
                    <a:pt x="139" y="379"/>
                  </a:lnTo>
                  <a:lnTo>
                    <a:pt x="139" y="378"/>
                  </a:lnTo>
                  <a:lnTo>
                    <a:pt x="137" y="376"/>
                  </a:lnTo>
                  <a:lnTo>
                    <a:pt x="134" y="372"/>
                  </a:lnTo>
                  <a:lnTo>
                    <a:pt x="130" y="371"/>
                  </a:lnTo>
                  <a:lnTo>
                    <a:pt x="130" y="367"/>
                  </a:lnTo>
                  <a:lnTo>
                    <a:pt x="128" y="365"/>
                  </a:lnTo>
                  <a:lnTo>
                    <a:pt x="127" y="367"/>
                  </a:lnTo>
                  <a:lnTo>
                    <a:pt x="127" y="369"/>
                  </a:lnTo>
                  <a:lnTo>
                    <a:pt x="125" y="369"/>
                  </a:lnTo>
                  <a:lnTo>
                    <a:pt x="123" y="367"/>
                  </a:lnTo>
                  <a:lnTo>
                    <a:pt x="123" y="365"/>
                  </a:lnTo>
                  <a:lnTo>
                    <a:pt x="122" y="364"/>
                  </a:lnTo>
                  <a:lnTo>
                    <a:pt x="120" y="362"/>
                  </a:lnTo>
                  <a:lnTo>
                    <a:pt x="116" y="360"/>
                  </a:lnTo>
                  <a:lnTo>
                    <a:pt x="116" y="359"/>
                  </a:lnTo>
                  <a:lnTo>
                    <a:pt x="116" y="360"/>
                  </a:lnTo>
                  <a:lnTo>
                    <a:pt x="115" y="360"/>
                  </a:lnTo>
                  <a:lnTo>
                    <a:pt x="115" y="359"/>
                  </a:lnTo>
                  <a:lnTo>
                    <a:pt x="115" y="355"/>
                  </a:lnTo>
                  <a:lnTo>
                    <a:pt x="111" y="352"/>
                  </a:lnTo>
                  <a:lnTo>
                    <a:pt x="108" y="352"/>
                  </a:lnTo>
                  <a:lnTo>
                    <a:pt x="106" y="352"/>
                  </a:lnTo>
                  <a:lnTo>
                    <a:pt x="104" y="352"/>
                  </a:lnTo>
                  <a:lnTo>
                    <a:pt x="102" y="352"/>
                  </a:lnTo>
                  <a:lnTo>
                    <a:pt x="97" y="348"/>
                  </a:lnTo>
                  <a:lnTo>
                    <a:pt x="94" y="346"/>
                  </a:lnTo>
                  <a:lnTo>
                    <a:pt x="90" y="343"/>
                  </a:lnTo>
                  <a:lnTo>
                    <a:pt x="89" y="343"/>
                  </a:lnTo>
                  <a:lnTo>
                    <a:pt x="85" y="343"/>
                  </a:lnTo>
                  <a:lnTo>
                    <a:pt x="83" y="343"/>
                  </a:lnTo>
                  <a:lnTo>
                    <a:pt x="80" y="348"/>
                  </a:lnTo>
                  <a:lnTo>
                    <a:pt x="78" y="352"/>
                  </a:lnTo>
                  <a:lnTo>
                    <a:pt x="76" y="352"/>
                  </a:lnTo>
                  <a:lnTo>
                    <a:pt x="76" y="348"/>
                  </a:lnTo>
                  <a:lnTo>
                    <a:pt x="78" y="346"/>
                  </a:lnTo>
                  <a:lnTo>
                    <a:pt x="76" y="343"/>
                  </a:lnTo>
                  <a:lnTo>
                    <a:pt x="76" y="343"/>
                  </a:lnTo>
                  <a:lnTo>
                    <a:pt x="75" y="341"/>
                  </a:lnTo>
                  <a:lnTo>
                    <a:pt x="71" y="343"/>
                  </a:lnTo>
                  <a:lnTo>
                    <a:pt x="71" y="346"/>
                  </a:lnTo>
                  <a:lnTo>
                    <a:pt x="68" y="348"/>
                  </a:lnTo>
                  <a:lnTo>
                    <a:pt x="66" y="346"/>
                  </a:lnTo>
                  <a:lnTo>
                    <a:pt x="66" y="343"/>
                  </a:lnTo>
                  <a:lnTo>
                    <a:pt x="62" y="341"/>
                  </a:lnTo>
                  <a:lnTo>
                    <a:pt x="62" y="343"/>
                  </a:lnTo>
                  <a:lnTo>
                    <a:pt x="62" y="348"/>
                  </a:lnTo>
                  <a:lnTo>
                    <a:pt x="61" y="352"/>
                  </a:lnTo>
                  <a:lnTo>
                    <a:pt x="57" y="348"/>
                  </a:lnTo>
                  <a:lnTo>
                    <a:pt x="57" y="346"/>
                  </a:lnTo>
                  <a:lnTo>
                    <a:pt x="59" y="343"/>
                  </a:lnTo>
                  <a:lnTo>
                    <a:pt x="62" y="341"/>
                  </a:lnTo>
                  <a:lnTo>
                    <a:pt x="61" y="339"/>
                  </a:lnTo>
                  <a:lnTo>
                    <a:pt x="59" y="339"/>
                  </a:lnTo>
                  <a:lnTo>
                    <a:pt x="57" y="339"/>
                  </a:lnTo>
                  <a:lnTo>
                    <a:pt x="54" y="341"/>
                  </a:lnTo>
                  <a:lnTo>
                    <a:pt x="52" y="341"/>
                  </a:lnTo>
                  <a:lnTo>
                    <a:pt x="52" y="343"/>
                  </a:lnTo>
                  <a:lnTo>
                    <a:pt x="52" y="343"/>
                  </a:lnTo>
                  <a:lnTo>
                    <a:pt x="49" y="343"/>
                  </a:lnTo>
                  <a:lnTo>
                    <a:pt x="49" y="339"/>
                  </a:lnTo>
                  <a:lnTo>
                    <a:pt x="49" y="338"/>
                  </a:lnTo>
                  <a:lnTo>
                    <a:pt x="47" y="334"/>
                  </a:lnTo>
                  <a:lnTo>
                    <a:pt x="47" y="334"/>
                  </a:lnTo>
                  <a:lnTo>
                    <a:pt x="45" y="334"/>
                  </a:lnTo>
                  <a:lnTo>
                    <a:pt x="43" y="336"/>
                  </a:lnTo>
                  <a:lnTo>
                    <a:pt x="43" y="341"/>
                  </a:lnTo>
                  <a:lnTo>
                    <a:pt x="43" y="341"/>
                  </a:lnTo>
                  <a:lnTo>
                    <a:pt x="43" y="343"/>
                  </a:lnTo>
                  <a:lnTo>
                    <a:pt x="43" y="348"/>
                  </a:lnTo>
                  <a:lnTo>
                    <a:pt x="43" y="352"/>
                  </a:lnTo>
                  <a:lnTo>
                    <a:pt x="43" y="352"/>
                  </a:lnTo>
                  <a:lnTo>
                    <a:pt x="40" y="352"/>
                  </a:lnTo>
                  <a:lnTo>
                    <a:pt x="36" y="348"/>
                  </a:lnTo>
                  <a:lnTo>
                    <a:pt x="33" y="346"/>
                  </a:lnTo>
                  <a:lnTo>
                    <a:pt x="29" y="343"/>
                  </a:lnTo>
                  <a:lnTo>
                    <a:pt x="28" y="341"/>
                  </a:lnTo>
                  <a:lnTo>
                    <a:pt x="24" y="339"/>
                  </a:lnTo>
                  <a:lnTo>
                    <a:pt x="24" y="338"/>
                  </a:lnTo>
                  <a:lnTo>
                    <a:pt x="26" y="338"/>
                  </a:lnTo>
                  <a:lnTo>
                    <a:pt x="22" y="336"/>
                  </a:lnTo>
                  <a:lnTo>
                    <a:pt x="21" y="332"/>
                  </a:lnTo>
                  <a:lnTo>
                    <a:pt x="21" y="329"/>
                  </a:lnTo>
                  <a:lnTo>
                    <a:pt x="17" y="325"/>
                  </a:lnTo>
                  <a:lnTo>
                    <a:pt x="17" y="320"/>
                  </a:lnTo>
                  <a:lnTo>
                    <a:pt x="17" y="320"/>
                  </a:lnTo>
                  <a:lnTo>
                    <a:pt x="22" y="320"/>
                  </a:lnTo>
                  <a:lnTo>
                    <a:pt x="24" y="319"/>
                  </a:lnTo>
                  <a:lnTo>
                    <a:pt x="26" y="317"/>
                  </a:lnTo>
                  <a:lnTo>
                    <a:pt x="31" y="317"/>
                  </a:lnTo>
                  <a:lnTo>
                    <a:pt x="33" y="319"/>
                  </a:lnTo>
                  <a:lnTo>
                    <a:pt x="35" y="317"/>
                  </a:lnTo>
                  <a:lnTo>
                    <a:pt x="36" y="315"/>
                  </a:lnTo>
                  <a:lnTo>
                    <a:pt x="36" y="313"/>
                  </a:lnTo>
                  <a:lnTo>
                    <a:pt x="33" y="313"/>
                  </a:lnTo>
                  <a:lnTo>
                    <a:pt x="28" y="312"/>
                  </a:lnTo>
                  <a:lnTo>
                    <a:pt x="26" y="312"/>
                  </a:lnTo>
                  <a:lnTo>
                    <a:pt x="24" y="313"/>
                  </a:lnTo>
                  <a:lnTo>
                    <a:pt x="21" y="308"/>
                  </a:lnTo>
                  <a:lnTo>
                    <a:pt x="21" y="303"/>
                  </a:lnTo>
                  <a:lnTo>
                    <a:pt x="21" y="301"/>
                  </a:lnTo>
                  <a:lnTo>
                    <a:pt x="24" y="299"/>
                  </a:lnTo>
                  <a:lnTo>
                    <a:pt x="26" y="296"/>
                  </a:lnTo>
                  <a:lnTo>
                    <a:pt x="26" y="296"/>
                  </a:lnTo>
                  <a:lnTo>
                    <a:pt x="24" y="296"/>
                  </a:lnTo>
                  <a:lnTo>
                    <a:pt x="22" y="296"/>
                  </a:lnTo>
                  <a:lnTo>
                    <a:pt x="21" y="299"/>
                  </a:lnTo>
                  <a:lnTo>
                    <a:pt x="21" y="299"/>
                  </a:lnTo>
                  <a:lnTo>
                    <a:pt x="17" y="299"/>
                  </a:lnTo>
                  <a:lnTo>
                    <a:pt x="17" y="303"/>
                  </a:lnTo>
                  <a:lnTo>
                    <a:pt x="12" y="301"/>
                  </a:lnTo>
                  <a:lnTo>
                    <a:pt x="12" y="298"/>
                  </a:lnTo>
                  <a:lnTo>
                    <a:pt x="12" y="296"/>
                  </a:lnTo>
                  <a:lnTo>
                    <a:pt x="16" y="296"/>
                  </a:lnTo>
                  <a:lnTo>
                    <a:pt x="14" y="292"/>
                  </a:lnTo>
                  <a:lnTo>
                    <a:pt x="12" y="292"/>
                  </a:lnTo>
                  <a:lnTo>
                    <a:pt x="10" y="292"/>
                  </a:lnTo>
                  <a:lnTo>
                    <a:pt x="10" y="292"/>
                  </a:lnTo>
                  <a:lnTo>
                    <a:pt x="10" y="289"/>
                  </a:lnTo>
                  <a:lnTo>
                    <a:pt x="12" y="287"/>
                  </a:lnTo>
                  <a:lnTo>
                    <a:pt x="14" y="287"/>
                  </a:lnTo>
                  <a:lnTo>
                    <a:pt x="16" y="285"/>
                  </a:lnTo>
                  <a:lnTo>
                    <a:pt x="17" y="285"/>
                  </a:lnTo>
                  <a:lnTo>
                    <a:pt x="17" y="287"/>
                  </a:lnTo>
                  <a:lnTo>
                    <a:pt x="17" y="284"/>
                  </a:lnTo>
                  <a:lnTo>
                    <a:pt x="22" y="282"/>
                  </a:lnTo>
                  <a:lnTo>
                    <a:pt x="29" y="282"/>
                  </a:lnTo>
                  <a:lnTo>
                    <a:pt x="33" y="285"/>
                  </a:lnTo>
                  <a:lnTo>
                    <a:pt x="40" y="285"/>
                  </a:lnTo>
                  <a:lnTo>
                    <a:pt x="43" y="289"/>
                  </a:lnTo>
                  <a:lnTo>
                    <a:pt x="49" y="289"/>
                  </a:lnTo>
                  <a:lnTo>
                    <a:pt x="52" y="291"/>
                  </a:lnTo>
                  <a:lnTo>
                    <a:pt x="59" y="292"/>
                  </a:lnTo>
                  <a:lnTo>
                    <a:pt x="61" y="292"/>
                  </a:lnTo>
                  <a:lnTo>
                    <a:pt x="62" y="292"/>
                  </a:lnTo>
                  <a:lnTo>
                    <a:pt x="66" y="292"/>
                  </a:lnTo>
                  <a:lnTo>
                    <a:pt x="62" y="292"/>
                  </a:lnTo>
                  <a:lnTo>
                    <a:pt x="61" y="292"/>
                  </a:lnTo>
                  <a:lnTo>
                    <a:pt x="56" y="291"/>
                  </a:lnTo>
                  <a:lnTo>
                    <a:pt x="52" y="285"/>
                  </a:lnTo>
                  <a:lnTo>
                    <a:pt x="47" y="285"/>
                  </a:lnTo>
                  <a:lnTo>
                    <a:pt x="43" y="285"/>
                  </a:lnTo>
                  <a:lnTo>
                    <a:pt x="40" y="282"/>
                  </a:lnTo>
                  <a:lnTo>
                    <a:pt x="40" y="280"/>
                  </a:lnTo>
                  <a:lnTo>
                    <a:pt x="45" y="279"/>
                  </a:lnTo>
                  <a:lnTo>
                    <a:pt x="52" y="280"/>
                  </a:lnTo>
                  <a:lnTo>
                    <a:pt x="57" y="280"/>
                  </a:lnTo>
                  <a:lnTo>
                    <a:pt x="62" y="282"/>
                  </a:lnTo>
                  <a:lnTo>
                    <a:pt x="66" y="285"/>
                  </a:lnTo>
                  <a:lnTo>
                    <a:pt x="66" y="285"/>
                  </a:lnTo>
                  <a:lnTo>
                    <a:pt x="68" y="287"/>
                  </a:lnTo>
                  <a:lnTo>
                    <a:pt x="69" y="289"/>
                  </a:lnTo>
                  <a:lnTo>
                    <a:pt x="69" y="287"/>
                  </a:lnTo>
                  <a:lnTo>
                    <a:pt x="69" y="285"/>
                  </a:lnTo>
                  <a:lnTo>
                    <a:pt x="69" y="282"/>
                  </a:lnTo>
                  <a:lnTo>
                    <a:pt x="75" y="280"/>
                  </a:lnTo>
                  <a:lnTo>
                    <a:pt x="75" y="280"/>
                  </a:lnTo>
                  <a:lnTo>
                    <a:pt x="75" y="275"/>
                  </a:lnTo>
                  <a:lnTo>
                    <a:pt x="71" y="273"/>
                  </a:lnTo>
                  <a:lnTo>
                    <a:pt x="69" y="273"/>
                  </a:lnTo>
                  <a:lnTo>
                    <a:pt x="68" y="273"/>
                  </a:lnTo>
                  <a:lnTo>
                    <a:pt x="69" y="270"/>
                  </a:lnTo>
                  <a:lnTo>
                    <a:pt x="66" y="270"/>
                  </a:lnTo>
                  <a:lnTo>
                    <a:pt x="66" y="270"/>
                  </a:lnTo>
                  <a:lnTo>
                    <a:pt x="62" y="273"/>
                  </a:lnTo>
                  <a:lnTo>
                    <a:pt x="59" y="273"/>
                  </a:lnTo>
                  <a:lnTo>
                    <a:pt x="54" y="273"/>
                  </a:lnTo>
                  <a:lnTo>
                    <a:pt x="52" y="270"/>
                  </a:lnTo>
                  <a:lnTo>
                    <a:pt x="52" y="268"/>
                  </a:lnTo>
                  <a:lnTo>
                    <a:pt x="52" y="268"/>
                  </a:lnTo>
                  <a:lnTo>
                    <a:pt x="47" y="265"/>
                  </a:lnTo>
                  <a:lnTo>
                    <a:pt x="45" y="265"/>
                  </a:lnTo>
                  <a:lnTo>
                    <a:pt x="45" y="265"/>
                  </a:lnTo>
                  <a:lnTo>
                    <a:pt x="45" y="268"/>
                  </a:lnTo>
                  <a:lnTo>
                    <a:pt x="47" y="268"/>
                  </a:lnTo>
                  <a:lnTo>
                    <a:pt x="47" y="273"/>
                  </a:lnTo>
                  <a:lnTo>
                    <a:pt x="45" y="273"/>
                  </a:lnTo>
                  <a:lnTo>
                    <a:pt x="40" y="273"/>
                  </a:lnTo>
                  <a:lnTo>
                    <a:pt x="36" y="273"/>
                  </a:lnTo>
                  <a:lnTo>
                    <a:pt x="31" y="268"/>
                  </a:lnTo>
                  <a:lnTo>
                    <a:pt x="33" y="265"/>
                  </a:lnTo>
                  <a:lnTo>
                    <a:pt x="36" y="265"/>
                  </a:lnTo>
                  <a:lnTo>
                    <a:pt x="40" y="261"/>
                  </a:lnTo>
                  <a:lnTo>
                    <a:pt x="40" y="261"/>
                  </a:lnTo>
                  <a:lnTo>
                    <a:pt x="40" y="261"/>
                  </a:lnTo>
                  <a:lnTo>
                    <a:pt x="36" y="261"/>
                  </a:lnTo>
                  <a:lnTo>
                    <a:pt x="33" y="265"/>
                  </a:lnTo>
                  <a:lnTo>
                    <a:pt x="29" y="261"/>
                  </a:lnTo>
                  <a:lnTo>
                    <a:pt x="29" y="261"/>
                  </a:lnTo>
                  <a:lnTo>
                    <a:pt x="31" y="259"/>
                  </a:lnTo>
                  <a:lnTo>
                    <a:pt x="35" y="258"/>
                  </a:lnTo>
                  <a:lnTo>
                    <a:pt x="36" y="256"/>
                  </a:lnTo>
                  <a:lnTo>
                    <a:pt x="40" y="252"/>
                  </a:lnTo>
                  <a:lnTo>
                    <a:pt x="38" y="251"/>
                  </a:lnTo>
                  <a:lnTo>
                    <a:pt x="36" y="249"/>
                  </a:lnTo>
                  <a:lnTo>
                    <a:pt x="36" y="251"/>
                  </a:lnTo>
                  <a:lnTo>
                    <a:pt x="35" y="252"/>
                  </a:lnTo>
                  <a:lnTo>
                    <a:pt x="31" y="254"/>
                  </a:lnTo>
                  <a:lnTo>
                    <a:pt x="26" y="256"/>
                  </a:lnTo>
                  <a:lnTo>
                    <a:pt x="24" y="256"/>
                  </a:lnTo>
                  <a:lnTo>
                    <a:pt x="22" y="252"/>
                  </a:lnTo>
                  <a:lnTo>
                    <a:pt x="22" y="251"/>
                  </a:lnTo>
                  <a:lnTo>
                    <a:pt x="24" y="249"/>
                  </a:lnTo>
                  <a:lnTo>
                    <a:pt x="26" y="247"/>
                  </a:lnTo>
                  <a:lnTo>
                    <a:pt x="26" y="245"/>
                  </a:lnTo>
                  <a:lnTo>
                    <a:pt x="24" y="245"/>
                  </a:lnTo>
                  <a:lnTo>
                    <a:pt x="21" y="245"/>
                  </a:lnTo>
                  <a:lnTo>
                    <a:pt x="21" y="245"/>
                  </a:lnTo>
                  <a:lnTo>
                    <a:pt x="17" y="237"/>
                  </a:lnTo>
                  <a:lnTo>
                    <a:pt x="16" y="237"/>
                  </a:lnTo>
                  <a:lnTo>
                    <a:pt x="12" y="233"/>
                  </a:lnTo>
                  <a:lnTo>
                    <a:pt x="12" y="233"/>
                  </a:lnTo>
                  <a:lnTo>
                    <a:pt x="14" y="232"/>
                  </a:lnTo>
                  <a:lnTo>
                    <a:pt x="17" y="230"/>
                  </a:lnTo>
                  <a:lnTo>
                    <a:pt x="17" y="228"/>
                  </a:lnTo>
                  <a:lnTo>
                    <a:pt x="17" y="226"/>
                  </a:lnTo>
                  <a:lnTo>
                    <a:pt x="21" y="226"/>
                  </a:lnTo>
                  <a:lnTo>
                    <a:pt x="21" y="228"/>
                  </a:lnTo>
                  <a:lnTo>
                    <a:pt x="21" y="226"/>
                  </a:lnTo>
                  <a:lnTo>
                    <a:pt x="21" y="225"/>
                  </a:lnTo>
                  <a:lnTo>
                    <a:pt x="17" y="225"/>
                  </a:lnTo>
                  <a:lnTo>
                    <a:pt x="16" y="223"/>
                  </a:lnTo>
                  <a:lnTo>
                    <a:pt x="17" y="221"/>
                  </a:lnTo>
                  <a:lnTo>
                    <a:pt x="21" y="221"/>
                  </a:lnTo>
                  <a:lnTo>
                    <a:pt x="24" y="219"/>
                  </a:lnTo>
                  <a:lnTo>
                    <a:pt x="24" y="218"/>
                  </a:lnTo>
                  <a:lnTo>
                    <a:pt x="24" y="214"/>
                  </a:lnTo>
                  <a:lnTo>
                    <a:pt x="28" y="214"/>
                  </a:lnTo>
                  <a:lnTo>
                    <a:pt x="29" y="214"/>
                  </a:lnTo>
                  <a:lnTo>
                    <a:pt x="31" y="214"/>
                  </a:lnTo>
                  <a:lnTo>
                    <a:pt x="33" y="214"/>
                  </a:lnTo>
                  <a:lnTo>
                    <a:pt x="36" y="214"/>
                  </a:lnTo>
                  <a:lnTo>
                    <a:pt x="38" y="211"/>
                  </a:lnTo>
                  <a:lnTo>
                    <a:pt x="40" y="211"/>
                  </a:lnTo>
                  <a:lnTo>
                    <a:pt x="43" y="214"/>
                  </a:lnTo>
                  <a:lnTo>
                    <a:pt x="43" y="214"/>
                  </a:lnTo>
                  <a:lnTo>
                    <a:pt x="43" y="214"/>
                  </a:lnTo>
                  <a:lnTo>
                    <a:pt x="45" y="214"/>
                  </a:lnTo>
                  <a:lnTo>
                    <a:pt x="45" y="211"/>
                  </a:lnTo>
                  <a:lnTo>
                    <a:pt x="49" y="209"/>
                  </a:lnTo>
                  <a:lnTo>
                    <a:pt x="52" y="211"/>
                  </a:lnTo>
                  <a:lnTo>
                    <a:pt x="52" y="211"/>
                  </a:lnTo>
                  <a:lnTo>
                    <a:pt x="54" y="209"/>
                  </a:lnTo>
                  <a:lnTo>
                    <a:pt x="54" y="209"/>
                  </a:lnTo>
                  <a:lnTo>
                    <a:pt x="57" y="209"/>
                  </a:lnTo>
                  <a:lnTo>
                    <a:pt x="69" y="206"/>
                  </a:lnTo>
                  <a:lnTo>
                    <a:pt x="71" y="206"/>
                  </a:lnTo>
                  <a:lnTo>
                    <a:pt x="75" y="209"/>
                  </a:lnTo>
                  <a:lnTo>
                    <a:pt x="75" y="206"/>
                  </a:lnTo>
                  <a:lnTo>
                    <a:pt x="75" y="206"/>
                  </a:lnTo>
                  <a:lnTo>
                    <a:pt x="75" y="204"/>
                  </a:lnTo>
                  <a:lnTo>
                    <a:pt x="78" y="200"/>
                  </a:lnTo>
                  <a:lnTo>
                    <a:pt x="83" y="200"/>
                  </a:lnTo>
                  <a:lnTo>
                    <a:pt x="85" y="200"/>
                  </a:lnTo>
                  <a:lnTo>
                    <a:pt x="89" y="202"/>
                  </a:lnTo>
                  <a:lnTo>
                    <a:pt x="90" y="202"/>
                  </a:lnTo>
                  <a:lnTo>
                    <a:pt x="94" y="200"/>
                  </a:lnTo>
                  <a:lnTo>
                    <a:pt x="97" y="199"/>
                  </a:lnTo>
                  <a:lnTo>
                    <a:pt x="102" y="200"/>
                  </a:lnTo>
                  <a:lnTo>
                    <a:pt x="104" y="202"/>
                  </a:lnTo>
                  <a:lnTo>
                    <a:pt x="108" y="202"/>
                  </a:lnTo>
                  <a:lnTo>
                    <a:pt x="108" y="204"/>
                  </a:lnTo>
                  <a:lnTo>
                    <a:pt x="113" y="206"/>
                  </a:lnTo>
                  <a:lnTo>
                    <a:pt x="115" y="206"/>
                  </a:lnTo>
                  <a:lnTo>
                    <a:pt x="116" y="206"/>
                  </a:lnTo>
                  <a:lnTo>
                    <a:pt x="116" y="204"/>
                  </a:lnTo>
                  <a:lnTo>
                    <a:pt x="120" y="200"/>
                  </a:lnTo>
                  <a:lnTo>
                    <a:pt x="122" y="197"/>
                  </a:lnTo>
                  <a:lnTo>
                    <a:pt x="123" y="193"/>
                  </a:lnTo>
                  <a:lnTo>
                    <a:pt x="128" y="192"/>
                  </a:lnTo>
                  <a:lnTo>
                    <a:pt x="128" y="190"/>
                  </a:lnTo>
                  <a:lnTo>
                    <a:pt x="130" y="186"/>
                  </a:lnTo>
                  <a:lnTo>
                    <a:pt x="135" y="183"/>
                  </a:lnTo>
                  <a:lnTo>
                    <a:pt x="137" y="181"/>
                  </a:lnTo>
                  <a:lnTo>
                    <a:pt x="134" y="181"/>
                  </a:lnTo>
                  <a:lnTo>
                    <a:pt x="134" y="178"/>
                  </a:lnTo>
                  <a:lnTo>
                    <a:pt x="137" y="174"/>
                  </a:lnTo>
                  <a:lnTo>
                    <a:pt x="139" y="174"/>
                  </a:lnTo>
                  <a:lnTo>
                    <a:pt x="142" y="174"/>
                  </a:lnTo>
                  <a:lnTo>
                    <a:pt x="146" y="171"/>
                  </a:lnTo>
                  <a:lnTo>
                    <a:pt x="148" y="169"/>
                  </a:lnTo>
                  <a:lnTo>
                    <a:pt x="146" y="167"/>
                  </a:lnTo>
                  <a:lnTo>
                    <a:pt x="142" y="167"/>
                  </a:lnTo>
                  <a:lnTo>
                    <a:pt x="139" y="166"/>
                  </a:lnTo>
                  <a:lnTo>
                    <a:pt x="139" y="164"/>
                  </a:lnTo>
                  <a:lnTo>
                    <a:pt x="139" y="162"/>
                  </a:lnTo>
                  <a:lnTo>
                    <a:pt x="142" y="160"/>
                  </a:lnTo>
                  <a:lnTo>
                    <a:pt x="148" y="162"/>
                  </a:lnTo>
                  <a:lnTo>
                    <a:pt x="151" y="160"/>
                  </a:lnTo>
                  <a:lnTo>
                    <a:pt x="155" y="159"/>
                  </a:lnTo>
                  <a:lnTo>
                    <a:pt x="156" y="155"/>
                  </a:lnTo>
                  <a:lnTo>
                    <a:pt x="155" y="155"/>
                  </a:lnTo>
                  <a:lnTo>
                    <a:pt x="155" y="152"/>
                  </a:lnTo>
                  <a:lnTo>
                    <a:pt x="155" y="152"/>
                  </a:lnTo>
                  <a:lnTo>
                    <a:pt x="151" y="155"/>
                  </a:lnTo>
                  <a:lnTo>
                    <a:pt x="151" y="159"/>
                  </a:lnTo>
                  <a:lnTo>
                    <a:pt x="149" y="159"/>
                  </a:lnTo>
                  <a:lnTo>
                    <a:pt x="144" y="159"/>
                  </a:lnTo>
                  <a:lnTo>
                    <a:pt x="142" y="159"/>
                  </a:lnTo>
                  <a:lnTo>
                    <a:pt x="139" y="159"/>
                  </a:lnTo>
                  <a:lnTo>
                    <a:pt x="137" y="160"/>
                  </a:lnTo>
                  <a:lnTo>
                    <a:pt x="135" y="160"/>
                  </a:lnTo>
                  <a:lnTo>
                    <a:pt x="134" y="159"/>
                  </a:lnTo>
                  <a:lnTo>
                    <a:pt x="130" y="155"/>
                  </a:lnTo>
                  <a:lnTo>
                    <a:pt x="128" y="159"/>
                  </a:lnTo>
                  <a:lnTo>
                    <a:pt x="127" y="159"/>
                  </a:lnTo>
                  <a:lnTo>
                    <a:pt x="125" y="159"/>
                  </a:lnTo>
                  <a:lnTo>
                    <a:pt x="123" y="159"/>
                  </a:lnTo>
                  <a:lnTo>
                    <a:pt x="122" y="159"/>
                  </a:lnTo>
                  <a:lnTo>
                    <a:pt x="120" y="159"/>
                  </a:lnTo>
                  <a:lnTo>
                    <a:pt x="120" y="155"/>
                  </a:lnTo>
                  <a:lnTo>
                    <a:pt x="120" y="152"/>
                  </a:lnTo>
                  <a:lnTo>
                    <a:pt x="120" y="152"/>
                  </a:lnTo>
                  <a:lnTo>
                    <a:pt x="120" y="150"/>
                  </a:lnTo>
                  <a:lnTo>
                    <a:pt x="120" y="146"/>
                  </a:lnTo>
                  <a:lnTo>
                    <a:pt x="122" y="146"/>
                  </a:lnTo>
                  <a:lnTo>
                    <a:pt x="123" y="145"/>
                  </a:lnTo>
                  <a:lnTo>
                    <a:pt x="125" y="143"/>
                  </a:lnTo>
                  <a:lnTo>
                    <a:pt x="127" y="143"/>
                  </a:lnTo>
                  <a:lnTo>
                    <a:pt x="127" y="141"/>
                  </a:lnTo>
                  <a:lnTo>
                    <a:pt x="125" y="139"/>
                  </a:lnTo>
                  <a:lnTo>
                    <a:pt x="125" y="138"/>
                  </a:lnTo>
                  <a:lnTo>
                    <a:pt x="127" y="136"/>
                  </a:lnTo>
                  <a:lnTo>
                    <a:pt x="128" y="136"/>
                  </a:lnTo>
                  <a:lnTo>
                    <a:pt x="130" y="134"/>
                  </a:lnTo>
                  <a:lnTo>
                    <a:pt x="134" y="132"/>
                  </a:lnTo>
                  <a:lnTo>
                    <a:pt x="135" y="131"/>
                  </a:lnTo>
                  <a:lnTo>
                    <a:pt x="139" y="129"/>
                  </a:lnTo>
                  <a:lnTo>
                    <a:pt x="142" y="127"/>
                  </a:lnTo>
                  <a:lnTo>
                    <a:pt x="142" y="124"/>
                  </a:lnTo>
                  <a:lnTo>
                    <a:pt x="148" y="127"/>
                  </a:lnTo>
                  <a:lnTo>
                    <a:pt x="149" y="124"/>
                  </a:lnTo>
                  <a:lnTo>
                    <a:pt x="149" y="124"/>
                  </a:lnTo>
                  <a:lnTo>
                    <a:pt x="148" y="124"/>
                  </a:lnTo>
                  <a:lnTo>
                    <a:pt x="148" y="122"/>
                  </a:lnTo>
                  <a:lnTo>
                    <a:pt x="149" y="122"/>
                  </a:lnTo>
                  <a:lnTo>
                    <a:pt x="153" y="122"/>
                  </a:lnTo>
                  <a:lnTo>
                    <a:pt x="153" y="124"/>
                  </a:lnTo>
                  <a:lnTo>
                    <a:pt x="155" y="122"/>
                  </a:lnTo>
                  <a:lnTo>
                    <a:pt x="160" y="119"/>
                  </a:lnTo>
                  <a:lnTo>
                    <a:pt x="158" y="115"/>
                  </a:lnTo>
                  <a:lnTo>
                    <a:pt x="160" y="113"/>
                  </a:lnTo>
                  <a:lnTo>
                    <a:pt x="161" y="110"/>
                  </a:lnTo>
                  <a:lnTo>
                    <a:pt x="165" y="110"/>
                  </a:lnTo>
                  <a:lnTo>
                    <a:pt x="167" y="106"/>
                  </a:lnTo>
                  <a:lnTo>
                    <a:pt x="170" y="106"/>
                  </a:lnTo>
                  <a:lnTo>
                    <a:pt x="172" y="106"/>
                  </a:lnTo>
                  <a:lnTo>
                    <a:pt x="172" y="106"/>
                  </a:lnTo>
                  <a:lnTo>
                    <a:pt x="174" y="110"/>
                  </a:lnTo>
                  <a:lnTo>
                    <a:pt x="174" y="117"/>
                  </a:lnTo>
                  <a:lnTo>
                    <a:pt x="174" y="119"/>
                  </a:lnTo>
                  <a:lnTo>
                    <a:pt x="174" y="124"/>
                  </a:lnTo>
                  <a:lnTo>
                    <a:pt x="174" y="129"/>
                  </a:lnTo>
                  <a:lnTo>
                    <a:pt x="175" y="129"/>
                  </a:lnTo>
                  <a:lnTo>
                    <a:pt x="175" y="127"/>
                  </a:lnTo>
                  <a:lnTo>
                    <a:pt x="177" y="124"/>
                  </a:lnTo>
                  <a:lnTo>
                    <a:pt x="175" y="119"/>
                  </a:lnTo>
                  <a:lnTo>
                    <a:pt x="175" y="115"/>
                  </a:lnTo>
                  <a:lnTo>
                    <a:pt x="175" y="112"/>
                  </a:lnTo>
                  <a:lnTo>
                    <a:pt x="175" y="108"/>
                  </a:lnTo>
                  <a:lnTo>
                    <a:pt x="177" y="106"/>
                  </a:lnTo>
                  <a:lnTo>
                    <a:pt x="179" y="106"/>
                  </a:lnTo>
                  <a:lnTo>
                    <a:pt x="181" y="105"/>
                  </a:lnTo>
                  <a:lnTo>
                    <a:pt x="182" y="103"/>
                  </a:lnTo>
                  <a:lnTo>
                    <a:pt x="184" y="103"/>
                  </a:lnTo>
                  <a:lnTo>
                    <a:pt x="184" y="105"/>
                  </a:lnTo>
                  <a:lnTo>
                    <a:pt x="184" y="106"/>
                  </a:lnTo>
                  <a:lnTo>
                    <a:pt x="184" y="106"/>
                  </a:lnTo>
                  <a:lnTo>
                    <a:pt x="188" y="108"/>
                  </a:lnTo>
                  <a:lnTo>
                    <a:pt x="188" y="110"/>
                  </a:lnTo>
                  <a:lnTo>
                    <a:pt x="188" y="112"/>
                  </a:lnTo>
                  <a:lnTo>
                    <a:pt x="189" y="113"/>
                  </a:lnTo>
                  <a:lnTo>
                    <a:pt x="195" y="113"/>
                  </a:lnTo>
                  <a:lnTo>
                    <a:pt x="196" y="113"/>
                  </a:lnTo>
                  <a:lnTo>
                    <a:pt x="198" y="113"/>
                  </a:lnTo>
                  <a:lnTo>
                    <a:pt x="200" y="112"/>
                  </a:lnTo>
                  <a:lnTo>
                    <a:pt x="198" y="108"/>
                  </a:lnTo>
                  <a:lnTo>
                    <a:pt x="200" y="106"/>
                  </a:lnTo>
                  <a:lnTo>
                    <a:pt x="201" y="105"/>
                  </a:lnTo>
                  <a:lnTo>
                    <a:pt x="201" y="101"/>
                  </a:lnTo>
                  <a:lnTo>
                    <a:pt x="203" y="101"/>
                  </a:lnTo>
                  <a:lnTo>
                    <a:pt x="205" y="99"/>
                  </a:lnTo>
                  <a:lnTo>
                    <a:pt x="210" y="99"/>
                  </a:lnTo>
                  <a:lnTo>
                    <a:pt x="210" y="96"/>
                  </a:lnTo>
                  <a:lnTo>
                    <a:pt x="210" y="91"/>
                  </a:lnTo>
                  <a:lnTo>
                    <a:pt x="210" y="91"/>
                  </a:lnTo>
                  <a:lnTo>
                    <a:pt x="207" y="91"/>
                  </a:lnTo>
                  <a:lnTo>
                    <a:pt x="207" y="87"/>
                  </a:lnTo>
                  <a:lnTo>
                    <a:pt x="207" y="87"/>
                  </a:lnTo>
                  <a:lnTo>
                    <a:pt x="210" y="84"/>
                  </a:lnTo>
                  <a:lnTo>
                    <a:pt x="210" y="80"/>
                  </a:lnTo>
                  <a:lnTo>
                    <a:pt x="210" y="79"/>
                  </a:lnTo>
                  <a:lnTo>
                    <a:pt x="212" y="73"/>
                  </a:lnTo>
                  <a:lnTo>
                    <a:pt x="215" y="72"/>
                  </a:lnTo>
                  <a:lnTo>
                    <a:pt x="219" y="72"/>
                  </a:lnTo>
                  <a:lnTo>
                    <a:pt x="222" y="68"/>
                  </a:lnTo>
                  <a:lnTo>
                    <a:pt x="228" y="68"/>
                  </a:lnTo>
                  <a:lnTo>
                    <a:pt x="228" y="68"/>
                  </a:lnTo>
                  <a:lnTo>
                    <a:pt x="229" y="72"/>
                  </a:lnTo>
                  <a:lnTo>
                    <a:pt x="229" y="73"/>
                  </a:lnTo>
                  <a:lnTo>
                    <a:pt x="233" y="77"/>
                  </a:lnTo>
                  <a:lnTo>
                    <a:pt x="233" y="80"/>
                  </a:lnTo>
                  <a:lnTo>
                    <a:pt x="229" y="87"/>
                  </a:lnTo>
                  <a:lnTo>
                    <a:pt x="229" y="94"/>
                  </a:lnTo>
                  <a:lnTo>
                    <a:pt x="233" y="96"/>
                  </a:lnTo>
                  <a:lnTo>
                    <a:pt x="238" y="99"/>
                  </a:lnTo>
                  <a:lnTo>
                    <a:pt x="238" y="101"/>
                  </a:lnTo>
                  <a:lnTo>
                    <a:pt x="240" y="103"/>
                  </a:lnTo>
                  <a:lnTo>
                    <a:pt x="240" y="101"/>
                  </a:lnTo>
                  <a:lnTo>
                    <a:pt x="240" y="96"/>
                  </a:lnTo>
                  <a:lnTo>
                    <a:pt x="240" y="94"/>
                  </a:lnTo>
                  <a:lnTo>
                    <a:pt x="234" y="87"/>
                  </a:lnTo>
                  <a:lnTo>
                    <a:pt x="234" y="82"/>
                  </a:lnTo>
                  <a:lnTo>
                    <a:pt x="238" y="79"/>
                  </a:lnTo>
                  <a:lnTo>
                    <a:pt x="238" y="75"/>
                  </a:lnTo>
                  <a:lnTo>
                    <a:pt x="238" y="73"/>
                  </a:lnTo>
                  <a:lnTo>
                    <a:pt x="234" y="72"/>
                  </a:lnTo>
                  <a:lnTo>
                    <a:pt x="234" y="68"/>
                  </a:lnTo>
                  <a:lnTo>
                    <a:pt x="234" y="65"/>
                  </a:lnTo>
                  <a:lnTo>
                    <a:pt x="234" y="65"/>
                  </a:lnTo>
                  <a:lnTo>
                    <a:pt x="238" y="59"/>
                  </a:lnTo>
                  <a:lnTo>
                    <a:pt x="241" y="59"/>
                  </a:lnTo>
                  <a:lnTo>
                    <a:pt x="243" y="63"/>
                  </a:lnTo>
                  <a:lnTo>
                    <a:pt x="245" y="59"/>
                  </a:lnTo>
                  <a:lnTo>
                    <a:pt x="248" y="59"/>
                  </a:lnTo>
                  <a:lnTo>
                    <a:pt x="252" y="63"/>
                  </a:lnTo>
                  <a:lnTo>
                    <a:pt x="261" y="63"/>
                  </a:lnTo>
                  <a:lnTo>
                    <a:pt x="266" y="59"/>
                  </a:lnTo>
                  <a:lnTo>
                    <a:pt x="273" y="59"/>
                  </a:lnTo>
                  <a:lnTo>
                    <a:pt x="274" y="59"/>
                  </a:lnTo>
                  <a:lnTo>
                    <a:pt x="274" y="65"/>
                  </a:lnTo>
                  <a:lnTo>
                    <a:pt x="274" y="68"/>
                  </a:lnTo>
                  <a:lnTo>
                    <a:pt x="274" y="68"/>
                  </a:lnTo>
                  <a:lnTo>
                    <a:pt x="278" y="68"/>
                  </a:lnTo>
                  <a:lnTo>
                    <a:pt x="280" y="65"/>
                  </a:lnTo>
                  <a:lnTo>
                    <a:pt x="278" y="63"/>
                  </a:lnTo>
                  <a:lnTo>
                    <a:pt x="278" y="59"/>
                  </a:lnTo>
                  <a:lnTo>
                    <a:pt x="283" y="56"/>
                  </a:lnTo>
                  <a:lnTo>
                    <a:pt x="287" y="58"/>
                  </a:lnTo>
                  <a:lnTo>
                    <a:pt x="287" y="59"/>
                  </a:lnTo>
                  <a:lnTo>
                    <a:pt x="287" y="65"/>
                  </a:lnTo>
                  <a:lnTo>
                    <a:pt x="288" y="65"/>
                  </a:lnTo>
                  <a:lnTo>
                    <a:pt x="290" y="63"/>
                  </a:lnTo>
                  <a:lnTo>
                    <a:pt x="290" y="58"/>
                  </a:lnTo>
                  <a:lnTo>
                    <a:pt x="287" y="56"/>
                  </a:lnTo>
                  <a:lnTo>
                    <a:pt x="287" y="54"/>
                  </a:lnTo>
                  <a:lnTo>
                    <a:pt x="287" y="52"/>
                  </a:lnTo>
                  <a:lnTo>
                    <a:pt x="290" y="52"/>
                  </a:lnTo>
                  <a:lnTo>
                    <a:pt x="294" y="54"/>
                  </a:lnTo>
                  <a:lnTo>
                    <a:pt x="297" y="52"/>
                  </a:lnTo>
                  <a:lnTo>
                    <a:pt x="301" y="51"/>
                  </a:lnTo>
                  <a:lnTo>
                    <a:pt x="306" y="52"/>
                  </a:lnTo>
                  <a:lnTo>
                    <a:pt x="306" y="54"/>
                  </a:lnTo>
                  <a:lnTo>
                    <a:pt x="306" y="63"/>
                  </a:lnTo>
                  <a:lnTo>
                    <a:pt x="302" y="68"/>
                  </a:lnTo>
                  <a:lnTo>
                    <a:pt x="302" y="72"/>
                  </a:lnTo>
                  <a:lnTo>
                    <a:pt x="301" y="75"/>
                  </a:lnTo>
                  <a:lnTo>
                    <a:pt x="301" y="79"/>
                  </a:lnTo>
                  <a:lnTo>
                    <a:pt x="301" y="80"/>
                  </a:lnTo>
                  <a:lnTo>
                    <a:pt x="299" y="84"/>
                  </a:lnTo>
                  <a:lnTo>
                    <a:pt x="297" y="84"/>
                  </a:lnTo>
                  <a:lnTo>
                    <a:pt x="295" y="86"/>
                  </a:lnTo>
                  <a:lnTo>
                    <a:pt x="297" y="87"/>
                  </a:lnTo>
                  <a:lnTo>
                    <a:pt x="297" y="87"/>
                  </a:lnTo>
                  <a:lnTo>
                    <a:pt x="297" y="91"/>
                  </a:lnTo>
                  <a:lnTo>
                    <a:pt x="294" y="94"/>
                  </a:lnTo>
                  <a:lnTo>
                    <a:pt x="292" y="99"/>
                  </a:lnTo>
                  <a:lnTo>
                    <a:pt x="288" y="99"/>
                  </a:lnTo>
                  <a:lnTo>
                    <a:pt x="287" y="101"/>
                  </a:lnTo>
                  <a:lnTo>
                    <a:pt x="287" y="105"/>
                  </a:lnTo>
                  <a:lnTo>
                    <a:pt x="287" y="108"/>
                  </a:lnTo>
                  <a:lnTo>
                    <a:pt x="283" y="112"/>
                  </a:lnTo>
                  <a:lnTo>
                    <a:pt x="287" y="113"/>
                  </a:lnTo>
                  <a:lnTo>
                    <a:pt x="287" y="113"/>
                  </a:lnTo>
                  <a:lnTo>
                    <a:pt x="288" y="108"/>
                  </a:lnTo>
                  <a:lnTo>
                    <a:pt x="292" y="106"/>
                  </a:lnTo>
                  <a:lnTo>
                    <a:pt x="292" y="105"/>
                  </a:lnTo>
                  <a:lnTo>
                    <a:pt x="294" y="103"/>
                  </a:lnTo>
                  <a:lnTo>
                    <a:pt x="297" y="99"/>
                  </a:lnTo>
                  <a:lnTo>
                    <a:pt x="299" y="96"/>
                  </a:lnTo>
                  <a:lnTo>
                    <a:pt x="301" y="94"/>
                  </a:lnTo>
                  <a:lnTo>
                    <a:pt x="302" y="94"/>
                  </a:lnTo>
                  <a:lnTo>
                    <a:pt x="302" y="91"/>
                  </a:lnTo>
                  <a:lnTo>
                    <a:pt x="302" y="87"/>
                  </a:lnTo>
                  <a:lnTo>
                    <a:pt x="306" y="87"/>
                  </a:lnTo>
                  <a:lnTo>
                    <a:pt x="306" y="84"/>
                  </a:lnTo>
                  <a:lnTo>
                    <a:pt x="309" y="82"/>
                  </a:lnTo>
                  <a:lnTo>
                    <a:pt x="309" y="84"/>
                  </a:lnTo>
                  <a:lnTo>
                    <a:pt x="309" y="87"/>
                  </a:lnTo>
                  <a:lnTo>
                    <a:pt x="311" y="87"/>
                  </a:lnTo>
                  <a:lnTo>
                    <a:pt x="311" y="91"/>
                  </a:lnTo>
                  <a:lnTo>
                    <a:pt x="314" y="96"/>
                  </a:lnTo>
                  <a:lnTo>
                    <a:pt x="314" y="99"/>
                  </a:lnTo>
                  <a:lnTo>
                    <a:pt x="316" y="103"/>
                  </a:lnTo>
                  <a:lnTo>
                    <a:pt x="318" y="105"/>
                  </a:lnTo>
                  <a:lnTo>
                    <a:pt x="320" y="105"/>
                  </a:lnTo>
                  <a:lnTo>
                    <a:pt x="321" y="106"/>
                  </a:lnTo>
                  <a:lnTo>
                    <a:pt x="323" y="106"/>
                  </a:lnTo>
                  <a:lnTo>
                    <a:pt x="323" y="105"/>
                  </a:lnTo>
                  <a:lnTo>
                    <a:pt x="323" y="103"/>
                  </a:lnTo>
                  <a:lnTo>
                    <a:pt x="323" y="101"/>
                  </a:lnTo>
                  <a:lnTo>
                    <a:pt x="321" y="99"/>
                  </a:lnTo>
                  <a:lnTo>
                    <a:pt x="320" y="96"/>
                  </a:lnTo>
                  <a:lnTo>
                    <a:pt x="321" y="96"/>
                  </a:lnTo>
                  <a:lnTo>
                    <a:pt x="323" y="96"/>
                  </a:lnTo>
                  <a:lnTo>
                    <a:pt x="325" y="99"/>
                  </a:lnTo>
                  <a:lnTo>
                    <a:pt x="328" y="99"/>
                  </a:lnTo>
                  <a:lnTo>
                    <a:pt x="332" y="99"/>
                  </a:lnTo>
                  <a:lnTo>
                    <a:pt x="332" y="101"/>
                  </a:lnTo>
                  <a:lnTo>
                    <a:pt x="332" y="101"/>
                  </a:lnTo>
                  <a:lnTo>
                    <a:pt x="334" y="99"/>
                  </a:lnTo>
                  <a:lnTo>
                    <a:pt x="337" y="99"/>
                  </a:lnTo>
                  <a:lnTo>
                    <a:pt x="337" y="101"/>
                  </a:lnTo>
                  <a:lnTo>
                    <a:pt x="339" y="101"/>
                  </a:lnTo>
                  <a:lnTo>
                    <a:pt x="337" y="96"/>
                  </a:lnTo>
                  <a:lnTo>
                    <a:pt x="337" y="91"/>
                  </a:lnTo>
                  <a:lnTo>
                    <a:pt x="339" y="87"/>
                  </a:lnTo>
                  <a:lnTo>
                    <a:pt x="339" y="84"/>
                  </a:lnTo>
                  <a:lnTo>
                    <a:pt x="337" y="80"/>
                  </a:lnTo>
                  <a:lnTo>
                    <a:pt x="337" y="77"/>
                  </a:lnTo>
                  <a:lnTo>
                    <a:pt x="337" y="72"/>
                  </a:lnTo>
                  <a:lnTo>
                    <a:pt x="339" y="68"/>
                  </a:lnTo>
                  <a:lnTo>
                    <a:pt x="340" y="65"/>
                  </a:lnTo>
                  <a:lnTo>
                    <a:pt x="339" y="63"/>
                  </a:lnTo>
                  <a:lnTo>
                    <a:pt x="340" y="59"/>
                  </a:lnTo>
                  <a:lnTo>
                    <a:pt x="340" y="56"/>
                  </a:lnTo>
                  <a:lnTo>
                    <a:pt x="342" y="54"/>
                  </a:lnTo>
                  <a:lnTo>
                    <a:pt x="344" y="54"/>
                  </a:lnTo>
                  <a:lnTo>
                    <a:pt x="347" y="56"/>
                  </a:lnTo>
                  <a:lnTo>
                    <a:pt x="349" y="56"/>
                  </a:lnTo>
                  <a:lnTo>
                    <a:pt x="351" y="58"/>
                  </a:lnTo>
                  <a:lnTo>
                    <a:pt x="351" y="59"/>
                  </a:lnTo>
                  <a:lnTo>
                    <a:pt x="356" y="59"/>
                  </a:lnTo>
                  <a:lnTo>
                    <a:pt x="356" y="65"/>
                  </a:lnTo>
                  <a:lnTo>
                    <a:pt x="360" y="72"/>
                  </a:lnTo>
                  <a:lnTo>
                    <a:pt x="360" y="73"/>
                  </a:lnTo>
                  <a:lnTo>
                    <a:pt x="361" y="79"/>
                  </a:lnTo>
                  <a:lnTo>
                    <a:pt x="365" y="82"/>
                  </a:lnTo>
                  <a:lnTo>
                    <a:pt x="365" y="91"/>
                  </a:lnTo>
                  <a:lnTo>
                    <a:pt x="365" y="91"/>
                  </a:lnTo>
                  <a:lnTo>
                    <a:pt x="363" y="94"/>
                  </a:lnTo>
                  <a:lnTo>
                    <a:pt x="363" y="96"/>
                  </a:lnTo>
                  <a:lnTo>
                    <a:pt x="363" y="99"/>
                  </a:lnTo>
                  <a:lnTo>
                    <a:pt x="365" y="101"/>
                  </a:lnTo>
                  <a:lnTo>
                    <a:pt x="367" y="106"/>
                  </a:lnTo>
                  <a:lnTo>
                    <a:pt x="367" y="112"/>
                  </a:lnTo>
                  <a:lnTo>
                    <a:pt x="367" y="115"/>
                  </a:lnTo>
                  <a:lnTo>
                    <a:pt x="368" y="117"/>
                  </a:lnTo>
                  <a:lnTo>
                    <a:pt x="372" y="117"/>
                  </a:lnTo>
                  <a:lnTo>
                    <a:pt x="375" y="119"/>
                  </a:lnTo>
                  <a:lnTo>
                    <a:pt x="379" y="119"/>
                  </a:lnTo>
                  <a:lnTo>
                    <a:pt x="382" y="119"/>
                  </a:lnTo>
                  <a:lnTo>
                    <a:pt x="382" y="113"/>
                  </a:lnTo>
                  <a:lnTo>
                    <a:pt x="384" y="112"/>
                  </a:lnTo>
                  <a:lnTo>
                    <a:pt x="386" y="113"/>
                  </a:lnTo>
                  <a:lnTo>
                    <a:pt x="386" y="115"/>
                  </a:lnTo>
                  <a:lnTo>
                    <a:pt x="386" y="119"/>
                  </a:lnTo>
                  <a:lnTo>
                    <a:pt x="387" y="117"/>
                  </a:lnTo>
                  <a:lnTo>
                    <a:pt x="389" y="117"/>
                  </a:lnTo>
                  <a:lnTo>
                    <a:pt x="391" y="119"/>
                  </a:lnTo>
                  <a:lnTo>
                    <a:pt x="393" y="119"/>
                  </a:lnTo>
                  <a:lnTo>
                    <a:pt x="393" y="122"/>
                  </a:lnTo>
                  <a:lnTo>
                    <a:pt x="394" y="124"/>
                  </a:lnTo>
                  <a:lnTo>
                    <a:pt x="396" y="124"/>
                  </a:lnTo>
                  <a:lnTo>
                    <a:pt x="398" y="124"/>
                  </a:lnTo>
                  <a:lnTo>
                    <a:pt x="401" y="124"/>
                  </a:lnTo>
                  <a:lnTo>
                    <a:pt x="401" y="124"/>
                  </a:lnTo>
                  <a:lnTo>
                    <a:pt x="401" y="124"/>
                  </a:lnTo>
                  <a:lnTo>
                    <a:pt x="398" y="119"/>
                  </a:lnTo>
                  <a:lnTo>
                    <a:pt x="398" y="119"/>
                  </a:lnTo>
                  <a:lnTo>
                    <a:pt x="398" y="117"/>
                  </a:lnTo>
                  <a:lnTo>
                    <a:pt x="394" y="117"/>
                  </a:lnTo>
                  <a:lnTo>
                    <a:pt x="393" y="115"/>
                  </a:lnTo>
                  <a:lnTo>
                    <a:pt x="394" y="112"/>
                  </a:lnTo>
                  <a:lnTo>
                    <a:pt x="393" y="108"/>
                  </a:lnTo>
                  <a:lnTo>
                    <a:pt x="387" y="106"/>
                  </a:lnTo>
                  <a:lnTo>
                    <a:pt x="387" y="103"/>
                  </a:lnTo>
                  <a:lnTo>
                    <a:pt x="387" y="99"/>
                  </a:lnTo>
                  <a:lnTo>
                    <a:pt x="386" y="96"/>
                  </a:lnTo>
                  <a:lnTo>
                    <a:pt x="386" y="96"/>
                  </a:lnTo>
                  <a:lnTo>
                    <a:pt x="386" y="91"/>
                  </a:lnTo>
                  <a:lnTo>
                    <a:pt x="386" y="87"/>
                  </a:lnTo>
                  <a:lnTo>
                    <a:pt x="382" y="84"/>
                  </a:lnTo>
                  <a:lnTo>
                    <a:pt x="382" y="80"/>
                  </a:lnTo>
                  <a:lnTo>
                    <a:pt x="384" y="79"/>
                  </a:lnTo>
                  <a:lnTo>
                    <a:pt x="382" y="73"/>
                  </a:lnTo>
                  <a:lnTo>
                    <a:pt x="382" y="72"/>
                  </a:lnTo>
                  <a:lnTo>
                    <a:pt x="382" y="68"/>
                  </a:lnTo>
                  <a:lnTo>
                    <a:pt x="382" y="65"/>
                  </a:lnTo>
                  <a:lnTo>
                    <a:pt x="379" y="59"/>
                  </a:lnTo>
                  <a:lnTo>
                    <a:pt x="379" y="59"/>
                  </a:lnTo>
                  <a:lnTo>
                    <a:pt x="379" y="56"/>
                  </a:lnTo>
                  <a:lnTo>
                    <a:pt x="379" y="51"/>
                  </a:lnTo>
                  <a:lnTo>
                    <a:pt x="379" y="49"/>
                  </a:lnTo>
                  <a:lnTo>
                    <a:pt x="384" y="51"/>
                  </a:lnTo>
                  <a:lnTo>
                    <a:pt x="386" y="52"/>
                  </a:lnTo>
                  <a:lnTo>
                    <a:pt x="387" y="52"/>
                  </a:lnTo>
                  <a:lnTo>
                    <a:pt x="389" y="51"/>
                  </a:lnTo>
                  <a:lnTo>
                    <a:pt x="391" y="51"/>
                  </a:lnTo>
                  <a:lnTo>
                    <a:pt x="396" y="58"/>
                  </a:lnTo>
                  <a:lnTo>
                    <a:pt x="401" y="59"/>
                  </a:lnTo>
                  <a:lnTo>
                    <a:pt x="401" y="59"/>
                  </a:lnTo>
                  <a:lnTo>
                    <a:pt x="401" y="56"/>
                  </a:lnTo>
                  <a:lnTo>
                    <a:pt x="401" y="54"/>
                  </a:lnTo>
                  <a:lnTo>
                    <a:pt x="401" y="49"/>
                  </a:lnTo>
                  <a:lnTo>
                    <a:pt x="405" y="49"/>
                  </a:lnTo>
                  <a:lnTo>
                    <a:pt x="406" y="49"/>
                  </a:lnTo>
                  <a:lnTo>
                    <a:pt x="410" y="49"/>
                  </a:lnTo>
                  <a:lnTo>
                    <a:pt x="413" y="47"/>
                  </a:lnTo>
                  <a:lnTo>
                    <a:pt x="417" y="47"/>
                  </a:lnTo>
                  <a:lnTo>
                    <a:pt x="420" y="49"/>
                  </a:lnTo>
                  <a:lnTo>
                    <a:pt x="422" y="51"/>
                  </a:lnTo>
                  <a:lnTo>
                    <a:pt x="424" y="52"/>
                  </a:lnTo>
                  <a:lnTo>
                    <a:pt x="424" y="58"/>
                  </a:lnTo>
                  <a:lnTo>
                    <a:pt x="424" y="59"/>
                  </a:lnTo>
                  <a:lnTo>
                    <a:pt x="427" y="63"/>
                  </a:lnTo>
                  <a:lnTo>
                    <a:pt x="427" y="65"/>
                  </a:lnTo>
                  <a:lnTo>
                    <a:pt x="427" y="68"/>
                  </a:lnTo>
                  <a:lnTo>
                    <a:pt x="429" y="73"/>
                  </a:lnTo>
                  <a:lnTo>
                    <a:pt x="429" y="79"/>
                  </a:lnTo>
                  <a:lnTo>
                    <a:pt x="429" y="80"/>
                  </a:lnTo>
                  <a:lnTo>
                    <a:pt x="433" y="82"/>
                  </a:lnTo>
                  <a:lnTo>
                    <a:pt x="436" y="82"/>
                  </a:lnTo>
                  <a:lnTo>
                    <a:pt x="441" y="86"/>
                  </a:lnTo>
                  <a:lnTo>
                    <a:pt x="446" y="87"/>
                  </a:lnTo>
                  <a:lnTo>
                    <a:pt x="445" y="86"/>
                  </a:lnTo>
                  <a:lnTo>
                    <a:pt x="445" y="84"/>
                  </a:lnTo>
                  <a:lnTo>
                    <a:pt x="441" y="82"/>
                  </a:lnTo>
                  <a:lnTo>
                    <a:pt x="440" y="79"/>
                  </a:lnTo>
                  <a:lnTo>
                    <a:pt x="436" y="79"/>
                  </a:lnTo>
                  <a:lnTo>
                    <a:pt x="433" y="77"/>
                  </a:lnTo>
                  <a:lnTo>
                    <a:pt x="433" y="75"/>
                  </a:lnTo>
                  <a:lnTo>
                    <a:pt x="433" y="72"/>
                  </a:lnTo>
                  <a:lnTo>
                    <a:pt x="429" y="68"/>
                  </a:lnTo>
                  <a:lnTo>
                    <a:pt x="429" y="65"/>
                  </a:lnTo>
                  <a:lnTo>
                    <a:pt x="431" y="59"/>
                  </a:lnTo>
                  <a:lnTo>
                    <a:pt x="431" y="58"/>
                  </a:lnTo>
                  <a:lnTo>
                    <a:pt x="431" y="54"/>
                  </a:lnTo>
                  <a:lnTo>
                    <a:pt x="433" y="54"/>
                  </a:lnTo>
                  <a:lnTo>
                    <a:pt x="431" y="51"/>
                  </a:lnTo>
                  <a:lnTo>
                    <a:pt x="427" y="49"/>
                  </a:lnTo>
                  <a:lnTo>
                    <a:pt x="424" y="44"/>
                  </a:lnTo>
                  <a:lnTo>
                    <a:pt x="422" y="44"/>
                  </a:lnTo>
                  <a:lnTo>
                    <a:pt x="419" y="44"/>
                  </a:lnTo>
                  <a:lnTo>
                    <a:pt x="417" y="46"/>
                  </a:lnTo>
                  <a:lnTo>
                    <a:pt x="415" y="46"/>
                  </a:lnTo>
                  <a:lnTo>
                    <a:pt x="410" y="44"/>
                  </a:lnTo>
                  <a:lnTo>
                    <a:pt x="410" y="40"/>
                  </a:lnTo>
                  <a:lnTo>
                    <a:pt x="412" y="37"/>
                  </a:lnTo>
                  <a:lnTo>
                    <a:pt x="415" y="37"/>
                  </a:lnTo>
                  <a:lnTo>
                    <a:pt x="415" y="35"/>
                  </a:lnTo>
                  <a:lnTo>
                    <a:pt x="410" y="32"/>
                  </a:lnTo>
                  <a:lnTo>
                    <a:pt x="410" y="28"/>
                  </a:lnTo>
                  <a:lnTo>
                    <a:pt x="410" y="25"/>
                  </a:lnTo>
                  <a:lnTo>
                    <a:pt x="412" y="21"/>
                  </a:lnTo>
                  <a:lnTo>
                    <a:pt x="413" y="21"/>
                  </a:lnTo>
                  <a:lnTo>
                    <a:pt x="415" y="25"/>
                  </a:lnTo>
                  <a:lnTo>
                    <a:pt x="417" y="28"/>
                  </a:lnTo>
                  <a:lnTo>
                    <a:pt x="419" y="28"/>
                  </a:lnTo>
                  <a:lnTo>
                    <a:pt x="422" y="23"/>
                  </a:lnTo>
                  <a:lnTo>
                    <a:pt x="424" y="21"/>
                  </a:lnTo>
                  <a:lnTo>
                    <a:pt x="427" y="19"/>
                  </a:lnTo>
                  <a:lnTo>
                    <a:pt x="427" y="18"/>
                  </a:lnTo>
                  <a:lnTo>
                    <a:pt x="431" y="14"/>
                  </a:lnTo>
                  <a:lnTo>
                    <a:pt x="436" y="14"/>
                  </a:lnTo>
                  <a:lnTo>
                    <a:pt x="431" y="16"/>
                  </a:lnTo>
                  <a:lnTo>
                    <a:pt x="431" y="18"/>
                  </a:lnTo>
                  <a:lnTo>
                    <a:pt x="431" y="19"/>
                  </a:lnTo>
                  <a:lnTo>
                    <a:pt x="436" y="18"/>
                  </a:lnTo>
                  <a:lnTo>
                    <a:pt x="436" y="18"/>
                  </a:lnTo>
                  <a:lnTo>
                    <a:pt x="438" y="19"/>
                  </a:lnTo>
                  <a:lnTo>
                    <a:pt x="438" y="23"/>
                  </a:lnTo>
                  <a:lnTo>
                    <a:pt x="441" y="25"/>
                  </a:lnTo>
                  <a:lnTo>
                    <a:pt x="441" y="26"/>
                  </a:lnTo>
                  <a:lnTo>
                    <a:pt x="440" y="28"/>
                  </a:lnTo>
                  <a:lnTo>
                    <a:pt x="440" y="30"/>
                  </a:lnTo>
                  <a:lnTo>
                    <a:pt x="441" y="28"/>
                  </a:lnTo>
                  <a:lnTo>
                    <a:pt x="445" y="25"/>
                  </a:lnTo>
                  <a:lnTo>
                    <a:pt x="446" y="26"/>
                  </a:lnTo>
                  <a:lnTo>
                    <a:pt x="450" y="28"/>
                  </a:lnTo>
                  <a:lnTo>
                    <a:pt x="450" y="32"/>
                  </a:lnTo>
                  <a:lnTo>
                    <a:pt x="452" y="37"/>
                  </a:lnTo>
                  <a:lnTo>
                    <a:pt x="452" y="40"/>
                  </a:lnTo>
                  <a:lnTo>
                    <a:pt x="452" y="44"/>
                  </a:lnTo>
                  <a:lnTo>
                    <a:pt x="455" y="42"/>
                  </a:lnTo>
                  <a:lnTo>
                    <a:pt x="455" y="37"/>
                  </a:lnTo>
                  <a:lnTo>
                    <a:pt x="453" y="35"/>
                  </a:lnTo>
                  <a:lnTo>
                    <a:pt x="452" y="32"/>
                  </a:lnTo>
                  <a:lnTo>
                    <a:pt x="452" y="30"/>
                  </a:lnTo>
                  <a:lnTo>
                    <a:pt x="452" y="28"/>
                  </a:lnTo>
                  <a:lnTo>
                    <a:pt x="452" y="28"/>
                  </a:lnTo>
                  <a:lnTo>
                    <a:pt x="455" y="30"/>
                  </a:lnTo>
                  <a:lnTo>
                    <a:pt x="460" y="32"/>
                  </a:lnTo>
                  <a:lnTo>
                    <a:pt x="464" y="37"/>
                  </a:lnTo>
                  <a:lnTo>
                    <a:pt x="467" y="40"/>
                  </a:lnTo>
                  <a:lnTo>
                    <a:pt x="473" y="40"/>
                  </a:lnTo>
                  <a:lnTo>
                    <a:pt x="473" y="40"/>
                  </a:lnTo>
                  <a:lnTo>
                    <a:pt x="469" y="37"/>
                  </a:lnTo>
                  <a:lnTo>
                    <a:pt x="466" y="37"/>
                  </a:lnTo>
                  <a:lnTo>
                    <a:pt x="462" y="32"/>
                  </a:lnTo>
                  <a:lnTo>
                    <a:pt x="462" y="28"/>
                  </a:lnTo>
                  <a:lnTo>
                    <a:pt x="464" y="23"/>
                  </a:lnTo>
                  <a:lnTo>
                    <a:pt x="467" y="23"/>
                  </a:lnTo>
                  <a:lnTo>
                    <a:pt x="469" y="23"/>
                  </a:lnTo>
                  <a:lnTo>
                    <a:pt x="473" y="25"/>
                  </a:lnTo>
                  <a:lnTo>
                    <a:pt x="478" y="25"/>
                  </a:lnTo>
                  <a:lnTo>
                    <a:pt x="478" y="23"/>
                  </a:lnTo>
                  <a:lnTo>
                    <a:pt x="478" y="21"/>
                  </a:lnTo>
                  <a:lnTo>
                    <a:pt x="474" y="21"/>
                  </a:lnTo>
                  <a:lnTo>
                    <a:pt x="474" y="19"/>
                  </a:lnTo>
                  <a:lnTo>
                    <a:pt x="478" y="16"/>
                  </a:lnTo>
                  <a:lnTo>
                    <a:pt x="481" y="12"/>
                  </a:lnTo>
                  <a:lnTo>
                    <a:pt x="481" y="12"/>
                  </a:lnTo>
                  <a:lnTo>
                    <a:pt x="478" y="9"/>
                  </a:lnTo>
                  <a:lnTo>
                    <a:pt x="478" y="7"/>
                  </a:lnTo>
                  <a:lnTo>
                    <a:pt x="481" y="7"/>
                  </a:lnTo>
                  <a:lnTo>
                    <a:pt x="483" y="7"/>
                  </a:lnTo>
                  <a:lnTo>
                    <a:pt x="485" y="6"/>
                  </a:lnTo>
                  <a:lnTo>
                    <a:pt x="485" y="0"/>
                  </a:lnTo>
                  <a:lnTo>
                    <a:pt x="486" y="0"/>
                  </a:lnTo>
                  <a:lnTo>
                    <a:pt x="488" y="0"/>
                  </a:lnTo>
                  <a:lnTo>
                    <a:pt x="490" y="0"/>
                  </a:lnTo>
                  <a:lnTo>
                    <a:pt x="492" y="4"/>
                  </a:lnTo>
                  <a:lnTo>
                    <a:pt x="492" y="6"/>
                  </a:lnTo>
                  <a:lnTo>
                    <a:pt x="492" y="9"/>
                  </a:lnTo>
                  <a:lnTo>
                    <a:pt x="495" y="9"/>
                  </a:lnTo>
                  <a:lnTo>
                    <a:pt x="497" y="9"/>
                  </a:lnTo>
                  <a:lnTo>
                    <a:pt x="497" y="7"/>
                  </a:lnTo>
                  <a:lnTo>
                    <a:pt x="497" y="4"/>
                  </a:lnTo>
                  <a:lnTo>
                    <a:pt x="497" y="0"/>
                  </a:lnTo>
                  <a:lnTo>
                    <a:pt x="497" y="0"/>
                  </a:lnTo>
                  <a:lnTo>
                    <a:pt x="500" y="0"/>
                  </a:lnTo>
                  <a:lnTo>
                    <a:pt x="504" y="0"/>
                  </a:lnTo>
                  <a:lnTo>
                    <a:pt x="509" y="0"/>
                  </a:lnTo>
                  <a:lnTo>
                    <a:pt x="511" y="0"/>
                  </a:lnTo>
                  <a:lnTo>
                    <a:pt x="512" y="4"/>
                  </a:lnTo>
                  <a:lnTo>
                    <a:pt x="512" y="0"/>
                  </a:lnTo>
                  <a:lnTo>
                    <a:pt x="514" y="0"/>
                  </a:lnTo>
                  <a:lnTo>
                    <a:pt x="519" y="0"/>
                  </a:lnTo>
                  <a:lnTo>
                    <a:pt x="523" y="0"/>
                  </a:lnTo>
                  <a:lnTo>
                    <a:pt x="526" y="4"/>
                  </a:lnTo>
                  <a:lnTo>
                    <a:pt x="528" y="4"/>
                  </a:lnTo>
                  <a:lnTo>
                    <a:pt x="530" y="4"/>
                  </a:lnTo>
                  <a:lnTo>
                    <a:pt x="532" y="6"/>
                  </a:lnTo>
                  <a:lnTo>
                    <a:pt x="533" y="7"/>
                  </a:lnTo>
                  <a:lnTo>
                    <a:pt x="539" y="9"/>
                  </a:lnTo>
                  <a:lnTo>
                    <a:pt x="540" y="9"/>
                  </a:lnTo>
                  <a:lnTo>
                    <a:pt x="540" y="9"/>
                  </a:lnTo>
                  <a:lnTo>
                    <a:pt x="542" y="7"/>
                  </a:lnTo>
                  <a:lnTo>
                    <a:pt x="546" y="9"/>
                  </a:lnTo>
                  <a:lnTo>
                    <a:pt x="549" y="9"/>
                  </a:lnTo>
                  <a:lnTo>
                    <a:pt x="552" y="14"/>
                  </a:lnTo>
                  <a:lnTo>
                    <a:pt x="559" y="14"/>
                  </a:lnTo>
                  <a:lnTo>
                    <a:pt x="561" y="16"/>
                  </a:lnTo>
                  <a:lnTo>
                    <a:pt x="565" y="14"/>
                  </a:lnTo>
                  <a:lnTo>
                    <a:pt x="566" y="16"/>
                  </a:lnTo>
                  <a:lnTo>
                    <a:pt x="568" y="18"/>
                  </a:lnTo>
                  <a:lnTo>
                    <a:pt x="572" y="16"/>
                  </a:lnTo>
                  <a:lnTo>
                    <a:pt x="572" y="18"/>
                  </a:lnTo>
                  <a:lnTo>
                    <a:pt x="575" y="19"/>
                  </a:lnTo>
                  <a:lnTo>
                    <a:pt x="580" y="21"/>
                  </a:lnTo>
                  <a:lnTo>
                    <a:pt x="584" y="25"/>
                  </a:lnTo>
                  <a:lnTo>
                    <a:pt x="585" y="28"/>
                  </a:lnTo>
                  <a:lnTo>
                    <a:pt x="589" y="28"/>
                  </a:lnTo>
                  <a:lnTo>
                    <a:pt x="594" y="32"/>
                  </a:lnTo>
                  <a:lnTo>
                    <a:pt x="594" y="32"/>
                  </a:lnTo>
                  <a:lnTo>
                    <a:pt x="591" y="37"/>
                  </a:lnTo>
                  <a:lnTo>
                    <a:pt x="589" y="37"/>
                  </a:lnTo>
                  <a:lnTo>
                    <a:pt x="585" y="37"/>
                  </a:lnTo>
                  <a:lnTo>
                    <a:pt x="584" y="37"/>
                  </a:lnTo>
                  <a:lnTo>
                    <a:pt x="582" y="40"/>
                  </a:lnTo>
                  <a:lnTo>
                    <a:pt x="579" y="40"/>
                  </a:lnTo>
                  <a:lnTo>
                    <a:pt x="577" y="37"/>
                  </a:lnTo>
                  <a:lnTo>
                    <a:pt x="573" y="40"/>
                  </a:lnTo>
                  <a:lnTo>
                    <a:pt x="572" y="40"/>
                  </a:lnTo>
                  <a:lnTo>
                    <a:pt x="565" y="37"/>
                  </a:lnTo>
                  <a:lnTo>
                    <a:pt x="561" y="35"/>
                  </a:lnTo>
                  <a:lnTo>
                    <a:pt x="559" y="35"/>
                  </a:lnTo>
                  <a:lnTo>
                    <a:pt x="556" y="35"/>
                  </a:lnTo>
                  <a:lnTo>
                    <a:pt x="552" y="35"/>
                  </a:lnTo>
                  <a:lnTo>
                    <a:pt x="551" y="35"/>
                  </a:lnTo>
                  <a:lnTo>
                    <a:pt x="549" y="37"/>
                  </a:lnTo>
                  <a:lnTo>
                    <a:pt x="549" y="35"/>
                  </a:lnTo>
                  <a:lnTo>
                    <a:pt x="546" y="35"/>
                  </a:lnTo>
                  <a:lnTo>
                    <a:pt x="539" y="37"/>
                  </a:lnTo>
                  <a:lnTo>
                    <a:pt x="537" y="37"/>
                  </a:lnTo>
                  <a:lnTo>
                    <a:pt x="533" y="37"/>
                  </a:lnTo>
                  <a:lnTo>
                    <a:pt x="532" y="37"/>
                  </a:lnTo>
                  <a:lnTo>
                    <a:pt x="526" y="37"/>
                  </a:lnTo>
                  <a:lnTo>
                    <a:pt x="523" y="37"/>
                  </a:lnTo>
                  <a:lnTo>
                    <a:pt x="521" y="37"/>
                  </a:lnTo>
                  <a:lnTo>
                    <a:pt x="521" y="32"/>
                  </a:lnTo>
                  <a:lnTo>
                    <a:pt x="523" y="32"/>
                  </a:lnTo>
                  <a:lnTo>
                    <a:pt x="523" y="32"/>
                  </a:lnTo>
                  <a:lnTo>
                    <a:pt x="523" y="30"/>
                  </a:lnTo>
                  <a:lnTo>
                    <a:pt x="523" y="28"/>
                  </a:lnTo>
                  <a:lnTo>
                    <a:pt x="521" y="28"/>
                  </a:lnTo>
                  <a:lnTo>
                    <a:pt x="519" y="28"/>
                  </a:lnTo>
                  <a:lnTo>
                    <a:pt x="514" y="32"/>
                  </a:lnTo>
                  <a:lnTo>
                    <a:pt x="514" y="35"/>
                  </a:lnTo>
                  <a:lnTo>
                    <a:pt x="518" y="37"/>
                  </a:lnTo>
                  <a:lnTo>
                    <a:pt x="521" y="37"/>
                  </a:lnTo>
                  <a:lnTo>
                    <a:pt x="519" y="40"/>
                  </a:lnTo>
                  <a:lnTo>
                    <a:pt x="518" y="40"/>
                  </a:lnTo>
                  <a:lnTo>
                    <a:pt x="514" y="40"/>
                  </a:lnTo>
                  <a:lnTo>
                    <a:pt x="512" y="40"/>
                  </a:lnTo>
                  <a:lnTo>
                    <a:pt x="509" y="40"/>
                  </a:lnTo>
                  <a:lnTo>
                    <a:pt x="507" y="40"/>
                  </a:lnTo>
                  <a:lnTo>
                    <a:pt x="504" y="40"/>
                  </a:lnTo>
                  <a:lnTo>
                    <a:pt x="500" y="40"/>
                  </a:lnTo>
                  <a:lnTo>
                    <a:pt x="497" y="40"/>
                  </a:lnTo>
                  <a:lnTo>
                    <a:pt x="492" y="42"/>
                  </a:lnTo>
                  <a:lnTo>
                    <a:pt x="486" y="46"/>
                  </a:lnTo>
                  <a:lnTo>
                    <a:pt x="485" y="49"/>
                  </a:lnTo>
                  <a:lnTo>
                    <a:pt x="485" y="54"/>
                  </a:lnTo>
                  <a:lnTo>
                    <a:pt x="485" y="56"/>
                  </a:lnTo>
                  <a:lnTo>
                    <a:pt x="483" y="58"/>
                  </a:lnTo>
                  <a:lnTo>
                    <a:pt x="485" y="59"/>
                  </a:lnTo>
                  <a:lnTo>
                    <a:pt x="488" y="59"/>
                  </a:lnTo>
                  <a:lnTo>
                    <a:pt x="488" y="56"/>
                  </a:lnTo>
                  <a:lnTo>
                    <a:pt x="488" y="52"/>
                  </a:lnTo>
                  <a:lnTo>
                    <a:pt x="488" y="52"/>
                  </a:lnTo>
                  <a:lnTo>
                    <a:pt x="490" y="51"/>
                  </a:lnTo>
                  <a:lnTo>
                    <a:pt x="492" y="51"/>
                  </a:lnTo>
                  <a:lnTo>
                    <a:pt x="497" y="49"/>
                  </a:lnTo>
                  <a:lnTo>
                    <a:pt x="497" y="51"/>
                  </a:lnTo>
                  <a:lnTo>
                    <a:pt x="497" y="52"/>
                  </a:lnTo>
                  <a:lnTo>
                    <a:pt x="495" y="56"/>
                  </a:lnTo>
                  <a:lnTo>
                    <a:pt x="495" y="58"/>
                  </a:lnTo>
                  <a:lnTo>
                    <a:pt x="497" y="58"/>
                  </a:lnTo>
                  <a:lnTo>
                    <a:pt x="497" y="56"/>
                  </a:lnTo>
                  <a:lnTo>
                    <a:pt x="497" y="51"/>
                  </a:lnTo>
                  <a:lnTo>
                    <a:pt x="497" y="51"/>
                  </a:lnTo>
                  <a:lnTo>
                    <a:pt x="500" y="47"/>
                  </a:lnTo>
                  <a:lnTo>
                    <a:pt x="500" y="47"/>
                  </a:lnTo>
                  <a:lnTo>
                    <a:pt x="504" y="46"/>
                  </a:lnTo>
                  <a:lnTo>
                    <a:pt x="506" y="46"/>
                  </a:lnTo>
                  <a:lnTo>
                    <a:pt x="511" y="44"/>
                  </a:lnTo>
                  <a:lnTo>
                    <a:pt x="514" y="44"/>
                  </a:lnTo>
                  <a:lnTo>
                    <a:pt x="514" y="44"/>
                  </a:lnTo>
                  <a:lnTo>
                    <a:pt x="518" y="44"/>
                  </a:lnTo>
                  <a:lnTo>
                    <a:pt x="518" y="46"/>
                  </a:lnTo>
                  <a:lnTo>
                    <a:pt x="521" y="51"/>
                  </a:lnTo>
                  <a:lnTo>
                    <a:pt x="523" y="52"/>
                  </a:lnTo>
                  <a:lnTo>
                    <a:pt x="523" y="52"/>
                  </a:lnTo>
                  <a:lnTo>
                    <a:pt x="523" y="49"/>
                  </a:lnTo>
                  <a:lnTo>
                    <a:pt x="523" y="46"/>
                  </a:lnTo>
                  <a:lnTo>
                    <a:pt x="523" y="44"/>
                  </a:lnTo>
                  <a:lnTo>
                    <a:pt x="526" y="44"/>
                  </a:lnTo>
                  <a:lnTo>
                    <a:pt x="528" y="44"/>
                  </a:lnTo>
                  <a:lnTo>
                    <a:pt x="533" y="44"/>
                  </a:lnTo>
                  <a:lnTo>
                    <a:pt x="537" y="44"/>
                  </a:lnTo>
                  <a:lnTo>
                    <a:pt x="542" y="40"/>
                  </a:lnTo>
                  <a:lnTo>
                    <a:pt x="546" y="40"/>
                  </a:lnTo>
                  <a:lnTo>
                    <a:pt x="551" y="40"/>
                  </a:lnTo>
                  <a:lnTo>
                    <a:pt x="556" y="40"/>
                  </a:lnTo>
                  <a:lnTo>
                    <a:pt x="559" y="42"/>
                  </a:lnTo>
                  <a:lnTo>
                    <a:pt x="563" y="44"/>
                  </a:lnTo>
                  <a:lnTo>
                    <a:pt x="565" y="44"/>
                  </a:lnTo>
                  <a:lnTo>
                    <a:pt x="568" y="46"/>
                  </a:lnTo>
                  <a:lnTo>
                    <a:pt x="572" y="47"/>
                  </a:lnTo>
                  <a:lnTo>
                    <a:pt x="572" y="49"/>
                  </a:lnTo>
                  <a:lnTo>
                    <a:pt x="573" y="47"/>
                  </a:lnTo>
                  <a:lnTo>
                    <a:pt x="577" y="47"/>
                  </a:lnTo>
                  <a:lnTo>
                    <a:pt x="579" y="47"/>
                  </a:lnTo>
                  <a:lnTo>
                    <a:pt x="579" y="49"/>
                  </a:lnTo>
                  <a:lnTo>
                    <a:pt x="580" y="49"/>
                  </a:lnTo>
                  <a:lnTo>
                    <a:pt x="584" y="47"/>
                  </a:lnTo>
                  <a:lnTo>
                    <a:pt x="585" y="47"/>
                  </a:lnTo>
                  <a:lnTo>
                    <a:pt x="589" y="47"/>
                  </a:lnTo>
                  <a:lnTo>
                    <a:pt x="594" y="44"/>
                  </a:lnTo>
                  <a:lnTo>
                    <a:pt x="596" y="42"/>
                  </a:lnTo>
                  <a:lnTo>
                    <a:pt x="599" y="40"/>
                  </a:lnTo>
                  <a:lnTo>
                    <a:pt x="599" y="42"/>
                  </a:lnTo>
                  <a:lnTo>
                    <a:pt x="601" y="46"/>
                  </a:lnTo>
                  <a:lnTo>
                    <a:pt x="605" y="47"/>
                  </a:lnTo>
                  <a:lnTo>
                    <a:pt x="605" y="47"/>
                  </a:lnTo>
                  <a:lnTo>
                    <a:pt x="603" y="51"/>
                  </a:lnTo>
                  <a:lnTo>
                    <a:pt x="603" y="51"/>
                  </a:lnTo>
                  <a:lnTo>
                    <a:pt x="605" y="52"/>
                  </a:lnTo>
                  <a:lnTo>
                    <a:pt x="605" y="54"/>
                  </a:lnTo>
                  <a:lnTo>
                    <a:pt x="605" y="56"/>
                  </a:lnTo>
                  <a:lnTo>
                    <a:pt x="599" y="59"/>
                  </a:lnTo>
                  <a:lnTo>
                    <a:pt x="594" y="63"/>
                  </a:lnTo>
                  <a:lnTo>
                    <a:pt x="594" y="59"/>
                  </a:lnTo>
                  <a:lnTo>
                    <a:pt x="591" y="59"/>
                  </a:lnTo>
                  <a:lnTo>
                    <a:pt x="589" y="58"/>
                  </a:lnTo>
                  <a:lnTo>
                    <a:pt x="587" y="59"/>
                  </a:lnTo>
                  <a:lnTo>
                    <a:pt x="587" y="59"/>
                  </a:lnTo>
                  <a:lnTo>
                    <a:pt x="591" y="63"/>
                  </a:lnTo>
                  <a:lnTo>
                    <a:pt x="591" y="65"/>
                  </a:lnTo>
                  <a:lnTo>
                    <a:pt x="591" y="65"/>
                  </a:lnTo>
                  <a:lnTo>
                    <a:pt x="587" y="65"/>
                  </a:lnTo>
                  <a:lnTo>
                    <a:pt x="585" y="63"/>
                  </a:lnTo>
                  <a:lnTo>
                    <a:pt x="584" y="63"/>
                  </a:lnTo>
                  <a:lnTo>
                    <a:pt x="584" y="65"/>
                  </a:lnTo>
                  <a:lnTo>
                    <a:pt x="584" y="65"/>
                  </a:lnTo>
                  <a:lnTo>
                    <a:pt x="587" y="68"/>
                  </a:lnTo>
                  <a:lnTo>
                    <a:pt x="591" y="68"/>
                  </a:lnTo>
                  <a:lnTo>
                    <a:pt x="594" y="68"/>
                  </a:lnTo>
                  <a:lnTo>
                    <a:pt x="596" y="68"/>
                  </a:lnTo>
                  <a:lnTo>
                    <a:pt x="601" y="65"/>
                  </a:lnTo>
                  <a:lnTo>
                    <a:pt x="603" y="65"/>
                  </a:lnTo>
                  <a:lnTo>
                    <a:pt x="605" y="68"/>
                  </a:lnTo>
                  <a:lnTo>
                    <a:pt x="605" y="65"/>
                  </a:lnTo>
                  <a:lnTo>
                    <a:pt x="605" y="65"/>
                  </a:lnTo>
                  <a:lnTo>
                    <a:pt x="608" y="65"/>
                  </a:lnTo>
                  <a:lnTo>
                    <a:pt x="613" y="65"/>
                  </a:lnTo>
                  <a:lnTo>
                    <a:pt x="617" y="65"/>
                  </a:lnTo>
                  <a:lnTo>
                    <a:pt x="617" y="68"/>
                  </a:lnTo>
                  <a:lnTo>
                    <a:pt x="618" y="68"/>
                  </a:lnTo>
                  <a:lnTo>
                    <a:pt x="618" y="68"/>
                  </a:lnTo>
                  <a:lnTo>
                    <a:pt x="622" y="65"/>
                  </a:lnTo>
                  <a:lnTo>
                    <a:pt x="622" y="68"/>
                  </a:lnTo>
                  <a:lnTo>
                    <a:pt x="622" y="68"/>
                  </a:lnTo>
                  <a:lnTo>
                    <a:pt x="625" y="72"/>
                  </a:lnTo>
                  <a:lnTo>
                    <a:pt x="629" y="72"/>
                  </a:lnTo>
                  <a:lnTo>
                    <a:pt x="632" y="73"/>
                  </a:lnTo>
                  <a:lnTo>
                    <a:pt x="632" y="75"/>
                  </a:lnTo>
                  <a:lnTo>
                    <a:pt x="636" y="79"/>
                  </a:lnTo>
                  <a:lnTo>
                    <a:pt x="639" y="80"/>
                  </a:lnTo>
                  <a:lnTo>
                    <a:pt x="641" y="82"/>
                  </a:lnTo>
                  <a:lnTo>
                    <a:pt x="645" y="84"/>
                  </a:lnTo>
                  <a:lnTo>
                    <a:pt x="645" y="87"/>
                  </a:lnTo>
                  <a:lnTo>
                    <a:pt x="641" y="87"/>
                  </a:lnTo>
                  <a:lnTo>
                    <a:pt x="641" y="91"/>
                  </a:lnTo>
                  <a:lnTo>
                    <a:pt x="641" y="91"/>
                  </a:lnTo>
                  <a:lnTo>
                    <a:pt x="639" y="94"/>
                  </a:lnTo>
                  <a:lnTo>
                    <a:pt x="636" y="96"/>
                  </a:lnTo>
                  <a:lnTo>
                    <a:pt x="634" y="96"/>
                  </a:lnTo>
                  <a:lnTo>
                    <a:pt x="632" y="96"/>
                  </a:lnTo>
                  <a:lnTo>
                    <a:pt x="631" y="96"/>
                  </a:lnTo>
                  <a:lnTo>
                    <a:pt x="631" y="99"/>
                  </a:lnTo>
                  <a:lnTo>
                    <a:pt x="631" y="99"/>
                  </a:lnTo>
                  <a:lnTo>
                    <a:pt x="627" y="101"/>
                  </a:lnTo>
                  <a:lnTo>
                    <a:pt x="622" y="103"/>
                  </a:lnTo>
                  <a:lnTo>
                    <a:pt x="618" y="105"/>
                  </a:lnTo>
                  <a:lnTo>
                    <a:pt x="617" y="105"/>
                  </a:lnTo>
                  <a:lnTo>
                    <a:pt x="613" y="105"/>
                  </a:lnTo>
                  <a:lnTo>
                    <a:pt x="612" y="103"/>
                  </a:lnTo>
                  <a:lnTo>
                    <a:pt x="610" y="101"/>
                  </a:lnTo>
                  <a:lnTo>
                    <a:pt x="610" y="101"/>
                  </a:lnTo>
                  <a:lnTo>
                    <a:pt x="610" y="103"/>
                  </a:lnTo>
                  <a:lnTo>
                    <a:pt x="612" y="105"/>
                  </a:lnTo>
                  <a:lnTo>
                    <a:pt x="612" y="106"/>
                  </a:lnTo>
                  <a:lnTo>
                    <a:pt x="608" y="106"/>
                  </a:lnTo>
                  <a:lnTo>
                    <a:pt x="605" y="105"/>
                  </a:lnTo>
                  <a:lnTo>
                    <a:pt x="601" y="106"/>
                  </a:lnTo>
                  <a:lnTo>
                    <a:pt x="599" y="106"/>
                  </a:lnTo>
                  <a:lnTo>
                    <a:pt x="599" y="105"/>
                  </a:lnTo>
                  <a:lnTo>
                    <a:pt x="594" y="105"/>
                  </a:lnTo>
                  <a:lnTo>
                    <a:pt x="594" y="106"/>
                  </a:lnTo>
                  <a:lnTo>
                    <a:pt x="589" y="108"/>
                  </a:lnTo>
                  <a:lnTo>
                    <a:pt x="585" y="108"/>
                  </a:lnTo>
                  <a:lnTo>
                    <a:pt x="584" y="108"/>
                  </a:lnTo>
                  <a:lnTo>
                    <a:pt x="582" y="108"/>
                  </a:lnTo>
                  <a:lnTo>
                    <a:pt x="579" y="106"/>
                  </a:lnTo>
                  <a:lnTo>
                    <a:pt x="577" y="106"/>
                  </a:lnTo>
                  <a:lnTo>
                    <a:pt x="575" y="108"/>
                  </a:lnTo>
                  <a:lnTo>
                    <a:pt x="572" y="108"/>
                  </a:lnTo>
                  <a:lnTo>
                    <a:pt x="568" y="108"/>
                  </a:lnTo>
                  <a:lnTo>
                    <a:pt x="566" y="105"/>
                  </a:lnTo>
                  <a:lnTo>
                    <a:pt x="565" y="105"/>
                  </a:lnTo>
                  <a:lnTo>
                    <a:pt x="563" y="103"/>
                  </a:lnTo>
                  <a:lnTo>
                    <a:pt x="559" y="103"/>
                  </a:lnTo>
                  <a:lnTo>
                    <a:pt x="556" y="103"/>
                  </a:lnTo>
                  <a:lnTo>
                    <a:pt x="554" y="101"/>
                  </a:lnTo>
                  <a:lnTo>
                    <a:pt x="551" y="103"/>
                  </a:lnTo>
                  <a:lnTo>
                    <a:pt x="549" y="103"/>
                  </a:lnTo>
                  <a:lnTo>
                    <a:pt x="546" y="101"/>
                  </a:lnTo>
                  <a:lnTo>
                    <a:pt x="544" y="101"/>
                  </a:lnTo>
                  <a:lnTo>
                    <a:pt x="542" y="105"/>
                  </a:lnTo>
                  <a:lnTo>
                    <a:pt x="539" y="105"/>
                  </a:lnTo>
                  <a:lnTo>
                    <a:pt x="535" y="105"/>
                  </a:lnTo>
                  <a:lnTo>
                    <a:pt x="532" y="106"/>
                  </a:lnTo>
                  <a:lnTo>
                    <a:pt x="532" y="106"/>
                  </a:lnTo>
                  <a:lnTo>
                    <a:pt x="530" y="106"/>
                  </a:lnTo>
                  <a:lnTo>
                    <a:pt x="530" y="103"/>
                  </a:lnTo>
                  <a:lnTo>
                    <a:pt x="528" y="103"/>
                  </a:lnTo>
                  <a:lnTo>
                    <a:pt x="526" y="103"/>
                  </a:lnTo>
                  <a:lnTo>
                    <a:pt x="523" y="103"/>
                  </a:lnTo>
                  <a:lnTo>
                    <a:pt x="523" y="103"/>
                  </a:lnTo>
                  <a:lnTo>
                    <a:pt x="523" y="103"/>
                  </a:lnTo>
                  <a:lnTo>
                    <a:pt x="523" y="105"/>
                  </a:lnTo>
                  <a:lnTo>
                    <a:pt x="526" y="105"/>
                  </a:lnTo>
                  <a:lnTo>
                    <a:pt x="526" y="105"/>
                  </a:lnTo>
                  <a:lnTo>
                    <a:pt x="528" y="106"/>
                  </a:lnTo>
                  <a:lnTo>
                    <a:pt x="526" y="110"/>
                  </a:lnTo>
                  <a:lnTo>
                    <a:pt x="526" y="110"/>
                  </a:lnTo>
                  <a:lnTo>
                    <a:pt x="523" y="110"/>
                  </a:lnTo>
                  <a:lnTo>
                    <a:pt x="521" y="110"/>
                  </a:lnTo>
                  <a:lnTo>
                    <a:pt x="519" y="112"/>
                  </a:lnTo>
                  <a:lnTo>
                    <a:pt x="514" y="113"/>
                  </a:lnTo>
                  <a:lnTo>
                    <a:pt x="511" y="113"/>
                  </a:lnTo>
                  <a:lnTo>
                    <a:pt x="509" y="115"/>
                  </a:lnTo>
                  <a:lnTo>
                    <a:pt x="507" y="117"/>
                  </a:lnTo>
                  <a:lnTo>
                    <a:pt x="504" y="119"/>
                  </a:lnTo>
                  <a:lnTo>
                    <a:pt x="500" y="119"/>
                  </a:lnTo>
                  <a:lnTo>
                    <a:pt x="497" y="119"/>
                  </a:lnTo>
                  <a:lnTo>
                    <a:pt x="497" y="119"/>
                  </a:lnTo>
                  <a:lnTo>
                    <a:pt x="495" y="122"/>
                  </a:lnTo>
                  <a:lnTo>
                    <a:pt x="495" y="124"/>
                  </a:lnTo>
                  <a:lnTo>
                    <a:pt x="497" y="127"/>
                  </a:lnTo>
                  <a:lnTo>
                    <a:pt x="497" y="127"/>
                  </a:lnTo>
                  <a:lnTo>
                    <a:pt x="497" y="131"/>
                  </a:lnTo>
                  <a:lnTo>
                    <a:pt x="497" y="132"/>
                  </a:lnTo>
                  <a:lnTo>
                    <a:pt x="500" y="132"/>
                  </a:lnTo>
                  <a:lnTo>
                    <a:pt x="500" y="131"/>
                  </a:lnTo>
                  <a:lnTo>
                    <a:pt x="500" y="127"/>
                  </a:lnTo>
                  <a:lnTo>
                    <a:pt x="504" y="127"/>
                  </a:lnTo>
                  <a:lnTo>
                    <a:pt x="506" y="127"/>
                  </a:lnTo>
                  <a:lnTo>
                    <a:pt x="509" y="124"/>
                  </a:lnTo>
                  <a:lnTo>
                    <a:pt x="511" y="124"/>
                  </a:lnTo>
                  <a:lnTo>
                    <a:pt x="514" y="124"/>
                  </a:lnTo>
                  <a:lnTo>
                    <a:pt x="514" y="124"/>
                  </a:lnTo>
                  <a:lnTo>
                    <a:pt x="518" y="119"/>
                  </a:lnTo>
                  <a:lnTo>
                    <a:pt x="523" y="119"/>
                  </a:lnTo>
                  <a:lnTo>
                    <a:pt x="528" y="117"/>
                  </a:lnTo>
                  <a:lnTo>
                    <a:pt x="532" y="117"/>
                  </a:lnTo>
                  <a:lnTo>
                    <a:pt x="532" y="119"/>
                  </a:lnTo>
                  <a:lnTo>
                    <a:pt x="530" y="119"/>
                  </a:lnTo>
                  <a:lnTo>
                    <a:pt x="532" y="119"/>
                  </a:lnTo>
                  <a:lnTo>
                    <a:pt x="533" y="119"/>
                  </a:lnTo>
                  <a:lnTo>
                    <a:pt x="533" y="117"/>
                  </a:lnTo>
                  <a:lnTo>
                    <a:pt x="537" y="113"/>
                  </a:lnTo>
                  <a:lnTo>
                    <a:pt x="539" y="112"/>
                  </a:lnTo>
                  <a:lnTo>
                    <a:pt x="542" y="113"/>
                  </a:lnTo>
                  <a:lnTo>
                    <a:pt x="544" y="113"/>
                  </a:lnTo>
                  <a:lnTo>
                    <a:pt x="546" y="113"/>
                  </a:lnTo>
                  <a:lnTo>
                    <a:pt x="551" y="113"/>
                  </a:lnTo>
                  <a:lnTo>
                    <a:pt x="554" y="115"/>
                  </a:lnTo>
                  <a:lnTo>
                    <a:pt x="558" y="115"/>
                  </a:lnTo>
                  <a:lnTo>
                    <a:pt x="566" y="115"/>
                  </a:lnTo>
                  <a:lnTo>
                    <a:pt x="568" y="115"/>
                  </a:lnTo>
                  <a:lnTo>
                    <a:pt x="572" y="117"/>
                  </a:lnTo>
                  <a:lnTo>
                    <a:pt x="577" y="119"/>
                  </a:lnTo>
                  <a:lnTo>
                    <a:pt x="582" y="119"/>
                  </a:lnTo>
                  <a:lnTo>
                    <a:pt x="585" y="119"/>
                  </a:lnTo>
                  <a:lnTo>
                    <a:pt x="585" y="119"/>
                  </a:lnTo>
                  <a:lnTo>
                    <a:pt x="587" y="122"/>
                  </a:lnTo>
                  <a:lnTo>
                    <a:pt x="587" y="124"/>
                  </a:lnTo>
                  <a:lnTo>
                    <a:pt x="584" y="124"/>
                  </a:lnTo>
                  <a:lnTo>
                    <a:pt x="584" y="127"/>
                  </a:lnTo>
                  <a:lnTo>
                    <a:pt x="582" y="129"/>
                  </a:lnTo>
                  <a:lnTo>
                    <a:pt x="580" y="131"/>
                  </a:lnTo>
                  <a:lnTo>
                    <a:pt x="572" y="131"/>
                  </a:lnTo>
                  <a:lnTo>
                    <a:pt x="568" y="132"/>
                  </a:lnTo>
                  <a:lnTo>
                    <a:pt x="568" y="134"/>
                  </a:lnTo>
                  <a:lnTo>
                    <a:pt x="566" y="132"/>
                  </a:lnTo>
                  <a:lnTo>
                    <a:pt x="565" y="132"/>
                  </a:lnTo>
                  <a:lnTo>
                    <a:pt x="565" y="136"/>
                  </a:lnTo>
                  <a:lnTo>
                    <a:pt x="565" y="138"/>
                  </a:lnTo>
                  <a:lnTo>
                    <a:pt x="563" y="141"/>
                  </a:lnTo>
                  <a:lnTo>
                    <a:pt x="565" y="143"/>
                  </a:lnTo>
                  <a:lnTo>
                    <a:pt x="565" y="143"/>
                  </a:lnTo>
                  <a:lnTo>
                    <a:pt x="568" y="141"/>
                  </a:lnTo>
                  <a:lnTo>
                    <a:pt x="572" y="141"/>
                  </a:lnTo>
                  <a:lnTo>
                    <a:pt x="575" y="139"/>
                  </a:lnTo>
                  <a:lnTo>
                    <a:pt x="575" y="139"/>
                  </a:lnTo>
                  <a:lnTo>
                    <a:pt x="582" y="139"/>
                  </a:lnTo>
                  <a:lnTo>
                    <a:pt x="582" y="139"/>
                  </a:lnTo>
                  <a:lnTo>
                    <a:pt x="589" y="141"/>
                  </a:lnTo>
                  <a:lnTo>
                    <a:pt x="591" y="141"/>
                  </a:lnTo>
                  <a:lnTo>
                    <a:pt x="591" y="143"/>
                  </a:lnTo>
                  <a:lnTo>
                    <a:pt x="594" y="141"/>
                  </a:lnTo>
                  <a:lnTo>
                    <a:pt x="594" y="139"/>
                  </a:lnTo>
                  <a:lnTo>
                    <a:pt x="594" y="139"/>
                  </a:lnTo>
                  <a:lnTo>
                    <a:pt x="599" y="139"/>
                  </a:lnTo>
                  <a:lnTo>
                    <a:pt x="599" y="141"/>
                  </a:lnTo>
                  <a:lnTo>
                    <a:pt x="603" y="138"/>
                  </a:lnTo>
                  <a:lnTo>
                    <a:pt x="603" y="132"/>
                  </a:lnTo>
                  <a:lnTo>
                    <a:pt x="603" y="127"/>
                  </a:lnTo>
                  <a:lnTo>
                    <a:pt x="605" y="127"/>
                  </a:lnTo>
                  <a:lnTo>
                    <a:pt x="605" y="124"/>
                  </a:lnTo>
                  <a:lnTo>
                    <a:pt x="605" y="124"/>
                  </a:lnTo>
                  <a:lnTo>
                    <a:pt x="606" y="122"/>
                  </a:lnTo>
                  <a:lnTo>
                    <a:pt x="612" y="122"/>
                  </a:lnTo>
                  <a:lnTo>
                    <a:pt x="613" y="122"/>
                  </a:lnTo>
                  <a:lnTo>
                    <a:pt x="618" y="122"/>
                  </a:lnTo>
                  <a:lnTo>
                    <a:pt x="622" y="122"/>
                  </a:lnTo>
                  <a:lnTo>
                    <a:pt x="624" y="122"/>
                  </a:lnTo>
                  <a:lnTo>
                    <a:pt x="625" y="124"/>
                  </a:lnTo>
                  <a:lnTo>
                    <a:pt x="625" y="131"/>
                  </a:lnTo>
                  <a:lnTo>
                    <a:pt x="625" y="134"/>
                  </a:lnTo>
                  <a:lnTo>
                    <a:pt x="622" y="138"/>
                  </a:lnTo>
                  <a:lnTo>
                    <a:pt x="618" y="145"/>
                  </a:lnTo>
                  <a:lnTo>
                    <a:pt x="618" y="146"/>
                  </a:lnTo>
                  <a:lnTo>
                    <a:pt x="618" y="150"/>
                  </a:lnTo>
                  <a:lnTo>
                    <a:pt x="608" y="159"/>
                  </a:lnTo>
                  <a:lnTo>
                    <a:pt x="606" y="159"/>
                  </a:lnTo>
                  <a:lnTo>
                    <a:pt x="605" y="159"/>
                  </a:lnTo>
                  <a:lnTo>
                    <a:pt x="603" y="160"/>
                  </a:lnTo>
                  <a:lnTo>
                    <a:pt x="601" y="162"/>
                  </a:lnTo>
                  <a:lnTo>
                    <a:pt x="599" y="160"/>
                  </a:lnTo>
                  <a:lnTo>
                    <a:pt x="596" y="162"/>
                  </a:lnTo>
                  <a:lnTo>
                    <a:pt x="594" y="166"/>
                  </a:lnTo>
                  <a:lnTo>
                    <a:pt x="594" y="167"/>
                  </a:lnTo>
                  <a:lnTo>
                    <a:pt x="591" y="169"/>
                  </a:lnTo>
                  <a:lnTo>
                    <a:pt x="591" y="172"/>
                  </a:lnTo>
                  <a:lnTo>
                    <a:pt x="589" y="171"/>
                  </a:lnTo>
                  <a:lnTo>
                    <a:pt x="587" y="171"/>
                  </a:lnTo>
                  <a:lnTo>
                    <a:pt x="587" y="172"/>
                  </a:lnTo>
                  <a:lnTo>
                    <a:pt x="587" y="174"/>
                  </a:lnTo>
                  <a:lnTo>
                    <a:pt x="585" y="174"/>
                  </a:lnTo>
                  <a:lnTo>
                    <a:pt x="582" y="181"/>
                  </a:lnTo>
                  <a:lnTo>
                    <a:pt x="580" y="183"/>
                  </a:lnTo>
                  <a:lnTo>
                    <a:pt x="579" y="186"/>
                  </a:lnTo>
                  <a:lnTo>
                    <a:pt x="573" y="188"/>
                  </a:lnTo>
                  <a:lnTo>
                    <a:pt x="572" y="192"/>
                  </a:lnTo>
                  <a:lnTo>
                    <a:pt x="568" y="192"/>
                  </a:lnTo>
                  <a:lnTo>
                    <a:pt x="565" y="195"/>
                  </a:lnTo>
                  <a:lnTo>
                    <a:pt x="565" y="197"/>
                  </a:lnTo>
                  <a:lnTo>
                    <a:pt x="561" y="197"/>
                  </a:lnTo>
                  <a:lnTo>
                    <a:pt x="561" y="200"/>
                  </a:lnTo>
                  <a:lnTo>
                    <a:pt x="561" y="204"/>
                  </a:lnTo>
                  <a:lnTo>
                    <a:pt x="559" y="206"/>
                  </a:lnTo>
                  <a:lnTo>
                    <a:pt x="561" y="209"/>
                  </a:lnTo>
                  <a:lnTo>
                    <a:pt x="561" y="206"/>
                  </a:lnTo>
                  <a:lnTo>
                    <a:pt x="563" y="204"/>
                  </a:lnTo>
                  <a:lnTo>
                    <a:pt x="566" y="200"/>
                  </a:lnTo>
                  <a:lnTo>
                    <a:pt x="568" y="197"/>
                  </a:lnTo>
                  <a:lnTo>
                    <a:pt x="572" y="195"/>
                  </a:lnTo>
                  <a:lnTo>
                    <a:pt x="572" y="195"/>
                  </a:lnTo>
                  <a:lnTo>
                    <a:pt x="572" y="195"/>
                  </a:lnTo>
                  <a:lnTo>
                    <a:pt x="575" y="192"/>
                  </a:lnTo>
                  <a:lnTo>
                    <a:pt x="582" y="188"/>
                  </a:lnTo>
                  <a:lnTo>
                    <a:pt x="584" y="186"/>
                  </a:lnTo>
                  <a:lnTo>
                    <a:pt x="584" y="186"/>
                  </a:lnTo>
                  <a:lnTo>
                    <a:pt x="589" y="181"/>
                  </a:lnTo>
                  <a:lnTo>
                    <a:pt x="594" y="174"/>
                  </a:lnTo>
                  <a:lnTo>
                    <a:pt x="594" y="174"/>
                  </a:lnTo>
                  <a:lnTo>
                    <a:pt x="599" y="174"/>
                  </a:lnTo>
                  <a:lnTo>
                    <a:pt x="599" y="174"/>
                  </a:lnTo>
                  <a:lnTo>
                    <a:pt x="603" y="174"/>
                  </a:lnTo>
                  <a:lnTo>
                    <a:pt x="603" y="172"/>
                  </a:lnTo>
                  <a:lnTo>
                    <a:pt x="606" y="172"/>
                  </a:lnTo>
                  <a:lnTo>
                    <a:pt x="612" y="172"/>
                  </a:lnTo>
                  <a:lnTo>
                    <a:pt x="617" y="169"/>
                  </a:lnTo>
                  <a:lnTo>
                    <a:pt x="618" y="166"/>
                  </a:lnTo>
                  <a:lnTo>
                    <a:pt x="622" y="166"/>
                  </a:lnTo>
                  <a:lnTo>
                    <a:pt x="624" y="164"/>
                  </a:lnTo>
                  <a:lnTo>
                    <a:pt x="625" y="162"/>
                  </a:lnTo>
                  <a:lnTo>
                    <a:pt x="629" y="162"/>
                  </a:lnTo>
                  <a:lnTo>
                    <a:pt x="631" y="159"/>
                  </a:lnTo>
                  <a:lnTo>
                    <a:pt x="636" y="155"/>
                  </a:lnTo>
                  <a:lnTo>
                    <a:pt x="636" y="150"/>
                  </a:lnTo>
                  <a:lnTo>
                    <a:pt x="636" y="150"/>
                  </a:lnTo>
                  <a:lnTo>
                    <a:pt x="639" y="146"/>
                  </a:lnTo>
                  <a:lnTo>
                    <a:pt x="639" y="146"/>
                  </a:lnTo>
                  <a:lnTo>
                    <a:pt x="641" y="145"/>
                  </a:lnTo>
                  <a:lnTo>
                    <a:pt x="641" y="146"/>
                  </a:lnTo>
                  <a:lnTo>
                    <a:pt x="641" y="150"/>
                  </a:lnTo>
                  <a:lnTo>
                    <a:pt x="641" y="150"/>
                  </a:lnTo>
                  <a:lnTo>
                    <a:pt x="641" y="155"/>
                  </a:lnTo>
                  <a:lnTo>
                    <a:pt x="645" y="155"/>
                  </a:lnTo>
                  <a:lnTo>
                    <a:pt x="645" y="159"/>
                  </a:lnTo>
                  <a:lnTo>
                    <a:pt x="641" y="160"/>
                  </a:lnTo>
                  <a:lnTo>
                    <a:pt x="645" y="162"/>
                  </a:lnTo>
                  <a:lnTo>
                    <a:pt x="645" y="160"/>
                  </a:lnTo>
                  <a:lnTo>
                    <a:pt x="645" y="159"/>
                  </a:lnTo>
                  <a:lnTo>
                    <a:pt x="646" y="155"/>
                  </a:lnTo>
                  <a:lnTo>
                    <a:pt x="645" y="155"/>
                  </a:lnTo>
                  <a:lnTo>
                    <a:pt x="645" y="152"/>
                  </a:lnTo>
                  <a:lnTo>
                    <a:pt x="646" y="150"/>
                  </a:lnTo>
                  <a:lnTo>
                    <a:pt x="648" y="150"/>
                  </a:lnTo>
                  <a:lnTo>
                    <a:pt x="648" y="155"/>
                  </a:lnTo>
                  <a:lnTo>
                    <a:pt x="650" y="155"/>
                  </a:lnTo>
                  <a:lnTo>
                    <a:pt x="653" y="155"/>
                  </a:lnTo>
                  <a:lnTo>
                    <a:pt x="657" y="155"/>
                  </a:lnTo>
                  <a:lnTo>
                    <a:pt x="657" y="152"/>
                  </a:lnTo>
                  <a:lnTo>
                    <a:pt x="657" y="150"/>
                  </a:lnTo>
                  <a:lnTo>
                    <a:pt x="657" y="150"/>
                  </a:lnTo>
                  <a:lnTo>
                    <a:pt x="658" y="150"/>
                  </a:lnTo>
                  <a:lnTo>
                    <a:pt x="660" y="146"/>
                  </a:lnTo>
                  <a:lnTo>
                    <a:pt x="660" y="143"/>
                  </a:lnTo>
                  <a:lnTo>
                    <a:pt x="660" y="141"/>
                  </a:lnTo>
                  <a:lnTo>
                    <a:pt x="660" y="139"/>
                  </a:lnTo>
                  <a:lnTo>
                    <a:pt x="662" y="138"/>
                  </a:lnTo>
                  <a:lnTo>
                    <a:pt x="664" y="139"/>
                  </a:lnTo>
                  <a:lnTo>
                    <a:pt x="667" y="141"/>
                  </a:lnTo>
                  <a:lnTo>
                    <a:pt x="671" y="139"/>
                  </a:lnTo>
                  <a:lnTo>
                    <a:pt x="671" y="138"/>
                  </a:lnTo>
                  <a:lnTo>
                    <a:pt x="676" y="136"/>
                  </a:lnTo>
                  <a:lnTo>
                    <a:pt x="679" y="136"/>
                  </a:lnTo>
                  <a:lnTo>
                    <a:pt x="681" y="136"/>
                  </a:lnTo>
                  <a:lnTo>
                    <a:pt x="686" y="136"/>
                  </a:lnTo>
                  <a:lnTo>
                    <a:pt x="690" y="139"/>
                  </a:lnTo>
                  <a:lnTo>
                    <a:pt x="693" y="141"/>
                  </a:lnTo>
                  <a:lnTo>
                    <a:pt x="698" y="141"/>
                  </a:lnTo>
                  <a:lnTo>
                    <a:pt x="700" y="143"/>
                  </a:lnTo>
                  <a:lnTo>
                    <a:pt x="702" y="145"/>
                  </a:lnTo>
                  <a:lnTo>
                    <a:pt x="705" y="145"/>
                  </a:lnTo>
                  <a:lnTo>
                    <a:pt x="709" y="146"/>
                  </a:lnTo>
                  <a:lnTo>
                    <a:pt x="709" y="150"/>
                  </a:lnTo>
                  <a:lnTo>
                    <a:pt x="709" y="150"/>
                  </a:lnTo>
                  <a:lnTo>
                    <a:pt x="716" y="155"/>
                  </a:lnTo>
                  <a:lnTo>
                    <a:pt x="716" y="159"/>
                  </a:lnTo>
                  <a:lnTo>
                    <a:pt x="718" y="159"/>
                  </a:lnTo>
                  <a:lnTo>
                    <a:pt x="721" y="164"/>
                  </a:lnTo>
                  <a:lnTo>
                    <a:pt x="718" y="167"/>
                  </a:lnTo>
                  <a:lnTo>
                    <a:pt x="716" y="171"/>
                  </a:lnTo>
                  <a:lnTo>
                    <a:pt x="712" y="171"/>
                  </a:lnTo>
                  <a:lnTo>
                    <a:pt x="712" y="174"/>
                  </a:lnTo>
                  <a:lnTo>
                    <a:pt x="709" y="174"/>
                  </a:lnTo>
                  <a:lnTo>
                    <a:pt x="709" y="174"/>
                  </a:lnTo>
                  <a:lnTo>
                    <a:pt x="705" y="178"/>
                  </a:lnTo>
                  <a:lnTo>
                    <a:pt x="702" y="183"/>
                  </a:lnTo>
                  <a:lnTo>
                    <a:pt x="700" y="186"/>
                  </a:lnTo>
                  <a:lnTo>
                    <a:pt x="698" y="186"/>
                  </a:lnTo>
                  <a:lnTo>
                    <a:pt x="698" y="186"/>
                  </a:lnTo>
                  <a:lnTo>
                    <a:pt x="693" y="183"/>
                  </a:lnTo>
                  <a:lnTo>
                    <a:pt x="690" y="183"/>
                  </a:lnTo>
                  <a:lnTo>
                    <a:pt x="686" y="183"/>
                  </a:lnTo>
                  <a:lnTo>
                    <a:pt x="686" y="186"/>
                  </a:lnTo>
                  <a:lnTo>
                    <a:pt x="686" y="188"/>
                  </a:lnTo>
                  <a:lnTo>
                    <a:pt x="686" y="188"/>
                  </a:lnTo>
                  <a:lnTo>
                    <a:pt x="686" y="190"/>
                  </a:lnTo>
                  <a:lnTo>
                    <a:pt x="690" y="193"/>
                  </a:lnTo>
                  <a:lnTo>
                    <a:pt x="690" y="193"/>
                  </a:lnTo>
                  <a:lnTo>
                    <a:pt x="690" y="197"/>
                  </a:lnTo>
                  <a:lnTo>
                    <a:pt x="690" y="199"/>
                  </a:lnTo>
                  <a:lnTo>
                    <a:pt x="686" y="199"/>
                  </a:lnTo>
                  <a:lnTo>
                    <a:pt x="685" y="199"/>
                  </a:lnTo>
                  <a:lnTo>
                    <a:pt x="679" y="202"/>
                  </a:lnTo>
                  <a:lnTo>
                    <a:pt x="676" y="204"/>
                  </a:lnTo>
                  <a:lnTo>
                    <a:pt x="674" y="204"/>
                  </a:lnTo>
                  <a:lnTo>
                    <a:pt x="671" y="204"/>
                  </a:lnTo>
                  <a:lnTo>
                    <a:pt x="671" y="202"/>
                  </a:lnTo>
                  <a:lnTo>
                    <a:pt x="667" y="202"/>
                  </a:lnTo>
                  <a:lnTo>
                    <a:pt x="664" y="202"/>
                  </a:lnTo>
                  <a:lnTo>
                    <a:pt x="664" y="200"/>
                  </a:lnTo>
                  <a:lnTo>
                    <a:pt x="662" y="200"/>
                  </a:lnTo>
                  <a:lnTo>
                    <a:pt x="660" y="199"/>
                  </a:lnTo>
                  <a:lnTo>
                    <a:pt x="658" y="199"/>
                  </a:lnTo>
                  <a:lnTo>
                    <a:pt x="658" y="199"/>
                  </a:lnTo>
                  <a:lnTo>
                    <a:pt x="657" y="200"/>
                  </a:lnTo>
                  <a:lnTo>
                    <a:pt x="657" y="200"/>
                  </a:lnTo>
                  <a:lnTo>
                    <a:pt x="653" y="200"/>
                  </a:lnTo>
                  <a:lnTo>
                    <a:pt x="653" y="202"/>
                  </a:lnTo>
                  <a:lnTo>
                    <a:pt x="651" y="204"/>
                  </a:lnTo>
                  <a:lnTo>
                    <a:pt x="650" y="204"/>
                  </a:lnTo>
                  <a:lnTo>
                    <a:pt x="648" y="202"/>
                  </a:lnTo>
                  <a:lnTo>
                    <a:pt x="646" y="204"/>
                  </a:lnTo>
                  <a:lnTo>
                    <a:pt x="645" y="206"/>
                  </a:lnTo>
                  <a:lnTo>
                    <a:pt x="641" y="204"/>
                  </a:lnTo>
                  <a:lnTo>
                    <a:pt x="639" y="204"/>
                  </a:lnTo>
                  <a:lnTo>
                    <a:pt x="636" y="204"/>
                  </a:lnTo>
                  <a:lnTo>
                    <a:pt x="632" y="206"/>
                  </a:lnTo>
                  <a:lnTo>
                    <a:pt x="629" y="206"/>
                  </a:lnTo>
                  <a:lnTo>
                    <a:pt x="627" y="206"/>
                  </a:lnTo>
                  <a:lnTo>
                    <a:pt x="629" y="206"/>
                  </a:lnTo>
                  <a:lnTo>
                    <a:pt x="632" y="206"/>
                  </a:lnTo>
                  <a:lnTo>
                    <a:pt x="639" y="206"/>
                  </a:lnTo>
                  <a:lnTo>
                    <a:pt x="641" y="206"/>
                  </a:lnTo>
                  <a:lnTo>
                    <a:pt x="645" y="206"/>
                  </a:lnTo>
                  <a:lnTo>
                    <a:pt x="646" y="206"/>
                  </a:lnTo>
                  <a:lnTo>
                    <a:pt x="650" y="206"/>
                  </a:lnTo>
                  <a:lnTo>
                    <a:pt x="657" y="206"/>
                  </a:lnTo>
                  <a:lnTo>
                    <a:pt x="660" y="209"/>
                  </a:lnTo>
                  <a:lnTo>
                    <a:pt x="660" y="209"/>
                  </a:lnTo>
                  <a:lnTo>
                    <a:pt x="664" y="206"/>
                  </a:lnTo>
                  <a:lnTo>
                    <a:pt x="664" y="206"/>
                  </a:lnTo>
                  <a:lnTo>
                    <a:pt x="667" y="209"/>
                  </a:lnTo>
                  <a:lnTo>
                    <a:pt x="667" y="209"/>
                  </a:lnTo>
                  <a:lnTo>
                    <a:pt x="671" y="209"/>
                  </a:lnTo>
                  <a:lnTo>
                    <a:pt x="672" y="214"/>
                  </a:lnTo>
                  <a:lnTo>
                    <a:pt x="672" y="214"/>
                  </a:lnTo>
                  <a:lnTo>
                    <a:pt x="671" y="218"/>
                  </a:lnTo>
                  <a:lnTo>
                    <a:pt x="667" y="218"/>
                  </a:lnTo>
                  <a:lnTo>
                    <a:pt x="667" y="218"/>
                  </a:lnTo>
                  <a:lnTo>
                    <a:pt x="667" y="219"/>
                  </a:lnTo>
                  <a:lnTo>
                    <a:pt x="667" y="221"/>
                  </a:lnTo>
                  <a:lnTo>
                    <a:pt x="664" y="223"/>
                  </a:lnTo>
                  <a:lnTo>
                    <a:pt x="658" y="225"/>
                  </a:lnTo>
                  <a:lnTo>
                    <a:pt x="655" y="225"/>
                  </a:lnTo>
                  <a:lnTo>
                    <a:pt x="651" y="226"/>
                  </a:lnTo>
                  <a:lnTo>
                    <a:pt x="645" y="225"/>
                  </a:lnTo>
                  <a:lnTo>
                    <a:pt x="645" y="223"/>
                  </a:lnTo>
                  <a:lnTo>
                    <a:pt x="638" y="218"/>
                  </a:lnTo>
                  <a:lnTo>
                    <a:pt x="632" y="218"/>
                  </a:lnTo>
                  <a:lnTo>
                    <a:pt x="631" y="218"/>
                  </a:lnTo>
                  <a:lnTo>
                    <a:pt x="627" y="219"/>
                  </a:lnTo>
                  <a:lnTo>
                    <a:pt x="625" y="225"/>
                  </a:lnTo>
                  <a:lnTo>
                    <a:pt x="622" y="226"/>
                  </a:lnTo>
                  <a:lnTo>
                    <a:pt x="622" y="228"/>
                  </a:lnTo>
                  <a:lnTo>
                    <a:pt x="618" y="228"/>
                  </a:lnTo>
                  <a:lnTo>
                    <a:pt x="622" y="230"/>
                  </a:lnTo>
                  <a:lnTo>
                    <a:pt x="622" y="230"/>
                  </a:lnTo>
                  <a:lnTo>
                    <a:pt x="622" y="232"/>
                  </a:lnTo>
                  <a:lnTo>
                    <a:pt x="622" y="233"/>
                  </a:lnTo>
                  <a:lnTo>
                    <a:pt x="622" y="233"/>
                  </a:lnTo>
                  <a:lnTo>
                    <a:pt x="618" y="233"/>
                  </a:lnTo>
                  <a:lnTo>
                    <a:pt x="618" y="237"/>
                  </a:lnTo>
                  <a:lnTo>
                    <a:pt x="622" y="239"/>
                  </a:lnTo>
                  <a:lnTo>
                    <a:pt x="624" y="239"/>
                  </a:lnTo>
                  <a:lnTo>
                    <a:pt x="625" y="239"/>
                  </a:lnTo>
                  <a:lnTo>
                    <a:pt x="627" y="237"/>
                  </a:lnTo>
                  <a:lnTo>
                    <a:pt x="631" y="237"/>
                  </a:lnTo>
                  <a:lnTo>
                    <a:pt x="632" y="233"/>
                  </a:lnTo>
                  <a:lnTo>
                    <a:pt x="636" y="232"/>
                  </a:lnTo>
                  <a:lnTo>
                    <a:pt x="641" y="230"/>
                  </a:lnTo>
                  <a:lnTo>
                    <a:pt x="645" y="228"/>
                  </a:lnTo>
                  <a:lnTo>
                    <a:pt x="648" y="228"/>
                  </a:lnTo>
                  <a:lnTo>
                    <a:pt x="650" y="230"/>
                  </a:lnTo>
                  <a:lnTo>
                    <a:pt x="651" y="232"/>
                  </a:lnTo>
                  <a:lnTo>
                    <a:pt x="653" y="232"/>
                  </a:lnTo>
                  <a:lnTo>
                    <a:pt x="657" y="233"/>
                  </a:lnTo>
                  <a:lnTo>
                    <a:pt x="657" y="233"/>
                  </a:lnTo>
                  <a:lnTo>
                    <a:pt x="655" y="237"/>
                  </a:lnTo>
                  <a:lnTo>
                    <a:pt x="651" y="239"/>
                  </a:lnTo>
                  <a:lnTo>
                    <a:pt x="650" y="242"/>
                  </a:lnTo>
                  <a:lnTo>
                    <a:pt x="646" y="245"/>
                  </a:lnTo>
                  <a:lnTo>
                    <a:pt x="646" y="247"/>
                  </a:lnTo>
                  <a:lnTo>
                    <a:pt x="641" y="252"/>
                  </a:lnTo>
                  <a:lnTo>
                    <a:pt x="639" y="256"/>
                  </a:lnTo>
                  <a:lnTo>
                    <a:pt x="634" y="265"/>
                  </a:lnTo>
                  <a:lnTo>
                    <a:pt x="632" y="268"/>
                  </a:lnTo>
                  <a:lnTo>
                    <a:pt x="629" y="270"/>
                  </a:lnTo>
                  <a:lnTo>
                    <a:pt x="629" y="273"/>
                  </a:lnTo>
                  <a:lnTo>
                    <a:pt x="627" y="279"/>
                  </a:lnTo>
                  <a:lnTo>
                    <a:pt x="627" y="280"/>
                  </a:lnTo>
                  <a:lnTo>
                    <a:pt x="625" y="282"/>
                  </a:lnTo>
                  <a:lnTo>
                    <a:pt x="625" y="287"/>
                  </a:lnTo>
                  <a:lnTo>
                    <a:pt x="624" y="292"/>
                  </a:lnTo>
                  <a:lnTo>
                    <a:pt x="622" y="298"/>
                  </a:lnTo>
                  <a:lnTo>
                    <a:pt x="624" y="299"/>
                  </a:lnTo>
                  <a:lnTo>
                    <a:pt x="624" y="303"/>
                  </a:lnTo>
                  <a:lnTo>
                    <a:pt x="624" y="308"/>
                  </a:lnTo>
                  <a:lnTo>
                    <a:pt x="622" y="310"/>
                  </a:lnTo>
                  <a:lnTo>
                    <a:pt x="618" y="312"/>
                  </a:lnTo>
                  <a:lnTo>
                    <a:pt x="618" y="317"/>
                  </a:lnTo>
                  <a:lnTo>
                    <a:pt x="618" y="319"/>
                  </a:lnTo>
                  <a:lnTo>
                    <a:pt x="618" y="320"/>
                  </a:lnTo>
                  <a:lnTo>
                    <a:pt x="618" y="324"/>
                  </a:lnTo>
                  <a:lnTo>
                    <a:pt x="617" y="327"/>
                  </a:lnTo>
                  <a:lnTo>
                    <a:pt x="613" y="332"/>
                  </a:lnTo>
                  <a:lnTo>
                    <a:pt x="612" y="329"/>
                  </a:lnTo>
                  <a:lnTo>
                    <a:pt x="610" y="327"/>
                  </a:lnTo>
                  <a:lnTo>
                    <a:pt x="610" y="325"/>
                  </a:lnTo>
                  <a:lnTo>
                    <a:pt x="608" y="324"/>
                  </a:lnTo>
                  <a:lnTo>
                    <a:pt x="606" y="324"/>
                  </a:lnTo>
                  <a:lnTo>
                    <a:pt x="610" y="324"/>
                  </a:lnTo>
                  <a:lnTo>
                    <a:pt x="608" y="320"/>
                  </a:lnTo>
                  <a:lnTo>
                    <a:pt x="606" y="320"/>
                  </a:lnTo>
                  <a:lnTo>
                    <a:pt x="605" y="320"/>
                  </a:lnTo>
                  <a:lnTo>
                    <a:pt x="603" y="320"/>
                  </a:lnTo>
                  <a:lnTo>
                    <a:pt x="601" y="324"/>
                  </a:lnTo>
                  <a:lnTo>
                    <a:pt x="601" y="324"/>
                  </a:lnTo>
                  <a:lnTo>
                    <a:pt x="603" y="324"/>
                  </a:lnTo>
                  <a:lnTo>
                    <a:pt x="603" y="325"/>
                  </a:lnTo>
                  <a:lnTo>
                    <a:pt x="601" y="327"/>
                  </a:lnTo>
                  <a:lnTo>
                    <a:pt x="601" y="329"/>
                  </a:lnTo>
                  <a:lnTo>
                    <a:pt x="603" y="332"/>
                  </a:lnTo>
                  <a:lnTo>
                    <a:pt x="605" y="332"/>
                  </a:lnTo>
                  <a:lnTo>
                    <a:pt x="606" y="336"/>
                  </a:lnTo>
                  <a:lnTo>
                    <a:pt x="608" y="338"/>
                  </a:lnTo>
                  <a:lnTo>
                    <a:pt x="610" y="341"/>
                  </a:lnTo>
                  <a:lnTo>
                    <a:pt x="613" y="343"/>
                  </a:lnTo>
                  <a:lnTo>
                    <a:pt x="617" y="343"/>
                  </a:lnTo>
                  <a:lnTo>
                    <a:pt x="618" y="348"/>
                  </a:lnTo>
                  <a:lnTo>
                    <a:pt x="622" y="352"/>
                  </a:lnTo>
                  <a:lnTo>
                    <a:pt x="618" y="352"/>
                  </a:lnTo>
                  <a:lnTo>
                    <a:pt x="618" y="355"/>
                  </a:lnTo>
                  <a:lnTo>
                    <a:pt x="613" y="352"/>
                  </a:lnTo>
                  <a:lnTo>
                    <a:pt x="612" y="348"/>
                  </a:lnTo>
                  <a:lnTo>
                    <a:pt x="612" y="346"/>
                  </a:lnTo>
                  <a:lnTo>
                    <a:pt x="608" y="346"/>
                  </a:lnTo>
                  <a:lnTo>
                    <a:pt x="608" y="343"/>
                  </a:lnTo>
                  <a:lnTo>
                    <a:pt x="606" y="346"/>
                  </a:lnTo>
                  <a:lnTo>
                    <a:pt x="606" y="348"/>
                  </a:lnTo>
                  <a:lnTo>
                    <a:pt x="606" y="348"/>
                  </a:lnTo>
                  <a:lnTo>
                    <a:pt x="608" y="352"/>
                  </a:lnTo>
                  <a:lnTo>
                    <a:pt x="608" y="352"/>
                  </a:lnTo>
                  <a:lnTo>
                    <a:pt x="606" y="352"/>
                  </a:lnTo>
                  <a:lnTo>
                    <a:pt x="605" y="352"/>
                  </a:lnTo>
                  <a:lnTo>
                    <a:pt x="605" y="352"/>
                  </a:lnTo>
                  <a:lnTo>
                    <a:pt x="605" y="355"/>
                  </a:lnTo>
                  <a:lnTo>
                    <a:pt x="608" y="355"/>
                  </a:lnTo>
                  <a:lnTo>
                    <a:pt x="606" y="357"/>
                  </a:lnTo>
                  <a:lnTo>
                    <a:pt x="606" y="357"/>
                  </a:lnTo>
                  <a:lnTo>
                    <a:pt x="606" y="359"/>
                  </a:lnTo>
                  <a:lnTo>
                    <a:pt x="610" y="359"/>
                  </a:lnTo>
                  <a:lnTo>
                    <a:pt x="613" y="359"/>
                  </a:lnTo>
                  <a:lnTo>
                    <a:pt x="613" y="360"/>
                  </a:lnTo>
                  <a:lnTo>
                    <a:pt x="613" y="364"/>
                  </a:lnTo>
                  <a:lnTo>
                    <a:pt x="613" y="364"/>
                  </a:lnTo>
                  <a:lnTo>
                    <a:pt x="613" y="365"/>
                  </a:lnTo>
                  <a:lnTo>
                    <a:pt x="617" y="365"/>
                  </a:lnTo>
                  <a:lnTo>
                    <a:pt x="618" y="362"/>
                  </a:lnTo>
                  <a:lnTo>
                    <a:pt x="622" y="359"/>
                  </a:lnTo>
                  <a:lnTo>
                    <a:pt x="622" y="359"/>
                  </a:lnTo>
                  <a:lnTo>
                    <a:pt x="622" y="360"/>
                  </a:lnTo>
                  <a:lnTo>
                    <a:pt x="622" y="362"/>
                  </a:lnTo>
                  <a:lnTo>
                    <a:pt x="624" y="362"/>
                  </a:lnTo>
                  <a:lnTo>
                    <a:pt x="625" y="364"/>
                  </a:lnTo>
                  <a:lnTo>
                    <a:pt x="629" y="364"/>
                  </a:lnTo>
                  <a:lnTo>
                    <a:pt x="629" y="367"/>
                  </a:lnTo>
                  <a:lnTo>
                    <a:pt x="629" y="369"/>
                  </a:lnTo>
                  <a:lnTo>
                    <a:pt x="627" y="371"/>
                  </a:lnTo>
                  <a:lnTo>
                    <a:pt x="627" y="376"/>
                  </a:lnTo>
                  <a:lnTo>
                    <a:pt x="627" y="379"/>
                  </a:lnTo>
                  <a:lnTo>
                    <a:pt x="627" y="379"/>
                  </a:lnTo>
                  <a:lnTo>
                    <a:pt x="625" y="385"/>
                  </a:lnTo>
                  <a:lnTo>
                    <a:pt x="624" y="386"/>
                  </a:lnTo>
                  <a:lnTo>
                    <a:pt x="624" y="390"/>
                  </a:lnTo>
                  <a:lnTo>
                    <a:pt x="622" y="392"/>
                  </a:lnTo>
                  <a:lnTo>
                    <a:pt x="622" y="392"/>
                  </a:lnTo>
                  <a:lnTo>
                    <a:pt x="622" y="388"/>
                  </a:lnTo>
                  <a:lnTo>
                    <a:pt x="618" y="386"/>
                  </a:lnTo>
                  <a:lnTo>
                    <a:pt x="617" y="385"/>
                  </a:lnTo>
                  <a:lnTo>
                    <a:pt x="613" y="385"/>
                  </a:lnTo>
                  <a:lnTo>
                    <a:pt x="613" y="385"/>
                  </a:lnTo>
                  <a:lnTo>
                    <a:pt x="610" y="385"/>
                  </a:lnTo>
                  <a:lnTo>
                    <a:pt x="610" y="383"/>
                  </a:lnTo>
                  <a:lnTo>
                    <a:pt x="610" y="379"/>
                  </a:lnTo>
                  <a:lnTo>
                    <a:pt x="608" y="379"/>
                  </a:lnTo>
                  <a:lnTo>
                    <a:pt x="606" y="379"/>
                  </a:lnTo>
                  <a:lnTo>
                    <a:pt x="606" y="379"/>
                  </a:lnTo>
                  <a:lnTo>
                    <a:pt x="605" y="379"/>
                  </a:lnTo>
                  <a:lnTo>
                    <a:pt x="601" y="376"/>
                  </a:lnTo>
                  <a:lnTo>
                    <a:pt x="599" y="376"/>
                  </a:lnTo>
                  <a:lnTo>
                    <a:pt x="596" y="378"/>
                  </a:lnTo>
                  <a:lnTo>
                    <a:pt x="596" y="379"/>
                  </a:lnTo>
                  <a:lnTo>
                    <a:pt x="599" y="379"/>
                  </a:lnTo>
                  <a:lnTo>
                    <a:pt x="594" y="379"/>
                  </a:lnTo>
                  <a:lnTo>
                    <a:pt x="594" y="379"/>
                  </a:lnTo>
                  <a:lnTo>
                    <a:pt x="591" y="379"/>
                  </a:lnTo>
                  <a:lnTo>
                    <a:pt x="589" y="379"/>
                  </a:lnTo>
                  <a:lnTo>
                    <a:pt x="591" y="379"/>
                  </a:lnTo>
                  <a:lnTo>
                    <a:pt x="591" y="379"/>
                  </a:lnTo>
                  <a:lnTo>
                    <a:pt x="594" y="383"/>
                  </a:lnTo>
                  <a:lnTo>
                    <a:pt x="596" y="383"/>
                  </a:lnTo>
                  <a:lnTo>
                    <a:pt x="594" y="383"/>
                  </a:lnTo>
                  <a:lnTo>
                    <a:pt x="594" y="383"/>
                  </a:lnTo>
                  <a:lnTo>
                    <a:pt x="591" y="386"/>
                  </a:lnTo>
                  <a:lnTo>
                    <a:pt x="587" y="390"/>
                  </a:lnTo>
                  <a:lnTo>
                    <a:pt x="585" y="388"/>
                  </a:lnTo>
                  <a:lnTo>
                    <a:pt x="584" y="386"/>
                  </a:lnTo>
                  <a:lnTo>
                    <a:pt x="584" y="385"/>
                  </a:lnTo>
                  <a:lnTo>
                    <a:pt x="584" y="383"/>
                  </a:lnTo>
                  <a:lnTo>
                    <a:pt x="582" y="385"/>
                  </a:lnTo>
                  <a:lnTo>
                    <a:pt x="582" y="386"/>
                  </a:lnTo>
                  <a:lnTo>
                    <a:pt x="582" y="390"/>
                  </a:lnTo>
                  <a:lnTo>
                    <a:pt x="582" y="392"/>
                  </a:lnTo>
                  <a:lnTo>
                    <a:pt x="582" y="392"/>
                  </a:lnTo>
                  <a:lnTo>
                    <a:pt x="582" y="395"/>
                  </a:lnTo>
                  <a:lnTo>
                    <a:pt x="582" y="397"/>
                  </a:lnTo>
                  <a:lnTo>
                    <a:pt x="582" y="397"/>
                  </a:lnTo>
                  <a:lnTo>
                    <a:pt x="582" y="399"/>
                  </a:lnTo>
                  <a:lnTo>
                    <a:pt x="582" y="400"/>
                  </a:lnTo>
                  <a:lnTo>
                    <a:pt x="579" y="399"/>
                  </a:lnTo>
                  <a:lnTo>
                    <a:pt x="575" y="399"/>
                  </a:lnTo>
                  <a:lnTo>
                    <a:pt x="575" y="400"/>
                  </a:lnTo>
                  <a:lnTo>
                    <a:pt x="577" y="402"/>
                  </a:lnTo>
                  <a:lnTo>
                    <a:pt x="579" y="402"/>
                  </a:lnTo>
                  <a:lnTo>
                    <a:pt x="584" y="402"/>
                  </a:lnTo>
                  <a:lnTo>
                    <a:pt x="584" y="402"/>
                  </a:lnTo>
                  <a:lnTo>
                    <a:pt x="584" y="405"/>
                  </a:lnTo>
                  <a:lnTo>
                    <a:pt x="584" y="407"/>
                  </a:lnTo>
                  <a:lnTo>
                    <a:pt x="585" y="407"/>
                  </a:lnTo>
                  <a:lnTo>
                    <a:pt x="585" y="407"/>
                  </a:lnTo>
                  <a:lnTo>
                    <a:pt x="589" y="407"/>
                  </a:lnTo>
                  <a:lnTo>
                    <a:pt x="591" y="407"/>
                  </a:lnTo>
                  <a:lnTo>
                    <a:pt x="594" y="407"/>
                  </a:lnTo>
                  <a:lnTo>
                    <a:pt x="596" y="407"/>
                  </a:lnTo>
                  <a:lnTo>
                    <a:pt x="599" y="407"/>
                  </a:lnTo>
                  <a:lnTo>
                    <a:pt x="601" y="407"/>
                  </a:lnTo>
                  <a:lnTo>
                    <a:pt x="603" y="407"/>
                  </a:lnTo>
                  <a:lnTo>
                    <a:pt x="605" y="407"/>
                  </a:lnTo>
                  <a:lnTo>
                    <a:pt x="605" y="411"/>
                  </a:lnTo>
                  <a:lnTo>
                    <a:pt x="605" y="412"/>
                  </a:lnTo>
                  <a:lnTo>
                    <a:pt x="605" y="414"/>
                  </a:lnTo>
                  <a:lnTo>
                    <a:pt x="605" y="416"/>
                  </a:lnTo>
                  <a:lnTo>
                    <a:pt x="603" y="416"/>
                  </a:lnTo>
                  <a:lnTo>
                    <a:pt x="601" y="416"/>
                  </a:lnTo>
                  <a:lnTo>
                    <a:pt x="599" y="414"/>
                  </a:lnTo>
                  <a:lnTo>
                    <a:pt x="596" y="416"/>
                  </a:lnTo>
                  <a:lnTo>
                    <a:pt x="594" y="416"/>
                  </a:lnTo>
                  <a:lnTo>
                    <a:pt x="594" y="414"/>
                  </a:lnTo>
                  <a:lnTo>
                    <a:pt x="589" y="416"/>
                  </a:lnTo>
                  <a:lnTo>
                    <a:pt x="585" y="416"/>
                  </a:lnTo>
                  <a:lnTo>
                    <a:pt x="584" y="416"/>
                  </a:lnTo>
                  <a:lnTo>
                    <a:pt x="582" y="414"/>
                  </a:lnTo>
                  <a:lnTo>
                    <a:pt x="582" y="416"/>
                  </a:lnTo>
                  <a:lnTo>
                    <a:pt x="582" y="418"/>
                  </a:lnTo>
                  <a:lnTo>
                    <a:pt x="584" y="418"/>
                  </a:lnTo>
                  <a:lnTo>
                    <a:pt x="585" y="418"/>
                  </a:lnTo>
                  <a:lnTo>
                    <a:pt x="589" y="418"/>
                  </a:lnTo>
                  <a:lnTo>
                    <a:pt x="594" y="418"/>
                  </a:lnTo>
                  <a:lnTo>
                    <a:pt x="594" y="419"/>
                  </a:lnTo>
                  <a:lnTo>
                    <a:pt x="596" y="421"/>
                  </a:lnTo>
                  <a:lnTo>
                    <a:pt x="599" y="421"/>
                  </a:lnTo>
                  <a:lnTo>
                    <a:pt x="601" y="423"/>
                  </a:lnTo>
                  <a:lnTo>
                    <a:pt x="603" y="425"/>
                  </a:lnTo>
                  <a:lnTo>
                    <a:pt x="605" y="426"/>
                  </a:lnTo>
                  <a:lnTo>
                    <a:pt x="608" y="430"/>
                  </a:lnTo>
                  <a:lnTo>
                    <a:pt x="608" y="430"/>
                  </a:lnTo>
                  <a:lnTo>
                    <a:pt x="608" y="430"/>
                  </a:lnTo>
                  <a:lnTo>
                    <a:pt x="605" y="430"/>
                  </a:lnTo>
                  <a:lnTo>
                    <a:pt x="605" y="430"/>
                  </a:lnTo>
                  <a:lnTo>
                    <a:pt x="605" y="430"/>
                  </a:lnTo>
                  <a:lnTo>
                    <a:pt x="603" y="433"/>
                  </a:lnTo>
                  <a:lnTo>
                    <a:pt x="605" y="435"/>
                  </a:lnTo>
                  <a:lnTo>
                    <a:pt x="605" y="439"/>
                  </a:lnTo>
                  <a:lnTo>
                    <a:pt x="605" y="442"/>
                  </a:lnTo>
                  <a:lnTo>
                    <a:pt x="605" y="444"/>
                  </a:lnTo>
                  <a:lnTo>
                    <a:pt x="605" y="445"/>
                  </a:lnTo>
                  <a:lnTo>
                    <a:pt x="605" y="447"/>
                  </a:lnTo>
                  <a:lnTo>
                    <a:pt x="601" y="452"/>
                  </a:lnTo>
                  <a:lnTo>
                    <a:pt x="599" y="456"/>
                  </a:lnTo>
                  <a:lnTo>
                    <a:pt x="599" y="456"/>
                  </a:lnTo>
                  <a:lnTo>
                    <a:pt x="596" y="454"/>
                  </a:lnTo>
                  <a:lnTo>
                    <a:pt x="594" y="451"/>
                  </a:lnTo>
                  <a:lnTo>
                    <a:pt x="599" y="449"/>
                  </a:lnTo>
                  <a:lnTo>
                    <a:pt x="596" y="447"/>
                  </a:lnTo>
                  <a:lnTo>
                    <a:pt x="594" y="447"/>
                  </a:lnTo>
                  <a:lnTo>
                    <a:pt x="594" y="447"/>
                  </a:lnTo>
                  <a:lnTo>
                    <a:pt x="591" y="447"/>
                  </a:lnTo>
                  <a:lnTo>
                    <a:pt x="589" y="442"/>
                  </a:lnTo>
                  <a:lnTo>
                    <a:pt x="585" y="442"/>
                  </a:lnTo>
                  <a:lnTo>
                    <a:pt x="582" y="439"/>
                  </a:lnTo>
                  <a:lnTo>
                    <a:pt x="582" y="435"/>
                  </a:lnTo>
                  <a:lnTo>
                    <a:pt x="580" y="433"/>
                  </a:lnTo>
                  <a:lnTo>
                    <a:pt x="577" y="430"/>
                  </a:lnTo>
                  <a:lnTo>
                    <a:pt x="575" y="428"/>
                  </a:lnTo>
                  <a:lnTo>
                    <a:pt x="573" y="428"/>
                  </a:lnTo>
                  <a:lnTo>
                    <a:pt x="573" y="430"/>
                  </a:lnTo>
                  <a:lnTo>
                    <a:pt x="575" y="430"/>
                  </a:lnTo>
                  <a:lnTo>
                    <a:pt x="579" y="433"/>
                  </a:lnTo>
                  <a:lnTo>
                    <a:pt x="579" y="435"/>
                  </a:lnTo>
                  <a:lnTo>
                    <a:pt x="577" y="435"/>
                  </a:lnTo>
                  <a:lnTo>
                    <a:pt x="573" y="435"/>
                  </a:lnTo>
                  <a:lnTo>
                    <a:pt x="572" y="433"/>
                  </a:lnTo>
                  <a:lnTo>
                    <a:pt x="568" y="430"/>
                  </a:lnTo>
                  <a:lnTo>
                    <a:pt x="568" y="430"/>
                  </a:lnTo>
                  <a:lnTo>
                    <a:pt x="568" y="430"/>
                  </a:lnTo>
                  <a:lnTo>
                    <a:pt x="568" y="433"/>
                  </a:lnTo>
                  <a:lnTo>
                    <a:pt x="572" y="439"/>
                  </a:lnTo>
                  <a:lnTo>
                    <a:pt x="575" y="439"/>
                  </a:lnTo>
                  <a:lnTo>
                    <a:pt x="580" y="439"/>
                  </a:lnTo>
                  <a:lnTo>
                    <a:pt x="585" y="442"/>
                  </a:lnTo>
                  <a:lnTo>
                    <a:pt x="591" y="449"/>
                  </a:lnTo>
                  <a:lnTo>
                    <a:pt x="591" y="451"/>
                  </a:lnTo>
                  <a:lnTo>
                    <a:pt x="591" y="452"/>
                  </a:lnTo>
                  <a:lnTo>
                    <a:pt x="591" y="452"/>
                  </a:lnTo>
                  <a:lnTo>
                    <a:pt x="587" y="451"/>
                  </a:lnTo>
                  <a:lnTo>
                    <a:pt x="585" y="451"/>
                  </a:lnTo>
                  <a:lnTo>
                    <a:pt x="582" y="452"/>
                  </a:lnTo>
                  <a:lnTo>
                    <a:pt x="579" y="456"/>
                  </a:lnTo>
                  <a:lnTo>
                    <a:pt x="577" y="456"/>
                  </a:lnTo>
                  <a:lnTo>
                    <a:pt x="575" y="454"/>
                  </a:lnTo>
                  <a:lnTo>
                    <a:pt x="573" y="452"/>
                  </a:lnTo>
                  <a:lnTo>
                    <a:pt x="573" y="451"/>
                  </a:lnTo>
                  <a:lnTo>
                    <a:pt x="573" y="449"/>
                  </a:lnTo>
                  <a:lnTo>
                    <a:pt x="572" y="447"/>
                  </a:lnTo>
                  <a:lnTo>
                    <a:pt x="572" y="451"/>
                  </a:lnTo>
                  <a:lnTo>
                    <a:pt x="572" y="452"/>
                  </a:lnTo>
                  <a:lnTo>
                    <a:pt x="573" y="456"/>
                  </a:lnTo>
                  <a:lnTo>
                    <a:pt x="573" y="458"/>
                  </a:lnTo>
                  <a:lnTo>
                    <a:pt x="577" y="458"/>
                  </a:lnTo>
                  <a:lnTo>
                    <a:pt x="580" y="458"/>
                  </a:lnTo>
                  <a:lnTo>
                    <a:pt x="584" y="454"/>
                  </a:lnTo>
                  <a:lnTo>
                    <a:pt x="585" y="454"/>
                  </a:lnTo>
                  <a:lnTo>
                    <a:pt x="589" y="456"/>
                  </a:lnTo>
                  <a:lnTo>
                    <a:pt x="589" y="458"/>
                  </a:lnTo>
                  <a:lnTo>
                    <a:pt x="589" y="459"/>
                  </a:lnTo>
                  <a:lnTo>
                    <a:pt x="587" y="465"/>
                  </a:lnTo>
                  <a:lnTo>
                    <a:pt x="587" y="466"/>
                  </a:lnTo>
                  <a:lnTo>
                    <a:pt x="585" y="466"/>
                  </a:lnTo>
                  <a:lnTo>
                    <a:pt x="585" y="466"/>
                  </a:lnTo>
                  <a:lnTo>
                    <a:pt x="587" y="470"/>
                  </a:lnTo>
                  <a:lnTo>
                    <a:pt x="589" y="470"/>
                  </a:lnTo>
                  <a:lnTo>
                    <a:pt x="591" y="470"/>
                  </a:lnTo>
                  <a:lnTo>
                    <a:pt x="594" y="472"/>
                  </a:lnTo>
                  <a:lnTo>
                    <a:pt x="599" y="473"/>
                  </a:lnTo>
                  <a:lnTo>
                    <a:pt x="599" y="472"/>
                  </a:lnTo>
                  <a:lnTo>
                    <a:pt x="601" y="472"/>
                  </a:lnTo>
                  <a:lnTo>
                    <a:pt x="605" y="472"/>
                  </a:lnTo>
                  <a:lnTo>
                    <a:pt x="605" y="473"/>
                  </a:lnTo>
                  <a:lnTo>
                    <a:pt x="603" y="475"/>
                  </a:lnTo>
                  <a:lnTo>
                    <a:pt x="603" y="477"/>
                  </a:lnTo>
                  <a:lnTo>
                    <a:pt x="605" y="480"/>
                  </a:lnTo>
                  <a:lnTo>
                    <a:pt x="605" y="482"/>
                  </a:lnTo>
                  <a:lnTo>
                    <a:pt x="601" y="487"/>
                  </a:lnTo>
                  <a:lnTo>
                    <a:pt x="596" y="489"/>
                  </a:lnTo>
                  <a:lnTo>
                    <a:pt x="594" y="489"/>
                  </a:lnTo>
                  <a:lnTo>
                    <a:pt x="594" y="487"/>
                  </a:lnTo>
                  <a:lnTo>
                    <a:pt x="594" y="485"/>
                  </a:lnTo>
                  <a:lnTo>
                    <a:pt x="591" y="484"/>
                  </a:lnTo>
                  <a:lnTo>
                    <a:pt x="591" y="480"/>
                  </a:lnTo>
                  <a:lnTo>
                    <a:pt x="589" y="477"/>
                  </a:lnTo>
                  <a:lnTo>
                    <a:pt x="585" y="477"/>
                  </a:lnTo>
                  <a:lnTo>
                    <a:pt x="584" y="475"/>
                  </a:lnTo>
                  <a:lnTo>
                    <a:pt x="580" y="473"/>
                  </a:lnTo>
                  <a:lnTo>
                    <a:pt x="579" y="475"/>
                  </a:lnTo>
                  <a:lnTo>
                    <a:pt x="577" y="475"/>
                  </a:lnTo>
                  <a:lnTo>
                    <a:pt x="575" y="475"/>
                  </a:lnTo>
                  <a:lnTo>
                    <a:pt x="573" y="472"/>
                  </a:lnTo>
                  <a:lnTo>
                    <a:pt x="572" y="470"/>
                  </a:lnTo>
                  <a:lnTo>
                    <a:pt x="572" y="470"/>
                  </a:lnTo>
                  <a:lnTo>
                    <a:pt x="572" y="472"/>
                  </a:lnTo>
                  <a:lnTo>
                    <a:pt x="572" y="473"/>
                  </a:lnTo>
                  <a:lnTo>
                    <a:pt x="572" y="477"/>
                  </a:lnTo>
                  <a:lnTo>
                    <a:pt x="572" y="480"/>
                  </a:lnTo>
                  <a:lnTo>
                    <a:pt x="568" y="482"/>
                  </a:lnTo>
                  <a:lnTo>
                    <a:pt x="568" y="482"/>
                  </a:lnTo>
                  <a:lnTo>
                    <a:pt x="566" y="482"/>
                  </a:lnTo>
                  <a:lnTo>
                    <a:pt x="568" y="482"/>
                  </a:lnTo>
                  <a:lnTo>
                    <a:pt x="568" y="484"/>
                  </a:lnTo>
                  <a:lnTo>
                    <a:pt x="568" y="485"/>
                  </a:lnTo>
                  <a:lnTo>
                    <a:pt x="566" y="489"/>
                  </a:lnTo>
                  <a:lnTo>
                    <a:pt x="565" y="489"/>
                  </a:lnTo>
                  <a:lnTo>
                    <a:pt x="565" y="492"/>
                  </a:lnTo>
                  <a:lnTo>
                    <a:pt x="565" y="492"/>
                  </a:lnTo>
                  <a:lnTo>
                    <a:pt x="566" y="492"/>
                  </a:lnTo>
                  <a:lnTo>
                    <a:pt x="568" y="498"/>
                  </a:lnTo>
                  <a:lnTo>
                    <a:pt x="568" y="498"/>
                  </a:lnTo>
                  <a:lnTo>
                    <a:pt x="572" y="501"/>
                  </a:lnTo>
                  <a:lnTo>
                    <a:pt x="568" y="505"/>
                  </a:lnTo>
                  <a:lnTo>
                    <a:pt x="568" y="506"/>
                  </a:lnTo>
                  <a:lnTo>
                    <a:pt x="572" y="505"/>
                  </a:lnTo>
                  <a:lnTo>
                    <a:pt x="572" y="501"/>
                  </a:lnTo>
                  <a:lnTo>
                    <a:pt x="572" y="499"/>
                  </a:lnTo>
                  <a:lnTo>
                    <a:pt x="572" y="498"/>
                  </a:lnTo>
                  <a:lnTo>
                    <a:pt x="572" y="494"/>
                  </a:lnTo>
                  <a:lnTo>
                    <a:pt x="572" y="492"/>
                  </a:lnTo>
                  <a:lnTo>
                    <a:pt x="572" y="492"/>
                  </a:lnTo>
                  <a:lnTo>
                    <a:pt x="573" y="494"/>
                  </a:lnTo>
                  <a:lnTo>
                    <a:pt x="575" y="498"/>
                  </a:lnTo>
                  <a:lnTo>
                    <a:pt x="577" y="498"/>
                  </a:lnTo>
                  <a:lnTo>
                    <a:pt x="579" y="501"/>
                  </a:lnTo>
                  <a:lnTo>
                    <a:pt x="580" y="499"/>
                  </a:lnTo>
                  <a:lnTo>
                    <a:pt x="580" y="499"/>
                  </a:lnTo>
                  <a:lnTo>
                    <a:pt x="582" y="501"/>
                  </a:lnTo>
                  <a:lnTo>
                    <a:pt x="584" y="499"/>
                  </a:lnTo>
                  <a:lnTo>
                    <a:pt x="585" y="498"/>
                  </a:lnTo>
                  <a:lnTo>
                    <a:pt x="589" y="499"/>
                  </a:lnTo>
                  <a:lnTo>
                    <a:pt x="589" y="501"/>
                  </a:lnTo>
                  <a:lnTo>
                    <a:pt x="589" y="503"/>
                  </a:lnTo>
                  <a:lnTo>
                    <a:pt x="587" y="506"/>
                  </a:lnTo>
                  <a:lnTo>
                    <a:pt x="585" y="510"/>
                  </a:lnTo>
                  <a:lnTo>
                    <a:pt x="585" y="513"/>
                  </a:lnTo>
                  <a:lnTo>
                    <a:pt x="585" y="517"/>
                  </a:lnTo>
                  <a:lnTo>
                    <a:pt x="584" y="517"/>
                  </a:lnTo>
                  <a:lnTo>
                    <a:pt x="580" y="517"/>
                  </a:lnTo>
                  <a:lnTo>
                    <a:pt x="577" y="517"/>
                  </a:lnTo>
                  <a:lnTo>
                    <a:pt x="575" y="517"/>
                  </a:lnTo>
                  <a:lnTo>
                    <a:pt x="573" y="517"/>
                  </a:lnTo>
                  <a:lnTo>
                    <a:pt x="572" y="517"/>
                  </a:lnTo>
                  <a:lnTo>
                    <a:pt x="568" y="517"/>
                  </a:lnTo>
                  <a:lnTo>
                    <a:pt x="568" y="520"/>
                  </a:lnTo>
                  <a:lnTo>
                    <a:pt x="568" y="520"/>
                  </a:lnTo>
                  <a:lnTo>
                    <a:pt x="566" y="520"/>
                  </a:lnTo>
                  <a:lnTo>
                    <a:pt x="565" y="520"/>
                  </a:lnTo>
                  <a:lnTo>
                    <a:pt x="563" y="525"/>
                  </a:lnTo>
                  <a:lnTo>
                    <a:pt x="563" y="525"/>
                  </a:lnTo>
                  <a:lnTo>
                    <a:pt x="561" y="525"/>
                  </a:lnTo>
                  <a:lnTo>
                    <a:pt x="559" y="525"/>
                  </a:lnTo>
                  <a:lnTo>
                    <a:pt x="556" y="524"/>
                  </a:lnTo>
                  <a:lnTo>
                    <a:pt x="551" y="520"/>
                  </a:lnTo>
                  <a:lnTo>
                    <a:pt x="549" y="517"/>
                  </a:lnTo>
                  <a:lnTo>
                    <a:pt x="542" y="512"/>
                  </a:lnTo>
                  <a:lnTo>
                    <a:pt x="542" y="508"/>
                  </a:lnTo>
                  <a:lnTo>
                    <a:pt x="542" y="506"/>
                  </a:lnTo>
                  <a:lnTo>
                    <a:pt x="542" y="506"/>
                  </a:lnTo>
                  <a:lnTo>
                    <a:pt x="544" y="506"/>
                  </a:lnTo>
                  <a:lnTo>
                    <a:pt x="546" y="506"/>
                  </a:lnTo>
                  <a:lnTo>
                    <a:pt x="546" y="508"/>
                  </a:lnTo>
                  <a:lnTo>
                    <a:pt x="551" y="510"/>
                  </a:lnTo>
                  <a:lnTo>
                    <a:pt x="554" y="513"/>
                  </a:lnTo>
                  <a:lnTo>
                    <a:pt x="556" y="513"/>
                  </a:lnTo>
                  <a:lnTo>
                    <a:pt x="561" y="512"/>
                  </a:lnTo>
                  <a:lnTo>
                    <a:pt x="561" y="510"/>
                  </a:lnTo>
                  <a:lnTo>
                    <a:pt x="559" y="510"/>
                  </a:lnTo>
                  <a:lnTo>
                    <a:pt x="558" y="510"/>
                  </a:lnTo>
                  <a:lnTo>
                    <a:pt x="556" y="510"/>
                  </a:lnTo>
                  <a:lnTo>
                    <a:pt x="554" y="510"/>
                  </a:lnTo>
                  <a:lnTo>
                    <a:pt x="549" y="506"/>
                  </a:lnTo>
                  <a:lnTo>
                    <a:pt x="544" y="503"/>
                  </a:lnTo>
                  <a:lnTo>
                    <a:pt x="542" y="503"/>
                  </a:lnTo>
                  <a:lnTo>
                    <a:pt x="542" y="501"/>
                  </a:lnTo>
                  <a:lnTo>
                    <a:pt x="542" y="499"/>
                  </a:lnTo>
                  <a:lnTo>
                    <a:pt x="540" y="499"/>
                  </a:lnTo>
                  <a:lnTo>
                    <a:pt x="539" y="499"/>
                  </a:lnTo>
                  <a:lnTo>
                    <a:pt x="537" y="501"/>
                  </a:lnTo>
                  <a:lnTo>
                    <a:pt x="537" y="505"/>
                  </a:lnTo>
                  <a:lnTo>
                    <a:pt x="537" y="510"/>
                  </a:lnTo>
                  <a:lnTo>
                    <a:pt x="537" y="512"/>
                  </a:lnTo>
                  <a:lnTo>
                    <a:pt x="535" y="513"/>
                  </a:lnTo>
                  <a:lnTo>
                    <a:pt x="535" y="513"/>
                  </a:lnTo>
                  <a:lnTo>
                    <a:pt x="528" y="506"/>
                  </a:lnTo>
                  <a:lnTo>
                    <a:pt x="526" y="499"/>
                  </a:lnTo>
                  <a:lnTo>
                    <a:pt x="526" y="498"/>
                  </a:lnTo>
                  <a:lnTo>
                    <a:pt x="523" y="498"/>
                  </a:lnTo>
                  <a:lnTo>
                    <a:pt x="523" y="494"/>
                  </a:lnTo>
                  <a:lnTo>
                    <a:pt x="523" y="494"/>
                  </a:lnTo>
                  <a:lnTo>
                    <a:pt x="523" y="498"/>
                  </a:lnTo>
                  <a:lnTo>
                    <a:pt x="523" y="498"/>
                  </a:lnTo>
                  <a:lnTo>
                    <a:pt x="523" y="499"/>
                  </a:lnTo>
                  <a:lnTo>
                    <a:pt x="526" y="506"/>
                  </a:lnTo>
                  <a:lnTo>
                    <a:pt x="528" y="508"/>
                  </a:lnTo>
                  <a:lnTo>
                    <a:pt x="530" y="510"/>
                  </a:lnTo>
                  <a:lnTo>
                    <a:pt x="530" y="512"/>
                  </a:lnTo>
                  <a:lnTo>
                    <a:pt x="530" y="513"/>
                  </a:lnTo>
                  <a:lnTo>
                    <a:pt x="528" y="513"/>
                  </a:lnTo>
                  <a:lnTo>
                    <a:pt x="526" y="515"/>
                  </a:lnTo>
                  <a:lnTo>
                    <a:pt x="523" y="517"/>
                  </a:lnTo>
                  <a:lnTo>
                    <a:pt x="523" y="517"/>
                  </a:lnTo>
                  <a:lnTo>
                    <a:pt x="521" y="517"/>
                  </a:lnTo>
                  <a:lnTo>
                    <a:pt x="519" y="520"/>
                  </a:lnTo>
                  <a:lnTo>
                    <a:pt x="514" y="520"/>
                  </a:lnTo>
                  <a:lnTo>
                    <a:pt x="512" y="520"/>
                  </a:lnTo>
                  <a:lnTo>
                    <a:pt x="511" y="517"/>
                  </a:lnTo>
                  <a:lnTo>
                    <a:pt x="509" y="517"/>
                  </a:lnTo>
                  <a:lnTo>
                    <a:pt x="507" y="517"/>
                  </a:lnTo>
                  <a:lnTo>
                    <a:pt x="507" y="517"/>
                  </a:lnTo>
                  <a:lnTo>
                    <a:pt x="504" y="513"/>
                  </a:lnTo>
                  <a:lnTo>
                    <a:pt x="500" y="512"/>
                  </a:lnTo>
                  <a:lnTo>
                    <a:pt x="500" y="510"/>
                  </a:lnTo>
                  <a:lnTo>
                    <a:pt x="500" y="508"/>
                  </a:lnTo>
                  <a:lnTo>
                    <a:pt x="500" y="508"/>
                  </a:lnTo>
                  <a:lnTo>
                    <a:pt x="500" y="508"/>
                  </a:lnTo>
                  <a:lnTo>
                    <a:pt x="500" y="512"/>
                  </a:lnTo>
                  <a:lnTo>
                    <a:pt x="500" y="513"/>
                  </a:lnTo>
                  <a:lnTo>
                    <a:pt x="504" y="515"/>
                  </a:lnTo>
                  <a:lnTo>
                    <a:pt x="506" y="517"/>
                  </a:lnTo>
                  <a:lnTo>
                    <a:pt x="507" y="520"/>
                  </a:lnTo>
                  <a:lnTo>
                    <a:pt x="507" y="520"/>
                  </a:lnTo>
                  <a:lnTo>
                    <a:pt x="506" y="524"/>
                  </a:lnTo>
                  <a:lnTo>
                    <a:pt x="500" y="524"/>
                  </a:lnTo>
                  <a:lnTo>
                    <a:pt x="497" y="520"/>
                  </a:lnTo>
                  <a:lnTo>
                    <a:pt x="495" y="524"/>
                  </a:lnTo>
                  <a:lnTo>
                    <a:pt x="492" y="525"/>
                  </a:lnTo>
                  <a:lnTo>
                    <a:pt x="492" y="525"/>
                  </a:lnTo>
                  <a:lnTo>
                    <a:pt x="495" y="525"/>
                  </a:lnTo>
                  <a:lnTo>
                    <a:pt x="497" y="529"/>
                  </a:lnTo>
                  <a:lnTo>
                    <a:pt x="497" y="529"/>
                  </a:lnTo>
                  <a:lnTo>
                    <a:pt x="497" y="525"/>
                  </a:lnTo>
                  <a:lnTo>
                    <a:pt x="497" y="525"/>
                  </a:lnTo>
                  <a:lnTo>
                    <a:pt x="500" y="525"/>
                  </a:lnTo>
                  <a:lnTo>
                    <a:pt x="500" y="525"/>
                  </a:lnTo>
                  <a:lnTo>
                    <a:pt x="504" y="525"/>
                  </a:lnTo>
                  <a:lnTo>
                    <a:pt x="504" y="525"/>
                  </a:lnTo>
                  <a:lnTo>
                    <a:pt x="506" y="525"/>
                  </a:lnTo>
                  <a:lnTo>
                    <a:pt x="507" y="525"/>
                  </a:lnTo>
                  <a:lnTo>
                    <a:pt x="509" y="524"/>
                  </a:lnTo>
                  <a:lnTo>
                    <a:pt x="511" y="524"/>
                  </a:lnTo>
                  <a:lnTo>
                    <a:pt x="514" y="524"/>
                  </a:lnTo>
                  <a:lnTo>
                    <a:pt x="518" y="524"/>
                  </a:lnTo>
                  <a:lnTo>
                    <a:pt x="519" y="525"/>
                  </a:lnTo>
                  <a:lnTo>
                    <a:pt x="521" y="525"/>
                  </a:lnTo>
                  <a:lnTo>
                    <a:pt x="523" y="525"/>
                  </a:lnTo>
                  <a:lnTo>
                    <a:pt x="526" y="529"/>
                  </a:lnTo>
                  <a:lnTo>
                    <a:pt x="526" y="529"/>
                  </a:lnTo>
                  <a:lnTo>
                    <a:pt x="526" y="531"/>
                  </a:lnTo>
                  <a:lnTo>
                    <a:pt x="526" y="532"/>
                  </a:lnTo>
                  <a:lnTo>
                    <a:pt x="523" y="534"/>
                  </a:lnTo>
                  <a:lnTo>
                    <a:pt x="521" y="534"/>
                  </a:lnTo>
                  <a:lnTo>
                    <a:pt x="518" y="534"/>
                  </a:lnTo>
                  <a:lnTo>
                    <a:pt x="514" y="538"/>
                  </a:lnTo>
                  <a:lnTo>
                    <a:pt x="512" y="538"/>
                  </a:lnTo>
                  <a:lnTo>
                    <a:pt x="511" y="538"/>
                  </a:lnTo>
                  <a:lnTo>
                    <a:pt x="507" y="534"/>
                  </a:lnTo>
                  <a:lnTo>
                    <a:pt x="506" y="532"/>
                  </a:lnTo>
                  <a:lnTo>
                    <a:pt x="504" y="534"/>
                  </a:lnTo>
                  <a:lnTo>
                    <a:pt x="504" y="534"/>
                  </a:lnTo>
                  <a:lnTo>
                    <a:pt x="500" y="536"/>
                  </a:lnTo>
                  <a:lnTo>
                    <a:pt x="500" y="534"/>
                  </a:lnTo>
                  <a:lnTo>
                    <a:pt x="497" y="534"/>
                  </a:lnTo>
                  <a:lnTo>
                    <a:pt x="497" y="536"/>
                  </a:lnTo>
                  <a:lnTo>
                    <a:pt x="500" y="536"/>
                  </a:lnTo>
                  <a:lnTo>
                    <a:pt x="504" y="536"/>
                  </a:lnTo>
                  <a:lnTo>
                    <a:pt x="504" y="536"/>
                  </a:lnTo>
                  <a:lnTo>
                    <a:pt x="506" y="536"/>
                  </a:lnTo>
                  <a:lnTo>
                    <a:pt x="507" y="538"/>
                  </a:lnTo>
                  <a:lnTo>
                    <a:pt x="506" y="539"/>
                  </a:lnTo>
                  <a:lnTo>
                    <a:pt x="504" y="539"/>
                  </a:lnTo>
                  <a:lnTo>
                    <a:pt x="500" y="541"/>
                  </a:lnTo>
                  <a:lnTo>
                    <a:pt x="500" y="543"/>
                  </a:lnTo>
                  <a:lnTo>
                    <a:pt x="500" y="543"/>
                  </a:lnTo>
                  <a:lnTo>
                    <a:pt x="504" y="541"/>
                  </a:lnTo>
                  <a:lnTo>
                    <a:pt x="506" y="541"/>
                  </a:lnTo>
                  <a:lnTo>
                    <a:pt x="507" y="541"/>
                  </a:lnTo>
                  <a:lnTo>
                    <a:pt x="509" y="541"/>
                  </a:lnTo>
                  <a:lnTo>
                    <a:pt x="509" y="545"/>
                  </a:lnTo>
                  <a:lnTo>
                    <a:pt x="509" y="545"/>
                  </a:lnTo>
                  <a:lnTo>
                    <a:pt x="511" y="541"/>
                  </a:lnTo>
                  <a:lnTo>
                    <a:pt x="514" y="541"/>
                  </a:lnTo>
                  <a:lnTo>
                    <a:pt x="514" y="541"/>
                  </a:lnTo>
                  <a:lnTo>
                    <a:pt x="518" y="538"/>
                  </a:lnTo>
                  <a:lnTo>
                    <a:pt x="519" y="538"/>
                  </a:lnTo>
                  <a:lnTo>
                    <a:pt x="521" y="539"/>
                  </a:lnTo>
                  <a:lnTo>
                    <a:pt x="526" y="543"/>
                  </a:lnTo>
                  <a:lnTo>
                    <a:pt x="526" y="543"/>
                  </a:lnTo>
                  <a:lnTo>
                    <a:pt x="526" y="543"/>
                  </a:lnTo>
                  <a:lnTo>
                    <a:pt x="526" y="545"/>
                  </a:lnTo>
                  <a:lnTo>
                    <a:pt x="526" y="552"/>
                  </a:lnTo>
                  <a:lnTo>
                    <a:pt x="526" y="552"/>
                  </a:lnTo>
                  <a:lnTo>
                    <a:pt x="523" y="552"/>
                  </a:lnTo>
                  <a:lnTo>
                    <a:pt x="519" y="552"/>
                  </a:lnTo>
                  <a:lnTo>
                    <a:pt x="518" y="552"/>
                  </a:lnTo>
                  <a:lnTo>
                    <a:pt x="511" y="552"/>
                  </a:lnTo>
                  <a:lnTo>
                    <a:pt x="509" y="552"/>
                  </a:lnTo>
                  <a:lnTo>
                    <a:pt x="507" y="552"/>
                  </a:lnTo>
                  <a:lnTo>
                    <a:pt x="509" y="553"/>
                  </a:lnTo>
                  <a:lnTo>
                    <a:pt x="511" y="552"/>
                  </a:lnTo>
                  <a:lnTo>
                    <a:pt x="514" y="552"/>
                  </a:lnTo>
                  <a:lnTo>
                    <a:pt x="519" y="553"/>
                  </a:lnTo>
                  <a:lnTo>
                    <a:pt x="521" y="557"/>
                  </a:lnTo>
                  <a:lnTo>
                    <a:pt x="521" y="557"/>
                  </a:lnTo>
                  <a:lnTo>
                    <a:pt x="523" y="557"/>
                  </a:lnTo>
                  <a:lnTo>
                    <a:pt x="526" y="553"/>
                  </a:lnTo>
                  <a:lnTo>
                    <a:pt x="528" y="553"/>
                  </a:lnTo>
                  <a:lnTo>
                    <a:pt x="532" y="557"/>
                  </a:lnTo>
                  <a:lnTo>
                    <a:pt x="532" y="557"/>
                  </a:lnTo>
                  <a:lnTo>
                    <a:pt x="539" y="560"/>
                  </a:lnTo>
                  <a:lnTo>
                    <a:pt x="539" y="562"/>
                  </a:lnTo>
                  <a:lnTo>
                    <a:pt x="539" y="564"/>
                  </a:lnTo>
                  <a:lnTo>
                    <a:pt x="540" y="564"/>
                  </a:lnTo>
                  <a:lnTo>
                    <a:pt x="542" y="565"/>
                  </a:lnTo>
                  <a:lnTo>
                    <a:pt x="544" y="565"/>
                  </a:lnTo>
                  <a:lnTo>
                    <a:pt x="546" y="567"/>
                  </a:lnTo>
                  <a:lnTo>
                    <a:pt x="546" y="569"/>
                  </a:lnTo>
                  <a:lnTo>
                    <a:pt x="549" y="571"/>
                  </a:lnTo>
                  <a:lnTo>
                    <a:pt x="549" y="572"/>
                  </a:lnTo>
                  <a:lnTo>
                    <a:pt x="549" y="572"/>
                  </a:lnTo>
                  <a:lnTo>
                    <a:pt x="551" y="574"/>
                  </a:lnTo>
                  <a:lnTo>
                    <a:pt x="552" y="576"/>
                  </a:lnTo>
                  <a:lnTo>
                    <a:pt x="552" y="576"/>
                  </a:lnTo>
                  <a:lnTo>
                    <a:pt x="551" y="579"/>
                  </a:lnTo>
                  <a:lnTo>
                    <a:pt x="549" y="579"/>
                  </a:lnTo>
                  <a:lnTo>
                    <a:pt x="549" y="581"/>
                  </a:lnTo>
                  <a:lnTo>
                    <a:pt x="549" y="585"/>
                  </a:lnTo>
                  <a:lnTo>
                    <a:pt x="549" y="585"/>
                  </a:lnTo>
                  <a:lnTo>
                    <a:pt x="549" y="585"/>
                  </a:lnTo>
                  <a:lnTo>
                    <a:pt x="552" y="579"/>
                  </a:lnTo>
                  <a:lnTo>
                    <a:pt x="554" y="579"/>
                  </a:lnTo>
                  <a:lnTo>
                    <a:pt x="554" y="579"/>
                  </a:lnTo>
                  <a:lnTo>
                    <a:pt x="554" y="581"/>
                  </a:lnTo>
                  <a:lnTo>
                    <a:pt x="552" y="585"/>
                  </a:lnTo>
                  <a:lnTo>
                    <a:pt x="554" y="585"/>
                  </a:lnTo>
                  <a:lnTo>
                    <a:pt x="554" y="581"/>
                  </a:lnTo>
                  <a:lnTo>
                    <a:pt x="556" y="581"/>
                  </a:lnTo>
                  <a:lnTo>
                    <a:pt x="558" y="581"/>
                  </a:lnTo>
                  <a:lnTo>
                    <a:pt x="559" y="585"/>
                  </a:lnTo>
                  <a:lnTo>
                    <a:pt x="559" y="585"/>
                  </a:lnTo>
                  <a:lnTo>
                    <a:pt x="556" y="586"/>
                  </a:lnTo>
                  <a:lnTo>
                    <a:pt x="552" y="588"/>
                  </a:lnTo>
                  <a:lnTo>
                    <a:pt x="552" y="592"/>
                  </a:lnTo>
                  <a:lnTo>
                    <a:pt x="552" y="593"/>
                  </a:lnTo>
                  <a:lnTo>
                    <a:pt x="554" y="595"/>
                  </a:lnTo>
                  <a:lnTo>
                    <a:pt x="552" y="597"/>
                  </a:lnTo>
                  <a:lnTo>
                    <a:pt x="552" y="600"/>
                  </a:lnTo>
                  <a:lnTo>
                    <a:pt x="552" y="602"/>
                  </a:lnTo>
                  <a:lnTo>
                    <a:pt x="554" y="600"/>
                  </a:lnTo>
                  <a:lnTo>
                    <a:pt x="554" y="597"/>
                  </a:lnTo>
                  <a:lnTo>
                    <a:pt x="558" y="592"/>
                  </a:lnTo>
                  <a:lnTo>
                    <a:pt x="559" y="592"/>
                  </a:lnTo>
                  <a:lnTo>
                    <a:pt x="561" y="592"/>
                  </a:lnTo>
                  <a:lnTo>
                    <a:pt x="561" y="592"/>
                  </a:lnTo>
                  <a:lnTo>
                    <a:pt x="559" y="595"/>
                  </a:lnTo>
                  <a:lnTo>
                    <a:pt x="558" y="598"/>
                  </a:lnTo>
                  <a:lnTo>
                    <a:pt x="559" y="600"/>
                  </a:lnTo>
                  <a:lnTo>
                    <a:pt x="561" y="598"/>
                  </a:lnTo>
                  <a:lnTo>
                    <a:pt x="561" y="600"/>
                  </a:lnTo>
                  <a:lnTo>
                    <a:pt x="561" y="604"/>
                  </a:lnTo>
                  <a:lnTo>
                    <a:pt x="559" y="604"/>
                  </a:lnTo>
                  <a:lnTo>
                    <a:pt x="556" y="604"/>
                  </a:lnTo>
                  <a:lnTo>
                    <a:pt x="556" y="607"/>
                  </a:lnTo>
                  <a:lnTo>
                    <a:pt x="556" y="607"/>
                  </a:lnTo>
                  <a:lnTo>
                    <a:pt x="559" y="607"/>
                  </a:lnTo>
                  <a:lnTo>
                    <a:pt x="561" y="607"/>
                  </a:lnTo>
                  <a:lnTo>
                    <a:pt x="559" y="611"/>
                  </a:lnTo>
                  <a:lnTo>
                    <a:pt x="559" y="611"/>
                  </a:lnTo>
                  <a:lnTo>
                    <a:pt x="561" y="611"/>
                  </a:lnTo>
                  <a:lnTo>
                    <a:pt x="561" y="612"/>
                  </a:lnTo>
                  <a:lnTo>
                    <a:pt x="561" y="616"/>
                  </a:lnTo>
                  <a:lnTo>
                    <a:pt x="561" y="618"/>
                  </a:lnTo>
                  <a:lnTo>
                    <a:pt x="559" y="619"/>
                  </a:lnTo>
                  <a:lnTo>
                    <a:pt x="559" y="625"/>
                  </a:lnTo>
                  <a:lnTo>
                    <a:pt x="559" y="626"/>
                  </a:lnTo>
                  <a:lnTo>
                    <a:pt x="559" y="630"/>
                  </a:lnTo>
                  <a:lnTo>
                    <a:pt x="558" y="632"/>
                  </a:lnTo>
                  <a:lnTo>
                    <a:pt x="556" y="632"/>
                  </a:lnTo>
                  <a:lnTo>
                    <a:pt x="556" y="632"/>
                  </a:lnTo>
                  <a:lnTo>
                    <a:pt x="554" y="630"/>
                  </a:lnTo>
                  <a:lnTo>
                    <a:pt x="556" y="626"/>
                  </a:lnTo>
                  <a:lnTo>
                    <a:pt x="554" y="626"/>
                  </a:lnTo>
                  <a:lnTo>
                    <a:pt x="552" y="626"/>
                  </a:lnTo>
                  <a:lnTo>
                    <a:pt x="551" y="626"/>
                  </a:lnTo>
                  <a:lnTo>
                    <a:pt x="549" y="626"/>
                  </a:lnTo>
                  <a:lnTo>
                    <a:pt x="549" y="626"/>
                  </a:lnTo>
                  <a:lnTo>
                    <a:pt x="549" y="625"/>
                  </a:lnTo>
                  <a:lnTo>
                    <a:pt x="549" y="621"/>
                  </a:lnTo>
                  <a:lnTo>
                    <a:pt x="549" y="619"/>
                  </a:lnTo>
                  <a:lnTo>
                    <a:pt x="549" y="616"/>
                  </a:lnTo>
                  <a:lnTo>
                    <a:pt x="549" y="612"/>
                  </a:lnTo>
                  <a:lnTo>
                    <a:pt x="549" y="612"/>
                  </a:lnTo>
                  <a:lnTo>
                    <a:pt x="549" y="612"/>
                  </a:lnTo>
                  <a:lnTo>
                    <a:pt x="546" y="616"/>
                  </a:lnTo>
                  <a:lnTo>
                    <a:pt x="546" y="618"/>
                  </a:lnTo>
                  <a:lnTo>
                    <a:pt x="546" y="621"/>
                  </a:lnTo>
                  <a:lnTo>
                    <a:pt x="546" y="626"/>
                  </a:lnTo>
                  <a:lnTo>
                    <a:pt x="546" y="626"/>
                  </a:lnTo>
                  <a:lnTo>
                    <a:pt x="546" y="626"/>
                  </a:lnTo>
                  <a:lnTo>
                    <a:pt x="544" y="626"/>
                  </a:lnTo>
                  <a:lnTo>
                    <a:pt x="542" y="630"/>
                  </a:lnTo>
                  <a:lnTo>
                    <a:pt x="539" y="630"/>
                  </a:lnTo>
                  <a:lnTo>
                    <a:pt x="537" y="626"/>
                  </a:lnTo>
                  <a:lnTo>
                    <a:pt x="533" y="625"/>
                  </a:lnTo>
                  <a:lnTo>
                    <a:pt x="530" y="619"/>
                  </a:lnTo>
                  <a:lnTo>
                    <a:pt x="528" y="616"/>
                  </a:lnTo>
                  <a:lnTo>
                    <a:pt x="526" y="616"/>
                  </a:lnTo>
                  <a:lnTo>
                    <a:pt x="526" y="611"/>
                  </a:lnTo>
                  <a:lnTo>
                    <a:pt x="523" y="607"/>
                  </a:lnTo>
                  <a:lnTo>
                    <a:pt x="523" y="604"/>
                  </a:lnTo>
                  <a:lnTo>
                    <a:pt x="523" y="602"/>
                  </a:lnTo>
                  <a:lnTo>
                    <a:pt x="523" y="598"/>
                  </a:lnTo>
                  <a:lnTo>
                    <a:pt x="523" y="595"/>
                  </a:lnTo>
                  <a:lnTo>
                    <a:pt x="523" y="593"/>
                  </a:lnTo>
                  <a:lnTo>
                    <a:pt x="523" y="593"/>
                  </a:lnTo>
                  <a:lnTo>
                    <a:pt x="519" y="595"/>
                  </a:lnTo>
                  <a:lnTo>
                    <a:pt x="518" y="597"/>
                  </a:lnTo>
                  <a:lnTo>
                    <a:pt x="514" y="595"/>
                  </a:lnTo>
                  <a:lnTo>
                    <a:pt x="509" y="586"/>
                  </a:lnTo>
                  <a:lnTo>
                    <a:pt x="509" y="585"/>
                  </a:lnTo>
                  <a:lnTo>
                    <a:pt x="507" y="585"/>
                  </a:lnTo>
                  <a:lnTo>
                    <a:pt x="506" y="585"/>
                  </a:lnTo>
                  <a:lnTo>
                    <a:pt x="504" y="585"/>
                  </a:lnTo>
                  <a:lnTo>
                    <a:pt x="500" y="585"/>
                  </a:lnTo>
                  <a:lnTo>
                    <a:pt x="500" y="585"/>
                  </a:lnTo>
                  <a:lnTo>
                    <a:pt x="497" y="585"/>
                  </a:lnTo>
                  <a:lnTo>
                    <a:pt x="495" y="585"/>
                  </a:lnTo>
                  <a:lnTo>
                    <a:pt x="492" y="581"/>
                  </a:lnTo>
                  <a:lnTo>
                    <a:pt x="492" y="579"/>
                  </a:lnTo>
                  <a:lnTo>
                    <a:pt x="490" y="576"/>
                  </a:lnTo>
                  <a:lnTo>
                    <a:pt x="490" y="576"/>
                  </a:lnTo>
                  <a:lnTo>
                    <a:pt x="488" y="572"/>
                  </a:lnTo>
                  <a:lnTo>
                    <a:pt x="486" y="569"/>
                  </a:lnTo>
                  <a:lnTo>
                    <a:pt x="485" y="567"/>
                  </a:lnTo>
                  <a:lnTo>
                    <a:pt x="483" y="569"/>
                  </a:lnTo>
                  <a:lnTo>
                    <a:pt x="485" y="572"/>
                  </a:lnTo>
                  <a:lnTo>
                    <a:pt x="485" y="574"/>
                  </a:lnTo>
                  <a:lnTo>
                    <a:pt x="481" y="576"/>
                  </a:lnTo>
                  <a:lnTo>
                    <a:pt x="481" y="576"/>
                  </a:lnTo>
                  <a:lnTo>
                    <a:pt x="483" y="576"/>
                  </a:lnTo>
                  <a:lnTo>
                    <a:pt x="485" y="576"/>
                  </a:lnTo>
                  <a:lnTo>
                    <a:pt x="486" y="579"/>
                  </a:lnTo>
                  <a:lnTo>
                    <a:pt x="488" y="581"/>
                  </a:lnTo>
                  <a:lnTo>
                    <a:pt x="488" y="585"/>
                  </a:lnTo>
                  <a:lnTo>
                    <a:pt x="483" y="585"/>
                  </a:lnTo>
                  <a:lnTo>
                    <a:pt x="483" y="585"/>
                  </a:lnTo>
                  <a:lnTo>
                    <a:pt x="481" y="586"/>
                  </a:lnTo>
                  <a:lnTo>
                    <a:pt x="478" y="585"/>
                  </a:lnTo>
                  <a:lnTo>
                    <a:pt x="478" y="586"/>
                  </a:lnTo>
                  <a:lnTo>
                    <a:pt x="481" y="588"/>
                  </a:lnTo>
                  <a:lnTo>
                    <a:pt x="483" y="588"/>
                  </a:lnTo>
                  <a:lnTo>
                    <a:pt x="486" y="585"/>
                  </a:lnTo>
                  <a:lnTo>
                    <a:pt x="488" y="585"/>
                  </a:lnTo>
                  <a:lnTo>
                    <a:pt x="492" y="585"/>
                  </a:lnTo>
                  <a:lnTo>
                    <a:pt x="492" y="585"/>
                  </a:lnTo>
                  <a:lnTo>
                    <a:pt x="492" y="586"/>
                  </a:lnTo>
                  <a:lnTo>
                    <a:pt x="492" y="588"/>
                  </a:lnTo>
                  <a:lnTo>
                    <a:pt x="497" y="586"/>
                  </a:lnTo>
                  <a:lnTo>
                    <a:pt x="497" y="586"/>
                  </a:lnTo>
                  <a:lnTo>
                    <a:pt x="506" y="590"/>
                  </a:lnTo>
                  <a:lnTo>
                    <a:pt x="509" y="592"/>
                  </a:lnTo>
                  <a:lnTo>
                    <a:pt x="511" y="592"/>
                  </a:lnTo>
                  <a:lnTo>
                    <a:pt x="511" y="593"/>
                  </a:lnTo>
                  <a:lnTo>
                    <a:pt x="512" y="597"/>
                  </a:lnTo>
                  <a:lnTo>
                    <a:pt x="511" y="600"/>
                  </a:lnTo>
                  <a:lnTo>
                    <a:pt x="509" y="602"/>
                  </a:lnTo>
                  <a:lnTo>
                    <a:pt x="507" y="604"/>
                  </a:lnTo>
                  <a:lnTo>
                    <a:pt x="506" y="604"/>
                  </a:lnTo>
                  <a:lnTo>
                    <a:pt x="504" y="604"/>
                  </a:lnTo>
                  <a:lnTo>
                    <a:pt x="495" y="607"/>
                  </a:lnTo>
                  <a:lnTo>
                    <a:pt x="490" y="607"/>
                  </a:lnTo>
                  <a:lnTo>
                    <a:pt x="488" y="611"/>
                  </a:lnTo>
                  <a:lnTo>
                    <a:pt x="485" y="607"/>
                  </a:lnTo>
                  <a:lnTo>
                    <a:pt x="483" y="604"/>
                  </a:lnTo>
                  <a:lnTo>
                    <a:pt x="483" y="604"/>
                  </a:lnTo>
                  <a:lnTo>
                    <a:pt x="483" y="602"/>
                  </a:lnTo>
                  <a:lnTo>
                    <a:pt x="481" y="600"/>
                  </a:lnTo>
                  <a:lnTo>
                    <a:pt x="481" y="604"/>
                  </a:lnTo>
                  <a:lnTo>
                    <a:pt x="481" y="604"/>
                  </a:lnTo>
                  <a:lnTo>
                    <a:pt x="481" y="607"/>
                  </a:lnTo>
                  <a:lnTo>
                    <a:pt x="481" y="607"/>
                  </a:lnTo>
                  <a:lnTo>
                    <a:pt x="478" y="607"/>
                  </a:lnTo>
                  <a:lnTo>
                    <a:pt x="478" y="607"/>
                  </a:lnTo>
                  <a:lnTo>
                    <a:pt x="478" y="607"/>
                  </a:lnTo>
                  <a:lnTo>
                    <a:pt x="474" y="607"/>
                  </a:lnTo>
                  <a:lnTo>
                    <a:pt x="474" y="607"/>
                  </a:lnTo>
                  <a:lnTo>
                    <a:pt x="478" y="611"/>
                  </a:lnTo>
                  <a:lnTo>
                    <a:pt x="481" y="611"/>
                  </a:lnTo>
                  <a:lnTo>
                    <a:pt x="481" y="612"/>
                  </a:lnTo>
                  <a:lnTo>
                    <a:pt x="478" y="616"/>
                  </a:lnTo>
                  <a:lnTo>
                    <a:pt x="478" y="616"/>
                  </a:lnTo>
                  <a:lnTo>
                    <a:pt x="474" y="616"/>
                  </a:lnTo>
                  <a:lnTo>
                    <a:pt x="473" y="616"/>
                  </a:lnTo>
                  <a:lnTo>
                    <a:pt x="473" y="619"/>
                  </a:lnTo>
                  <a:lnTo>
                    <a:pt x="473" y="621"/>
                  </a:lnTo>
                  <a:lnTo>
                    <a:pt x="467" y="623"/>
                  </a:lnTo>
                  <a:lnTo>
                    <a:pt x="464" y="623"/>
                  </a:lnTo>
                  <a:lnTo>
                    <a:pt x="462" y="623"/>
                  </a:lnTo>
                  <a:lnTo>
                    <a:pt x="459" y="625"/>
                  </a:lnTo>
                  <a:lnTo>
                    <a:pt x="459" y="626"/>
                  </a:lnTo>
                  <a:lnTo>
                    <a:pt x="459" y="626"/>
                  </a:lnTo>
                  <a:lnTo>
                    <a:pt x="464" y="626"/>
                  </a:lnTo>
                  <a:lnTo>
                    <a:pt x="467" y="626"/>
                  </a:lnTo>
                  <a:lnTo>
                    <a:pt x="469" y="625"/>
                  </a:lnTo>
                  <a:lnTo>
                    <a:pt x="473" y="625"/>
                  </a:lnTo>
                  <a:lnTo>
                    <a:pt x="473" y="626"/>
                  </a:lnTo>
                  <a:lnTo>
                    <a:pt x="478" y="626"/>
                  </a:lnTo>
                  <a:lnTo>
                    <a:pt x="481" y="626"/>
                  </a:lnTo>
                  <a:lnTo>
                    <a:pt x="483" y="626"/>
                  </a:lnTo>
                  <a:lnTo>
                    <a:pt x="488" y="626"/>
                  </a:lnTo>
                  <a:lnTo>
                    <a:pt x="490" y="626"/>
                  </a:lnTo>
                  <a:lnTo>
                    <a:pt x="492" y="626"/>
                  </a:lnTo>
                  <a:lnTo>
                    <a:pt x="495" y="626"/>
                  </a:lnTo>
                  <a:lnTo>
                    <a:pt x="497" y="626"/>
                  </a:lnTo>
                  <a:lnTo>
                    <a:pt x="497" y="626"/>
                  </a:lnTo>
                  <a:lnTo>
                    <a:pt x="497" y="630"/>
                  </a:lnTo>
                  <a:lnTo>
                    <a:pt x="497" y="632"/>
                  </a:lnTo>
                  <a:lnTo>
                    <a:pt x="495" y="633"/>
                  </a:lnTo>
                  <a:lnTo>
                    <a:pt x="492" y="632"/>
                  </a:lnTo>
                  <a:lnTo>
                    <a:pt x="488" y="632"/>
                  </a:lnTo>
                  <a:lnTo>
                    <a:pt x="486" y="635"/>
                  </a:lnTo>
                  <a:lnTo>
                    <a:pt x="481" y="635"/>
                  </a:lnTo>
                  <a:lnTo>
                    <a:pt x="478" y="635"/>
                  </a:lnTo>
                  <a:lnTo>
                    <a:pt x="478" y="635"/>
                  </a:lnTo>
                  <a:lnTo>
                    <a:pt x="474" y="635"/>
                  </a:lnTo>
                  <a:lnTo>
                    <a:pt x="473" y="635"/>
                  </a:lnTo>
                  <a:lnTo>
                    <a:pt x="469" y="635"/>
                  </a:lnTo>
                  <a:lnTo>
                    <a:pt x="473" y="638"/>
                  </a:lnTo>
                  <a:lnTo>
                    <a:pt x="473" y="635"/>
                  </a:lnTo>
                  <a:lnTo>
                    <a:pt x="474" y="638"/>
                  </a:lnTo>
                  <a:lnTo>
                    <a:pt x="481" y="638"/>
                  </a:lnTo>
                  <a:lnTo>
                    <a:pt x="483" y="638"/>
                  </a:lnTo>
                  <a:lnTo>
                    <a:pt x="483" y="640"/>
                  </a:lnTo>
                  <a:lnTo>
                    <a:pt x="485" y="638"/>
                  </a:lnTo>
                  <a:lnTo>
                    <a:pt x="490" y="635"/>
                  </a:lnTo>
                  <a:lnTo>
                    <a:pt x="490" y="635"/>
                  </a:lnTo>
                  <a:lnTo>
                    <a:pt x="492" y="635"/>
                  </a:lnTo>
                  <a:lnTo>
                    <a:pt x="492" y="635"/>
                  </a:lnTo>
                  <a:lnTo>
                    <a:pt x="495" y="635"/>
                  </a:lnTo>
                  <a:lnTo>
                    <a:pt x="497" y="635"/>
                  </a:lnTo>
                  <a:lnTo>
                    <a:pt x="497" y="635"/>
                  </a:lnTo>
                  <a:lnTo>
                    <a:pt x="500" y="635"/>
                  </a:lnTo>
                  <a:lnTo>
                    <a:pt x="504" y="635"/>
                  </a:lnTo>
                  <a:lnTo>
                    <a:pt x="506" y="635"/>
                  </a:lnTo>
                  <a:lnTo>
                    <a:pt x="511" y="630"/>
                  </a:lnTo>
                  <a:lnTo>
                    <a:pt x="512" y="626"/>
                  </a:lnTo>
                  <a:lnTo>
                    <a:pt x="512" y="630"/>
                  </a:lnTo>
                  <a:lnTo>
                    <a:pt x="512" y="632"/>
                  </a:lnTo>
                  <a:lnTo>
                    <a:pt x="512" y="632"/>
                  </a:lnTo>
                  <a:lnTo>
                    <a:pt x="514" y="630"/>
                  </a:lnTo>
                  <a:lnTo>
                    <a:pt x="514" y="630"/>
                  </a:lnTo>
                  <a:lnTo>
                    <a:pt x="518" y="632"/>
                  </a:lnTo>
                  <a:lnTo>
                    <a:pt x="523" y="635"/>
                  </a:lnTo>
                  <a:lnTo>
                    <a:pt x="526" y="635"/>
                  </a:lnTo>
                  <a:lnTo>
                    <a:pt x="530" y="638"/>
                  </a:lnTo>
                  <a:lnTo>
                    <a:pt x="533" y="638"/>
                  </a:lnTo>
                  <a:lnTo>
                    <a:pt x="537" y="638"/>
                  </a:lnTo>
                  <a:lnTo>
                    <a:pt x="542" y="638"/>
                  </a:lnTo>
                  <a:lnTo>
                    <a:pt x="544" y="638"/>
                  </a:lnTo>
                  <a:lnTo>
                    <a:pt x="546" y="638"/>
                  </a:lnTo>
                  <a:lnTo>
                    <a:pt x="551" y="638"/>
                  </a:lnTo>
                  <a:lnTo>
                    <a:pt x="551" y="638"/>
                  </a:lnTo>
                  <a:lnTo>
                    <a:pt x="549" y="644"/>
                  </a:lnTo>
                  <a:lnTo>
                    <a:pt x="546" y="644"/>
                  </a:lnTo>
                  <a:lnTo>
                    <a:pt x="542" y="644"/>
                  </a:lnTo>
                  <a:lnTo>
                    <a:pt x="542" y="644"/>
                  </a:lnTo>
                  <a:lnTo>
                    <a:pt x="539" y="645"/>
                  </a:lnTo>
                  <a:lnTo>
                    <a:pt x="539" y="647"/>
                  </a:lnTo>
                  <a:lnTo>
                    <a:pt x="540" y="649"/>
                  </a:lnTo>
                  <a:lnTo>
                    <a:pt x="540" y="651"/>
                  </a:lnTo>
                  <a:lnTo>
                    <a:pt x="540" y="651"/>
                  </a:lnTo>
                  <a:lnTo>
                    <a:pt x="539" y="651"/>
                  </a:lnTo>
                  <a:lnTo>
                    <a:pt x="537" y="649"/>
                  </a:lnTo>
                  <a:lnTo>
                    <a:pt x="535" y="649"/>
                  </a:lnTo>
                  <a:lnTo>
                    <a:pt x="533" y="651"/>
                  </a:lnTo>
                  <a:lnTo>
                    <a:pt x="533" y="652"/>
                  </a:lnTo>
                  <a:lnTo>
                    <a:pt x="532" y="651"/>
                  </a:lnTo>
                  <a:lnTo>
                    <a:pt x="528" y="651"/>
                  </a:lnTo>
                  <a:lnTo>
                    <a:pt x="528" y="652"/>
                  </a:lnTo>
                  <a:lnTo>
                    <a:pt x="528" y="654"/>
                  </a:lnTo>
                  <a:lnTo>
                    <a:pt x="530" y="654"/>
                  </a:lnTo>
                  <a:lnTo>
                    <a:pt x="530" y="656"/>
                  </a:lnTo>
                  <a:lnTo>
                    <a:pt x="528" y="658"/>
                  </a:lnTo>
                  <a:lnTo>
                    <a:pt x="526" y="659"/>
                  </a:lnTo>
                  <a:lnTo>
                    <a:pt x="526" y="658"/>
                  </a:lnTo>
                  <a:lnTo>
                    <a:pt x="523" y="656"/>
                  </a:lnTo>
                  <a:lnTo>
                    <a:pt x="523" y="658"/>
                  </a:lnTo>
                  <a:lnTo>
                    <a:pt x="523" y="659"/>
                  </a:lnTo>
                  <a:lnTo>
                    <a:pt x="523" y="661"/>
                  </a:lnTo>
                  <a:lnTo>
                    <a:pt x="521" y="661"/>
                  </a:lnTo>
                  <a:lnTo>
                    <a:pt x="521" y="663"/>
                  </a:lnTo>
                  <a:lnTo>
                    <a:pt x="519" y="663"/>
                  </a:lnTo>
                  <a:lnTo>
                    <a:pt x="514" y="663"/>
                  </a:lnTo>
                  <a:lnTo>
                    <a:pt x="514" y="661"/>
                  </a:lnTo>
                  <a:lnTo>
                    <a:pt x="514" y="661"/>
                  </a:lnTo>
                  <a:lnTo>
                    <a:pt x="514" y="663"/>
                  </a:lnTo>
                  <a:lnTo>
                    <a:pt x="514" y="666"/>
                  </a:lnTo>
                  <a:lnTo>
                    <a:pt x="514" y="668"/>
                  </a:lnTo>
                  <a:lnTo>
                    <a:pt x="511" y="666"/>
                  </a:lnTo>
                  <a:lnTo>
                    <a:pt x="511" y="666"/>
                  </a:lnTo>
                  <a:lnTo>
                    <a:pt x="509" y="666"/>
                  </a:lnTo>
                  <a:lnTo>
                    <a:pt x="507" y="666"/>
                  </a:lnTo>
                  <a:lnTo>
                    <a:pt x="509" y="668"/>
                  </a:lnTo>
                  <a:lnTo>
                    <a:pt x="509" y="670"/>
                  </a:lnTo>
                  <a:lnTo>
                    <a:pt x="506" y="673"/>
                  </a:lnTo>
                  <a:lnTo>
                    <a:pt x="504" y="673"/>
                  </a:lnTo>
                  <a:lnTo>
                    <a:pt x="504" y="672"/>
                  </a:lnTo>
                  <a:lnTo>
                    <a:pt x="504" y="670"/>
                  </a:lnTo>
                  <a:lnTo>
                    <a:pt x="500" y="670"/>
                  </a:lnTo>
                  <a:lnTo>
                    <a:pt x="500" y="672"/>
                  </a:lnTo>
                  <a:lnTo>
                    <a:pt x="500" y="673"/>
                  </a:lnTo>
                  <a:lnTo>
                    <a:pt x="500" y="675"/>
                  </a:lnTo>
                  <a:lnTo>
                    <a:pt x="500" y="677"/>
                  </a:lnTo>
                  <a:lnTo>
                    <a:pt x="497" y="678"/>
                  </a:lnTo>
                  <a:lnTo>
                    <a:pt x="497" y="678"/>
                  </a:lnTo>
                  <a:lnTo>
                    <a:pt x="492" y="680"/>
                  </a:lnTo>
                  <a:lnTo>
                    <a:pt x="492" y="682"/>
                  </a:lnTo>
                  <a:lnTo>
                    <a:pt x="490" y="684"/>
                  </a:lnTo>
                  <a:lnTo>
                    <a:pt x="488" y="684"/>
                  </a:lnTo>
                  <a:lnTo>
                    <a:pt x="488" y="682"/>
                  </a:lnTo>
                  <a:lnTo>
                    <a:pt x="486" y="682"/>
                  </a:lnTo>
                  <a:lnTo>
                    <a:pt x="483" y="684"/>
                  </a:lnTo>
                  <a:lnTo>
                    <a:pt x="481" y="684"/>
                  </a:lnTo>
                  <a:lnTo>
                    <a:pt x="478" y="684"/>
                  </a:lnTo>
                  <a:lnTo>
                    <a:pt x="478" y="685"/>
                  </a:lnTo>
                  <a:lnTo>
                    <a:pt x="478" y="685"/>
                  </a:lnTo>
                  <a:lnTo>
                    <a:pt x="474" y="685"/>
                  </a:lnTo>
                  <a:lnTo>
                    <a:pt x="473" y="685"/>
                  </a:lnTo>
                  <a:lnTo>
                    <a:pt x="473" y="685"/>
                  </a:lnTo>
                  <a:lnTo>
                    <a:pt x="469" y="689"/>
                  </a:lnTo>
                  <a:lnTo>
                    <a:pt x="469" y="685"/>
                  </a:lnTo>
                  <a:lnTo>
                    <a:pt x="469" y="685"/>
                  </a:lnTo>
                  <a:lnTo>
                    <a:pt x="467" y="685"/>
                  </a:lnTo>
                  <a:lnTo>
                    <a:pt x="467" y="685"/>
                  </a:lnTo>
                  <a:lnTo>
                    <a:pt x="466" y="689"/>
                  </a:lnTo>
                  <a:lnTo>
                    <a:pt x="464" y="689"/>
                  </a:lnTo>
                  <a:lnTo>
                    <a:pt x="462" y="685"/>
                  </a:lnTo>
                  <a:lnTo>
                    <a:pt x="462" y="685"/>
                  </a:lnTo>
                  <a:lnTo>
                    <a:pt x="462" y="689"/>
                  </a:lnTo>
                  <a:lnTo>
                    <a:pt x="460" y="689"/>
                  </a:lnTo>
                  <a:lnTo>
                    <a:pt x="459" y="689"/>
                  </a:lnTo>
                  <a:lnTo>
                    <a:pt x="455" y="689"/>
                  </a:lnTo>
                  <a:lnTo>
                    <a:pt x="459" y="691"/>
                  </a:lnTo>
                  <a:lnTo>
                    <a:pt x="455" y="691"/>
                  </a:lnTo>
                  <a:lnTo>
                    <a:pt x="453" y="691"/>
                  </a:lnTo>
                  <a:lnTo>
                    <a:pt x="452" y="691"/>
                  </a:lnTo>
                  <a:lnTo>
                    <a:pt x="452" y="691"/>
                  </a:lnTo>
                  <a:lnTo>
                    <a:pt x="450" y="694"/>
                  </a:lnTo>
                  <a:lnTo>
                    <a:pt x="450" y="694"/>
                  </a:lnTo>
                  <a:lnTo>
                    <a:pt x="450" y="691"/>
                  </a:lnTo>
                  <a:lnTo>
                    <a:pt x="450" y="691"/>
                  </a:lnTo>
                  <a:lnTo>
                    <a:pt x="446" y="694"/>
                  </a:lnTo>
                  <a:lnTo>
                    <a:pt x="446" y="698"/>
                  </a:lnTo>
                  <a:lnTo>
                    <a:pt x="446" y="698"/>
                  </a:lnTo>
                  <a:lnTo>
                    <a:pt x="445" y="698"/>
                  </a:lnTo>
                  <a:lnTo>
                    <a:pt x="443" y="694"/>
                  </a:lnTo>
                  <a:lnTo>
                    <a:pt x="440" y="691"/>
                  </a:lnTo>
                  <a:lnTo>
                    <a:pt x="438" y="691"/>
                  </a:lnTo>
                  <a:lnTo>
                    <a:pt x="436" y="691"/>
                  </a:lnTo>
                  <a:lnTo>
                    <a:pt x="436" y="694"/>
                  </a:lnTo>
                  <a:lnTo>
                    <a:pt x="436" y="694"/>
                  </a:lnTo>
                  <a:lnTo>
                    <a:pt x="436" y="694"/>
                  </a:lnTo>
                  <a:lnTo>
                    <a:pt x="431" y="698"/>
                  </a:lnTo>
                  <a:lnTo>
                    <a:pt x="429" y="698"/>
                  </a:lnTo>
                  <a:lnTo>
                    <a:pt x="429" y="698"/>
                  </a:lnTo>
                  <a:lnTo>
                    <a:pt x="427" y="698"/>
                  </a:lnTo>
                  <a:lnTo>
                    <a:pt x="424" y="698"/>
                  </a:lnTo>
                  <a:lnTo>
                    <a:pt x="424" y="698"/>
                  </a:lnTo>
                  <a:lnTo>
                    <a:pt x="422" y="698"/>
                  </a:lnTo>
                  <a:lnTo>
                    <a:pt x="420" y="698"/>
                  </a:lnTo>
                  <a:lnTo>
                    <a:pt x="419" y="698"/>
                  </a:lnTo>
                  <a:lnTo>
                    <a:pt x="419" y="698"/>
                  </a:lnTo>
                  <a:lnTo>
                    <a:pt x="417" y="698"/>
                  </a:lnTo>
                  <a:lnTo>
                    <a:pt x="415" y="698"/>
                  </a:lnTo>
                  <a:lnTo>
                    <a:pt x="413" y="694"/>
                  </a:lnTo>
                  <a:lnTo>
                    <a:pt x="413" y="691"/>
                  </a:lnTo>
                  <a:lnTo>
                    <a:pt x="412" y="691"/>
                  </a:lnTo>
                  <a:lnTo>
                    <a:pt x="410" y="691"/>
                  </a:lnTo>
                  <a:lnTo>
                    <a:pt x="408" y="685"/>
                  </a:lnTo>
                  <a:lnTo>
                    <a:pt x="408" y="685"/>
                  </a:lnTo>
                  <a:lnTo>
                    <a:pt x="408" y="682"/>
                  </a:lnTo>
                  <a:lnTo>
                    <a:pt x="406" y="678"/>
                  </a:lnTo>
                  <a:lnTo>
                    <a:pt x="405" y="678"/>
                  </a:lnTo>
                  <a:lnTo>
                    <a:pt x="405" y="678"/>
                  </a:lnTo>
                  <a:lnTo>
                    <a:pt x="405" y="682"/>
                  </a:lnTo>
                  <a:lnTo>
                    <a:pt x="405" y="682"/>
                  </a:lnTo>
                  <a:lnTo>
                    <a:pt x="405" y="685"/>
                  </a:lnTo>
                  <a:lnTo>
                    <a:pt x="406" y="685"/>
                  </a:lnTo>
                  <a:lnTo>
                    <a:pt x="408" y="689"/>
                  </a:lnTo>
                  <a:lnTo>
                    <a:pt x="408" y="691"/>
                  </a:lnTo>
                  <a:lnTo>
                    <a:pt x="406" y="694"/>
                  </a:lnTo>
                  <a:lnTo>
                    <a:pt x="408" y="694"/>
                  </a:lnTo>
                  <a:lnTo>
                    <a:pt x="410" y="694"/>
                  </a:lnTo>
                  <a:lnTo>
                    <a:pt x="410" y="698"/>
                  </a:lnTo>
                  <a:lnTo>
                    <a:pt x="410" y="703"/>
                  </a:lnTo>
                  <a:lnTo>
                    <a:pt x="408" y="705"/>
                  </a:lnTo>
                  <a:lnTo>
                    <a:pt x="405" y="706"/>
                  </a:lnTo>
                  <a:lnTo>
                    <a:pt x="405" y="705"/>
                  </a:lnTo>
                  <a:lnTo>
                    <a:pt x="405" y="705"/>
                  </a:lnTo>
                  <a:lnTo>
                    <a:pt x="401" y="706"/>
                  </a:lnTo>
                  <a:lnTo>
                    <a:pt x="400" y="710"/>
                  </a:lnTo>
                  <a:lnTo>
                    <a:pt x="398" y="710"/>
                  </a:lnTo>
                  <a:lnTo>
                    <a:pt x="396" y="710"/>
                  </a:lnTo>
                  <a:lnTo>
                    <a:pt x="394" y="712"/>
                  </a:lnTo>
                  <a:lnTo>
                    <a:pt x="396" y="712"/>
                  </a:lnTo>
                  <a:lnTo>
                    <a:pt x="394" y="713"/>
                  </a:lnTo>
                  <a:lnTo>
                    <a:pt x="393" y="713"/>
                  </a:lnTo>
                  <a:lnTo>
                    <a:pt x="391" y="713"/>
                  </a:lnTo>
                  <a:lnTo>
                    <a:pt x="391" y="718"/>
                  </a:lnTo>
                  <a:lnTo>
                    <a:pt x="391" y="720"/>
                  </a:lnTo>
                  <a:lnTo>
                    <a:pt x="389" y="722"/>
                  </a:lnTo>
                  <a:lnTo>
                    <a:pt x="387" y="720"/>
                  </a:lnTo>
                  <a:lnTo>
                    <a:pt x="386" y="718"/>
                  </a:lnTo>
                  <a:lnTo>
                    <a:pt x="387" y="720"/>
                  </a:lnTo>
                  <a:lnTo>
                    <a:pt x="387" y="722"/>
                  </a:lnTo>
                  <a:lnTo>
                    <a:pt x="387" y="725"/>
                  </a:lnTo>
                  <a:lnTo>
                    <a:pt x="386" y="725"/>
                  </a:lnTo>
                  <a:lnTo>
                    <a:pt x="386" y="722"/>
                  </a:lnTo>
                  <a:lnTo>
                    <a:pt x="384" y="722"/>
                  </a:lnTo>
                  <a:lnTo>
                    <a:pt x="382" y="722"/>
                  </a:lnTo>
                  <a:lnTo>
                    <a:pt x="384" y="725"/>
                  </a:lnTo>
                  <a:lnTo>
                    <a:pt x="384" y="725"/>
                  </a:lnTo>
                  <a:lnTo>
                    <a:pt x="382" y="727"/>
                  </a:lnTo>
                  <a:lnTo>
                    <a:pt x="379" y="729"/>
                  </a:lnTo>
                  <a:lnTo>
                    <a:pt x="377" y="732"/>
                  </a:lnTo>
                  <a:lnTo>
                    <a:pt x="377" y="734"/>
                  </a:lnTo>
                  <a:lnTo>
                    <a:pt x="377" y="738"/>
                  </a:lnTo>
                  <a:lnTo>
                    <a:pt x="377" y="739"/>
                  </a:lnTo>
                  <a:lnTo>
                    <a:pt x="373" y="743"/>
                  </a:lnTo>
                  <a:lnTo>
                    <a:pt x="372" y="745"/>
                  </a:lnTo>
                  <a:lnTo>
                    <a:pt x="372" y="743"/>
                  </a:lnTo>
                  <a:lnTo>
                    <a:pt x="370" y="743"/>
                  </a:lnTo>
                  <a:lnTo>
                    <a:pt x="372" y="741"/>
                  </a:lnTo>
                  <a:lnTo>
                    <a:pt x="370" y="741"/>
                  </a:lnTo>
                  <a:lnTo>
                    <a:pt x="368" y="743"/>
                  </a:lnTo>
                  <a:lnTo>
                    <a:pt x="368" y="745"/>
                  </a:lnTo>
                  <a:lnTo>
                    <a:pt x="368" y="745"/>
                  </a:lnTo>
                  <a:lnTo>
                    <a:pt x="368" y="748"/>
                  </a:lnTo>
                  <a:lnTo>
                    <a:pt x="363" y="750"/>
                  </a:lnTo>
                  <a:lnTo>
                    <a:pt x="361" y="753"/>
                  </a:lnTo>
                  <a:lnTo>
                    <a:pt x="360" y="750"/>
                  </a:lnTo>
                  <a:lnTo>
                    <a:pt x="360" y="750"/>
                  </a:lnTo>
                  <a:lnTo>
                    <a:pt x="360" y="748"/>
                  </a:lnTo>
                  <a:lnTo>
                    <a:pt x="360" y="748"/>
                  </a:lnTo>
                  <a:lnTo>
                    <a:pt x="360" y="750"/>
                  </a:lnTo>
                  <a:lnTo>
                    <a:pt x="356" y="750"/>
                  </a:lnTo>
                  <a:lnTo>
                    <a:pt x="354" y="750"/>
                  </a:lnTo>
                  <a:lnTo>
                    <a:pt x="351" y="748"/>
                  </a:lnTo>
                  <a:lnTo>
                    <a:pt x="351" y="745"/>
                  </a:lnTo>
                  <a:lnTo>
                    <a:pt x="351" y="748"/>
                  </a:lnTo>
                  <a:lnTo>
                    <a:pt x="351" y="750"/>
                  </a:lnTo>
                  <a:lnTo>
                    <a:pt x="354" y="750"/>
                  </a:lnTo>
                  <a:lnTo>
                    <a:pt x="354" y="753"/>
                  </a:lnTo>
                  <a:lnTo>
                    <a:pt x="354" y="753"/>
                  </a:lnTo>
                  <a:lnTo>
                    <a:pt x="351" y="755"/>
                  </a:lnTo>
                  <a:lnTo>
                    <a:pt x="351" y="755"/>
                  </a:lnTo>
                  <a:lnTo>
                    <a:pt x="347" y="758"/>
                  </a:lnTo>
                  <a:lnTo>
                    <a:pt x="344" y="760"/>
                  </a:lnTo>
                  <a:lnTo>
                    <a:pt x="342" y="760"/>
                  </a:lnTo>
                  <a:lnTo>
                    <a:pt x="340" y="760"/>
                  </a:lnTo>
                  <a:lnTo>
                    <a:pt x="340" y="758"/>
                  </a:lnTo>
                  <a:lnTo>
                    <a:pt x="340" y="757"/>
                  </a:lnTo>
                  <a:lnTo>
                    <a:pt x="340" y="755"/>
                  </a:lnTo>
                  <a:lnTo>
                    <a:pt x="339" y="755"/>
                  </a:lnTo>
                  <a:lnTo>
                    <a:pt x="339" y="758"/>
                  </a:lnTo>
                  <a:lnTo>
                    <a:pt x="339" y="758"/>
                  </a:lnTo>
                  <a:lnTo>
                    <a:pt x="337" y="762"/>
                  </a:lnTo>
                  <a:lnTo>
                    <a:pt x="337" y="762"/>
                  </a:lnTo>
                  <a:lnTo>
                    <a:pt x="334" y="762"/>
                  </a:lnTo>
                  <a:lnTo>
                    <a:pt x="332" y="762"/>
                  </a:lnTo>
                  <a:lnTo>
                    <a:pt x="328" y="758"/>
                  </a:lnTo>
                  <a:lnTo>
                    <a:pt x="328" y="757"/>
                  </a:lnTo>
                  <a:lnTo>
                    <a:pt x="332" y="753"/>
                  </a:lnTo>
                  <a:lnTo>
                    <a:pt x="328" y="753"/>
                  </a:lnTo>
                  <a:lnTo>
                    <a:pt x="328" y="753"/>
                  </a:lnTo>
                  <a:lnTo>
                    <a:pt x="328" y="755"/>
                  </a:lnTo>
                  <a:lnTo>
                    <a:pt x="328" y="758"/>
                  </a:lnTo>
                  <a:lnTo>
                    <a:pt x="328" y="760"/>
                  </a:lnTo>
                  <a:lnTo>
                    <a:pt x="328" y="762"/>
                  </a:lnTo>
                  <a:lnTo>
                    <a:pt x="325" y="762"/>
                  </a:lnTo>
                  <a:lnTo>
                    <a:pt x="323" y="757"/>
                  </a:lnTo>
                  <a:lnTo>
                    <a:pt x="323" y="755"/>
                  </a:lnTo>
                  <a:lnTo>
                    <a:pt x="323" y="753"/>
                  </a:lnTo>
                  <a:lnTo>
                    <a:pt x="325" y="750"/>
                  </a:lnTo>
                  <a:lnTo>
                    <a:pt x="328" y="750"/>
                  </a:lnTo>
                  <a:lnTo>
                    <a:pt x="325" y="748"/>
                  </a:lnTo>
                  <a:lnTo>
                    <a:pt x="323" y="748"/>
                  </a:lnTo>
                  <a:lnTo>
                    <a:pt x="321" y="745"/>
                  </a:lnTo>
                  <a:lnTo>
                    <a:pt x="321" y="745"/>
                  </a:lnTo>
                  <a:lnTo>
                    <a:pt x="321" y="743"/>
                  </a:lnTo>
                  <a:lnTo>
                    <a:pt x="320" y="745"/>
                  </a:lnTo>
                  <a:lnTo>
                    <a:pt x="318" y="745"/>
                  </a:lnTo>
                  <a:lnTo>
                    <a:pt x="318" y="748"/>
                  </a:lnTo>
                  <a:lnTo>
                    <a:pt x="321" y="750"/>
                  </a:lnTo>
                  <a:lnTo>
                    <a:pt x="320" y="750"/>
                  </a:lnTo>
                  <a:lnTo>
                    <a:pt x="318" y="753"/>
                  </a:lnTo>
                  <a:lnTo>
                    <a:pt x="318" y="755"/>
                  </a:lnTo>
                  <a:lnTo>
                    <a:pt x="316" y="757"/>
                  </a:lnTo>
                  <a:lnTo>
                    <a:pt x="314" y="758"/>
                  </a:lnTo>
                  <a:lnTo>
                    <a:pt x="314" y="755"/>
                  </a:lnTo>
                  <a:lnTo>
                    <a:pt x="314" y="753"/>
                  </a:lnTo>
                  <a:lnTo>
                    <a:pt x="311" y="755"/>
                  </a:lnTo>
                  <a:lnTo>
                    <a:pt x="311" y="758"/>
                  </a:lnTo>
                  <a:lnTo>
                    <a:pt x="314" y="762"/>
                  </a:lnTo>
                  <a:lnTo>
                    <a:pt x="314" y="764"/>
                  </a:lnTo>
                  <a:lnTo>
                    <a:pt x="314" y="765"/>
                  </a:lnTo>
                  <a:lnTo>
                    <a:pt x="314" y="765"/>
                  </a:lnTo>
                  <a:lnTo>
                    <a:pt x="314" y="769"/>
                  </a:lnTo>
                  <a:lnTo>
                    <a:pt x="309" y="769"/>
                  </a:lnTo>
                  <a:lnTo>
                    <a:pt x="309" y="769"/>
                  </a:lnTo>
                  <a:lnTo>
                    <a:pt x="306" y="767"/>
                  </a:lnTo>
                  <a:lnTo>
                    <a:pt x="306" y="769"/>
                  </a:lnTo>
                  <a:lnTo>
                    <a:pt x="306" y="771"/>
                  </a:lnTo>
                  <a:lnTo>
                    <a:pt x="302" y="772"/>
                  </a:lnTo>
                  <a:lnTo>
                    <a:pt x="301" y="771"/>
                  </a:lnTo>
                  <a:lnTo>
                    <a:pt x="301" y="767"/>
                  </a:lnTo>
                  <a:lnTo>
                    <a:pt x="299" y="765"/>
                  </a:lnTo>
                  <a:lnTo>
                    <a:pt x="297" y="765"/>
                  </a:lnTo>
                  <a:lnTo>
                    <a:pt x="297" y="767"/>
                  </a:lnTo>
                  <a:lnTo>
                    <a:pt x="297" y="769"/>
                  </a:lnTo>
                  <a:lnTo>
                    <a:pt x="295" y="771"/>
                  </a:lnTo>
                  <a:lnTo>
                    <a:pt x="294" y="771"/>
                  </a:lnTo>
                  <a:lnTo>
                    <a:pt x="292" y="767"/>
                  </a:lnTo>
                  <a:lnTo>
                    <a:pt x="292" y="765"/>
                  </a:lnTo>
                  <a:lnTo>
                    <a:pt x="290" y="765"/>
                  </a:lnTo>
                  <a:lnTo>
                    <a:pt x="288" y="767"/>
                  </a:lnTo>
                  <a:lnTo>
                    <a:pt x="287" y="767"/>
                  </a:lnTo>
                  <a:lnTo>
                    <a:pt x="287" y="769"/>
                  </a:lnTo>
                  <a:lnTo>
                    <a:pt x="287" y="771"/>
                  </a:lnTo>
                  <a:lnTo>
                    <a:pt x="287" y="772"/>
                  </a:lnTo>
                  <a:lnTo>
                    <a:pt x="287" y="778"/>
                  </a:lnTo>
                  <a:lnTo>
                    <a:pt x="287" y="781"/>
                  </a:lnTo>
                  <a:lnTo>
                    <a:pt x="283" y="785"/>
                  </a:lnTo>
                  <a:lnTo>
                    <a:pt x="280" y="785"/>
                  </a:lnTo>
                  <a:lnTo>
                    <a:pt x="280" y="785"/>
                  </a:lnTo>
                  <a:lnTo>
                    <a:pt x="280" y="778"/>
                  </a:lnTo>
                  <a:lnTo>
                    <a:pt x="278" y="778"/>
                  </a:lnTo>
                  <a:lnTo>
                    <a:pt x="276" y="778"/>
                  </a:lnTo>
                  <a:lnTo>
                    <a:pt x="276" y="781"/>
                  </a:lnTo>
                  <a:lnTo>
                    <a:pt x="273" y="781"/>
                  </a:lnTo>
                  <a:lnTo>
                    <a:pt x="271" y="778"/>
                  </a:lnTo>
                  <a:lnTo>
                    <a:pt x="271" y="778"/>
                  </a:lnTo>
                  <a:lnTo>
                    <a:pt x="269" y="778"/>
                  </a:lnTo>
                  <a:lnTo>
                    <a:pt x="271" y="781"/>
                  </a:lnTo>
                  <a:lnTo>
                    <a:pt x="271" y="781"/>
                  </a:lnTo>
                  <a:lnTo>
                    <a:pt x="269" y="785"/>
                  </a:lnTo>
                  <a:lnTo>
                    <a:pt x="269" y="785"/>
                  </a:lnTo>
                  <a:lnTo>
                    <a:pt x="271" y="788"/>
                  </a:lnTo>
                  <a:lnTo>
                    <a:pt x="273" y="790"/>
                  </a:lnTo>
                  <a:lnTo>
                    <a:pt x="273" y="793"/>
                  </a:lnTo>
                  <a:lnTo>
                    <a:pt x="274" y="798"/>
                  </a:lnTo>
                  <a:lnTo>
                    <a:pt x="273" y="800"/>
                  </a:lnTo>
                  <a:lnTo>
                    <a:pt x="271" y="800"/>
                  </a:lnTo>
                  <a:lnTo>
                    <a:pt x="269" y="800"/>
                  </a:lnTo>
                  <a:lnTo>
                    <a:pt x="269" y="800"/>
                  </a:lnTo>
                  <a:lnTo>
                    <a:pt x="266" y="800"/>
                  </a:lnTo>
                  <a:lnTo>
                    <a:pt x="264" y="800"/>
                  </a:lnTo>
                  <a:lnTo>
                    <a:pt x="261" y="800"/>
                  </a:lnTo>
                  <a:lnTo>
                    <a:pt x="261" y="800"/>
                  </a:lnTo>
                  <a:lnTo>
                    <a:pt x="261" y="804"/>
                  </a:lnTo>
                  <a:lnTo>
                    <a:pt x="264" y="804"/>
                  </a:lnTo>
                  <a:lnTo>
                    <a:pt x="266" y="807"/>
                  </a:lnTo>
                  <a:lnTo>
                    <a:pt x="267" y="809"/>
                  </a:lnTo>
                  <a:lnTo>
                    <a:pt x="269" y="809"/>
                  </a:lnTo>
                  <a:lnTo>
                    <a:pt x="269" y="809"/>
                  </a:lnTo>
                  <a:lnTo>
                    <a:pt x="273" y="809"/>
                  </a:lnTo>
                  <a:lnTo>
                    <a:pt x="273" y="809"/>
                  </a:lnTo>
                  <a:lnTo>
                    <a:pt x="271" y="812"/>
                  </a:lnTo>
                  <a:lnTo>
                    <a:pt x="269" y="812"/>
                  </a:lnTo>
                  <a:lnTo>
                    <a:pt x="267" y="812"/>
                  </a:lnTo>
                  <a:lnTo>
                    <a:pt x="267" y="812"/>
                  </a:lnTo>
                  <a:lnTo>
                    <a:pt x="269" y="814"/>
                  </a:lnTo>
                  <a:lnTo>
                    <a:pt x="269" y="816"/>
                  </a:lnTo>
                  <a:lnTo>
                    <a:pt x="269" y="818"/>
                  </a:lnTo>
                  <a:lnTo>
                    <a:pt x="269" y="821"/>
                  </a:lnTo>
                  <a:lnTo>
                    <a:pt x="269" y="821"/>
                  </a:lnTo>
                  <a:lnTo>
                    <a:pt x="267" y="823"/>
                  </a:lnTo>
                  <a:lnTo>
                    <a:pt x="266" y="821"/>
                  </a:lnTo>
                  <a:lnTo>
                    <a:pt x="264" y="818"/>
                  </a:lnTo>
                  <a:lnTo>
                    <a:pt x="261" y="818"/>
                  </a:lnTo>
                  <a:lnTo>
                    <a:pt x="261" y="818"/>
                  </a:lnTo>
                  <a:lnTo>
                    <a:pt x="257" y="814"/>
                  </a:lnTo>
                  <a:lnTo>
                    <a:pt x="257" y="814"/>
                  </a:lnTo>
                  <a:lnTo>
                    <a:pt x="257" y="816"/>
                  </a:lnTo>
                  <a:lnTo>
                    <a:pt x="255" y="818"/>
                  </a:lnTo>
                  <a:lnTo>
                    <a:pt x="257" y="818"/>
                  </a:lnTo>
                  <a:lnTo>
                    <a:pt x="261" y="819"/>
                  </a:lnTo>
                  <a:lnTo>
                    <a:pt x="264" y="821"/>
                  </a:lnTo>
                  <a:lnTo>
                    <a:pt x="264" y="823"/>
                  </a:lnTo>
                  <a:lnTo>
                    <a:pt x="267" y="823"/>
                  </a:lnTo>
                  <a:lnTo>
                    <a:pt x="267" y="825"/>
                  </a:lnTo>
                  <a:lnTo>
                    <a:pt x="266" y="826"/>
                  </a:lnTo>
                  <a:lnTo>
                    <a:pt x="264" y="828"/>
                  </a:lnTo>
                  <a:lnTo>
                    <a:pt x="264" y="828"/>
                  </a:lnTo>
                  <a:lnTo>
                    <a:pt x="261" y="828"/>
                  </a:lnTo>
                  <a:lnTo>
                    <a:pt x="257" y="828"/>
                  </a:lnTo>
                  <a:lnTo>
                    <a:pt x="255" y="825"/>
                  </a:lnTo>
                  <a:lnTo>
                    <a:pt x="255" y="823"/>
                  </a:lnTo>
                  <a:lnTo>
                    <a:pt x="252" y="823"/>
                  </a:lnTo>
                  <a:lnTo>
                    <a:pt x="252" y="825"/>
                  </a:lnTo>
                  <a:lnTo>
                    <a:pt x="250" y="826"/>
                  </a:lnTo>
                  <a:lnTo>
                    <a:pt x="250" y="828"/>
                  </a:lnTo>
                  <a:lnTo>
                    <a:pt x="252" y="831"/>
                  </a:lnTo>
                  <a:lnTo>
                    <a:pt x="257" y="831"/>
                  </a:lnTo>
                  <a:lnTo>
                    <a:pt x="257" y="835"/>
                  </a:lnTo>
                  <a:lnTo>
                    <a:pt x="257" y="835"/>
                  </a:lnTo>
                  <a:lnTo>
                    <a:pt x="257" y="837"/>
                  </a:lnTo>
                  <a:lnTo>
                    <a:pt x="252" y="835"/>
                  </a:lnTo>
                  <a:lnTo>
                    <a:pt x="252" y="835"/>
                  </a:lnTo>
                  <a:lnTo>
                    <a:pt x="248" y="831"/>
                  </a:lnTo>
                  <a:lnTo>
                    <a:pt x="247" y="830"/>
                  </a:lnTo>
                  <a:lnTo>
                    <a:pt x="247" y="830"/>
                  </a:lnTo>
                  <a:lnTo>
                    <a:pt x="247" y="831"/>
                  </a:lnTo>
                  <a:lnTo>
                    <a:pt x="250" y="835"/>
                  </a:lnTo>
                  <a:lnTo>
                    <a:pt x="252" y="837"/>
                  </a:lnTo>
                  <a:lnTo>
                    <a:pt x="252" y="837"/>
                  </a:lnTo>
                  <a:lnTo>
                    <a:pt x="252" y="840"/>
                  </a:lnTo>
                  <a:lnTo>
                    <a:pt x="252" y="840"/>
                  </a:lnTo>
                  <a:lnTo>
                    <a:pt x="248" y="840"/>
                  </a:lnTo>
                  <a:lnTo>
                    <a:pt x="247" y="837"/>
                  </a:lnTo>
                  <a:lnTo>
                    <a:pt x="247" y="837"/>
                  </a:lnTo>
                  <a:lnTo>
                    <a:pt x="245" y="835"/>
                  </a:lnTo>
                  <a:lnTo>
                    <a:pt x="243" y="835"/>
                  </a:lnTo>
                  <a:lnTo>
                    <a:pt x="241" y="837"/>
                  </a:lnTo>
                  <a:lnTo>
                    <a:pt x="241" y="837"/>
                  </a:lnTo>
                  <a:lnTo>
                    <a:pt x="243" y="840"/>
                  </a:lnTo>
                  <a:lnTo>
                    <a:pt x="245" y="840"/>
                  </a:lnTo>
                  <a:lnTo>
                    <a:pt x="243" y="840"/>
                  </a:lnTo>
                  <a:lnTo>
                    <a:pt x="245" y="842"/>
                  </a:lnTo>
                  <a:lnTo>
                    <a:pt x="250" y="842"/>
                  </a:lnTo>
                  <a:lnTo>
                    <a:pt x="252" y="842"/>
                  </a:lnTo>
                  <a:lnTo>
                    <a:pt x="252" y="845"/>
                  </a:lnTo>
                  <a:lnTo>
                    <a:pt x="252" y="845"/>
                  </a:lnTo>
                  <a:lnTo>
                    <a:pt x="250" y="847"/>
                  </a:lnTo>
                  <a:lnTo>
                    <a:pt x="250" y="849"/>
                  </a:lnTo>
                  <a:lnTo>
                    <a:pt x="247" y="849"/>
                  </a:lnTo>
                  <a:lnTo>
                    <a:pt x="245" y="847"/>
                  </a:lnTo>
                  <a:lnTo>
                    <a:pt x="243" y="847"/>
                  </a:lnTo>
                  <a:lnTo>
                    <a:pt x="240" y="845"/>
                  </a:lnTo>
                  <a:lnTo>
                    <a:pt x="240" y="844"/>
                  </a:lnTo>
                  <a:lnTo>
                    <a:pt x="240" y="844"/>
                  </a:lnTo>
                  <a:lnTo>
                    <a:pt x="238" y="842"/>
                  </a:lnTo>
                  <a:lnTo>
                    <a:pt x="238" y="842"/>
                  </a:lnTo>
                  <a:lnTo>
                    <a:pt x="238" y="845"/>
                  </a:lnTo>
                  <a:lnTo>
                    <a:pt x="238" y="847"/>
                  </a:lnTo>
                  <a:lnTo>
                    <a:pt x="234" y="849"/>
                  </a:lnTo>
                  <a:lnTo>
                    <a:pt x="234" y="849"/>
                  </a:lnTo>
                  <a:lnTo>
                    <a:pt x="233" y="847"/>
                  </a:lnTo>
                  <a:lnTo>
                    <a:pt x="229" y="847"/>
                  </a:lnTo>
                  <a:lnTo>
                    <a:pt x="229" y="847"/>
                  </a:lnTo>
                  <a:lnTo>
                    <a:pt x="229" y="849"/>
                  </a:lnTo>
                  <a:lnTo>
                    <a:pt x="229" y="851"/>
                  </a:lnTo>
                  <a:lnTo>
                    <a:pt x="234" y="852"/>
                  </a:lnTo>
                  <a:lnTo>
                    <a:pt x="238" y="854"/>
                  </a:lnTo>
                  <a:lnTo>
                    <a:pt x="240" y="856"/>
                  </a:lnTo>
                  <a:lnTo>
                    <a:pt x="241" y="859"/>
                  </a:lnTo>
                  <a:lnTo>
                    <a:pt x="240" y="859"/>
                  </a:lnTo>
                  <a:lnTo>
                    <a:pt x="238" y="859"/>
                  </a:lnTo>
                  <a:lnTo>
                    <a:pt x="234" y="859"/>
                  </a:lnTo>
                  <a:lnTo>
                    <a:pt x="233" y="856"/>
                  </a:lnTo>
                  <a:lnTo>
                    <a:pt x="229" y="854"/>
                  </a:lnTo>
                  <a:lnTo>
                    <a:pt x="229" y="854"/>
                  </a:lnTo>
                  <a:lnTo>
                    <a:pt x="229" y="856"/>
                  </a:lnTo>
                  <a:lnTo>
                    <a:pt x="229" y="858"/>
                  </a:lnTo>
                  <a:lnTo>
                    <a:pt x="233" y="858"/>
                  </a:lnTo>
                  <a:lnTo>
                    <a:pt x="238" y="859"/>
                  </a:lnTo>
                  <a:lnTo>
                    <a:pt x="238" y="863"/>
                  </a:lnTo>
                  <a:lnTo>
                    <a:pt x="238" y="865"/>
                  </a:lnTo>
                  <a:lnTo>
                    <a:pt x="238" y="868"/>
                  </a:lnTo>
                  <a:lnTo>
                    <a:pt x="238" y="871"/>
                  </a:lnTo>
                  <a:lnTo>
                    <a:pt x="238" y="871"/>
                  </a:lnTo>
                  <a:lnTo>
                    <a:pt x="238" y="871"/>
                  </a:lnTo>
                  <a:lnTo>
                    <a:pt x="238" y="873"/>
                  </a:lnTo>
                  <a:lnTo>
                    <a:pt x="234" y="877"/>
                  </a:lnTo>
                  <a:lnTo>
                    <a:pt x="234" y="877"/>
                  </a:lnTo>
                  <a:lnTo>
                    <a:pt x="233" y="875"/>
                  </a:lnTo>
                  <a:lnTo>
                    <a:pt x="229" y="875"/>
                  </a:lnTo>
                  <a:lnTo>
                    <a:pt x="228" y="873"/>
                  </a:lnTo>
                  <a:lnTo>
                    <a:pt x="226" y="873"/>
                  </a:lnTo>
                  <a:lnTo>
                    <a:pt x="226" y="875"/>
                  </a:lnTo>
                  <a:lnTo>
                    <a:pt x="229" y="877"/>
                  </a:lnTo>
                  <a:lnTo>
                    <a:pt x="233" y="877"/>
                  </a:lnTo>
                  <a:lnTo>
                    <a:pt x="233" y="878"/>
                  </a:lnTo>
                  <a:lnTo>
                    <a:pt x="229" y="880"/>
                  </a:lnTo>
                  <a:lnTo>
                    <a:pt x="229" y="880"/>
                  </a:lnTo>
                  <a:lnTo>
                    <a:pt x="228" y="878"/>
                  </a:lnTo>
                  <a:lnTo>
                    <a:pt x="226" y="880"/>
                  </a:lnTo>
                  <a:lnTo>
                    <a:pt x="226" y="880"/>
                  </a:lnTo>
                  <a:lnTo>
                    <a:pt x="229" y="882"/>
                  </a:lnTo>
                  <a:lnTo>
                    <a:pt x="229" y="882"/>
                  </a:lnTo>
                  <a:lnTo>
                    <a:pt x="229" y="884"/>
                  </a:lnTo>
                  <a:lnTo>
                    <a:pt x="228" y="885"/>
                  </a:lnTo>
                  <a:lnTo>
                    <a:pt x="226" y="887"/>
                  </a:lnTo>
                  <a:lnTo>
                    <a:pt x="224" y="885"/>
                  </a:lnTo>
                  <a:lnTo>
                    <a:pt x="222" y="885"/>
                  </a:lnTo>
                  <a:lnTo>
                    <a:pt x="221" y="885"/>
                  </a:lnTo>
                  <a:lnTo>
                    <a:pt x="222" y="887"/>
                  </a:lnTo>
                  <a:lnTo>
                    <a:pt x="224" y="887"/>
                  </a:lnTo>
                  <a:lnTo>
                    <a:pt x="226" y="887"/>
                  </a:lnTo>
                  <a:lnTo>
                    <a:pt x="226" y="891"/>
                  </a:lnTo>
                  <a:lnTo>
                    <a:pt x="224" y="891"/>
                  </a:lnTo>
                  <a:lnTo>
                    <a:pt x="219" y="891"/>
                  </a:lnTo>
                  <a:lnTo>
                    <a:pt x="217" y="891"/>
                  </a:lnTo>
                  <a:lnTo>
                    <a:pt x="215" y="891"/>
                  </a:lnTo>
                  <a:lnTo>
                    <a:pt x="215" y="891"/>
                  </a:lnTo>
                  <a:lnTo>
                    <a:pt x="219" y="894"/>
                  </a:lnTo>
                  <a:lnTo>
                    <a:pt x="224" y="894"/>
                  </a:lnTo>
                  <a:lnTo>
                    <a:pt x="228" y="896"/>
                  </a:lnTo>
                  <a:lnTo>
                    <a:pt x="228" y="896"/>
                  </a:lnTo>
                  <a:lnTo>
                    <a:pt x="228" y="896"/>
                  </a:lnTo>
                  <a:lnTo>
                    <a:pt x="224" y="899"/>
                  </a:lnTo>
                  <a:lnTo>
                    <a:pt x="221" y="899"/>
                  </a:lnTo>
                  <a:lnTo>
                    <a:pt x="217" y="899"/>
                  </a:lnTo>
                  <a:lnTo>
                    <a:pt x="215" y="896"/>
                  </a:lnTo>
                  <a:lnTo>
                    <a:pt x="215" y="899"/>
                  </a:lnTo>
                  <a:lnTo>
                    <a:pt x="215" y="899"/>
                  </a:lnTo>
                  <a:lnTo>
                    <a:pt x="219" y="899"/>
                  </a:lnTo>
                  <a:lnTo>
                    <a:pt x="219" y="901"/>
                  </a:lnTo>
                  <a:lnTo>
                    <a:pt x="219" y="901"/>
                  </a:lnTo>
                  <a:lnTo>
                    <a:pt x="217" y="903"/>
                  </a:lnTo>
                  <a:lnTo>
                    <a:pt x="217" y="903"/>
                  </a:lnTo>
                  <a:lnTo>
                    <a:pt x="219" y="903"/>
                  </a:lnTo>
                  <a:lnTo>
                    <a:pt x="222" y="905"/>
                  </a:lnTo>
                  <a:lnTo>
                    <a:pt x="222" y="906"/>
                  </a:lnTo>
                  <a:lnTo>
                    <a:pt x="221" y="906"/>
                  </a:lnTo>
                  <a:lnTo>
                    <a:pt x="217" y="906"/>
                  </a:lnTo>
                  <a:lnTo>
                    <a:pt x="217" y="906"/>
                  </a:lnTo>
                  <a:lnTo>
                    <a:pt x="215" y="908"/>
                  </a:lnTo>
                  <a:lnTo>
                    <a:pt x="217" y="910"/>
                  </a:lnTo>
                  <a:lnTo>
                    <a:pt x="221" y="908"/>
                  </a:lnTo>
                  <a:lnTo>
                    <a:pt x="224" y="910"/>
                  </a:lnTo>
                  <a:lnTo>
                    <a:pt x="222" y="910"/>
                  </a:lnTo>
                  <a:lnTo>
                    <a:pt x="221" y="911"/>
                  </a:lnTo>
                  <a:lnTo>
                    <a:pt x="217" y="913"/>
                  </a:lnTo>
                  <a:lnTo>
                    <a:pt x="215" y="913"/>
                  </a:lnTo>
                  <a:lnTo>
                    <a:pt x="215" y="911"/>
                  </a:lnTo>
                  <a:lnTo>
                    <a:pt x="210" y="910"/>
                  </a:lnTo>
                  <a:lnTo>
                    <a:pt x="210" y="908"/>
                  </a:lnTo>
                  <a:lnTo>
                    <a:pt x="210" y="908"/>
                  </a:lnTo>
                  <a:lnTo>
                    <a:pt x="207" y="908"/>
                  </a:lnTo>
                  <a:lnTo>
                    <a:pt x="207" y="908"/>
                  </a:lnTo>
                  <a:lnTo>
                    <a:pt x="205" y="908"/>
                  </a:lnTo>
                  <a:lnTo>
                    <a:pt x="207" y="910"/>
                  </a:lnTo>
                  <a:lnTo>
                    <a:pt x="210" y="911"/>
                  </a:lnTo>
                  <a:lnTo>
                    <a:pt x="215" y="915"/>
                  </a:lnTo>
                  <a:lnTo>
                    <a:pt x="215" y="915"/>
                  </a:lnTo>
                  <a:lnTo>
                    <a:pt x="212" y="917"/>
                  </a:lnTo>
                  <a:lnTo>
                    <a:pt x="212" y="918"/>
                  </a:lnTo>
                  <a:lnTo>
                    <a:pt x="215" y="918"/>
                  </a:lnTo>
                  <a:lnTo>
                    <a:pt x="215" y="918"/>
                  </a:lnTo>
                  <a:lnTo>
                    <a:pt x="217" y="918"/>
                  </a:lnTo>
                  <a:lnTo>
                    <a:pt x="219" y="918"/>
                  </a:lnTo>
                  <a:lnTo>
                    <a:pt x="219" y="918"/>
                  </a:lnTo>
                  <a:lnTo>
                    <a:pt x="217" y="922"/>
                  </a:lnTo>
                  <a:lnTo>
                    <a:pt x="215" y="922"/>
                  </a:lnTo>
                  <a:lnTo>
                    <a:pt x="215" y="922"/>
                  </a:lnTo>
                  <a:lnTo>
                    <a:pt x="215" y="922"/>
                  </a:lnTo>
                  <a:lnTo>
                    <a:pt x="215" y="922"/>
                  </a:lnTo>
                  <a:lnTo>
                    <a:pt x="215" y="922"/>
                  </a:lnTo>
                  <a:lnTo>
                    <a:pt x="215" y="922"/>
                  </a:lnTo>
                  <a:close/>
                  <a:moveTo>
                    <a:pt x="210" y="924"/>
                  </a:moveTo>
                  <a:lnTo>
                    <a:pt x="205" y="922"/>
                  </a:lnTo>
                  <a:lnTo>
                    <a:pt x="203" y="922"/>
                  </a:lnTo>
                  <a:lnTo>
                    <a:pt x="203" y="922"/>
                  </a:lnTo>
                  <a:lnTo>
                    <a:pt x="207" y="924"/>
                  </a:lnTo>
                  <a:lnTo>
                    <a:pt x="207" y="927"/>
                  </a:lnTo>
                  <a:lnTo>
                    <a:pt x="210" y="924"/>
                  </a:lnTo>
                  <a:lnTo>
                    <a:pt x="210" y="924"/>
                  </a:lnTo>
                  <a:lnTo>
                    <a:pt x="210" y="924"/>
                  </a:lnTo>
                  <a:lnTo>
                    <a:pt x="210" y="924"/>
                  </a:lnTo>
                  <a:close/>
                  <a:moveTo>
                    <a:pt x="474" y="625"/>
                  </a:moveTo>
                  <a:lnTo>
                    <a:pt x="478" y="626"/>
                  </a:lnTo>
                  <a:lnTo>
                    <a:pt x="481" y="625"/>
                  </a:lnTo>
                  <a:lnTo>
                    <a:pt x="488" y="623"/>
                  </a:lnTo>
                  <a:lnTo>
                    <a:pt x="495" y="625"/>
                  </a:lnTo>
                  <a:lnTo>
                    <a:pt x="497" y="623"/>
                  </a:lnTo>
                  <a:lnTo>
                    <a:pt x="500" y="621"/>
                  </a:lnTo>
                  <a:lnTo>
                    <a:pt x="504" y="625"/>
                  </a:lnTo>
                  <a:lnTo>
                    <a:pt x="507" y="623"/>
                  </a:lnTo>
                  <a:lnTo>
                    <a:pt x="509" y="623"/>
                  </a:lnTo>
                  <a:lnTo>
                    <a:pt x="514" y="619"/>
                  </a:lnTo>
                  <a:lnTo>
                    <a:pt x="514" y="611"/>
                  </a:lnTo>
                  <a:lnTo>
                    <a:pt x="512" y="607"/>
                  </a:lnTo>
                  <a:lnTo>
                    <a:pt x="511" y="604"/>
                  </a:lnTo>
                  <a:lnTo>
                    <a:pt x="507" y="604"/>
                  </a:lnTo>
                  <a:lnTo>
                    <a:pt x="497" y="611"/>
                  </a:lnTo>
                  <a:lnTo>
                    <a:pt x="488" y="611"/>
                  </a:lnTo>
                  <a:lnTo>
                    <a:pt x="486" y="612"/>
                  </a:lnTo>
                  <a:lnTo>
                    <a:pt x="483" y="616"/>
                  </a:lnTo>
                  <a:lnTo>
                    <a:pt x="481" y="618"/>
                  </a:lnTo>
                  <a:lnTo>
                    <a:pt x="478" y="619"/>
                  </a:lnTo>
                  <a:lnTo>
                    <a:pt x="478" y="621"/>
                  </a:lnTo>
                  <a:lnTo>
                    <a:pt x="474" y="625"/>
                  </a:lnTo>
                  <a:lnTo>
                    <a:pt x="474" y="625"/>
                  </a:lnTo>
                  <a:lnTo>
                    <a:pt x="474" y="625"/>
                  </a:lnTo>
                  <a:lnTo>
                    <a:pt x="474" y="625"/>
                  </a:lnTo>
                  <a:close/>
                  <a:moveTo>
                    <a:pt x="222" y="901"/>
                  </a:moveTo>
                  <a:lnTo>
                    <a:pt x="224" y="903"/>
                  </a:lnTo>
                  <a:lnTo>
                    <a:pt x="226" y="901"/>
                  </a:lnTo>
                  <a:lnTo>
                    <a:pt x="226" y="899"/>
                  </a:lnTo>
                  <a:lnTo>
                    <a:pt x="224" y="899"/>
                  </a:lnTo>
                  <a:lnTo>
                    <a:pt x="222" y="901"/>
                  </a:lnTo>
                  <a:lnTo>
                    <a:pt x="222" y="901"/>
                  </a:lnTo>
                  <a:lnTo>
                    <a:pt x="222" y="901"/>
                  </a:lnTo>
                  <a:lnTo>
                    <a:pt x="222" y="901"/>
                  </a:lnTo>
                  <a:close/>
                  <a:moveTo>
                    <a:pt x="238" y="868"/>
                  </a:moveTo>
                  <a:lnTo>
                    <a:pt x="240" y="868"/>
                  </a:lnTo>
                  <a:lnTo>
                    <a:pt x="240" y="868"/>
                  </a:lnTo>
                  <a:lnTo>
                    <a:pt x="238" y="868"/>
                  </a:lnTo>
                  <a:lnTo>
                    <a:pt x="238" y="868"/>
                  </a:lnTo>
                  <a:lnTo>
                    <a:pt x="238" y="868"/>
                  </a:lnTo>
                  <a:lnTo>
                    <a:pt x="238" y="868"/>
                  </a:lnTo>
                  <a:close/>
                  <a:moveTo>
                    <a:pt x="240" y="863"/>
                  </a:moveTo>
                  <a:lnTo>
                    <a:pt x="240" y="863"/>
                  </a:lnTo>
                  <a:lnTo>
                    <a:pt x="241" y="863"/>
                  </a:lnTo>
                  <a:lnTo>
                    <a:pt x="241" y="863"/>
                  </a:lnTo>
                  <a:lnTo>
                    <a:pt x="240" y="863"/>
                  </a:lnTo>
                  <a:lnTo>
                    <a:pt x="240" y="863"/>
                  </a:lnTo>
                  <a:lnTo>
                    <a:pt x="240" y="863"/>
                  </a:lnTo>
                  <a:lnTo>
                    <a:pt x="240" y="863"/>
                  </a:lnTo>
                  <a:close/>
                  <a:moveTo>
                    <a:pt x="241" y="858"/>
                  </a:moveTo>
                  <a:lnTo>
                    <a:pt x="243" y="858"/>
                  </a:lnTo>
                  <a:lnTo>
                    <a:pt x="243" y="858"/>
                  </a:lnTo>
                  <a:lnTo>
                    <a:pt x="243" y="856"/>
                  </a:lnTo>
                  <a:lnTo>
                    <a:pt x="243" y="856"/>
                  </a:lnTo>
                  <a:lnTo>
                    <a:pt x="241" y="858"/>
                  </a:lnTo>
                  <a:lnTo>
                    <a:pt x="241" y="858"/>
                  </a:lnTo>
                  <a:lnTo>
                    <a:pt x="241" y="858"/>
                  </a:lnTo>
                  <a:lnTo>
                    <a:pt x="241" y="858"/>
                  </a:lnTo>
                  <a:close/>
                  <a:moveTo>
                    <a:pt x="240" y="849"/>
                  </a:moveTo>
                  <a:lnTo>
                    <a:pt x="240" y="851"/>
                  </a:lnTo>
                  <a:lnTo>
                    <a:pt x="241" y="852"/>
                  </a:lnTo>
                  <a:lnTo>
                    <a:pt x="243" y="852"/>
                  </a:lnTo>
                  <a:lnTo>
                    <a:pt x="247" y="852"/>
                  </a:lnTo>
                  <a:lnTo>
                    <a:pt x="247" y="852"/>
                  </a:lnTo>
                  <a:lnTo>
                    <a:pt x="245" y="851"/>
                  </a:lnTo>
                  <a:lnTo>
                    <a:pt x="241" y="851"/>
                  </a:lnTo>
                  <a:lnTo>
                    <a:pt x="240" y="849"/>
                  </a:lnTo>
                  <a:lnTo>
                    <a:pt x="240" y="849"/>
                  </a:lnTo>
                  <a:lnTo>
                    <a:pt x="240" y="849"/>
                  </a:lnTo>
                  <a:lnTo>
                    <a:pt x="240" y="849"/>
                  </a:lnTo>
                  <a:lnTo>
                    <a:pt x="240" y="849"/>
                  </a:lnTo>
                  <a:close/>
                  <a:moveTo>
                    <a:pt x="252" y="847"/>
                  </a:moveTo>
                  <a:lnTo>
                    <a:pt x="255" y="845"/>
                  </a:lnTo>
                  <a:lnTo>
                    <a:pt x="255" y="844"/>
                  </a:lnTo>
                  <a:lnTo>
                    <a:pt x="252" y="844"/>
                  </a:lnTo>
                  <a:lnTo>
                    <a:pt x="252" y="847"/>
                  </a:lnTo>
                  <a:lnTo>
                    <a:pt x="252" y="847"/>
                  </a:lnTo>
                  <a:lnTo>
                    <a:pt x="252" y="847"/>
                  </a:lnTo>
                  <a:lnTo>
                    <a:pt x="252" y="847"/>
                  </a:lnTo>
                  <a:close/>
                  <a:moveTo>
                    <a:pt x="252" y="826"/>
                  </a:moveTo>
                  <a:lnTo>
                    <a:pt x="252" y="828"/>
                  </a:lnTo>
                  <a:lnTo>
                    <a:pt x="255" y="830"/>
                  </a:lnTo>
                  <a:lnTo>
                    <a:pt x="257" y="831"/>
                  </a:lnTo>
                  <a:lnTo>
                    <a:pt x="257" y="831"/>
                  </a:lnTo>
                  <a:lnTo>
                    <a:pt x="261" y="831"/>
                  </a:lnTo>
                  <a:lnTo>
                    <a:pt x="257" y="830"/>
                  </a:lnTo>
                  <a:lnTo>
                    <a:pt x="255" y="828"/>
                  </a:lnTo>
                  <a:lnTo>
                    <a:pt x="252" y="826"/>
                  </a:lnTo>
                  <a:lnTo>
                    <a:pt x="252" y="826"/>
                  </a:lnTo>
                  <a:lnTo>
                    <a:pt x="252" y="826"/>
                  </a:lnTo>
                  <a:lnTo>
                    <a:pt x="252" y="826"/>
                  </a:lnTo>
                  <a:lnTo>
                    <a:pt x="252" y="826"/>
                  </a:lnTo>
                  <a:close/>
                  <a:moveTo>
                    <a:pt x="274" y="786"/>
                  </a:moveTo>
                  <a:lnTo>
                    <a:pt x="274" y="790"/>
                  </a:lnTo>
                  <a:lnTo>
                    <a:pt x="276" y="791"/>
                  </a:lnTo>
                  <a:lnTo>
                    <a:pt x="276" y="797"/>
                  </a:lnTo>
                  <a:lnTo>
                    <a:pt x="278" y="798"/>
                  </a:lnTo>
                  <a:lnTo>
                    <a:pt x="280" y="800"/>
                  </a:lnTo>
                  <a:lnTo>
                    <a:pt x="278" y="795"/>
                  </a:lnTo>
                  <a:lnTo>
                    <a:pt x="280" y="791"/>
                  </a:lnTo>
                  <a:lnTo>
                    <a:pt x="278" y="790"/>
                  </a:lnTo>
                  <a:lnTo>
                    <a:pt x="276" y="786"/>
                  </a:lnTo>
                  <a:lnTo>
                    <a:pt x="274" y="785"/>
                  </a:lnTo>
                  <a:lnTo>
                    <a:pt x="274" y="786"/>
                  </a:lnTo>
                  <a:lnTo>
                    <a:pt x="274" y="786"/>
                  </a:lnTo>
                  <a:lnTo>
                    <a:pt x="274" y="786"/>
                  </a:lnTo>
                  <a:lnTo>
                    <a:pt x="274" y="786"/>
                  </a:lnTo>
                  <a:close/>
                  <a:moveTo>
                    <a:pt x="290" y="778"/>
                  </a:moveTo>
                  <a:lnTo>
                    <a:pt x="290" y="778"/>
                  </a:lnTo>
                  <a:lnTo>
                    <a:pt x="292" y="778"/>
                  </a:lnTo>
                  <a:lnTo>
                    <a:pt x="292" y="778"/>
                  </a:lnTo>
                  <a:lnTo>
                    <a:pt x="290" y="778"/>
                  </a:lnTo>
                  <a:lnTo>
                    <a:pt x="290" y="778"/>
                  </a:lnTo>
                  <a:lnTo>
                    <a:pt x="290" y="778"/>
                  </a:lnTo>
                  <a:lnTo>
                    <a:pt x="290" y="778"/>
                  </a:lnTo>
                  <a:lnTo>
                    <a:pt x="290" y="778"/>
                  </a:lnTo>
                  <a:close/>
                  <a:moveTo>
                    <a:pt x="295" y="772"/>
                  </a:moveTo>
                  <a:lnTo>
                    <a:pt x="295" y="772"/>
                  </a:lnTo>
                  <a:lnTo>
                    <a:pt x="295" y="772"/>
                  </a:lnTo>
                  <a:lnTo>
                    <a:pt x="295" y="772"/>
                  </a:lnTo>
                  <a:lnTo>
                    <a:pt x="295" y="772"/>
                  </a:lnTo>
                  <a:lnTo>
                    <a:pt x="295" y="772"/>
                  </a:lnTo>
                  <a:lnTo>
                    <a:pt x="295" y="772"/>
                  </a:lnTo>
                  <a:lnTo>
                    <a:pt x="295" y="772"/>
                  </a:lnTo>
                  <a:close/>
                  <a:moveTo>
                    <a:pt x="321" y="771"/>
                  </a:moveTo>
                  <a:lnTo>
                    <a:pt x="323" y="769"/>
                  </a:lnTo>
                  <a:lnTo>
                    <a:pt x="325" y="769"/>
                  </a:lnTo>
                  <a:lnTo>
                    <a:pt x="325" y="767"/>
                  </a:lnTo>
                  <a:lnTo>
                    <a:pt x="325" y="764"/>
                  </a:lnTo>
                  <a:lnTo>
                    <a:pt x="323" y="762"/>
                  </a:lnTo>
                  <a:lnTo>
                    <a:pt x="323" y="760"/>
                  </a:lnTo>
                  <a:lnTo>
                    <a:pt x="321" y="760"/>
                  </a:lnTo>
                  <a:lnTo>
                    <a:pt x="318" y="764"/>
                  </a:lnTo>
                  <a:lnTo>
                    <a:pt x="318" y="765"/>
                  </a:lnTo>
                  <a:lnTo>
                    <a:pt x="318" y="767"/>
                  </a:lnTo>
                  <a:lnTo>
                    <a:pt x="320" y="769"/>
                  </a:lnTo>
                  <a:lnTo>
                    <a:pt x="320" y="771"/>
                  </a:lnTo>
                  <a:lnTo>
                    <a:pt x="321" y="771"/>
                  </a:lnTo>
                  <a:lnTo>
                    <a:pt x="321" y="771"/>
                  </a:lnTo>
                  <a:lnTo>
                    <a:pt x="321" y="771"/>
                  </a:lnTo>
                  <a:lnTo>
                    <a:pt x="321" y="771"/>
                  </a:lnTo>
                  <a:close/>
                  <a:moveTo>
                    <a:pt x="332" y="769"/>
                  </a:moveTo>
                  <a:lnTo>
                    <a:pt x="332" y="767"/>
                  </a:lnTo>
                  <a:lnTo>
                    <a:pt x="332" y="765"/>
                  </a:lnTo>
                  <a:lnTo>
                    <a:pt x="332" y="767"/>
                  </a:lnTo>
                  <a:lnTo>
                    <a:pt x="332" y="769"/>
                  </a:lnTo>
                  <a:lnTo>
                    <a:pt x="332" y="769"/>
                  </a:lnTo>
                  <a:lnTo>
                    <a:pt x="332" y="769"/>
                  </a:lnTo>
                  <a:lnTo>
                    <a:pt x="332" y="769"/>
                  </a:lnTo>
                  <a:lnTo>
                    <a:pt x="332" y="769"/>
                  </a:lnTo>
                  <a:lnTo>
                    <a:pt x="332" y="769"/>
                  </a:lnTo>
                  <a:close/>
                  <a:moveTo>
                    <a:pt x="533" y="656"/>
                  </a:moveTo>
                  <a:lnTo>
                    <a:pt x="533" y="656"/>
                  </a:lnTo>
                  <a:lnTo>
                    <a:pt x="535" y="654"/>
                  </a:lnTo>
                  <a:lnTo>
                    <a:pt x="535" y="652"/>
                  </a:lnTo>
                  <a:lnTo>
                    <a:pt x="533" y="654"/>
                  </a:lnTo>
                  <a:lnTo>
                    <a:pt x="533" y="656"/>
                  </a:lnTo>
                  <a:lnTo>
                    <a:pt x="533" y="656"/>
                  </a:lnTo>
                  <a:lnTo>
                    <a:pt x="533" y="656"/>
                  </a:lnTo>
                  <a:lnTo>
                    <a:pt x="533" y="656"/>
                  </a:lnTo>
                  <a:close/>
                  <a:moveTo>
                    <a:pt x="497" y="626"/>
                  </a:moveTo>
                  <a:lnTo>
                    <a:pt x="500" y="626"/>
                  </a:lnTo>
                  <a:lnTo>
                    <a:pt x="500" y="626"/>
                  </a:lnTo>
                  <a:lnTo>
                    <a:pt x="500" y="625"/>
                  </a:lnTo>
                  <a:lnTo>
                    <a:pt x="497" y="625"/>
                  </a:lnTo>
                  <a:lnTo>
                    <a:pt x="497" y="625"/>
                  </a:lnTo>
                  <a:lnTo>
                    <a:pt x="497" y="626"/>
                  </a:lnTo>
                  <a:lnTo>
                    <a:pt x="497" y="626"/>
                  </a:lnTo>
                  <a:lnTo>
                    <a:pt x="497" y="626"/>
                  </a:lnTo>
                  <a:lnTo>
                    <a:pt x="497" y="626"/>
                  </a:lnTo>
                  <a:close/>
                  <a:moveTo>
                    <a:pt x="481" y="611"/>
                  </a:moveTo>
                  <a:lnTo>
                    <a:pt x="483" y="612"/>
                  </a:lnTo>
                  <a:lnTo>
                    <a:pt x="485" y="611"/>
                  </a:lnTo>
                  <a:lnTo>
                    <a:pt x="486" y="611"/>
                  </a:lnTo>
                  <a:lnTo>
                    <a:pt x="483" y="611"/>
                  </a:lnTo>
                  <a:lnTo>
                    <a:pt x="481" y="611"/>
                  </a:lnTo>
                  <a:lnTo>
                    <a:pt x="481" y="611"/>
                  </a:lnTo>
                  <a:lnTo>
                    <a:pt x="481" y="611"/>
                  </a:lnTo>
                  <a:lnTo>
                    <a:pt x="481" y="611"/>
                  </a:lnTo>
                  <a:close/>
                  <a:moveTo>
                    <a:pt x="512" y="604"/>
                  </a:moveTo>
                  <a:lnTo>
                    <a:pt x="512" y="604"/>
                  </a:lnTo>
                  <a:lnTo>
                    <a:pt x="514" y="607"/>
                  </a:lnTo>
                  <a:lnTo>
                    <a:pt x="514" y="604"/>
                  </a:lnTo>
                  <a:lnTo>
                    <a:pt x="514" y="604"/>
                  </a:lnTo>
                  <a:lnTo>
                    <a:pt x="512" y="602"/>
                  </a:lnTo>
                  <a:lnTo>
                    <a:pt x="512" y="604"/>
                  </a:lnTo>
                  <a:lnTo>
                    <a:pt x="512" y="604"/>
                  </a:lnTo>
                  <a:lnTo>
                    <a:pt x="512" y="604"/>
                  </a:lnTo>
                  <a:lnTo>
                    <a:pt x="512" y="604"/>
                  </a:lnTo>
                  <a:close/>
                  <a:moveTo>
                    <a:pt x="533" y="538"/>
                  </a:moveTo>
                  <a:lnTo>
                    <a:pt x="533" y="541"/>
                  </a:lnTo>
                  <a:lnTo>
                    <a:pt x="533" y="541"/>
                  </a:lnTo>
                  <a:lnTo>
                    <a:pt x="533" y="545"/>
                  </a:lnTo>
                  <a:lnTo>
                    <a:pt x="537" y="548"/>
                  </a:lnTo>
                  <a:lnTo>
                    <a:pt x="537" y="552"/>
                  </a:lnTo>
                  <a:lnTo>
                    <a:pt x="542" y="553"/>
                  </a:lnTo>
                  <a:lnTo>
                    <a:pt x="546" y="557"/>
                  </a:lnTo>
                  <a:lnTo>
                    <a:pt x="549" y="560"/>
                  </a:lnTo>
                  <a:lnTo>
                    <a:pt x="551" y="562"/>
                  </a:lnTo>
                  <a:lnTo>
                    <a:pt x="552" y="562"/>
                  </a:lnTo>
                  <a:lnTo>
                    <a:pt x="554" y="564"/>
                  </a:lnTo>
                  <a:lnTo>
                    <a:pt x="558" y="565"/>
                  </a:lnTo>
                  <a:lnTo>
                    <a:pt x="558" y="564"/>
                  </a:lnTo>
                  <a:lnTo>
                    <a:pt x="558" y="562"/>
                  </a:lnTo>
                  <a:lnTo>
                    <a:pt x="559" y="560"/>
                  </a:lnTo>
                  <a:lnTo>
                    <a:pt x="558" y="557"/>
                  </a:lnTo>
                  <a:lnTo>
                    <a:pt x="554" y="557"/>
                  </a:lnTo>
                  <a:lnTo>
                    <a:pt x="552" y="557"/>
                  </a:lnTo>
                  <a:lnTo>
                    <a:pt x="551" y="553"/>
                  </a:lnTo>
                  <a:lnTo>
                    <a:pt x="552" y="552"/>
                  </a:lnTo>
                  <a:lnTo>
                    <a:pt x="552" y="552"/>
                  </a:lnTo>
                  <a:lnTo>
                    <a:pt x="554" y="552"/>
                  </a:lnTo>
                  <a:lnTo>
                    <a:pt x="558" y="553"/>
                  </a:lnTo>
                  <a:lnTo>
                    <a:pt x="561" y="553"/>
                  </a:lnTo>
                  <a:lnTo>
                    <a:pt x="563" y="557"/>
                  </a:lnTo>
                  <a:lnTo>
                    <a:pt x="563" y="553"/>
                  </a:lnTo>
                  <a:lnTo>
                    <a:pt x="561" y="552"/>
                  </a:lnTo>
                  <a:lnTo>
                    <a:pt x="552" y="548"/>
                  </a:lnTo>
                  <a:lnTo>
                    <a:pt x="551" y="543"/>
                  </a:lnTo>
                  <a:lnTo>
                    <a:pt x="549" y="541"/>
                  </a:lnTo>
                  <a:lnTo>
                    <a:pt x="546" y="541"/>
                  </a:lnTo>
                  <a:lnTo>
                    <a:pt x="542" y="538"/>
                  </a:lnTo>
                  <a:lnTo>
                    <a:pt x="540" y="538"/>
                  </a:lnTo>
                  <a:lnTo>
                    <a:pt x="539" y="538"/>
                  </a:lnTo>
                  <a:lnTo>
                    <a:pt x="535" y="538"/>
                  </a:lnTo>
                  <a:lnTo>
                    <a:pt x="533" y="538"/>
                  </a:lnTo>
                  <a:lnTo>
                    <a:pt x="533" y="538"/>
                  </a:lnTo>
                  <a:lnTo>
                    <a:pt x="533" y="538"/>
                  </a:lnTo>
                  <a:lnTo>
                    <a:pt x="533" y="538"/>
                  </a:lnTo>
                  <a:close/>
                  <a:moveTo>
                    <a:pt x="526" y="539"/>
                  </a:moveTo>
                  <a:lnTo>
                    <a:pt x="526" y="539"/>
                  </a:lnTo>
                  <a:lnTo>
                    <a:pt x="526" y="538"/>
                  </a:lnTo>
                  <a:lnTo>
                    <a:pt x="528" y="534"/>
                  </a:lnTo>
                  <a:lnTo>
                    <a:pt x="523" y="536"/>
                  </a:lnTo>
                  <a:lnTo>
                    <a:pt x="523" y="539"/>
                  </a:lnTo>
                  <a:lnTo>
                    <a:pt x="526" y="539"/>
                  </a:lnTo>
                  <a:lnTo>
                    <a:pt x="526" y="539"/>
                  </a:lnTo>
                  <a:lnTo>
                    <a:pt x="526" y="539"/>
                  </a:lnTo>
                  <a:lnTo>
                    <a:pt x="526" y="539"/>
                  </a:lnTo>
                  <a:close/>
                  <a:moveTo>
                    <a:pt x="533" y="534"/>
                  </a:moveTo>
                  <a:lnTo>
                    <a:pt x="535" y="536"/>
                  </a:lnTo>
                  <a:lnTo>
                    <a:pt x="540" y="536"/>
                  </a:lnTo>
                  <a:lnTo>
                    <a:pt x="544" y="538"/>
                  </a:lnTo>
                  <a:lnTo>
                    <a:pt x="549" y="538"/>
                  </a:lnTo>
                  <a:lnTo>
                    <a:pt x="551" y="541"/>
                  </a:lnTo>
                  <a:lnTo>
                    <a:pt x="554" y="539"/>
                  </a:lnTo>
                  <a:lnTo>
                    <a:pt x="556" y="541"/>
                  </a:lnTo>
                  <a:lnTo>
                    <a:pt x="556" y="543"/>
                  </a:lnTo>
                  <a:lnTo>
                    <a:pt x="558" y="545"/>
                  </a:lnTo>
                  <a:lnTo>
                    <a:pt x="561" y="545"/>
                  </a:lnTo>
                  <a:lnTo>
                    <a:pt x="563" y="545"/>
                  </a:lnTo>
                  <a:lnTo>
                    <a:pt x="565" y="545"/>
                  </a:lnTo>
                  <a:lnTo>
                    <a:pt x="565" y="543"/>
                  </a:lnTo>
                  <a:lnTo>
                    <a:pt x="565" y="541"/>
                  </a:lnTo>
                  <a:lnTo>
                    <a:pt x="565" y="538"/>
                  </a:lnTo>
                  <a:lnTo>
                    <a:pt x="566" y="538"/>
                  </a:lnTo>
                  <a:lnTo>
                    <a:pt x="563" y="534"/>
                  </a:lnTo>
                  <a:lnTo>
                    <a:pt x="559" y="534"/>
                  </a:lnTo>
                  <a:lnTo>
                    <a:pt x="554" y="531"/>
                  </a:lnTo>
                  <a:lnTo>
                    <a:pt x="551" y="531"/>
                  </a:lnTo>
                  <a:lnTo>
                    <a:pt x="546" y="532"/>
                  </a:lnTo>
                  <a:lnTo>
                    <a:pt x="542" y="531"/>
                  </a:lnTo>
                  <a:lnTo>
                    <a:pt x="537" y="532"/>
                  </a:lnTo>
                  <a:lnTo>
                    <a:pt x="533" y="532"/>
                  </a:lnTo>
                  <a:lnTo>
                    <a:pt x="533" y="532"/>
                  </a:lnTo>
                  <a:lnTo>
                    <a:pt x="533" y="534"/>
                  </a:lnTo>
                  <a:lnTo>
                    <a:pt x="533" y="534"/>
                  </a:lnTo>
                  <a:lnTo>
                    <a:pt x="533" y="534"/>
                  </a:lnTo>
                  <a:lnTo>
                    <a:pt x="533" y="534"/>
                  </a:lnTo>
                  <a:close/>
                  <a:moveTo>
                    <a:pt x="519" y="520"/>
                  </a:moveTo>
                  <a:lnTo>
                    <a:pt x="523" y="525"/>
                  </a:lnTo>
                  <a:lnTo>
                    <a:pt x="526" y="525"/>
                  </a:lnTo>
                  <a:lnTo>
                    <a:pt x="530" y="529"/>
                  </a:lnTo>
                  <a:lnTo>
                    <a:pt x="535" y="531"/>
                  </a:lnTo>
                  <a:lnTo>
                    <a:pt x="542" y="529"/>
                  </a:lnTo>
                  <a:lnTo>
                    <a:pt x="551" y="531"/>
                  </a:lnTo>
                  <a:lnTo>
                    <a:pt x="554" y="529"/>
                  </a:lnTo>
                  <a:lnTo>
                    <a:pt x="554" y="529"/>
                  </a:lnTo>
                  <a:lnTo>
                    <a:pt x="551" y="529"/>
                  </a:lnTo>
                  <a:lnTo>
                    <a:pt x="544" y="529"/>
                  </a:lnTo>
                  <a:lnTo>
                    <a:pt x="540" y="525"/>
                  </a:lnTo>
                  <a:lnTo>
                    <a:pt x="535" y="525"/>
                  </a:lnTo>
                  <a:lnTo>
                    <a:pt x="532" y="524"/>
                  </a:lnTo>
                  <a:lnTo>
                    <a:pt x="530" y="520"/>
                  </a:lnTo>
                  <a:lnTo>
                    <a:pt x="532" y="520"/>
                  </a:lnTo>
                  <a:lnTo>
                    <a:pt x="533" y="520"/>
                  </a:lnTo>
                  <a:lnTo>
                    <a:pt x="540" y="525"/>
                  </a:lnTo>
                  <a:lnTo>
                    <a:pt x="546" y="525"/>
                  </a:lnTo>
                  <a:lnTo>
                    <a:pt x="549" y="525"/>
                  </a:lnTo>
                  <a:lnTo>
                    <a:pt x="546" y="524"/>
                  </a:lnTo>
                  <a:lnTo>
                    <a:pt x="539" y="517"/>
                  </a:lnTo>
                  <a:lnTo>
                    <a:pt x="528" y="517"/>
                  </a:lnTo>
                  <a:lnTo>
                    <a:pt x="526" y="517"/>
                  </a:lnTo>
                  <a:lnTo>
                    <a:pt x="526" y="517"/>
                  </a:lnTo>
                  <a:lnTo>
                    <a:pt x="521" y="520"/>
                  </a:lnTo>
                  <a:lnTo>
                    <a:pt x="519" y="520"/>
                  </a:lnTo>
                  <a:lnTo>
                    <a:pt x="519" y="520"/>
                  </a:lnTo>
                  <a:lnTo>
                    <a:pt x="519" y="520"/>
                  </a:lnTo>
                  <a:lnTo>
                    <a:pt x="519" y="520"/>
                  </a:lnTo>
                  <a:close/>
                  <a:moveTo>
                    <a:pt x="572" y="531"/>
                  </a:moveTo>
                  <a:lnTo>
                    <a:pt x="572" y="531"/>
                  </a:lnTo>
                  <a:lnTo>
                    <a:pt x="573" y="531"/>
                  </a:lnTo>
                  <a:lnTo>
                    <a:pt x="573" y="529"/>
                  </a:lnTo>
                  <a:lnTo>
                    <a:pt x="572" y="529"/>
                  </a:lnTo>
                  <a:lnTo>
                    <a:pt x="572" y="531"/>
                  </a:lnTo>
                  <a:lnTo>
                    <a:pt x="572" y="531"/>
                  </a:lnTo>
                  <a:lnTo>
                    <a:pt x="572" y="531"/>
                  </a:lnTo>
                  <a:lnTo>
                    <a:pt x="572" y="531"/>
                  </a:lnTo>
                  <a:close/>
                  <a:moveTo>
                    <a:pt x="573" y="478"/>
                  </a:moveTo>
                  <a:lnTo>
                    <a:pt x="572" y="484"/>
                  </a:lnTo>
                  <a:lnTo>
                    <a:pt x="572" y="487"/>
                  </a:lnTo>
                  <a:lnTo>
                    <a:pt x="573" y="489"/>
                  </a:lnTo>
                  <a:lnTo>
                    <a:pt x="577" y="489"/>
                  </a:lnTo>
                  <a:lnTo>
                    <a:pt x="580" y="492"/>
                  </a:lnTo>
                  <a:lnTo>
                    <a:pt x="582" y="492"/>
                  </a:lnTo>
                  <a:lnTo>
                    <a:pt x="585" y="492"/>
                  </a:lnTo>
                  <a:lnTo>
                    <a:pt x="589" y="492"/>
                  </a:lnTo>
                  <a:lnTo>
                    <a:pt x="589" y="489"/>
                  </a:lnTo>
                  <a:lnTo>
                    <a:pt x="591" y="485"/>
                  </a:lnTo>
                  <a:lnTo>
                    <a:pt x="591" y="482"/>
                  </a:lnTo>
                  <a:lnTo>
                    <a:pt x="584" y="477"/>
                  </a:lnTo>
                  <a:lnTo>
                    <a:pt x="579" y="478"/>
                  </a:lnTo>
                  <a:lnTo>
                    <a:pt x="573" y="478"/>
                  </a:lnTo>
                  <a:lnTo>
                    <a:pt x="573" y="478"/>
                  </a:lnTo>
                  <a:lnTo>
                    <a:pt x="573" y="478"/>
                  </a:lnTo>
                  <a:lnTo>
                    <a:pt x="573" y="478"/>
                  </a:lnTo>
                  <a:close/>
                  <a:moveTo>
                    <a:pt x="606" y="477"/>
                  </a:moveTo>
                  <a:lnTo>
                    <a:pt x="608" y="477"/>
                  </a:lnTo>
                  <a:lnTo>
                    <a:pt x="610" y="473"/>
                  </a:lnTo>
                  <a:lnTo>
                    <a:pt x="610" y="472"/>
                  </a:lnTo>
                  <a:lnTo>
                    <a:pt x="608" y="472"/>
                  </a:lnTo>
                  <a:lnTo>
                    <a:pt x="606" y="473"/>
                  </a:lnTo>
                  <a:lnTo>
                    <a:pt x="606" y="477"/>
                  </a:lnTo>
                  <a:lnTo>
                    <a:pt x="606" y="477"/>
                  </a:lnTo>
                  <a:lnTo>
                    <a:pt x="606" y="477"/>
                  </a:lnTo>
                  <a:lnTo>
                    <a:pt x="606" y="477"/>
                  </a:lnTo>
                  <a:close/>
                  <a:moveTo>
                    <a:pt x="591" y="458"/>
                  </a:moveTo>
                  <a:lnTo>
                    <a:pt x="591" y="459"/>
                  </a:lnTo>
                  <a:lnTo>
                    <a:pt x="591" y="465"/>
                  </a:lnTo>
                  <a:lnTo>
                    <a:pt x="591" y="466"/>
                  </a:lnTo>
                  <a:lnTo>
                    <a:pt x="594" y="470"/>
                  </a:lnTo>
                  <a:lnTo>
                    <a:pt x="596" y="466"/>
                  </a:lnTo>
                  <a:lnTo>
                    <a:pt x="596" y="465"/>
                  </a:lnTo>
                  <a:lnTo>
                    <a:pt x="599" y="461"/>
                  </a:lnTo>
                  <a:lnTo>
                    <a:pt x="599" y="461"/>
                  </a:lnTo>
                  <a:lnTo>
                    <a:pt x="594" y="458"/>
                  </a:lnTo>
                  <a:lnTo>
                    <a:pt x="591" y="458"/>
                  </a:lnTo>
                  <a:lnTo>
                    <a:pt x="591" y="458"/>
                  </a:lnTo>
                  <a:lnTo>
                    <a:pt x="591" y="458"/>
                  </a:lnTo>
                  <a:lnTo>
                    <a:pt x="591" y="458"/>
                  </a:lnTo>
                  <a:close/>
                  <a:moveTo>
                    <a:pt x="613" y="444"/>
                  </a:moveTo>
                  <a:lnTo>
                    <a:pt x="613" y="451"/>
                  </a:lnTo>
                  <a:lnTo>
                    <a:pt x="612" y="456"/>
                  </a:lnTo>
                  <a:lnTo>
                    <a:pt x="613" y="458"/>
                  </a:lnTo>
                  <a:lnTo>
                    <a:pt x="617" y="461"/>
                  </a:lnTo>
                  <a:lnTo>
                    <a:pt x="618" y="459"/>
                  </a:lnTo>
                  <a:lnTo>
                    <a:pt x="622" y="459"/>
                  </a:lnTo>
                  <a:lnTo>
                    <a:pt x="624" y="459"/>
                  </a:lnTo>
                  <a:lnTo>
                    <a:pt x="624" y="461"/>
                  </a:lnTo>
                  <a:lnTo>
                    <a:pt x="627" y="461"/>
                  </a:lnTo>
                  <a:lnTo>
                    <a:pt x="629" y="459"/>
                  </a:lnTo>
                  <a:lnTo>
                    <a:pt x="631" y="458"/>
                  </a:lnTo>
                  <a:lnTo>
                    <a:pt x="631" y="452"/>
                  </a:lnTo>
                  <a:lnTo>
                    <a:pt x="627" y="451"/>
                  </a:lnTo>
                  <a:lnTo>
                    <a:pt x="627" y="454"/>
                  </a:lnTo>
                  <a:lnTo>
                    <a:pt x="627" y="456"/>
                  </a:lnTo>
                  <a:lnTo>
                    <a:pt x="625" y="454"/>
                  </a:lnTo>
                  <a:lnTo>
                    <a:pt x="622" y="451"/>
                  </a:lnTo>
                  <a:lnTo>
                    <a:pt x="622" y="449"/>
                  </a:lnTo>
                  <a:lnTo>
                    <a:pt x="622" y="445"/>
                  </a:lnTo>
                  <a:lnTo>
                    <a:pt x="622" y="444"/>
                  </a:lnTo>
                  <a:lnTo>
                    <a:pt x="624" y="444"/>
                  </a:lnTo>
                  <a:lnTo>
                    <a:pt x="624" y="442"/>
                  </a:lnTo>
                  <a:lnTo>
                    <a:pt x="622" y="442"/>
                  </a:lnTo>
                  <a:lnTo>
                    <a:pt x="618" y="444"/>
                  </a:lnTo>
                  <a:lnTo>
                    <a:pt x="617" y="442"/>
                  </a:lnTo>
                  <a:lnTo>
                    <a:pt x="617" y="444"/>
                  </a:lnTo>
                  <a:lnTo>
                    <a:pt x="613" y="444"/>
                  </a:lnTo>
                  <a:lnTo>
                    <a:pt x="613" y="444"/>
                  </a:lnTo>
                  <a:lnTo>
                    <a:pt x="613" y="444"/>
                  </a:lnTo>
                  <a:lnTo>
                    <a:pt x="613" y="444"/>
                  </a:lnTo>
                  <a:close/>
                  <a:moveTo>
                    <a:pt x="618" y="390"/>
                  </a:moveTo>
                  <a:lnTo>
                    <a:pt x="613" y="392"/>
                  </a:lnTo>
                  <a:lnTo>
                    <a:pt x="613" y="393"/>
                  </a:lnTo>
                  <a:lnTo>
                    <a:pt x="617" y="395"/>
                  </a:lnTo>
                  <a:lnTo>
                    <a:pt x="618" y="397"/>
                  </a:lnTo>
                  <a:lnTo>
                    <a:pt x="617" y="399"/>
                  </a:lnTo>
                  <a:lnTo>
                    <a:pt x="617" y="402"/>
                  </a:lnTo>
                  <a:lnTo>
                    <a:pt x="618" y="407"/>
                  </a:lnTo>
                  <a:lnTo>
                    <a:pt x="618" y="411"/>
                  </a:lnTo>
                  <a:lnTo>
                    <a:pt x="617" y="416"/>
                  </a:lnTo>
                  <a:lnTo>
                    <a:pt x="617" y="419"/>
                  </a:lnTo>
                  <a:lnTo>
                    <a:pt x="618" y="421"/>
                  </a:lnTo>
                  <a:lnTo>
                    <a:pt x="618" y="419"/>
                  </a:lnTo>
                  <a:lnTo>
                    <a:pt x="618" y="414"/>
                  </a:lnTo>
                  <a:lnTo>
                    <a:pt x="622" y="412"/>
                  </a:lnTo>
                  <a:lnTo>
                    <a:pt x="622" y="407"/>
                  </a:lnTo>
                  <a:lnTo>
                    <a:pt x="618" y="405"/>
                  </a:lnTo>
                  <a:lnTo>
                    <a:pt x="618" y="399"/>
                  </a:lnTo>
                  <a:lnTo>
                    <a:pt x="618" y="393"/>
                  </a:lnTo>
                  <a:lnTo>
                    <a:pt x="618" y="392"/>
                  </a:lnTo>
                  <a:lnTo>
                    <a:pt x="618" y="390"/>
                  </a:lnTo>
                  <a:lnTo>
                    <a:pt x="618" y="390"/>
                  </a:lnTo>
                  <a:lnTo>
                    <a:pt x="618" y="390"/>
                  </a:lnTo>
                  <a:lnTo>
                    <a:pt x="618" y="390"/>
                  </a:lnTo>
                  <a:close/>
                  <a:moveTo>
                    <a:pt x="591" y="399"/>
                  </a:moveTo>
                  <a:lnTo>
                    <a:pt x="591" y="400"/>
                  </a:lnTo>
                  <a:lnTo>
                    <a:pt x="591" y="402"/>
                  </a:lnTo>
                  <a:lnTo>
                    <a:pt x="594" y="402"/>
                  </a:lnTo>
                  <a:lnTo>
                    <a:pt x="596" y="400"/>
                  </a:lnTo>
                  <a:lnTo>
                    <a:pt x="594" y="397"/>
                  </a:lnTo>
                  <a:lnTo>
                    <a:pt x="594" y="397"/>
                  </a:lnTo>
                  <a:lnTo>
                    <a:pt x="591" y="399"/>
                  </a:lnTo>
                  <a:lnTo>
                    <a:pt x="591" y="399"/>
                  </a:lnTo>
                  <a:lnTo>
                    <a:pt x="591" y="399"/>
                  </a:lnTo>
                  <a:lnTo>
                    <a:pt x="591" y="399"/>
                  </a:lnTo>
                  <a:close/>
                  <a:moveTo>
                    <a:pt x="587" y="392"/>
                  </a:moveTo>
                  <a:lnTo>
                    <a:pt x="589" y="395"/>
                  </a:lnTo>
                  <a:lnTo>
                    <a:pt x="591" y="393"/>
                  </a:lnTo>
                  <a:lnTo>
                    <a:pt x="591" y="392"/>
                  </a:lnTo>
                  <a:lnTo>
                    <a:pt x="589" y="392"/>
                  </a:lnTo>
                  <a:lnTo>
                    <a:pt x="587" y="392"/>
                  </a:lnTo>
                  <a:lnTo>
                    <a:pt x="587" y="392"/>
                  </a:lnTo>
                  <a:lnTo>
                    <a:pt x="587" y="392"/>
                  </a:lnTo>
                  <a:lnTo>
                    <a:pt x="587" y="392"/>
                  </a:lnTo>
                  <a:close/>
                  <a:moveTo>
                    <a:pt x="610" y="336"/>
                  </a:moveTo>
                  <a:lnTo>
                    <a:pt x="612" y="339"/>
                  </a:lnTo>
                  <a:lnTo>
                    <a:pt x="613" y="341"/>
                  </a:lnTo>
                  <a:lnTo>
                    <a:pt x="617" y="341"/>
                  </a:lnTo>
                  <a:lnTo>
                    <a:pt x="617" y="339"/>
                  </a:lnTo>
                  <a:lnTo>
                    <a:pt x="613" y="338"/>
                  </a:lnTo>
                  <a:lnTo>
                    <a:pt x="612" y="334"/>
                  </a:lnTo>
                  <a:lnTo>
                    <a:pt x="610" y="334"/>
                  </a:lnTo>
                  <a:lnTo>
                    <a:pt x="610" y="336"/>
                  </a:lnTo>
                  <a:lnTo>
                    <a:pt x="610" y="336"/>
                  </a:lnTo>
                  <a:lnTo>
                    <a:pt x="610" y="336"/>
                  </a:lnTo>
                  <a:lnTo>
                    <a:pt x="610" y="336"/>
                  </a:lnTo>
                  <a:close/>
                  <a:moveTo>
                    <a:pt x="631" y="348"/>
                  </a:moveTo>
                  <a:lnTo>
                    <a:pt x="631" y="348"/>
                  </a:lnTo>
                  <a:lnTo>
                    <a:pt x="632" y="352"/>
                  </a:lnTo>
                  <a:lnTo>
                    <a:pt x="634" y="352"/>
                  </a:lnTo>
                  <a:lnTo>
                    <a:pt x="636" y="348"/>
                  </a:lnTo>
                  <a:lnTo>
                    <a:pt x="636" y="348"/>
                  </a:lnTo>
                  <a:lnTo>
                    <a:pt x="636" y="343"/>
                  </a:lnTo>
                  <a:lnTo>
                    <a:pt x="638" y="343"/>
                  </a:lnTo>
                  <a:lnTo>
                    <a:pt x="638" y="338"/>
                  </a:lnTo>
                  <a:lnTo>
                    <a:pt x="632" y="343"/>
                  </a:lnTo>
                  <a:lnTo>
                    <a:pt x="632" y="346"/>
                  </a:lnTo>
                  <a:lnTo>
                    <a:pt x="631" y="348"/>
                  </a:lnTo>
                  <a:lnTo>
                    <a:pt x="631" y="348"/>
                  </a:lnTo>
                  <a:lnTo>
                    <a:pt x="631" y="348"/>
                  </a:lnTo>
                  <a:lnTo>
                    <a:pt x="631" y="348"/>
                  </a:lnTo>
                  <a:close/>
                  <a:moveTo>
                    <a:pt x="622" y="329"/>
                  </a:moveTo>
                  <a:lnTo>
                    <a:pt x="622" y="329"/>
                  </a:lnTo>
                  <a:lnTo>
                    <a:pt x="624" y="329"/>
                  </a:lnTo>
                  <a:lnTo>
                    <a:pt x="624" y="325"/>
                  </a:lnTo>
                  <a:lnTo>
                    <a:pt x="624" y="324"/>
                  </a:lnTo>
                  <a:lnTo>
                    <a:pt x="622" y="324"/>
                  </a:lnTo>
                  <a:lnTo>
                    <a:pt x="622" y="329"/>
                  </a:lnTo>
                  <a:lnTo>
                    <a:pt x="622" y="329"/>
                  </a:lnTo>
                  <a:lnTo>
                    <a:pt x="622" y="329"/>
                  </a:lnTo>
                  <a:lnTo>
                    <a:pt x="622" y="329"/>
                  </a:lnTo>
                  <a:close/>
                  <a:moveTo>
                    <a:pt x="622" y="317"/>
                  </a:moveTo>
                  <a:lnTo>
                    <a:pt x="622" y="319"/>
                  </a:lnTo>
                  <a:lnTo>
                    <a:pt x="624" y="320"/>
                  </a:lnTo>
                  <a:lnTo>
                    <a:pt x="624" y="319"/>
                  </a:lnTo>
                  <a:lnTo>
                    <a:pt x="624" y="317"/>
                  </a:lnTo>
                  <a:lnTo>
                    <a:pt x="622" y="317"/>
                  </a:lnTo>
                  <a:lnTo>
                    <a:pt x="622" y="317"/>
                  </a:lnTo>
                  <a:lnTo>
                    <a:pt x="622" y="317"/>
                  </a:lnTo>
                  <a:lnTo>
                    <a:pt x="622" y="317"/>
                  </a:lnTo>
                  <a:close/>
                  <a:moveTo>
                    <a:pt x="639" y="280"/>
                  </a:moveTo>
                  <a:lnTo>
                    <a:pt x="641" y="284"/>
                  </a:lnTo>
                  <a:lnTo>
                    <a:pt x="641" y="285"/>
                  </a:lnTo>
                  <a:lnTo>
                    <a:pt x="645" y="282"/>
                  </a:lnTo>
                  <a:lnTo>
                    <a:pt x="645" y="279"/>
                  </a:lnTo>
                  <a:lnTo>
                    <a:pt x="645" y="275"/>
                  </a:lnTo>
                  <a:lnTo>
                    <a:pt x="645" y="273"/>
                  </a:lnTo>
                  <a:lnTo>
                    <a:pt x="645" y="270"/>
                  </a:lnTo>
                  <a:lnTo>
                    <a:pt x="641" y="273"/>
                  </a:lnTo>
                  <a:lnTo>
                    <a:pt x="641" y="275"/>
                  </a:lnTo>
                  <a:lnTo>
                    <a:pt x="639" y="280"/>
                  </a:lnTo>
                  <a:lnTo>
                    <a:pt x="639" y="280"/>
                  </a:lnTo>
                  <a:lnTo>
                    <a:pt x="639" y="280"/>
                  </a:lnTo>
                  <a:lnTo>
                    <a:pt x="639" y="280"/>
                  </a:lnTo>
                  <a:close/>
                  <a:moveTo>
                    <a:pt x="629" y="230"/>
                  </a:moveTo>
                  <a:lnTo>
                    <a:pt x="629" y="230"/>
                  </a:lnTo>
                  <a:lnTo>
                    <a:pt x="631" y="228"/>
                  </a:lnTo>
                  <a:lnTo>
                    <a:pt x="636" y="230"/>
                  </a:lnTo>
                  <a:lnTo>
                    <a:pt x="638" y="226"/>
                  </a:lnTo>
                  <a:lnTo>
                    <a:pt x="638" y="223"/>
                  </a:lnTo>
                  <a:lnTo>
                    <a:pt x="636" y="219"/>
                  </a:lnTo>
                  <a:lnTo>
                    <a:pt x="629" y="223"/>
                  </a:lnTo>
                  <a:lnTo>
                    <a:pt x="627" y="228"/>
                  </a:lnTo>
                  <a:lnTo>
                    <a:pt x="629" y="230"/>
                  </a:lnTo>
                  <a:lnTo>
                    <a:pt x="629" y="230"/>
                  </a:lnTo>
                  <a:lnTo>
                    <a:pt x="629" y="230"/>
                  </a:lnTo>
                  <a:lnTo>
                    <a:pt x="629" y="230"/>
                  </a:lnTo>
                  <a:close/>
                  <a:moveTo>
                    <a:pt x="664" y="136"/>
                  </a:moveTo>
                  <a:lnTo>
                    <a:pt x="664" y="134"/>
                  </a:lnTo>
                  <a:lnTo>
                    <a:pt x="664" y="131"/>
                  </a:lnTo>
                  <a:lnTo>
                    <a:pt x="664" y="124"/>
                  </a:lnTo>
                  <a:lnTo>
                    <a:pt x="664" y="124"/>
                  </a:lnTo>
                  <a:lnTo>
                    <a:pt x="664" y="119"/>
                  </a:lnTo>
                  <a:lnTo>
                    <a:pt x="662" y="122"/>
                  </a:lnTo>
                  <a:lnTo>
                    <a:pt x="662" y="124"/>
                  </a:lnTo>
                  <a:lnTo>
                    <a:pt x="664" y="124"/>
                  </a:lnTo>
                  <a:lnTo>
                    <a:pt x="664" y="127"/>
                  </a:lnTo>
                  <a:lnTo>
                    <a:pt x="662" y="131"/>
                  </a:lnTo>
                  <a:lnTo>
                    <a:pt x="664" y="136"/>
                  </a:lnTo>
                  <a:lnTo>
                    <a:pt x="664" y="136"/>
                  </a:lnTo>
                  <a:lnTo>
                    <a:pt x="664" y="136"/>
                  </a:lnTo>
                  <a:lnTo>
                    <a:pt x="664" y="136"/>
                  </a:lnTo>
                  <a:close/>
                  <a:moveTo>
                    <a:pt x="653" y="146"/>
                  </a:moveTo>
                  <a:lnTo>
                    <a:pt x="653" y="146"/>
                  </a:lnTo>
                  <a:lnTo>
                    <a:pt x="655" y="146"/>
                  </a:lnTo>
                  <a:lnTo>
                    <a:pt x="655" y="145"/>
                  </a:lnTo>
                  <a:lnTo>
                    <a:pt x="655" y="139"/>
                  </a:lnTo>
                  <a:lnTo>
                    <a:pt x="653" y="138"/>
                  </a:lnTo>
                  <a:lnTo>
                    <a:pt x="651" y="139"/>
                  </a:lnTo>
                  <a:lnTo>
                    <a:pt x="651" y="143"/>
                  </a:lnTo>
                  <a:lnTo>
                    <a:pt x="653" y="146"/>
                  </a:lnTo>
                  <a:lnTo>
                    <a:pt x="653" y="146"/>
                  </a:lnTo>
                  <a:lnTo>
                    <a:pt x="653" y="146"/>
                  </a:lnTo>
                  <a:lnTo>
                    <a:pt x="653" y="146"/>
                  </a:lnTo>
                  <a:close/>
                  <a:moveTo>
                    <a:pt x="646" y="136"/>
                  </a:moveTo>
                  <a:lnTo>
                    <a:pt x="648" y="138"/>
                  </a:lnTo>
                  <a:lnTo>
                    <a:pt x="650" y="136"/>
                  </a:lnTo>
                  <a:lnTo>
                    <a:pt x="651" y="131"/>
                  </a:lnTo>
                  <a:lnTo>
                    <a:pt x="651" y="129"/>
                  </a:lnTo>
                  <a:lnTo>
                    <a:pt x="651" y="127"/>
                  </a:lnTo>
                  <a:lnTo>
                    <a:pt x="650" y="127"/>
                  </a:lnTo>
                  <a:lnTo>
                    <a:pt x="648" y="127"/>
                  </a:lnTo>
                  <a:lnTo>
                    <a:pt x="646" y="129"/>
                  </a:lnTo>
                  <a:lnTo>
                    <a:pt x="646" y="132"/>
                  </a:lnTo>
                  <a:lnTo>
                    <a:pt x="646" y="136"/>
                  </a:lnTo>
                  <a:lnTo>
                    <a:pt x="646" y="136"/>
                  </a:lnTo>
                  <a:lnTo>
                    <a:pt x="646" y="136"/>
                  </a:lnTo>
                  <a:lnTo>
                    <a:pt x="646" y="136"/>
                  </a:lnTo>
                  <a:close/>
                  <a:moveTo>
                    <a:pt x="469" y="9"/>
                  </a:moveTo>
                  <a:lnTo>
                    <a:pt x="469" y="9"/>
                  </a:lnTo>
                  <a:lnTo>
                    <a:pt x="469" y="9"/>
                  </a:lnTo>
                  <a:lnTo>
                    <a:pt x="473" y="7"/>
                  </a:lnTo>
                  <a:lnTo>
                    <a:pt x="469" y="6"/>
                  </a:lnTo>
                  <a:lnTo>
                    <a:pt x="469" y="6"/>
                  </a:lnTo>
                  <a:lnTo>
                    <a:pt x="467" y="7"/>
                  </a:lnTo>
                  <a:lnTo>
                    <a:pt x="469" y="9"/>
                  </a:lnTo>
                  <a:lnTo>
                    <a:pt x="469" y="9"/>
                  </a:lnTo>
                  <a:lnTo>
                    <a:pt x="469" y="9"/>
                  </a:lnTo>
                  <a:lnTo>
                    <a:pt x="469" y="9"/>
                  </a:lnTo>
                  <a:close/>
                  <a:moveTo>
                    <a:pt x="469" y="16"/>
                  </a:moveTo>
                  <a:lnTo>
                    <a:pt x="469" y="18"/>
                  </a:lnTo>
                  <a:lnTo>
                    <a:pt x="473" y="18"/>
                  </a:lnTo>
                  <a:lnTo>
                    <a:pt x="473" y="14"/>
                  </a:lnTo>
                  <a:lnTo>
                    <a:pt x="473" y="12"/>
                  </a:lnTo>
                  <a:lnTo>
                    <a:pt x="473" y="12"/>
                  </a:lnTo>
                  <a:lnTo>
                    <a:pt x="469" y="14"/>
                  </a:lnTo>
                  <a:lnTo>
                    <a:pt x="469" y="16"/>
                  </a:lnTo>
                  <a:lnTo>
                    <a:pt x="469" y="16"/>
                  </a:lnTo>
                  <a:lnTo>
                    <a:pt x="469" y="16"/>
                  </a:lnTo>
                  <a:lnTo>
                    <a:pt x="469" y="16"/>
                  </a:lnTo>
                  <a:close/>
                  <a:moveTo>
                    <a:pt x="455" y="16"/>
                  </a:moveTo>
                  <a:lnTo>
                    <a:pt x="459" y="19"/>
                  </a:lnTo>
                  <a:lnTo>
                    <a:pt x="459" y="23"/>
                  </a:lnTo>
                  <a:lnTo>
                    <a:pt x="460" y="23"/>
                  </a:lnTo>
                  <a:lnTo>
                    <a:pt x="462" y="19"/>
                  </a:lnTo>
                  <a:lnTo>
                    <a:pt x="464" y="19"/>
                  </a:lnTo>
                  <a:lnTo>
                    <a:pt x="459" y="14"/>
                  </a:lnTo>
                  <a:lnTo>
                    <a:pt x="459" y="12"/>
                  </a:lnTo>
                  <a:lnTo>
                    <a:pt x="459" y="9"/>
                  </a:lnTo>
                  <a:lnTo>
                    <a:pt x="455" y="12"/>
                  </a:lnTo>
                  <a:lnTo>
                    <a:pt x="455" y="14"/>
                  </a:lnTo>
                  <a:lnTo>
                    <a:pt x="453" y="14"/>
                  </a:lnTo>
                  <a:lnTo>
                    <a:pt x="455" y="16"/>
                  </a:lnTo>
                  <a:lnTo>
                    <a:pt x="455" y="16"/>
                  </a:lnTo>
                  <a:lnTo>
                    <a:pt x="455" y="16"/>
                  </a:lnTo>
                  <a:lnTo>
                    <a:pt x="455" y="16"/>
                  </a:lnTo>
                  <a:close/>
                  <a:moveTo>
                    <a:pt x="446" y="19"/>
                  </a:moveTo>
                  <a:lnTo>
                    <a:pt x="446" y="23"/>
                  </a:lnTo>
                  <a:lnTo>
                    <a:pt x="446" y="23"/>
                  </a:lnTo>
                  <a:lnTo>
                    <a:pt x="450" y="23"/>
                  </a:lnTo>
                  <a:lnTo>
                    <a:pt x="450" y="21"/>
                  </a:lnTo>
                  <a:lnTo>
                    <a:pt x="446" y="19"/>
                  </a:lnTo>
                  <a:lnTo>
                    <a:pt x="446" y="19"/>
                  </a:lnTo>
                  <a:lnTo>
                    <a:pt x="446" y="19"/>
                  </a:lnTo>
                  <a:lnTo>
                    <a:pt x="446" y="19"/>
                  </a:lnTo>
                  <a:lnTo>
                    <a:pt x="446" y="19"/>
                  </a:lnTo>
                  <a:close/>
                  <a:moveTo>
                    <a:pt x="396" y="35"/>
                  </a:moveTo>
                  <a:lnTo>
                    <a:pt x="398" y="37"/>
                  </a:lnTo>
                  <a:lnTo>
                    <a:pt x="400" y="37"/>
                  </a:lnTo>
                  <a:lnTo>
                    <a:pt x="405" y="42"/>
                  </a:lnTo>
                  <a:lnTo>
                    <a:pt x="405" y="42"/>
                  </a:lnTo>
                  <a:lnTo>
                    <a:pt x="406" y="40"/>
                  </a:lnTo>
                  <a:lnTo>
                    <a:pt x="406" y="37"/>
                  </a:lnTo>
                  <a:lnTo>
                    <a:pt x="408" y="35"/>
                  </a:lnTo>
                  <a:lnTo>
                    <a:pt x="408" y="32"/>
                  </a:lnTo>
                  <a:lnTo>
                    <a:pt x="405" y="32"/>
                  </a:lnTo>
                  <a:lnTo>
                    <a:pt x="405" y="28"/>
                  </a:lnTo>
                  <a:lnTo>
                    <a:pt x="401" y="28"/>
                  </a:lnTo>
                  <a:lnTo>
                    <a:pt x="400" y="30"/>
                  </a:lnTo>
                  <a:lnTo>
                    <a:pt x="401" y="32"/>
                  </a:lnTo>
                  <a:lnTo>
                    <a:pt x="401" y="35"/>
                  </a:lnTo>
                  <a:lnTo>
                    <a:pt x="400" y="37"/>
                  </a:lnTo>
                  <a:lnTo>
                    <a:pt x="398" y="32"/>
                  </a:lnTo>
                  <a:lnTo>
                    <a:pt x="396" y="35"/>
                  </a:lnTo>
                  <a:lnTo>
                    <a:pt x="396" y="35"/>
                  </a:lnTo>
                  <a:lnTo>
                    <a:pt x="396" y="35"/>
                  </a:lnTo>
                  <a:lnTo>
                    <a:pt x="396" y="35"/>
                  </a:lnTo>
                  <a:close/>
                  <a:moveTo>
                    <a:pt x="393" y="37"/>
                  </a:moveTo>
                  <a:lnTo>
                    <a:pt x="394" y="40"/>
                  </a:lnTo>
                  <a:lnTo>
                    <a:pt x="396" y="42"/>
                  </a:lnTo>
                  <a:lnTo>
                    <a:pt x="396" y="37"/>
                  </a:lnTo>
                  <a:lnTo>
                    <a:pt x="394" y="37"/>
                  </a:lnTo>
                  <a:lnTo>
                    <a:pt x="393" y="37"/>
                  </a:lnTo>
                  <a:lnTo>
                    <a:pt x="393" y="37"/>
                  </a:lnTo>
                  <a:lnTo>
                    <a:pt x="393" y="37"/>
                  </a:lnTo>
                  <a:lnTo>
                    <a:pt x="393" y="37"/>
                  </a:lnTo>
                  <a:close/>
                  <a:moveTo>
                    <a:pt x="377" y="37"/>
                  </a:moveTo>
                  <a:lnTo>
                    <a:pt x="377" y="37"/>
                  </a:lnTo>
                  <a:lnTo>
                    <a:pt x="382" y="40"/>
                  </a:lnTo>
                  <a:lnTo>
                    <a:pt x="382" y="40"/>
                  </a:lnTo>
                  <a:lnTo>
                    <a:pt x="384" y="40"/>
                  </a:lnTo>
                  <a:lnTo>
                    <a:pt x="384" y="37"/>
                  </a:lnTo>
                  <a:lnTo>
                    <a:pt x="382" y="37"/>
                  </a:lnTo>
                  <a:lnTo>
                    <a:pt x="382" y="37"/>
                  </a:lnTo>
                  <a:lnTo>
                    <a:pt x="382" y="32"/>
                  </a:lnTo>
                  <a:lnTo>
                    <a:pt x="379" y="32"/>
                  </a:lnTo>
                  <a:lnTo>
                    <a:pt x="377" y="35"/>
                  </a:lnTo>
                  <a:lnTo>
                    <a:pt x="377" y="37"/>
                  </a:lnTo>
                  <a:lnTo>
                    <a:pt x="377" y="37"/>
                  </a:lnTo>
                  <a:lnTo>
                    <a:pt x="377" y="37"/>
                  </a:lnTo>
                  <a:lnTo>
                    <a:pt x="377" y="37"/>
                  </a:lnTo>
                  <a:close/>
                  <a:moveTo>
                    <a:pt x="367" y="68"/>
                  </a:moveTo>
                  <a:lnTo>
                    <a:pt x="367" y="68"/>
                  </a:lnTo>
                  <a:lnTo>
                    <a:pt x="370" y="68"/>
                  </a:lnTo>
                  <a:lnTo>
                    <a:pt x="370" y="65"/>
                  </a:lnTo>
                  <a:lnTo>
                    <a:pt x="368" y="63"/>
                  </a:lnTo>
                  <a:lnTo>
                    <a:pt x="367" y="59"/>
                  </a:lnTo>
                  <a:lnTo>
                    <a:pt x="365" y="56"/>
                  </a:lnTo>
                  <a:lnTo>
                    <a:pt x="363" y="56"/>
                  </a:lnTo>
                  <a:lnTo>
                    <a:pt x="363" y="59"/>
                  </a:lnTo>
                  <a:lnTo>
                    <a:pt x="365" y="63"/>
                  </a:lnTo>
                  <a:lnTo>
                    <a:pt x="365" y="65"/>
                  </a:lnTo>
                  <a:lnTo>
                    <a:pt x="367" y="68"/>
                  </a:lnTo>
                  <a:lnTo>
                    <a:pt x="367" y="68"/>
                  </a:lnTo>
                  <a:lnTo>
                    <a:pt x="367" y="68"/>
                  </a:lnTo>
                  <a:lnTo>
                    <a:pt x="367" y="68"/>
                  </a:lnTo>
                  <a:close/>
                  <a:moveTo>
                    <a:pt x="370" y="99"/>
                  </a:moveTo>
                  <a:lnTo>
                    <a:pt x="375" y="99"/>
                  </a:lnTo>
                  <a:lnTo>
                    <a:pt x="377" y="99"/>
                  </a:lnTo>
                  <a:lnTo>
                    <a:pt x="377" y="96"/>
                  </a:lnTo>
                  <a:lnTo>
                    <a:pt x="373" y="94"/>
                  </a:lnTo>
                  <a:lnTo>
                    <a:pt x="373" y="91"/>
                  </a:lnTo>
                  <a:lnTo>
                    <a:pt x="372" y="91"/>
                  </a:lnTo>
                  <a:lnTo>
                    <a:pt x="368" y="91"/>
                  </a:lnTo>
                  <a:lnTo>
                    <a:pt x="367" y="96"/>
                  </a:lnTo>
                  <a:lnTo>
                    <a:pt x="367" y="96"/>
                  </a:lnTo>
                  <a:lnTo>
                    <a:pt x="370" y="99"/>
                  </a:lnTo>
                  <a:lnTo>
                    <a:pt x="370" y="99"/>
                  </a:lnTo>
                  <a:lnTo>
                    <a:pt x="370" y="99"/>
                  </a:lnTo>
                  <a:lnTo>
                    <a:pt x="370" y="99"/>
                  </a:lnTo>
                  <a:lnTo>
                    <a:pt x="370" y="99"/>
                  </a:lnTo>
                  <a:close/>
                  <a:moveTo>
                    <a:pt x="370" y="105"/>
                  </a:moveTo>
                  <a:lnTo>
                    <a:pt x="370" y="108"/>
                  </a:lnTo>
                  <a:lnTo>
                    <a:pt x="372" y="110"/>
                  </a:lnTo>
                  <a:lnTo>
                    <a:pt x="370" y="113"/>
                  </a:lnTo>
                  <a:lnTo>
                    <a:pt x="375" y="117"/>
                  </a:lnTo>
                  <a:lnTo>
                    <a:pt x="379" y="115"/>
                  </a:lnTo>
                  <a:lnTo>
                    <a:pt x="377" y="106"/>
                  </a:lnTo>
                  <a:lnTo>
                    <a:pt x="375" y="105"/>
                  </a:lnTo>
                  <a:lnTo>
                    <a:pt x="373" y="103"/>
                  </a:lnTo>
                  <a:lnTo>
                    <a:pt x="370" y="105"/>
                  </a:lnTo>
                  <a:lnTo>
                    <a:pt x="370" y="105"/>
                  </a:lnTo>
                  <a:lnTo>
                    <a:pt x="370" y="105"/>
                  </a:lnTo>
                  <a:lnTo>
                    <a:pt x="370" y="105"/>
                  </a:lnTo>
                  <a:close/>
                  <a:moveTo>
                    <a:pt x="323" y="72"/>
                  </a:moveTo>
                  <a:lnTo>
                    <a:pt x="325" y="72"/>
                  </a:lnTo>
                  <a:lnTo>
                    <a:pt x="323" y="68"/>
                  </a:lnTo>
                  <a:lnTo>
                    <a:pt x="323" y="68"/>
                  </a:lnTo>
                  <a:lnTo>
                    <a:pt x="323" y="65"/>
                  </a:lnTo>
                  <a:lnTo>
                    <a:pt x="321" y="65"/>
                  </a:lnTo>
                  <a:lnTo>
                    <a:pt x="321" y="68"/>
                  </a:lnTo>
                  <a:lnTo>
                    <a:pt x="323" y="72"/>
                  </a:lnTo>
                  <a:lnTo>
                    <a:pt x="323" y="72"/>
                  </a:lnTo>
                  <a:lnTo>
                    <a:pt x="323" y="72"/>
                  </a:lnTo>
                  <a:lnTo>
                    <a:pt x="323" y="72"/>
                  </a:lnTo>
                  <a:close/>
                  <a:moveTo>
                    <a:pt x="316" y="94"/>
                  </a:moveTo>
                  <a:lnTo>
                    <a:pt x="318" y="96"/>
                  </a:lnTo>
                  <a:lnTo>
                    <a:pt x="320" y="91"/>
                  </a:lnTo>
                  <a:lnTo>
                    <a:pt x="318" y="87"/>
                  </a:lnTo>
                  <a:lnTo>
                    <a:pt x="314" y="82"/>
                  </a:lnTo>
                  <a:lnTo>
                    <a:pt x="314" y="77"/>
                  </a:lnTo>
                  <a:lnTo>
                    <a:pt x="316" y="72"/>
                  </a:lnTo>
                  <a:lnTo>
                    <a:pt x="316" y="68"/>
                  </a:lnTo>
                  <a:lnTo>
                    <a:pt x="314" y="65"/>
                  </a:lnTo>
                  <a:lnTo>
                    <a:pt x="314" y="58"/>
                  </a:lnTo>
                  <a:lnTo>
                    <a:pt x="314" y="56"/>
                  </a:lnTo>
                  <a:lnTo>
                    <a:pt x="309" y="59"/>
                  </a:lnTo>
                  <a:lnTo>
                    <a:pt x="309" y="68"/>
                  </a:lnTo>
                  <a:lnTo>
                    <a:pt x="309" y="72"/>
                  </a:lnTo>
                  <a:lnTo>
                    <a:pt x="309" y="75"/>
                  </a:lnTo>
                  <a:lnTo>
                    <a:pt x="314" y="82"/>
                  </a:lnTo>
                  <a:lnTo>
                    <a:pt x="314" y="87"/>
                  </a:lnTo>
                  <a:lnTo>
                    <a:pt x="316" y="94"/>
                  </a:lnTo>
                  <a:lnTo>
                    <a:pt x="316" y="94"/>
                  </a:lnTo>
                  <a:lnTo>
                    <a:pt x="316" y="94"/>
                  </a:lnTo>
                  <a:lnTo>
                    <a:pt x="316" y="94"/>
                  </a:lnTo>
                  <a:close/>
                  <a:moveTo>
                    <a:pt x="134" y="122"/>
                  </a:moveTo>
                  <a:lnTo>
                    <a:pt x="135" y="124"/>
                  </a:lnTo>
                  <a:lnTo>
                    <a:pt x="135" y="124"/>
                  </a:lnTo>
                  <a:lnTo>
                    <a:pt x="139" y="127"/>
                  </a:lnTo>
                  <a:lnTo>
                    <a:pt x="139" y="124"/>
                  </a:lnTo>
                  <a:lnTo>
                    <a:pt x="137" y="122"/>
                  </a:lnTo>
                  <a:lnTo>
                    <a:pt x="134" y="122"/>
                  </a:lnTo>
                  <a:lnTo>
                    <a:pt x="134" y="122"/>
                  </a:lnTo>
                  <a:lnTo>
                    <a:pt x="134" y="122"/>
                  </a:lnTo>
                  <a:lnTo>
                    <a:pt x="134" y="122"/>
                  </a:lnTo>
                  <a:close/>
                  <a:moveTo>
                    <a:pt x="17" y="270"/>
                  </a:moveTo>
                  <a:lnTo>
                    <a:pt x="21" y="273"/>
                  </a:lnTo>
                  <a:lnTo>
                    <a:pt x="24" y="273"/>
                  </a:lnTo>
                  <a:lnTo>
                    <a:pt x="26" y="275"/>
                  </a:lnTo>
                  <a:lnTo>
                    <a:pt x="29" y="275"/>
                  </a:lnTo>
                  <a:lnTo>
                    <a:pt x="28" y="273"/>
                  </a:lnTo>
                  <a:lnTo>
                    <a:pt x="26" y="273"/>
                  </a:lnTo>
                  <a:lnTo>
                    <a:pt x="22" y="268"/>
                  </a:lnTo>
                  <a:lnTo>
                    <a:pt x="21" y="268"/>
                  </a:lnTo>
                  <a:lnTo>
                    <a:pt x="17" y="268"/>
                  </a:lnTo>
                  <a:lnTo>
                    <a:pt x="17" y="270"/>
                  </a:lnTo>
                  <a:lnTo>
                    <a:pt x="17" y="270"/>
                  </a:lnTo>
                  <a:lnTo>
                    <a:pt x="17" y="270"/>
                  </a:lnTo>
                  <a:lnTo>
                    <a:pt x="17" y="270"/>
                  </a:lnTo>
                  <a:close/>
                  <a:moveTo>
                    <a:pt x="0" y="270"/>
                  </a:moveTo>
                  <a:lnTo>
                    <a:pt x="3" y="275"/>
                  </a:lnTo>
                  <a:lnTo>
                    <a:pt x="9" y="275"/>
                  </a:lnTo>
                  <a:lnTo>
                    <a:pt x="12" y="277"/>
                  </a:lnTo>
                  <a:lnTo>
                    <a:pt x="16" y="273"/>
                  </a:lnTo>
                  <a:lnTo>
                    <a:pt x="12" y="270"/>
                  </a:lnTo>
                  <a:lnTo>
                    <a:pt x="7" y="268"/>
                  </a:lnTo>
                  <a:lnTo>
                    <a:pt x="2" y="268"/>
                  </a:lnTo>
                  <a:lnTo>
                    <a:pt x="0" y="270"/>
                  </a:lnTo>
                  <a:lnTo>
                    <a:pt x="0" y="270"/>
                  </a:lnTo>
                  <a:lnTo>
                    <a:pt x="0" y="270"/>
                  </a:lnTo>
                  <a:lnTo>
                    <a:pt x="0" y="270"/>
                  </a:lnTo>
                  <a:close/>
                  <a:moveTo>
                    <a:pt x="130" y="412"/>
                  </a:moveTo>
                  <a:lnTo>
                    <a:pt x="130" y="414"/>
                  </a:lnTo>
                  <a:lnTo>
                    <a:pt x="130" y="416"/>
                  </a:lnTo>
                  <a:lnTo>
                    <a:pt x="134" y="414"/>
                  </a:lnTo>
                  <a:lnTo>
                    <a:pt x="130" y="412"/>
                  </a:lnTo>
                  <a:lnTo>
                    <a:pt x="130" y="412"/>
                  </a:lnTo>
                  <a:lnTo>
                    <a:pt x="130" y="412"/>
                  </a:lnTo>
                  <a:lnTo>
                    <a:pt x="130" y="412"/>
                  </a:lnTo>
                  <a:lnTo>
                    <a:pt x="130" y="412"/>
                  </a:lnTo>
                  <a:close/>
                  <a:moveTo>
                    <a:pt x="130" y="428"/>
                  </a:moveTo>
                  <a:lnTo>
                    <a:pt x="134" y="430"/>
                  </a:lnTo>
                  <a:lnTo>
                    <a:pt x="135" y="430"/>
                  </a:lnTo>
                  <a:lnTo>
                    <a:pt x="142" y="430"/>
                  </a:lnTo>
                  <a:lnTo>
                    <a:pt x="142" y="430"/>
                  </a:lnTo>
                  <a:lnTo>
                    <a:pt x="144" y="430"/>
                  </a:lnTo>
                  <a:lnTo>
                    <a:pt x="144" y="430"/>
                  </a:lnTo>
                  <a:lnTo>
                    <a:pt x="142" y="428"/>
                  </a:lnTo>
                  <a:lnTo>
                    <a:pt x="139" y="426"/>
                  </a:lnTo>
                  <a:lnTo>
                    <a:pt x="137" y="428"/>
                  </a:lnTo>
                  <a:lnTo>
                    <a:pt x="135" y="425"/>
                  </a:lnTo>
                  <a:lnTo>
                    <a:pt x="130" y="425"/>
                  </a:lnTo>
                  <a:lnTo>
                    <a:pt x="130" y="426"/>
                  </a:lnTo>
                  <a:lnTo>
                    <a:pt x="130" y="428"/>
                  </a:lnTo>
                  <a:lnTo>
                    <a:pt x="130" y="428"/>
                  </a:lnTo>
                  <a:lnTo>
                    <a:pt x="130" y="428"/>
                  </a:lnTo>
                  <a:lnTo>
                    <a:pt x="130" y="428"/>
                  </a:lnTo>
                  <a:close/>
                  <a:moveTo>
                    <a:pt x="135" y="433"/>
                  </a:moveTo>
                  <a:lnTo>
                    <a:pt x="137" y="433"/>
                  </a:lnTo>
                  <a:lnTo>
                    <a:pt x="139" y="433"/>
                  </a:lnTo>
                  <a:lnTo>
                    <a:pt x="137" y="433"/>
                  </a:lnTo>
                  <a:lnTo>
                    <a:pt x="135" y="433"/>
                  </a:lnTo>
                  <a:lnTo>
                    <a:pt x="135" y="433"/>
                  </a:lnTo>
                  <a:lnTo>
                    <a:pt x="135" y="433"/>
                  </a:lnTo>
                  <a:lnTo>
                    <a:pt x="135" y="433"/>
                  </a:lnTo>
                  <a:close/>
                  <a:moveTo>
                    <a:pt x="137" y="456"/>
                  </a:moveTo>
                  <a:lnTo>
                    <a:pt x="139" y="458"/>
                  </a:lnTo>
                  <a:lnTo>
                    <a:pt x="139" y="458"/>
                  </a:lnTo>
                  <a:lnTo>
                    <a:pt x="142" y="459"/>
                  </a:lnTo>
                  <a:lnTo>
                    <a:pt x="142" y="458"/>
                  </a:lnTo>
                  <a:lnTo>
                    <a:pt x="142" y="456"/>
                  </a:lnTo>
                  <a:lnTo>
                    <a:pt x="139" y="454"/>
                  </a:lnTo>
                  <a:lnTo>
                    <a:pt x="137" y="454"/>
                  </a:lnTo>
                  <a:lnTo>
                    <a:pt x="137" y="456"/>
                  </a:lnTo>
                  <a:lnTo>
                    <a:pt x="137" y="456"/>
                  </a:lnTo>
                  <a:lnTo>
                    <a:pt x="137" y="456"/>
                  </a:lnTo>
                  <a:lnTo>
                    <a:pt x="137" y="456"/>
                  </a:lnTo>
                  <a:close/>
                  <a:moveTo>
                    <a:pt x="134" y="465"/>
                  </a:moveTo>
                  <a:lnTo>
                    <a:pt x="134" y="466"/>
                  </a:lnTo>
                  <a:lnTo>
                    <a:pt x="137" y="466"/>
                  </a:lnTo>
                  <a:lnTo>
                    <a:pt x="139" y="465"/>
                  </a:lnTo>
                  <a:lnTo>
                    <a:pt x="135" y="461"/>
                  </a:lnTo>
                  <a:lnTo>
                    <a:pt x="134" y="461"/>
                  </a:lnTo>
                  <a:lnTo>
                    <a:pt x="134" y="465"/>
                  </a:lnTo>
                  <a:lnTo>
                    <a:pt x="134" y="465"/>
                  </a:lnTo>
                  <a:lnTo>
                    <a:pt x="134" y="465"/>
                  </a:lnTo>
                  <a:lnTo>
                    <a:pt x="134" y="465"/>
                  </a:lnTo>
                  <a:close/>
                  <a:moveTo>
                    <a:pt x="139" y="477"/>
                  </a:moveTo>
                  <a:lnTo>
                    <a:pt x="139" y="477"/>
                  </a:lnTo>
                  <a:lnTo>
                    <a:pt x="139" y="475"/>
                  </a:lnTo>
                  <a:lnTo>
                    <a:pt x="139" y="473"/>
                  </a:lnTo>
                  <a:lnTo>
                    <a:pt x="139" y="472"/>
                  </a:lnTo>
                  <a:lnTo>
                    <a:pt x="139" y="473"/>
                  </a:lnTo>
                  <a:lnTo>
                    <a:pt x="139" y="477"/>
                  </a:lnTo>
                  <a:lnTo>
                    <a:pt x="139" y="477"/>
                  </a:lnTo>
                  <a:lnTo>
                    <a:pt x="139" y="477"/>
                  </a:lnTo>
                  <a:lnTo>
                    <a:pt x="139" y="477"/>
                  </a:lnTo>
                  <a:close/>
                  <a:moveTo>
                    <a:pt x="142" y="480"/>
                  </a:moveTo>
                  <a:lnTo>
                    <a:pt x="142" y="482"/>
                  </a:lnTo>
                  <a:lnTo>
                    <a:pt x="142" y="482"/>
                  </a:lnTo>
                  <a:lnTo>
                    <a:pt x="142" y="480"/>
                  </a:lnTo>
                  <a:lnTo>
                    <a:pt x="142" y="480"/>
                  </a:lnTo>
                  <a:lnTo>
                    <a:pt x="142" y="480"/>
                  </a:lnTo>
                  <a:lnTo>
                    <a:pt x="142" y="480"/>
                  </a:lnTo>
                  <a:lnTo>
                    <a:pt x="142" y="480"/>
                  </a:lnTo>
                  <a:close/>
                  <a:moveTo>
                    <a:pt x="130" y="484"/>
                  </a:moveTo>
                  <a:lnTo>
                    <a:pt x="134" y="482"/>
                  </a:lnTo>
                  <a:lnTo>
                    <a:pt x="134" y="480"/>
                  </a:lnTo>
                  <a:lnTo>
                    <a:pt x="130" y="482"/>
                  </a:lnTo>
                  <a:lnTo>
                    <a:pt x="130" y="484"/>
                  </a:lnTo>
                  <a:lnTo>
                    <a:pt x="130" y="484"/>
                  </a:lnTo>
                  <a:lnTo>
                    <a:pt x="130" y="484"/>
                  </a:lnTo>
                  <a:lnTo>
                    <a:pt x="130" y="484"/>
                  </a:lnTo>
                  <a:close/>
                  <a:moveTo>
                    <a:pt x="137" y="482"/>
                  </a:moveTo>
                  <a:lnTo>
                    <a:pt x="139" y="482"/>
                  </a:lnTo>
                  <a:lnTo>
                    <a:pt x="139" y="482"/>
                  </a:lnTo>
                  <a:lnTo>
                    <a:pt x="139" y="480"/>
                  </a:lnTo>
                  <a:lnTo>
                    <a:pt x="137" y="482"/>
                  </a:lnTo>
                  <a:lnTo>
                    <a:pt x="137" y="482"/>
                  </a:lnTo>
                  <a:lnTo>
                    <a:pt x="137" y="482"/>
                  </a:lnTo>
                  <a:lnTo>
                    <a:pt x="137" y="482"/>
                  </a:lnTo>
                  <a:close/>
                  <a:moveTo>
                    <a:pt x="135" y="487"/>
                  </a:moveTo>
                  <a:lnTo>
                    <a:pt x="137" y="485"/>
                  </a:lnTo>
                  <a:lnTo>
                    <a:pt x="139" y="485"/>
                  </a:lnTo>
                  <a:lnTo>
                    <a:pt x="137" y="485"/>
                  </a:lnTo>
                  <a:lnTo>
                    <a:pt x="135" y="487"/>
                  </a:lnTo>
                  <a:lnTo>
                    <a:pt x="135" y="487"/>
                  </a:lnTo>
                  <a:lnTo>
                    <a:pt x="135" y="487"/>
                  </a:lnTo>
                  <a:lnTo>
                    <a:pt x="135" y="487"/>
                  </a:lnTo>
                  <a:close/>
                  <a:moveTo>
                    <a:pt x="139" y="492"/>
                  </a:moveTo>
                  <a:lnTo>
                    <a:pt x="139" y="492"/>
                  </a:lnTo>
                  <a:lnTo>
                    <a:pt x="137" y="492"/>
                  </a:lnTo>
                  <a:lnTo>
                    <a:pt x="135" y="489"/>
                  </a:lnTo>
                  <a:lnTo>
                    <a:pt x="135" y="492"/>
                  </a:lnTo>
                  <a:lnTo>
                    <a:pt x="139" y="492"/>
                  </a:lnTo>
                  <a:lnTo>
                    <a:pt x="139" y="492"/>
                  </a:lnTo>
                  <a:lnTo>
                    <a:pt x="139" y="492"/>
                  </a:lnTo>
                  <a:lnTo>
                    <a:pt x="139" y="492"/>
                  </a:lnTo>
                  <a:close/>
                  <a:moveTo>
                    <a:pt x="139" y="494"/>
                  </a:moveTo>
                  <a:lnTo>
                    <a:pt x="142" y="494"/>
                  </a:lnTo>
                  <a:lnTo>
                    <a:pt x="142" y="492"/>
                  </a:lnTo>
                  <a:lnTo>
                    <a:pt x="142" y="492"/>
                  </a:lnTo>
                  <a:lnTo>
                    <a:pt x="139" y="492"/>
                  </a:lnTo>
                  <a:lnTo>
                    <a:pt x="139" y="492"/>
                  </a:lnTo>
                  <a:lnTo>
                    <a:pt x="139" y="494"/>
                  </a:lnTo>
                  <a:lnTo>
                    <a:pt x="139" y="494"/>
                  </a:lnTo>
                  <a:lnTo>
                    <a:pt x="139" y="494"/>
                  </a:lnTo>
                  <a:lnTo>
                    <a:pt x="139" y="494"/>
                  </a:lnTo>
                  <a:close/>
                  <a:moveTo>
                    <a:pt x="130" y="503"/>
                  </a:moveTo>
                  <a:lnTo>
                    <a:pt x="134" y="501"/>
                  </a:lnTo>
                  <a:lnTo>
                    <a:pt x="134" y="501"/>
                  </a:lnTo>
                  <a:lnTo>
                    <a:pt x="134" y="501"/>
                  </a:lnTo>
                  <a:lnTo>
                    <a:pt x="130" y="501"/>
                  </a:lnTo>
                  <a:lnTo>
                    <a:pt x="128" y="503"/>
                  </a:lnTo>
                  <a:lnTo>
                    <a:pt x="130" y="503"/>
                  </a:lnTo>
                  <a:lnTo>
                    <a:pt x="130" y="503"/>
                  </a:lnTo>
                  <a:lnTo>
                    <a:pt x="130" y="503"/>
                  </a:lnTo>
                  <a:lnTo>
                    <a:pt x="130" y="503"/>
                  </a:lnTo>
                  <a:close/>
                  <a:moveTo>
                    <a:pt x="135" y="510"/>
                  </a:moveTo>
                  <a:lnTo>
                    <a:pt x="142" y="505"/>
                  </a:lnTo>
                  <a:lnTo>
                    <a:pt x="142" y="501"/>
                  </a:lnTo>
                  <a:lnTo>
                    <a:pt x="142" y="499"/>
                  </a:lnTo>
                  <a:lnTo>
                    <a:pt x="142" y="499"/>
                  </a:lnTo>
                  <a:lnTo>
                    <a:pt x="139" y="503"/>
                  </a:lnTo>
                  <a:lnTo>
                    <a:pt x="135" y="503"/>
                  </a:lnTo>
                  <a:lnTo>
                    <a:pt x="135" y="505"/>
                  </a:lnTo>
                  <a:lnTo>
                    <a:pt x="134" y="506"/>
                  </a:lnTo>
                  <a:lnTo>
                    <a:pt x="134" y="508"/>
                  </a:lnTo>
                  <a:lnTo>
                    <a:pt x="134" y="510"/>
                  </a:lnTo>
                  <a:lnTo>
                    <a:pt x="135" y="510"/>
                  </a:lnTo>
                  <a:lnTo>
                    <a:pt x="135" y="510"/>
                  </a:lnTo>
                  <a:lnTo>
                    <a:pt x="135" y="510"/>
                  </a:lnTo>
                  <a:lnTo>
                    <a:pt x="135" y="510"/>
                  </a:lnTo>
                  <a:lnTo>
                    <a:pt x="135" y="510"/>
                  </a:lnTo>
                  <a:close/>
                  <a:moveTo>
                    <a:pt x="142" y="508"/>
                  </a:moveTo>
                  <a:lnTo>
                    <a:pt x="142" y="508"/>
                  </a:lnTo>
                  <a:lnTo>
                    <a:pt x="142" y="506"/>
                  </a:lnTo>
                  <a:lnTo>
                    <a:pt x="142" y="506"/>
                  </a:lnTo>
                  <a:lnTo>
                    <a:pt x="142" y="508"/>
                  </a:lnTo>
                  <a:lnTo>
                    <a:pt x="142" y="508"/>
                  </a:lnTo>
                  <a:lnTo>
                    <a:pt x="142" y="508"/>
                  </a:lnTo>
                  <a:lnTo>
                    <a:pt x="142" y="508"/>
                  </a:lnTo>
                  <a:close/>
                  <a:moveTo>
                    <a:pt x="139" y="512"/>
                  </a:moveTo>
                  <a:lnTo>
                    <a:pt x="139" y="512"/>
                  </a:lnTo>
                  <a:lnTo>
                    <a:pt x="139" y="510"/>
                  </a:lnTo>
                  <a:lnTo>
                    <a:pt x="139" y="510"/>
                  </a:lnTo>
                  <a:lnTo>
                    <a:pt x="139" y="512"/>
                  </a:lnTo>
                  <a:lnTo>
                    <a:pt x="139" y="512"/>
                  </a:lnTo>
                  <a:lnTo>
                    <a:pt x="139" y="512"/>
                  </a:lnTo>
                  <a:lnTo>
                    <a:pt x="139" y="512"/>
                  </a:lnTo>
                  <a:close/>
                  <a:moveTo>
                    <a:pt x="134" y="513"/>
                  </a:moveTo>
                  <a:lnTo>
                    <a:pt x="135" y="512"/>
                  </a:lnTo>
                  <a:lnTo>
                    <a:pt x="134" y="512"/>
                  </a:lnTo>
                  <a:lnTo>
                    <a:pt x="134" y="512"/>
                  </a:lnTo>
                  <a:lnTo>
                    <a:pt x="134" y="513"/>
                  </a:lnTo>
                  <a:lnTo>
                    <a:pt x="134" y="513"/>
                  </a:lnTo>
                  <a:lnTo>
                    <a:pt x="134" y="513"/>
                  </a:lnTo>
                  <a:lnTo>
                    <a:pt x="134" y="513"/>
                  </a:lnTo>
                  <a:lnTo>
                    <a:pt x="134" y="513"/>
                  </a:lnTo>
                  <a:close/>
                  <a:moveTo>
                    <a:pt x="128" y="525"/>
                  </a:moveTo>
                  <a:lnTo>
                    <a:pt x="128" y="529"/>
                  </a:lnTo>
                  <a:lnTo>
                    <a:pt x="130" y="529"/>
                  </a:lnTo>
                  <a:lnTo>
                    <a:pt x="134" y="525"/>
                  </a:lnTo>
                  <a:lnTo>
                    <a:pt x="137" y="524"/>
                  </a:lnTo>
                  <a:lnTo>
                    <a:pt x="137" y="520"/>
                  </a:lnTo>
                  <a:lnTo>
                    <a:pt x="135" y="520"/>
                  </a:lnTo>
                  <a:lnTo>
                    <a:pt x="134" y="520"/>
                  </a:lnTo>
                  <a:lnTo>
                    <a:pt x="130" y="520"/>
                  </a:lnTo>
                  <a:lnTo>
                    <a:pt x="130" y="525"/>
                  </a:lnTo>
                  <a:lnTo>
                    <a:pt x="130" y="525"/>
                  </a:lnTo>
                  <a:lnTo>
                    <a:pt x="128" y="525"/>
                  </a:lnTo>
                  <a:lnTo>
                    <a:pt x="128" y="525"/>
                  </a:lnTo>
                  <a:lnTo>
                    <a:pt x="128" y="525"/>
                  </a:lnTo>
                  <a:lnTo>
                    <a:pt x="128" y="525"/>
                  </a:lnTo>
                  <a:close/>
                  <a:moveTo>
                    <a:pt x="125" y="534"/>
                  </a:moveTo>
                  <a:lnTo>
                    <a:pt x="127" y="538"/>
                  </a:lnTo>
                  <a:lnTo>
                    <a:pt x="128" y="538"/>
                  </a:lnTo>
                  <a:lnTo>
                    <a:pt x="130" y="536"/>
                  </a:lnTo>
                  <a:lnTo>
                    <a:pt x="127" y="534"/>
                  </a:lnTo>
                  <a:lnTo>
                    <a:pt x="125" y="534"/>
                  </a:lnTo>
                  <a:lnTo>
                    <a:pt x="125" y="534"/>
                  </a:lnTo>
                  <a:lnTo>
                    <a:pt x="125" y="534"/>
                  </a:lnTo>
                  <a:lnTo>
                    <a:pt x="125" y="534"/>
                  </a:lnTo>
                  <a:close/>
                  <a:moveTo>
                    <a:pt x="200" y="931"/>
                  </a:moveTo>
                  <a:lnTo>
                    <a:pt x="203" y="929"/>
                  </a:lnTo>
                  <a:lnTo>
                    <a:pt x="205" y="927"/>
                  </a:lnTo>
                  <a:lnTo>
                    <a:pt x="207" y="929"/>
                  </a:lnTo>
                  <a:lnTo>
                    <a:pt x="205" y="931"/>
                  </a:lnTo>
                  <a:lnTo>
                    <a:pt x="203" y="931"/>
                  </a:lnTo>
                  <a:lnTo>
                    <a:pt x="201" y="932"/>
                  </a:lnTo>
                  <a:lnTo>
                    <a:pt x="200" y="931"/>
                  </a:lnTo>
                  <a:lnTo>
                    <a:pt x="200" y="931"/>
                  </a:lnTo>
                  <a:lnTo>
                    <a:pt x="200" y="931"/>
                  </a:lnTo>
                  <a:lnTo>
                    <a:pt x="200" y="931"/>
                  </a:lnTo>
                  <a:close/>
                  <a:moveTo>
                    <a:pt x="182" y="922"/>
                  </a:moveTo>
                  <a:lnTo>
                    <a:pt x="184" y="922"/>
                  </a:lnTo>
                  <a:lnTo>
                    <a:pt x="184" y="918"/>
                  </a:lnTo>
                  <a:lnTo>
                    <a:pt x="184" y="918"/>
                  </a:lnTo>
                  <a:lnTo>
                    <a:pt x="184" y="915"/>
                  </a:lnTo>
                  <a:lnTo>
                    <a:pt x="184" y="915"/>
                  </a:lnTo>
                  <a:lnTo>
                    <a:pt x="184" y="917"/>
                  </a:lnTo>
                  <a:lnTo>
                    <a:pt x="182" y="918"/>
                  </a:lnTo>
                  <a:lnTo>
                    <a:pt x="182" y="922"/>
                  </a:lnTo>
                  <a:lnTo>
                    <a:pt x="182" y="922"/>
                  </a:lnTo>
                  <a:lnTo>
                    <a:pt x="182" y="922"/>
                  </a:lnTo>
                  <a:lnTo>
                    <a:pt x="182" y="922"/>
                  </a:lnTo>
                  <a:close/>
                  <a:moveTo>
                    <a:pt x="168" y="899"/>
                  </a:moveTo>
                  <a:lnTo>
                    <a:pt x="170" y="899"/>
                  </a:lnTo>
                  <a:lnTo>
                    <a:pt x="172" y="899"/>
                  </a:lnTo>
                  <a:lnTo>
                    <a:pt x="174" y="899"/>
                  </a:lnTo>
                  <a:lnTo>
                    <a:pt x="174" y="896"/>
                  </a:lnTo>
                  <a:lnTo>
                    <a:pt x="172" y="896"/>
                  </a:lnTo>
                  <a:lnTo>
                    <a:pt x="168" y="899"/>
                  </a:lnTo>
                  <a:lnTo>
                    <a:pt x="168" y="899"/>
                  </a:lnTo>
                  <a:lnTo>
                    <a:pt x="168" y="899"/>
                  </a:lnTo>
                  <a:lnTo>
                    <a:pt x="168" y="899"/>
                  </a:lnTo>
                  <a:close/>
                  <a:moveTo>
                    <a:pt x="161" y="899"/>
                  </a:moveTo>
                  <a:lnTo>
                    <a:pt x="165" y="899"/>
                  </a:lnTo>
                  <a:lnTo>
                    <a:pt x="165" y="899"/>
                  </a:lnTo>
                  <a:lnTo>
                    <a:pt x="165" y="899"/>
                  </a:lnTo>
                  <a:lnTo>
                    <a:pt x="165" y="896"/>
                  </a:lnTo>
                  <a:lnTo>
                    <a:pt x="161" y="899"/>
                  </a:lnTo>
                  <a:lnTo>
                    <a:pt x="161" y="899"/>
                  </a:lnTo>
                  <a:lnTo>
                    <a:pt x="161" y="899"/>
                  </a:lnTo>
                  <a:lnTo>
                    <a:pt x="161" y="899"/>
                  </a:lnTo>
                  <a:close/>
                  <a:moveTo>
                    <a:pt x="144" y="899"/>
                  </a:moveTo>
                  <a:lnTo>
                    <a:pt x="144" y="899"/>
                  </a:lnTo>
                  <a:lnTo>
                    <a:pt x="146" y="901"/>
                  </a:lnTo>
                  <a:lnTo>
                    <a:pt x="148" y="903"/>
                  </a:lnTo>
                  <a:lnTo>
                    <a:pt x="149" y="901"/>
                  </a:lnTo>
                  <a:lnTo>
                    <a:pt x="148" y="899"/>
                  </a:lnTo>
                  <a:lnTo>
                    <a:pt x="146" y="899"/>
                  </a:lnTo>
                  <a:lnTo>
                    <a:pt x="144" y="899"/>
                  </a:lnTo>
                  <a:lnTo>
                    <a:pt x="144" y="899"/>
                  </a:lnTo>
                  <a:lnTo>
                    <a:pt x="144" y="899"/>
                  </a:lnTo>
                  <a:lnTo>
                    <a:pt x="144" y="899"/>
                  </a:lnTo>
                  <a:close/>
                  <a:moveTo>
                    <a:pt x="122" y="795"/>
                  </a:moveTo>
                  <a:lnTo>
                    <a:pt x="122" y="795"/>
                  </a:lnTo>
                  <a:lnTo>
                    <a:pt x="125" y="791"/>
                  </a:lnTo>
                  <a:lnTo>
                    <a:pt x="128" y="788"/>
                  </a:lnTo>
                  <a:lnTo>
                    <a:pt x="127" y="788"/>
                  </a:lnTo>
                  <a:lnTo>
                    <a:pt x="125" y="791"/>
                  </a:lnTo>
                  <a:lnTo>
                    <a:pt x="122" y="795"/>
                  </a:lnTo>
                  <a:lnTo>
                    <a:pt x="122" y="795"/>
                  </a:lnTo>
                  <a:lnTo>
                    <a:pt x="122" y="795"/>
                  </a:lnTo>
                  <a:lnTo>
                    <a:pt x="122" y="795"/>
                  </a:lnTo>
                  <a:close/>
                  <a:moveTo>
                    <a:pt x="122" y="790"/>
                  </a:moveTo>
                  <a:lnTo>
                    <a:pt x="122" y="790"/>
                  </a:lnTo>
                  <a:lnTo>
                    <a:pt x="122" y="791"/>
                  </a:lnTo>
                  <a:lnTo>
                    <a:pt x="122" y="791"/>
                  </a:lnTo>
                  <a:lnTo>
                    <a:pt x="123" y="790"/>
                  </a:lnTo>
                  <a:lnTo>
                    <a:pt x="125" y="788"/>
                  </a:lnTo>
                  <a:lnTo>
                    <a:pt x="123" y="788"/>
                  </a:lnTo>
                  <a:lnTo>
                    <a:pt x="122" y="790"/>
                  </a:lnTo>
                  <a:lnTo>
                    <a:pt x="122" y="790"/>
                  </a:lnTo>
                  <a:lnTo>
                    <a:pt x="122" y="790"/>
                  </a:lnTo>
                  <a:lnTo>
                    <a:pt x="122" y="790"/>
                  </a:lnTo>
                  <a:close/>
                  <a:moveTo>
                    <a:pt x="108" y="755"/>
                  </a:moveTo>
                  <a:lnTo>
                    <a:pt x="106" y="757"/>
                  </a:lnTo>
                  <a:lnTo>
                    <a:pt x="108" y="757"/>
                  </a:lnTo>
                  <a:lnTo>
                    <a:pt x="108" y="757"/>
                  </a:lnTo>
                  <a:lnTo>
                    <a:pt x="108" y="755"/>
                  </a:lnTo>
                  <a:lnTo>
                    <a:pt x="108" y="755"/>
                  </a:lnTo>
                  <a:lnTo>
                    <a:pt x="108" y="755"/>
                  </a:lnTo>
                  <a:lnTo>
                    <a:pt x="108" y="755"/>
                  </a:lnTo>
                  <a:lnTo>
                    <a:pt x="108" y="755"/>
                  </a:lnTo>
                  <a:lnTo>
                    <a:pt x="108" y="755"/>
                  </a:lnTo>
                  <a:close/>
                  <a:moveTo>
                    <a:pt x="106" y="750"/>
                  </a:moveTo>
                  <a:lnTo>
                    <a:pt x="106" y="753"/>
                  </a:lnTo>
                  <a:lnTo>
                    <a:pt x="108" y="753"/>
                  </a:lnTo>
                  <a:lnTo>
                    <a:pt x="108" y="750"/>
                  </a:lnTo>
                  <a:lnTo>
                    <a:pt x="108" y="750"/>
                  </a:lnTo>
                  <a:lnTo>
                    <a:pt x="106" y="750"/>
                  </a:lnTo>
                  <a:lnTo>
                    <a:pt x="106" y="750"/>
                  </a:lnTo>
                  <a:lnTo>
                    <a:pt x="106" y="750"/>
                  </a:lnTo>
                  <a:lnTo>
                    <a:pt x="106" y="750"/>
                  </a:lnTo>
                  <a:close/>
                  <a:moveTo>
                    <a:pt x="108" y="718"/>
                  </a:moveTo>
                  <a:lnTo>
                    <a:pt x="111" y="720"/>
                  </a:lnTo>
                  <a:lnTo>
                    <a:pt x="113" y="718"/>
                  </a:lnTo>
                  <a:lnTo>
                    <a:pt x="111" y="717"/>
                  </a:lnTo>
                  <a:lnTo>
                    <a:pt x="108" y="718"/>
                  </a:lnTo>
                  <a:lnTo>
                    <a:pt x="108" y="718"/>
                  </a:lnTo>
                  <a:lnTo>
                    <a:pt x="108" y="718"/>
                  </a:lnTo>
                  <a:lnTo>
                    <a:pt x="108" y="718"/>
                  </a:lnTo>
                  <a:close/>
                  <a:moveTo>
                    <a:pt x="108" y="713"/>
                  </a:moveTo>
                  <a:lnTo>
                    <a:pt x="111" y="713"/>
                  </a:lnTo>
                  <a:lnTo>
                    <a:pt x="113" y="713"/>
                  </a:lnTo>
                  <a:lnTo>
                    <a:pt x="116" y="713"/>
                  </a:lnTo>
                  <a:lnTo>
                    <a:pt x="113" y="713"/>
                  </a:lnTo>
                  <a:lnTo>
                    <a:pt x="108" y="713"/>
                  </a:lnTo>
                  <a:lnTo>
                    <a:pt x="108" y="713"/>
                  </a:lnTo>
                  <a:lnTo>
                    <a:pt x="108" y="713"/>
                  </a:lnTo>
                  <a:lnTo>
                    <a:pt x="108" y="713"/>
                  </a:lnTo>
                  <a:lnTo>
                    <a:pt x="108" y="713"/>
                  </a:lnTo>
                  <a:close/>
                  <a:moveTo>
                    <a:pt x="102" y="713"/>
                  </a:moveTo>
                  <a:lnTo>
                    <a:pt x="104" y="713"/>
                  </a:lnTo>
                  <a:lnTo>
                    <a:pt x="106" y="713"/>
                  </a:lnTo>
                  <a:lnTo>
                    <a:pt x="104" y="713"/>
                  </a:lnTo>
                  <a:lnTo>
                    <a:pt x="104" y="713"/>
                  </a:lnTo>
                  <a:lnTo>
                    <a:pt x="102" y="713"/>
                  </a:lnTo>
                  <a:lnTo>
                    <a:pt x="102" y="713"/>
                  </a:lnTo>
                  <a:lnTo>
                    <a:pt x="102" y="713"/>
                  </a:lnTo>
                  <a:lnTo>
                    <a:pt x="102" y="713"/>
                  </a:lnTo>
                  <a:close/>
                  <a:moveTo>
                    <a:pt x="113" y="684"/>
                  </a:moveTo>
                  <a:lnTo>
                    <a:pt x="111" y="685"/>
                  </a:lnTo>
                  <a:lnTo>
                    <a:pt x="113" y="685"/>
                  </a:lnTo>
                  <a:lnTo>
                    <a:pt x="115" y="685"/>
                  </a:lnTo>
                  <a:lnTo>
                    <a:pt x="116" y="684"/>
                  </a:lnTo>
                  <a:lnTo>
                    <a:pt x="116" y="682"/>
                  </a:lnTo>
                  <a:lnTo>
                    <a:pt x="115" y="682"/>
                  </a:lnTo>
                  <a:lnTo>
                    <a:pt x="113" y="684"/>
                  </a:lnTo>
                  <a:lnTo>
                    <a:pt x="113" y="684"/>
                  </a:lnTo>
                  <a:lnTo>
                    <a:pt x="113" y="684"/>
                  </a:lnTo>
                  <a:lnTo>
                    <a:pt x="113" y="684"/>
                  </a:lnTo>
                  <a:close/>
                  <a:moveTo>
                    <a:pt x="139" y="672"/>
                  </a:moveTo>
                  <a:lnTo>
                    <a:pt x="142" y="673"/>
                  </a:lnTo>
                  <a:lnTo>
                    <a:pt x="146" y="672"/>
                  </a:lnTo>
                  <a:lnTo>
                    <a:pt x="144" y="670"/>
                  </a:lnTo>
                  <a:lnTo>
                    <a:pt x="142" y="670"/>
                  </a:lnTo>
                  <a:lnTo>
                    <a:pt x="139" y="670"/>
                  </a:lnTo>
                  <a:lnTo>
                    <a:pt x="139" y="672"/>
                  </a:lnTo>
                  <a:lnTo>
                    <a:pt x="139" y="672"/>
                  </a:lnTo>
                  <a:lnTo>
                    <a:pt x="139" y="672"/>
                  </a:lnTo>
                  <a:lnTo>
                    <a:pt x="139" y="672"/>
                  </a:lnTo>
                  <a:close/>
                  <a:moveTo>
                    <a:pt x="128" y="656"/>
                  </a:moveTo>
                  <a:lnTo>
                    <a:pt x="128" y="658"/>
                  </a:lnTo>
                  <a:lnTo>
                    <a:pt x="128" y="659"/>
                  </a:lnTo>
                  <a:lnTo>
                    <a:pt x="134" y="658"/>
                  </a:lnTo>
                  <a:lnTo>
                    <a:pt x="134" y="656"/>
                  </a:lnTo>
                  <a:lnTo>
                    <a:pt x="130" y="656"/>
                  </a:lnTo>
                  <a:lnTo>
                    <a:pt x="128" y="656"/>
                  </a:lnTo>
                  <a:lnTo>
                    <a:pt x="128" y="656"/>
                  </a:lnTo>
                  <a:lnTo>
                    <a:pt x="128" y="656"/>
                  </a:lnTo>
                  <a:lnTo>
                    <a:pt x="128" y="656"/>
                  </a:lnTo>
                  <a:close/>
                  <a:moveTo>
                    <a:pt x="142" y="656"/>
                  </a:moveTo>
                  <a:lnTo>
                    <a:pt x="142" y="658"/>
                  </a:lnTo>
                  <a:lnTo>
                    <a:pt x="144" y="658"/>
                  </a:lnTo>
                  <a:lnTo>
                    <a:pt x="146" y="656"/>
                  </a:lnTo>
                  <a:lnTo>
                    <a:pt x="144" y="654"/>
                  </a:lnTo>
                  <a:lnTo>
                    <a:pt x="142" y="656"/>
                  </a:lnTo>
                  <a:lnTo>
                    <a:pt x="142" y="656"/>
                  </a:lnTo>
                  <a:lnTo>
                    <a:pt x="142" y="656"/>
                  </a:lnTo>
                  <a:lnTo>
                    <a:pt x="142" y="656"/>
                  </a:lnTo>
                  <a:close/>
                  <a:moveTo>
                    <a:pt x="134" y="652"/>
                  </a:moveTo>
                  <a:lnTo>
                    <a:pt x="139" y="654"/>
                  </a:lnTo>
                  <a:lnTo>
                    <a:pt x="139" y="654"/>
                  </a:lnTo>
                  <a:lnTo>
                    <a:pt x="142" y="652"/>
                  </a:lnTo>
                  <a:lnTo>
                    <a:pt x="139" y="652"/>
                  </a:lnTo>
                  <a:lnTo>
                    <a:pt x="137" y="651"/>
                  </a:lnTo>
                  <a:lnTo>
                    <a:pt x="134" y="652"/>
                  </a:lnTo>
                  <a:lnTo>
                    <a:pt x="134" y="652"/>
                  </a:lnTo>
                  <a:lnTo>
                    <a:pt x="134" y="652"/>
                  </a:lnTo>
                  <a:lnTo>
                    <a:pt x="134" y="652"/>
                  </a:lnTo>
                  <a:lnTo>
                    <a:pt x="134" y="652"/>
                  </a:lnTo>
                  <a:close/>
                  <a:moveTo>
                    <a:pt x="165" y="586"/>
                  </a:moveTo>
                  <a:lnTo>
                    <a:pt x="165" y="588"/>
                  </a:lnTo>
                  <a:lnTo>
                    <a:pt x="165" y="590"/>
                  </a:lnTo>
                  <a:lnTo>
                    <a:pt x="167" y="588"/>
                  </a:lnTo>
                  <a:lnTo>
                    <a:pt x="165" y="586"/>
                  </a:lnTo>
                  <a:lnTo>
                    <a:pt x="165" y="586"/>
                  </a:lnTo>
                  <a:lnTo>
                    <a:pt x="165" y="586"/>
                  </a:lnTo>
                  <a:lnTo>
                    <a:pt x="165" y="586"/>
                  </a:lnTo>
                  <a:lnTo>
                    <a:pt x="165" y="586"/>
                  </a:lnTo>
                  <a:close/>
                  <a:moveTo>
                    <a:pt x="161" y="579"/>
                  </a:moveTo>
                  <a:lnTo>
                    <a:pt x="161" y="579"/>
                  </a:lnTo>
                  <a:lnTo>
                    <a:pt x="165" y="581"/>
                  </a:lnTo>
                  <a:lnTo>
                    <a:pt x="165" y="581"/>
                  </a:lnTo>
                  <a:lnTo>
                    <a:pt x="165" y="579"/>
                  </a:lnTo>
                  <a:lnTo>
                    <a:pt x="165" y="579"/>
                  </a:lnTo>
                  <a:lnTo>
                    <a:pt x="161" y="579"/>
                  </a:lnTo>
                  <a:lnTo>
                    <a:pt x="161" y="579"/>
                  </a:lnTo>
                  <a:lnTo>
                    <a:pt x="161" y="579"/>
                  </a:lnTo>
                  <a:lnTo>
                    <a:pt x="161" y="579"/>
                  </a:lnTo>
                  <a:close/>
                  <a:moveTo>
                    <a:pt x="153" y="557"/>
                  </a:moveTo>
                  <a:lnTo>
                    <a:pt x="155" y="557"/>
                  </a:lnTo>
                  <a:lnTo>
                    <a:pt x="158" y="552"/>
                  </a:lnTo>
                  <a:lnTo>
                    <a:pt x="160" y="552"/>
                  </a:lnTo>
                  <a:lnTo>
                    <a:pt x="160" y="552"/>
                  </a:lnTo>
                  <a:lnTo>
                    <a:pt x="156" y="552"/>
                  </a:lnTo>
                  <a:lnTo>
                    <a:pt x="155" y="548"/>
                  </a:lnTo>
                  <a:lnTo>
                    <a:pt x="153" y="552"/>
                  </a:lnTo>
                  <a:lnTo>
                    <a:pt x="151" y="552"/>
                  </a:lnTo>
                  <a:lnTo>
                    <a:pt x="153" y="557"/>
                  </a:lnTo>
                  <a:lnTo>
                    <a:pt x="153" y="557"/>
                  </a:lnTo>
                  <a:lnTo>
                    <a:pt x="153" y="557"/>
                  </a:lnTo>
                  <a:lnTo>
                    <a:pt x="153" y="557"/>
                  </a:lnTo>
                  <a:close/>
                  <a:moveTo>
                    <a:pt x="153" y="569"/>
                  </a:moveTo>
                  <a:lnTo>
                    <a:pt x="155" y="569"/>
                  </a:lnTo>
                  <a:lnTo>
                    <a:pt x="156" y="569"/>
                  </a:lnTo>
                  <a:lnTo>
                    <a:pt x="160" y="565"/>
                  </a:lnTo>
                  <a:lnTo>
                    <a:pt x="160" y="562"/>
                  </a:lnTo>
                  <a:lnTo>
                    <a:pt x="156" y="560"/>
                  </a:lnTo>
                  <a:lnTo>
                    <a:pt x="153" y="562"/>
                  </a:lnTo>
                  <a:lnTo>
                    <a:pt x="153" y="569"/>
                  </a:lnTo>
                  <a:lnTo>
                    <a:pt x="153" y="569"/>
                  </a:lnTo>
                  <a:lnTo>
                    <a:pt x="153" y="569"/>
                  </a:lnTo>
                  <a:lnTo>
                    <a:pt x="153" y="569"/>
                  </a:lnTo>
                  <a:close/>
                  <a:moveTo>
                    <a:pt x="142" y="569"/>
                  </a:moveTo>
                  <a:lnTo>
                    <a:pt x="144" y="571"/>
                  </a:lnTo>
                  <a:lnTo>
                    <a:pt x="146" y="567"/>
                  </a:lnTo>
                  <a:lnTo>
                    <a:pt x="146" y="565"/>
                  </a:lnTo>
                  <a:lnTo>
                    <a:pt x="148" y="560"/>
                  </a:lnTo>
                  <a:lnTo>
                    <a:pt x="142" y="564"/>
                  </a:lnTo>
                  <a:lnTo>
                    <a:pt x="142" y="565"/>
                  </a:lnTo>
                  <a:lnTo>
                    <a:pt x="142" y="569"/>
                  </a:lnTo>
                  <a:lnTo>
                    <a:pt x="142" y="569"/>
                  </a:lnTo>
                  <a:lnTo>
                    <a:pt x="142" y="569"/>
                  </a:lnTo>
                  <a:lnTo>
                    <a:pt x="142" y="569"/>
                  </a:lnTo>
                  <a:close/>
                  <a:moveTo>
                    <a:pt x="122" y="585"/>
                  </a:moveTo>
                  <a:lnTo>
                    <a:pt x="120" y="586"/>
                  </a:lnTo>
                  <a:lnTo>
                    <a:pt x="122" y="590"/>
                  </a:lnTo>
                  <a:lnTo>
                    <a:pt x="123" y="590"/>
                  </a:lnTo>
                  <a:lnTo>
                    <a:pt x="125" y="588"/>
                  </a:lnTo>
                  <a:lnTo>
                    <a:pt x="123" y="585"/>
                  </a:lnTo>
                  <a:lnTo>
                    <a:pt x="122" y="585"/>
                  </a:lnTo>
                  <a:lnTo>
                    <a:pt x="122" y="585"/>
                  </a:lnTo>
                  <a:lnTo>
                    <a:pt x="122" y="585"/>
                  </a:lnTo>
                  <a:lnTo>
                    <a:pt x="122" y="585"/>
                  </a:lnTo>
                  <a:close/>
                  <a:moveTo>
                    <a:pt x="161" y="618"/>
                  </a:moveTo>
                  <a:lnTo>
                    <a:pt x="161" y="619"/>
                  </a:lnTo>
                  <a:lnTo>
                    <a:pt x="161" y="618"/>
                  </a:lnTo>
                  <a:lnTo>
                    <a:pt x="161" y="621"/>
                  </a:lnTo>
                  <a:lnTo>
                    <a:pt x="161" y="625"/>
                  </a:lnTo>
                  <a:lnTo>
                    <a:pt x="165" y="626"/>
                  </a:lnTo>
                  <a:lnTo>
                    <a:pt x="165" y="625"/>
                  </a:lnTo>
                  <a:lnTo>
                    <a:pt x="167" y="619"/>
                  </a:lnTo>
                  <a:lnTo>
                    <a:pt x="168" y="616"/>
                  </a:lnTo>
                  <a:lnTo>
                    <a:pt x="168" y="616"/>
                  </a:lnTo>
                  <a:lnTo>
                    <a:pt x="167" y="616"/>
                  </a:lnTo>
                  <a:lnTo>
                    <a:pt x="165" y="616"/>
                  </a:lnTo>
                  <a:lnTo>
                    <a:pt x="161" y="618"/>
                  </a:lnTo>
                  <a:lnTo>
                    <a:pt x="161" y="618"/>
                  </a:lnTo>
                  <a:lnTo>
                    <a:pt x="161" y="618"/>
                  </a:lnTo>
                  <a:lnTo>
                    <a:pt x="161" y="618"/>
                  </a:lnTo>
                  <a:close/>
                  <a:moveTo>
                    <a:pt x="120" y="630"/>
                  </a:moveTo>
                  <a:lnTo>
                    <a:pt x="123" y="632"/>
                  </a:lnTo>
                  <a:lnTo>
                    <a:pt x="128" y="632"/>
                  </a:lnTo>
                  <a:lnTo>
                    <a:pt x="128" y="633"/>
                  </a:lnTo>
                  <a:lnTo>
                    <a:pt x="130" y="635"/>
                  </a:lnTo>
                  <a:lnTo>
                    <a:pt x="134" y="633"/>
                  </a:lnTo>
                  <a:lnTo>
                    <a:pt x="142" y="632"/>
                  </a:lnTo>
                  <a:lnTo>
                    <a:pt x="148" y="632"/>
                  </a:lnTo>
                  <a:lnTo>
                    <a:pt x="155" y="626"/>
                  </a:lnTo>
                  <a:lnTo>
                    <a:pt x="153" y="621"/>
                  </a:lnTo>
                  <a:lnTo>
                    <a:pt x="151" y="616"/>
                  </a:lnTo>
                  <a:lnTo>
                    <a:pt x="148" y="616"/>
                  </a:lnTo>
                  <a:lnTo>
                    <a:pt x="144" y="616"/>
                  </a:lnTo>
                  <a:lnTo>
                    <a:pt x="142" y="607"/>
                  </a:lnTo>
                  <a:lnTo>
                    <a:pt x="139" y="602"/>
                  </a:lnTo>
                  <a:lnTo>
                    <a:pt x="134" y="600"/>
                  </a:lnTo>
                  <a:lnTo>
                    <a:pt x="130" y="597"/>
                  </a:lnTo>
                  <a:lnTo>
                    <a:pt x="125" y="595"/>
                  </a:lnTo>
                  <a:lnTo>
                    <a:pt x="122" y="593"/>
                  </a:lnTo>
                  <a:lnTo>
                    <a:pt x="122" y="597"/>
                  </a:lnTo>
                  <a:lnTo>
                    <a:pt x="116" y="600"/>
                  </a:lnTo>
                  <a:lnTo>
                    <a:pt x="116" y="604"/>
                  </a:lnTo>
                  <a:lnTo>
                    <a:pt x="122" y="607"/>
                  </a:lnTo>
                  <a:lnTo>
                    <a:pt x="123" y="611"/>
                  </a:lnTo>
                  <a:lnTo>
                    <a:pt x="120" y="607"/>
                  </a:lnTo>
                  <a:lnTo>
                    <a:pt x="116" y="607"/>
                  </a:lnTo>
                  <a:lnTo>
                    <a:pt x="116" y="611"/>
                  </a:lnTo>
                  <a:lnTo>
                    <a:pt x="116" y="612"/>
                  </a:lnTo>
                  <a:lnTo>
                    <a:pt x="120" y="616"/>
                  </a:lnTo>
                  <a:lnTo>
                    <a:pt x="116" y="618"/>
                  </a:lnTo>
                  <a:lnTo>
                    <a:pt x="116" y="618"/>
                  </a:lnTo>
                  <a:lnTo>
                    <a:pt x="116" y="621"/>
                  </a:lnTo>
                  <a:lnTo>
                    <a:pt x="125" y="623"/>
                  </a:lnTo>
                  <a:lnTo>
                    <a:pt x="127" y="625"/>
                  </a:lnTo>
                  <a:lnTo>
                    <a:pt x="128" y="626"/>
                  </a:lnTo>
                  <a:lnTo>
                    <a:pt x="135" y="623"/>
                  </a:lnTo>
                  <a:lnTo>
                    <a:pt x="130" y="626"/>
                  </a:lnTo>
                  <a:lnTo>
                    <a:pt x="128" y="626"/>
                  </a:lnTo>
                  <a:lnTo>
                    <a:pt x="123" y="626"/>
                  </a:lnTo>
                  <a:lnTo>
                    <a:pt x="122" y="626"/>
                  </a:lnTo>
                  <a:lnTo>
                    <a:pt x="120" y="630"/>
                  </a:lnTo>
                  <a:lnTo>
                    <a:pt x="120" y="630"/>
                  </a:lnTo>
                  <a:lnTo>
                    <a:pt x="120" y="6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2" name="Freeform 158">
              <a:extLst>
                <a:ext uri="{FF2B5EF4-FFF2-40B4-BE49-F238E27FC236}">
                  <a16:creationId xmlns:a16="http://schemas.microsoft.com/office/drawing/2014/main" id="{90206683-AAE4-46E8-A430-974A2FCDD156}"/>
                </a:ext>
              </a:extLst>
            </p:cNvPr>
            <p:cNvSpPr>
              <a:spLocks noEditPoints="1"/>
            </p:cNvSpPr>
            <p:nvPr/>
          </p:nvSpPr>
          <p:spPr bwMode="auto">
            <a:xfrm>
              <a:off x="2540000" y="3708401"/>
              <a:ext cx="107950" cy="69850"/>
            </a:xfrm>
            <a:custGeom>
              <a:avLst/>
              <a:gdLst/>
              <a:ahLst/>
              <a:cxnLst>
                <a:cxn ang="0">
                  <a:pos x="61" y="33"/>
                </a:cxn>
                <a:cxn ang="0">
                  <a:pos x="63" y="33"/>
                </a:cxn>
                <a:cxn ang="0">
                  <a:pos x="59" y="30"/>
                </a:cxn>
                <a:cxn ang="0">
                  <a:pos x="59" y="30"/>
                </a:cxn>
                <a:cxn ang="0">
                  <a:pos x="59" y="30"/>
                </a:cxn>
                <a:cxn ang="0">
                  <a:pos x="9" y="6"/>
                </a:cxn>
                <a:cxn ang="0">
                  <a:pos x="9" y="11"/>
                </a:cxn>
                <a:cxn ang="0">
                  <a:pos x="4" y="16"/>
                </a:cxn>
                <a:cxn ang="0">
                  <a:pos x="5" y="21"/>
                </a:cxn>
                <a:cxn ang="0">
                  <a:pos x="5" y="25"/>
                </a:cxn>
                <a:cxn ang="0">
                  <a:pos x="0" y="33"/>
                </a:cxn>
                <a:cxn ang="0">
                  <a:pos x="5" y="39"/>
                </a:cxn>
                <a:cxn ang="0">
                  <a:pos x="7" y="42"/>
                </a:cxn>
                <a:cxn ang="0">
                  <a:pos x="9" y="44"/>
                </a:cxn>
                <a:cxn ang="0">
                  <a:pos x="18" y="33"/>
                </a:cxn>
                <a:cxn ang="0">
                  <a:pos x="18" y="30"/>
                </a:cxn>
                <a:cxn ang="0">
                  <a:pos x="21" y="30"/>
                </a:cxn>
                <a:cxn ang="0">
                  <a:pos x="26" y="30"/>
                </a:cxn>
                <a:cxn ang="0">
                  <a:pos x="28" y="33"/>
                </a:cxn>
                <a:cxn ang="0">
                  <a:pos x="37" y="28"/>
                </a:cxn>
                <a:cxn ang="0">
                  <a:pos x="49" y="28"/>
                </a:cxn>
                <a:cxn ang="0">
                  <a:pos x="54" y="28"/>
                </a:cxn>
                <a:cxn ang="0">
                  <a:pos x="63" y="30"/>
                </a:cxn>
                <a:cxn ang="0">
                  <a:pos x="66" y="28"/>
                </a:cxn>
                <a:cxn ang="0">
                  <a:pos x="66" y="21"/>
                </a:cxn>
                <a:cxn ang="0">
                  <a:pos x="56" y="18"/>
                </a:cxn>
                <a:cxn ang="0">
                  <a:pos x="49" y="16"/>
                </a:cxn>
                <a:cxn ang="0">
                  <a:pos x="40" y="11"/>
                </a:cxn>
                <a:cxn ang="0">
                  <a:pos x="37" y="11"/>
                </a:cxn>
                <a:cxn ang="0">
                  <a:pos x="51" y="13"/>
                </a:cxn>
                <a:cxn ang="0">
                  <a:pos x="51" y="9"/>
                </a:cxn>
                <a:cxn ang="0">
                  <a:pos x="45" y="9"/>
                </a:cxn>
                <a:cxn ang="0">
                  <a:pos x="37" y="2"/>
                </a:cxn>
                <a:cxn ang="0">
                  <a:pos x="35" y="2"/>
                </a:cxn>
                <a:cxn ang="0">
                  <a:pos x="18" y="0"/>
                </a:cxn>
                <a:cxn ang="0">
                  <a:pos x="9" y="0"/>
                </a:cxn>
                <a:cxn ang="0">
                  <a:pos x="7" y="6"/>
                </a:cxn>
              </a:cxnLst>
              <a:rect l="0" t="0" r="r" b="b"/>
              <a:pathLst>
                <a:path w="68" h="44">
                  <a:moveTo>
                    <a:pt x="59" y="30"/>
                  </a:moveTo>
                  <a:lnTo>
                    <a:pt x="61" y="33"/>
                  </a:lnTo>
                  <a:lnTo>
                    <a:pt x="65" y="33"/>
                  </a:lnTo>
                  <a:lnTo>
                    <a:pt x="63" y="33"/>
                  </a:lnTo>
                  <a:lnTo>
                    <a:pt x="59" y="33"/>
                  </a:lnTo>
                  <a:lnTo>
                    <a:pt x="59" y="30"/>
                  </a:lnTo>
                  <a:lnTo>
                    <a:pt x="59" y="30"/>
                  </a:lnTo>
                  <a:lnTo>
                    <a:pt x="59" y="30"/>
                  </a:lnTo>
                  <a:lnTo>
                    <a:pt x="59" y="30"/>
                  </a:lnTo>
                  <a:lnTo>
                    <a:pt x="59" y="30"/>
                  </a:lnTo>
                  <a:close/>
                  <a:moveTo>
                    <a:pt x="7" y="6"/>
                  </a:moveTo>
                  <a:lnTo>
                    <a:pt x="9" y="6"/>
                  </a:lnTo>
                  <a:lnTo>
                    <a:pt x="7" y="9"/>
                  </a:lnTo>
                  <a:lnTo>
                    <a:pt x="9" y="11"/>
                  </a:lnTo>
                  <a:lnTo>
                    <a:pt x="7" y="16"/>
                  </a:lnTo>
                  <a:lnTo>
                    <a:pt x="4" y="16"/>
                  </a:lnTo>
                  <a:lnTo>
                    <a:pt x="4" y="18"/>
                  </a:lnTo>
                  <a:lnTo>
                    <a:pt x="5" y="21"/>
                  </a:lnTo>
                  <a:lnTo>
                    <a:pt x="5" y="25"/>
                  </a:lnTo>
                  <a:lnTo>
                    <a:pt x="5" y="25"/>
                  </a:lnTo>
                  <a:lnTo>
                    <a:pt x="0" y="30"/>
                  </a:lnTo>
                  <a:lnTo>
                    <a:pt x="0" y="33"/>
                  </a:lnTo>
                  <a:lnTo>
                    <a:pt x="2" y="33"/>
                  </a:lnTo>
                  <a:lnTo>
                    <a:pt x="5" y="39"/>
                  </a:lnTo>
                  <a:lnTo>
                    <a:pt x="4" y="39"/>
                  </a:lnTo>
                  <a:lnTo>
                    <a:pt x="7" y="42"/>
                  </a:lnTo>
                  <a:lnTo>
                    <a:pt x="7" y="42"/>
                  </a:lnTo>
                  <a:lnTo>
                    <a:pt x="9" y="44"/>
                  </a:lnTo>
                  <a:lnTo>
                    <a:pt x="12" y="39"/>
                  </a:lnTo>
                  <a:lnTo>
                    <a:pt x="18" y="33"/>
                  </a:lnTo>
                  <a:lnTo>
                    <a:pt x="14" y="30"/>
                  </a:lnTo>
                  <a:lnTo>
                    <a:pt x="18" y="30"/>
                  </a:lnTo>
                  <a:lnTo>
                    <a:pt x="18" y="30"/>
                  </a:lnTo>
                  <a:lnTo>
                    <a:pt x="21" y="30"/>
                  </a:lnTo>
                  <a:lnTo>
                    <a:pt x="23" y="28"/>
                  </a:lnTo>
                  <a:lnTo>
                    <a:pt x="26" y="30"/>
                  </a:lnTo>
                  <a:lnTo>
                    <a:pt x="26" y="33"/>
                  </a:lnTo>
                  <a:lnTo>
                    <a:pt x="28" y="33"/>
                  </a:lnTo>
                  <a:lnTo>
                    <a:pt x="33" y="33"/>
                  </a:lnTo>
                  <a:lnTo>
                    <a:pt x="37" y="28"/>
                  </a:lnTo>
                  <a:lnTo>
                    <a:pt x="42" y="25"/>
                  </a:lnTo>
                  <a:lnTo>
                    <a:pt x="49" y="28"/>
                  </a:lnTo>
                  <a:lnTo>
                    <a:pt x="51" y="25"/>
                  </a:lnTo>
                  <a:lnTo>
                    <a:pt x="54" y="28"/>
                  </a:lnTo>
                  <a:lnTo>
                    <a:pt x="58" y="30"/>
                  </a:lnTo>
                  <a:lnTo>
                    <a:pt x="63" y="30"/>
                  </a:lnTo>
                  <a:lnTo>
                    <a:pt x="63" y="28"/>
                  </a:lnTo>
                  <a:lnTo>
                    <a:pt x="66" y="28"/>
                  </a:lnTo>
                  <a:lnTo>
                    <a:pt x="68" y="25"/>
                  </a:lnTo>
                  <a:lnTo>
                    <a:pt x="66" y="21"/>
                  </a:lnTo>
                  <a:lnTo>
                    <a:pt x="58" y="18"/>
                  </a:lnTo>
                  <a:lnTo>
                    <a:pt x="56" y="18"/>
                  </a:lnTo>
                  <a:lnTo>
                    <a:pt x="51" y="16"/>
                  </a:lnTo>
                  <a:lnTo>
                    <a:pt x="49" y="16"/>
                  </a:lnTo>
                  <a:lnTo>
                    <a:pt x="45" y="14"/>
                  </a:lnTo>
                  <a:lnTo>
                    <a:pt x="40" y="11"/>
                  </a:lnTo>
                  <a:lnTo>
                    <a:pt x="37" y="11"/>
                  </a:lnTo>
                  <a:lnTo>
                    <a:pt x="37" y="11"/>
                  </a:lnTo>
                  <a:lnTo>
                    <a:pt x="42" y="11"/>
                  </a:lnTo>
                  <a:lnTo>
                    <a:pt x="51" y="13"/>
                  </a:lnTo>
                  <a:lnTo>
                    <a:pt x="54" y="11"/>
                  </a:lnTo>
                  <a:lnTo>
                    <a:pt x="51" y="9"/>
                  </a:lnTo>
                  <a:lnTo>
                    <a:pt x="49" y="9"/>
                  </a:lnTo>
                  <a:lnTo>
                    <a:pt x="45" y="9"/>
                  </a:lnTo>
                  <a:lnTo>
                    <a:pt x="42" y="2"/>
                  </a:lnTo>
                  <a:lnTo>
                    <a:pt x="37" y="2"/>
                  </a:lnTo>
                  <a:lnTo>
                    <a:pt x="37" y="6"/>
                  </a:lnTo>
                  <a:lnTo>
                    <a:pt x="35" y="2"/>
                  </a:lnTo>
                  <a:lnTo>
                    <a:pt x="19" y="0"/>
                  </a:lnTo>
                  <a:lnTo>
                    <a:pt x="18" y="0"/>
                  </a:lnTo>
                  <a:lnTo>
                    <a:pt x="14" y="0"/>
                  </a:lnTo>
                  <a:lnTo>
                    <a:pt x="9" y="0"/>
                  </a:lnTo>
                  <a:lnTo>
                    <a:pt x="7" y="6"/>
                  </a:lnTo>
                  <a:lnTo>
                    <a:pt x="7" y="6"/>
                  </a:lnTo>
                  <a:lnTo>
                    <a:pt x="7" y="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3" name="Freeform 159">
              <a:extLst>
                <a:ext uri="{FF2B5EF4-FFF2-40B4-BE49-F238E27FC236}">
                  <a16:creationId xmlns:a16="http://schemas.microsoft.com/office/drawing/2014/main" id="{9E4EF7ED-D2F9-4138-A3D4-F183B83F7D45}"/>
                </a:ext>
              </a:extLst>
            </p:cNvPr>
            <p:cNvSpPr>
              <a:spLocks/>
            </p:cNvSpPr>
            <p:nvPr/>
          </p:nvSpPr>
          <p:spPr bwMode="auto">
            <a:xfrm>
              <a:off x="2368550" y="3748088"/>
              <a:ext cx="61913" cy="22225"/>
            </a:xfrm>
            <a:custGeom>
              <a:avLst/>
              <a:gdLst/>
              <a:ahLst/>
              <a:cxnLst>
                <a:cxn ang="0">
                  <a:pos x="6" y="0"/>
                </a:cxn>
                <a:cxn ang="0">
                  <a:pos x="9" y="1"/>
                </a:cxn>
                <a:cxn ang="0">
                  <a:pos x="16" y="0"/>
                </a:cxn>
                <a:cxn ang="0">
                  <a:pos x="28" y="0"/>
                </a:cxn>
                <a:cxn ang="0">
                  <a:pos x="32" y="3"/>
                </a:cxn>
                <a:cxn ang="0">
                  <a:pos x="35" y="7"/>
                </a:cxn>
                <a:cxn ang="0">
                  <a:pos x="39" y="8"/>
                </a:cxn>
                <a:cxn ang="0">
                  <a:pos x="39" y="10"/>
                </a:cxn>
                <a:cxn ang="0">
                  <a:pos x="34" y="10"/>
                </a:cxn>
                <a:cxn ang="0">
                  <a:pos x="30" y="8"/>
                </a:cxn>
                <a:cxn ang="0">
                  <a:pos x="30" y="12"/>
                </a:cxn>
                <a:cxn ang="0">
                  <a:pos x="28" y="12"/>
                </a:cxn>
                <a:cxn ang="0">
                  <a:pos x="27" y="10"/>
                </a:cxn>
                <a:cxn ang="0">
                  <a:pos x="25" y="10"/>
                </a:cxn>
                <a:cxn ang="0">
                  <a:pos x="25" y="14"/>
                </a:cxn>
                <a:cxn ang="0">
                  <a:pos x="18" y="14"/>
                </a:cxn>
                <a:cxn ang="0">
                  <a:pos x="18" y="12"/>
                </a:cxn>
                <a:cxn ang="0">
                  <a:pos x="13" y="12"/>
                </a:cxn>
                <a:cxn ang="0">
                  <a:pos x="11" y="10"/>
                </a:cxn>
                <a:cxn ang="0">
                  <a:pos x="9" y="7"/>
                </a:cxn>
                <a:cxn ang="0">
                  <a:pos x="6" y="7"/>
                </a:cxn>
                <a:cxn ang="0">
                  <a:pos x="4" y="7"/>
                </a:cxn>
                <a:cxn ang="0">
                  <a:pos x="0" y="3"/>
                </a:cxn>
                <a:cxn ang="0">
                  <a:pos x="2" y="1"/>
                </a:cxn>
                <a:cxn ang="0">
                  <a:pos x="6" y="0"/>
                </a:cxn>
                <a:cxn ang="0">
                  <a:pos x="6" y="0"/>
                </a:cxn>
                <a:cxn ang="0">
                  <a:pos x="6" y="0"/>
                </a:cxn>
              </a:cxnLst>
              <a:rect l="0" t="0" r="r" b="b"/>
              <a:pathLst>
                <a:path w="39" h="14">
                  <a:moveTo>
                    <a:pt x="6" y="0"/>
                  </a:moveTo>
                  <a:lnTo>
                    <a:pt x="9" y="1"/>
                  </a:lnTo>
                  <a:lnTo>
                    <a:pt x="16" y="0"/>
                  </a:lnTo>
                  <a:lnTo>
                    <a:pt x="28" y="0"/>
                  </a:lnTo>
                  <a:lnTo>
                    <a:pt x="32" y="3"/>
                  </a:lnTo>
                  <a:lnTo>
                    <a:pt x="35" y="7"/>
                  </a:lnTo>
                  <a:lnTo>
                    <a:pt x="39" y="8"/>
                  </a:lnTo>
                  <a:lnTo>
                    <a:pt x="39" y="10"/>
                  </a:lnTo>
                  <a:lnTo>
                    <a:pt x="34" y="10"/>
                  </a:lnTo>
                  <a:lnTo>
                    <a:pt x="30" y="8"/>
                  </a:lnTo>
                  <a:lnTo>
                    <a:pt x="30" y="12"/>
                  </a:lnTo>
                  <a:lnTo>
                    <a:pt x="28" y="12"/>
                  </a:lnTo>
                  <a:lnTo>
                    <a:pt x="27" y="10"/>
                  </a:lnTo>
                  <a:lnTo>
                    <a:pt x="25" y="10"/>
                  </a:lnTo>
                  <a:lnTo>
                    <a:pt x="25" y="14"/>
                  </a:lnTo>
                  <a:lnTo>
                    <a:pt x="18" y="14"/>
                  </a:lnTo>
                  <a:lnTo>
                    <a:pt x="18" y="12"/>
                  </a:lnTo>
                  <a:lnTo>
                    <a:pt x="13" y="12"/>
                  </a:lnTo>
                  <a:lnTo>
                    <a:pt x="11" y="10"/>
                  </a:lnTo>
                  <a:lnTo>
                    <a:pt x="9" y="7"/>
                  </a:lnTo>
                  <a:lnTo>
                    <a:pt x="6" y="7"/>
                  </a:lnTo>
                  <a:lnTo>
                    <a:pt x="4" y="7"/>
                  </a:lnTo>
                  <a:lnTo>
                    <a:pt x="0" y="3"/>
                  </a:lnTo>
                  <a:lnTo>
                    <a:pt x="2" y="1"/>
                  </a:lnTo>
                  <a:lnTo>
                    <a:pt x="6" y="0"/>
                  </a:lnTo>
                  <a:lnTo>
                    <a:pt x="6" y="0"/>
                  </a:lnTo>
                  <a:lnTo>
                    <a:pt x="6"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4" name="Freeform 160">
              <a:extLst>
                <a:ext uri="{FF2B5EF4-FFF2-40B4-BE49-F238E27FC236}">
                  <a16:creationId xmlns:a16="http://schemas.microsoft.com/office/drawing/2014/main" id="{B9AEA91F-B7E3-4D15-A583-058BABB081B1}"/>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5" name="Freeform 161">
              <a:extLst>
                <a:ext uri="{FF2B5EF4-FFF2-40B4-BE49-F238E27FC236}">
                  <a16:creationId xmlns:a16="http://schemas.microsoft.com/office/drawing/2014/main" id="{43E8A066-B65A-44FC-8D43-7075D7F21B4E}"/>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6" name="Freeform 162">
              <a:extLst>
                <a:ext uri="{FF2B5EF4-FFF2-40B4-BE49-F238E27FC236}">
                  <a16:creationId xmlns:a16="http://schemas.microsoft.com/office/drawing/2014/main" id="{793A6DDE-5562-4767-8846-7FA5B39C6CB9}"/>
                </a:ext>
              </a:extLst>
            </p:cNvPr>
            <p:cNvSpPr>
              <a:spLocks noEditPoints="1"/>
            </p:cNvSpPr>
            <p:nvPr/>
          </p:nvSpPr>
          <p:spPr bwMode="auto">
            <a:xfrm>
              <a:off x="2198688" y="3606801"/>
              <a:ext cx="285750" cy="101600"/>
            </a:xfrm>
            <a:custGeom>
              <a:avLst/>
              <a:gdLst/>
              <a:ahLst/>
              <a:cxnLst>
                <a:cxn ang="0">
                  <a:pos x="38" y="24"/>
                </a:cxn>
                <a:cxn ang="0">
                  <a:pos x="36" y="31"/>
                </a:cxn>
                <a:cxn ang="0">
                  <a:pos x="33" y="31"/>
                </a:cxn>
                <a:cxn ang="0">
                  <a:pos x="35" y="28"/>
                </a:cxn>
                <a:cxn ang="0">
                  <a:pos x="35" y="26"/>
                </a:cxn>
                <a:cxn ang="0">
                  <a:pos x="12" y="21"/>
                </a:cxn>
                <a:cxn ang="0">
                  <a:pos x="2" y="24"/>
                </a:cxn>
                <a:cxn ang="0">
                  <a:pos x="5" y="28"/>
                </a:cxn>
                <a:cxn ang="0">
                  <a:pos x="8" y="28"/>
                </a:cxn>
                <a:cxn ang="0">
                  <a:pos x="19" y="19"/>
                </a:cxn>
                <a:cxn ang="0">
                  <a:pos x="28" y="19"/>
                </a:cxn>
                <a:cxn ang="0">
                  <a:pos x="38" y="14"/>
                </a:cxn>
                <a:cxn ang="0">
                  <a:pos x="50" y="11"/>
                </a:cxn>
                <a:cxn ang="0">
                  <a:pos x="55" y="14"/>
                </a:cxn>
                <a:cxn ang="0">
                  <a:pos x="52" y="19"/>
                </a:cxn>
                <a:cxn ang="0">
                  <a:pos x="68" y="19"/>
                </a:cxn>
                <a:cxn ang="0">
                  <a:pos x="76" y="23"/>
                </a:cxn>
                <a:cxn ang="0">
                  <a:pos x="80" y="24"/>
                </a:cxn>
                <a:cxn ang="0">
                  <a:pos x="92" y="28"/>
                </a:cxn>
                <a:cxn ang="0">
                  <a:pos x="101" y="31"/>
                </a:cxn>
                <a:cxn ang="0">
                  <a:pos x="111" y="40"/>
                </a:cxn>
                <a:cxn ang="0">
                  <a:pos x="120" y="45"/>
                </a:cxn>
                <a:cxn ang="0">
                  <a:pos x="130" y="50"/>
                </a:cxn>
                <a:cxn ang="0">
                  <a:pos x="128" y="54"/>
                </a:cxn>
                <a:cxn ang="0">
                  <a:pos x="128" y="64"/>
                </a:cxn>
                <a:cxn ang="0">
                  <a:pos x="146" y="61"/>
                </a:cxn>
                <a:cxn ang="0">
                  <a:pos x="163" y="63"/>
                </a:cxn>
                <a:cxn ang="0">
                  <a:pos x="168" y="57"/>
                </a:cxn>
                <a:cxn ang="0">
                  <a:pos x="180" y="54"/>
                </a:cxn>
                <a:cxn ang="0">
                  <a:pos x="174" y="49"/>
                </a:cxn>
                <a:cxn ang="0">
                  <a:pos x="156" y="45"/>
                </a:cxn>
                <a:cxn ang="0">
                  <a:pos x="156" y="40"/>
                </a:cxn>
                <a:cxn ang="0">
                  <a:pos x="146" y="33"/>
                </a:cxn>
                <a:cxn ang="0">
                  <a:pos x="135" y="31"/>
                </a:cxn>
                <a:cxn ang="0">
                  <a:pos x="132" y="28"/>
                </a:cxn>
                <a:cxn ang="0">
                  <a:pos x="127" y="28"/>
                </a:cxn>
                <a:cxn ang="0">
                  <a:pos x="113" y="21"/>
                </a:cxn>
                <a:cxn ang="0">
                  <a:pos x="95" y="14"/>
                </a:cxn>
                <a:cxn ang="0">
                  <a:pos x="88" y="9"/>
                </a:cxn>
                <a:cxn ang="0">
                  <a:pos x="69" y="7"/>
                </a:cxn>
                <a:cxn ang="0">
                  <a:pos x="52" y="0"/>
                </a:cxn>
                <a:cxn ang="0">
                  <a:pos x="33" y="4"/>
                </a:cxn>
                <a:cxn ang="0">
                  <a:pos x="15" y="11"/>
                </a:cxn>
                <a:cxn ang="0">
                  <a:pos x="10" y="17"/>
                </a:cxn>
              </a:cxnLst>
              <a:rect l="0" t="0" r="r" b="b"/>
              <a:pathLst>
                <a:path w="180" h="64">
                  <a:moveTo>
                    <a:pt x="35" y="26"/>
                  </a:moveTo>
                  <a:lnTo>
                    <a:pt x="36" y="24"/>
                  </a:lnTo>
                  <a:lnTo>
                    <a:pt x="38" y="24"/>
                  </a:lnTo>
                  <a:lnTo>
                    <a:pt x="41" y="28"/>
                  </a:lnTo>
                  <a:lnTo>
                    <a:pt x="41" y="31"/>
                  </a:lnTo>
                  <a:lnTo>
                    <a:pt x="36" y="31"/>
                  </a:lnTo>
                  <a:lnTo>
                    <a:pt x="33" y="31"/>
                  </a:lnTo>
                  <a:lnTo>
                    <a:pt x="31" y="28"/>
                  </a:lnTo>
                  <a:lnTo>
                    <a:pt x="33" y="31"/>
                  </a:lnTo>
                  <a:lnTo>
                    <a:pt x="35" y="31"/>
                  </a:lnTo>
                  <a:lnTo>
                    <a:pt x="36" y="28"/>
                  </a:lnTo>
                  <a:lnTo>
                    <a:pt x="35" y="28"/>
                  </a:lnTo>
                  <a:lnTo>
                    <a:pt x="35" y="26"/>
                  </a:lnTo>
                  <a:lnTo>
                    <a:pt x="35" y="26"/>
                  </a:lnTo>
                  <a:lnTo>
                    <a:pt x="35" y="26"/>
                  </a:lnTo>
                  <a:lnTo>
                    <a:pt x="35" y="26"/>
                  </a:lnTo>
                  <a:close/>
                  <a:moveTo>
                    <a:pt x="10" y="17"/>
                  </a:moveTo>
                  <a:lnTo>
                    <a:pt x="12" y="21"/>
                  </a:lnTo>
                  <a:lnTo>
                    <a:pt x="12" y="23"/>
                  </a:lnTo>
                  <a:lnTo>
                    <a:pt x="8" y="21"/>
                  </a:lnTo>
                  <a:lnTo>
                    <a:pt x="2" y="24"/>
                  </a:lnTo>
                  <a:lnTo>
                    <a:pt x="0" y="23"/>
                  </a:lnTo>
                  <a:lnTo>
                    <a:pt x="0" y="26"/>
                  </a:lnTo>
                  <a:lnTo>
                    <a:pt x="5" y="28"/>
                  </a:lnTo>
                  <a:lnTo>
                    <a:pt x="7" y="23"/>
                  </a:lnTo>
                  <a:lnTo>
                    <a:pt x="8" y="24"/>
                  </a:lnTo>
                  <a:lnTo>
                    <a:pt x="8" y="28"/>
                  </a:lnTo>
                  <a:lnTo>
                    <a:pt x="12" y="24"/>
                  </a:lnTo>
                  <a:lnTo>
                    <a:pt x="15" y="24"/>
                  </a:lnTo>
                  <a:lnTo>
                    <a:pt x="19" y="19"/>
                  </a:lnTo>
                  <a:lnTo>
                    <a:pt x="24" y="19"/>
                  </a:lnTo>
                  <a:lnTo>
                    <a:pt x="24" y="17"/>
                  </a:lnTo>
                  <a:lnTo>
                    <a:pt x="28" y="19"/>
                  </a:lnTo>
                  <a:lnTo>
                    <a:pt x="29" y="19"/>
                  </a:lnTo>
                  <a:lnTo>
                    <a:pt x="36" y="14"/>
                  </a:lnTo>
                  <a:lnTo>
                    <a:pt x="38" y="14"/>
                  </a:lnTo>
                  <a:lnTo>
                    <a:pt x="41" y="11"/>
                  </a:lnTo>
                  <a:lnTo>
                    <a:pt x="47" y="11"/>
                  </a:lnTo>
                  <a:lnTo>
                    <a:pt x="50" y="11"/>
                  </a:lnTo>
                  <a:lnTo>
                    <a:pt x="55" y="11"/>
                  </a:lnTo>
                  <a:lnTo>
                    <a:pt x="57" y="14"/>
                  </a:lnTo>
                  <a:lnTo>
                    <a:pt x="55" y="14"/>
                  </a:lnTo>
                  <a:lnTo>
                    <a:pt x="52" y="14"/>
                  </a:lnTo>
                  <a:lnTo>
                    <a:pt x="50" y="16"/>
                  </a:lnTo>
                  <a:lnTo>
                    <a:pt x="52" y="19"/>
                  </a:lnTo>
                  <a:lnTo>
                    <a:pt x="61" y="21"/>
                  </a:lnTo>
                  <a:lnTo>
                    <a:pt x="64" y="19"/>
                  </a:lnTo>
                  <a:lnTo>
                    <a:pt x="68" y="19"/>
                  </a:lnTo>
                  <a:lnTo>
                    <a:pt x="69" y="21"/>
                  </a:lnTo>
                  <a:lnTo>
                    <a:pt x="74" y="23"/>
                  </a:lnTo>
                  <a:lnTo>
                    <a:pt x="76" y="23"/>
                  </a:lnTo>
                  <a:lnTo>
                    <a:pt x="78" y="21"/>
                  </a:lnTo>
                  <a:lnTo>
                    <a:pt x="80" y="23"/>
                  </a:lnTo>
                  <a:lnTo>
                    <a:pt x="80" y="24"/>
                  </a:lnTo>
                  <a:lnTo>
                    <a:pt x="87" y="28"/>
                  </a:lnTo>
                  <a:lnTo>
                    <a:pt x="92" y="28"/>
                  </a:lnTo>
                  <a:lnTo>
                    <a:pt x="92" y="28"/>
                  </a:lnTo>
                  <a:lnTo>
                    <a:pt x="95" y="31"/>
                  </a:lnTo>
                  <a:lnTo>
                    <a:pt x="97" y="28"/>
                  </a:lnTo>
                  <a:lnTo>
                    <a:pt x="101" y="31"/>
                  </a:lnTo>
                  <a:lnTo>
                    <a:pt x="106" y="28"/>
                  </a:lnTo>
                  <a:lnTo>
                    <a:pt x="107" y="28"/>
                  </a:lnTo>
                  <a:lnTo>
                    <a:pt x="111" y="40"/>
                  </a:lnTo>
                  <a:lnTo>
                    <a:pt x="114" y="47"/>
                  </a:lnTo>
                  <a:lnTo>
                    <a:pt x="118" y="47"/>
                  </a:lnTo>
                  <a:lnTo>
                    <a:pt x="120" y="45"/>
                  </a:lnTo>
                  <a:lnTo>
                    <a:pt x="123" y="49"/>
                  </a:lnTo>
                  <a:lnTo>
                    <a:pt x="130" y="49"/>
                  </a:lnTo>
                  <a:lnTo>
                    <a:pt x="130" y="50"/>
                  </a:lnTo>
                  <a:lnTo>
                    <a:pt x="134" y="50"/>
                  </a:lnTo>
                  <a:lnTo>
                    <a:pt x="134" y="54"/>
                  </a:lnTo>
                  <a:lnTo>
                    <a:pt x="128" y="54"/>
                  </a:lnTo>
                  <a:lnTo>
                    <a:pt x="123" y="59"/>
                  </a:lnTo>
                  <a:lnTo>
                    <a:pt x="123" y="63"/>
                  </a:lnTo>
                  <a:lnTo>
                    <a:pt x="128" y="64"/>
                  </a:lnTo>
                  <a:lnTo>
                    <a:pt x="134" y="61"/>
                  </a:lnTo>
                  <a:lnTo>
                    <a:pt x="137" y="63"/>
                  </a:lnTo>
                  <a:lnTo>
                    <a:pt x="146" y="61"/>
                  </a:lnTo>
                  <a:lnTo>
                    <a:pt x="147" y="61"/>
                  </a:lnTo>
                  <a:lnTo>
                    <a:pt x="154" y="64"/>
                  </a:lnTo>
                  <a:lnTo>
                    <a:pt x="163" y="63"/>
                  </a:lnTo>
                  <a:lnTo>
                    <a:pt x="163" y="59"/>
                  </a:lnTo>
                  <a:lnTo>
                    <a:pt x="165" y="61"/>
                  </a:lnTo>
                  <a:lnTo>
                    <a:pt x="168" y="57"/>
                  </a:lnTo>
                  <a:lnTo>
                    <a:pt x="175" y="59"/>
                  </a:lnTo>
                  <a:lnTo>
                    <a:pt x="179" y="57"/>
                  </a:lnTo>
                  <a:lnTo>
                    <a:pt x="180" y="54"/>
                  </a:lnTo>
                  <a:lnTo>
                    <a:pt x="179" y="54"/>
                  </a:lnTo>
                  <a:lnTo>
                    <a:pt x="177" y="54"/>
                  </a:lnTo>
                  <a:lnTo>
                    <a:pt x="174" y="49"/>
                  </a:lnTo>
                  <a:lnTo>
                    <a:pt x="168" y="45"/>
                  </a:lnTo>
                  <a:lnTo>
                    <a:pt x="158" y="45"/>
                  </a:lnTo>
                  <a:lnTo>
                    <a:pt x="156" y="45"/>
                  </a:lnTo>
                  <a:lnTo>
                    <a:pt x="158" y="44"/>
                  </a:lnTo>
                  <a:lnTo>
                    <a:pt x="160" y="40"/>
                  </a:lnTo>
                  <a:lnTo>
                    <a:pt x="156" y="40"/>
                  </a:lnTo>
                  <a:lnTo>
                    <a:pt x="154" y="40"/>
                  </a:lnTo>
                  <a:lnTo>
                    <a:pt x="151" y="40"/>
                  </a:lnTo>
                  <a:lnTo>
                    <a:pt x="146" y="33"/>
                  </a:lnTo>
                  <a:lnTo>
                    <a:pt x="142" y="37"/>
                  </a:lnTo>
                  <a:lnTo>
                    <a:pt x="141" y="33"/>
                  </a:lnTo>
                  <a:lnTo>
                    <a:pt x="135" y="31"/>
                  </a:lnTo>
                  <a:lnTo>
                    <a:pt x="134" y="31"/>
                  </a:lnTo>
                  <a:lnTo>
                    <a:pt x="132" y="31"/>
                  </a:lnTo>
                  <a:lnTo>
                    <a:pt x="132" y="28"/>
                  </a:lnTo>
                  <a:lnTo>
                    <a:pt x="130" y="28"/>
                  </a:lnTo>
                  <a:lnTo>
                    <a:pt x="130" y="31"/>
                  </a:lnTo>
                  <a:lnTo>
                    <a:pt x="127" y="28"/>
                  </a:lnTo>
                  <a:lnTo>
                    <a:pt x="120" y="28"/>
                  </a:lnTo>
                  <a:lnTo>
                    <a:pt x="118" y="23"/>
                  </a:lnTo>
                  <a:lnTo>
                    <a:pt x="113" y="21"/>
                  </a:lnTo>
                  <a:lnTo>
                    <a:pt x="109" y="17"/>
                  </a:lnTo>
                  <a:lnTo>
                    <a:pt x="99" y="16"/>
                  </a:lnTo>
                  <a:lnTo>
                    <a:pt x="95" y="14"/>
                  </a:lnTo>
                  <a:lnTo>
                    <a:pt x="95" y="11"/>
                  </a:lnTo>
                  <a:lnTo>
                    <a:pt x="92" y="9"/>
                  </a:lnTo>
                  <a:lnTo>
                    <a:pt x="88" y="9"/>
                  </a:lnTo>
                  <a:lnTo>
                    <a:pt x="87" y="7"/>
                  </a:lnTo>
                  <a:lnTo>
                    <a:pt x="73" y="5"/>
                  </a:lnTo>
                  <a:lnTo>
                    <a:pt x="69" y="7"/>
                  </a:lnTo>
                  <a:lnTo>
                    <a:pt x="64" y="5"/>
                  </a:lnTo>
                  <a:lnTo>
                    <a:pt x="61" y="2"/>
                  </a:lnTo>
                  <a:lnTo>
                    <a:pt x="52" y="0"/>
                  </a:lnTo>
                  <a:lnTo>
                    <a:pt x="47" y="0"/>
                  </a:lnTo>
                  <a:lnTo>
                    <a:pt x="41" y="4"/>
                  </a:lnTo>
                  <a:lnTo>
                    <a:pt x="33" y="4"/>
                  </a:lnTo>
                  <a:lnTo>
                    <a:pt x="28" y="5"/>
                  </a:lnTo>
                  <a:lnTo>
                    <a:pt x="24" y="9"/>
                  </a:lnTo>
                  <a:lnTo>
                    <a:pt x="15" y="11"/>
                  </a:lnTo>
                  <a:lnTo>
                    <a:pt x="14" y="14"/>
                  </a:lnTo>
                  <a:lnTo>
                    <a:pt x="10" y="14"/>
                  </a:lnTo>
                  <a:lnTo>
                    <a:pt x="10" y="17"/>
                  </a:lnTo>
                  <a:lnTo>
                    <a:pt x="10" y="17"/>
                  </a:lnTo>
                  <a:lnTo>
                    <a:pt x="10"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7" name="Freeform 163">
              <a:extLst>
                <a:ext uri="{FF2B5EF4-FFF2-40B4-BE49-F238E27FC236}">
                  <a16:creationId xmlns:a16="http://schemas.microsoft.com/office/drawing/2014/main" id="{84774764-8D33-4753-B312-3E21845DBF59}"/>
                </a:ext>
              </a:extLst>
            </p:cNvPr>
            <p:cNvSpPr>
              <a:spLocks/>
            </p:cNvSpPr>
            <p:nvPr/>
          </p:nvSpPr>
          <p:spPr bwMode="auto">
            <a:xfrm>
              <a:off x="2254250" y="4002088"/>
              <a:ext cx="131763" cy="63500"/>
            </a:xfrm>
            <a:custGeom>
              <a:avLst/>
              <a:gdLst/>
              <a:ahLst/>
              <a:cxnLst>
                <a:cxn ang="0">
                  <a:pos x="71" y="34"/>
                </a:cxn>
                <a:cxn ang="0">
                  <a:pos x="66" y="28"/>
                </a:cxn>
                <a:cxn ang="0">
                  <a:pos x="69" y="21"/>
                </a:cxn>
                <a:cxn ang="0">
                  <a:pos x="72" y="21"/>
                </a:cxn>
                <a:cxn ang="0">
                  <a:pos x="71" y="19"/>
                </a:cxn>
                <a:cxn ang="0">
                  <a:pos x="69" y="21"/>
                </a:cxn>
                <a:cxn ang="0">
                  <a:pos x="66" y="17"/>
                </a:cxn>
                <a:cxn ang="0">
                  <a:pos x="60" y="12"/>
                </a:cxn>
                <a:cxn ang="0">
                  <a:pos x="55" y="8"/>
                </a:cxn>
                <a:cxn ang="0">
                  <a:pos x="48" y="12"/>
                </a:cxn>
                <a:cxn ang="0">
                  <a:pos x="48" y="15"/>
                </a:cxn>
                <a:cxn ang="0">
                  <a:pos x="45" y="21"/>
                </a:cxn>
                <a:cxn ang="0">
                  <a:pos x="38" y="24"/>
                </a:cxn>
                <a:cxn ang="0">
                  <a:pos x="38" y="28"/>
                </a:cxn>
                <a:cxn ang="0">
                  <a:pos x="43" y="33"/>
                </a:cxn>
                <a:cxn ang="0">
                  <a:pos x="41" y="34"/>
                </a:cxn>
                <a:cxn ang="0">
                  <a:pos x="38" y="36"/>
                </a:cxn>
                <a:cxn ang="0">
                  <a:pos x="31" y="40"/>
                </a:cxn>
                <a:cxn ang="0">
                  <a:pos x="31" y="34"/>
                </a:cxn>
                <a:cxn ang="0">
                  <a:pos x="31" y="29"/>
                </a:cxn>
                <a:cxn ang="0">
                  <a:pos x="26" y="29"/>
                </a:cxn>
                <a:cxn ang="0">
                  <a:pos x="26" y="33"/>
                </a:cxn>
                <a:cxn ang="0">
                  <a:pos x="24" y="33"/>
                </a:cxn>
                <a:cxn ang="0">
                  <a:pos x="19" y="29"/>
                </a:cxn>
                <a:cxn ang="0">
                  <a:pos x="12" y="24"/>
                </a:cxn>
                <a:cxn ang="0">
                  <a:pos x="12" y="21"/>
                </a:cxn>
                <a:cxn ang="0">
                  <a:pos x="10" y="21"/>
                </a:cxn>
                <a:cxn ang="0">
                  <a:pos x="3" y="21"/>
                </a:cxn>
                <a:cxn ang="0">
                  <a:pos x="0" y="21"/>
                </a:cxn>
                <a:cxn ang="0">
                  <a:pos x="1" y="15"/>
                </a:cxn>
                <a:cxn ang="0">
                  <a:pos x="1" y="12"/>
                </a:cxn>
                <a:cxn ang="0">
                  <a:pos x="0" y="8"/>
                </a:cxn>
                <a:cxn ang="0">
                  <a:pos x="1" y="3"/>
                </a:cxn>
                <a:cxn ang="0">
                  <a:pos x="6" y="1"/>
                </a:cxn>
                <a:cxn ang="0">
                  <a:pos x="8" y="5"/>
                </a:cxn>
                <a:cxn ang="0">
                  <a:pos x="12" y="7"/>
                </a:cxn>
                <a:cxn ang="0">
                  <a:pos x="12" y="8"/>
                </a:cxn>
                <a:cxn ang="0">
                  <a:pos x="12" y="10"/>
                </a:cxn>
                <a:cxn ang="0">
                  <a:pos x="15" y="10"/>
                </a:cxn>
                <a:cxn ang="0">
                  <a:pos x="15" y="8"/>
                </a:cxn>
                <a:cxn ang="0">
                  <a:pos x="19" y="8"/>
                </a:cxn>
                <a:cxn ang="0">
                  <a:pos x="29" y="14"/>
                </a:cxn>
                <a:cxn ang="0">
                  <a:pos x="34" y="10"/>
                </a:cxn>
                <a:cxn ang="0">
                  <a:pos x="48" y="3"/>
                </a:cxn>
                <a:cxn ang="0">
                  <a:pos x="55" y="0"/>
                </a:cxn>
                <a:cxn ang="0">
                  <a:pos x="57" y="3"/>
                </a:cxn>
                <a:cxn ang="0">
                  <a:pos x="66" y="3"/>
                </a:cxn>
                <a:cxn ang="0">
                  <a:pos x="74" y="8"/>
                </a:cxn>
                <a:cxn ang="0">
                  <a:pos x="78" y="14"/>
                </a:cxn>
                <a:cxn ang="0">
                  <a:pos x="81" y="15"/>
                </a:cxn>
                <a:cxn ang="0">
                  <a:pos x="81" y="21"/>
                </a:cxn>
                <a:cxn ang="0">
                  <a:pos x="81" y="29"/>
                </a:cxn>
                <a:cxn ang="0">
                  <a:pos x="78" y="33"/>
                </a:cxn>
                <a:cxn ang="0">
                  <a:pos x="74" y="38"/>
                </a:cxn>
                <a:cxn ang="0">
                  <a:pos x="74" y="38"/>
                </a:cxn>
              </a:cxnLst>
              <a:rect l="0" t="0" r="r" b="b"/>
              <a:pathLst>
                <a:path w="83" h="40">
                  <a:moveTo>
                    <a:pt x="74" y="38"/>
                  </a:moveTo>
                  <a:lnTo>
                    <a:pt x="71" y="34"/>
                  </a:lnTo>
                  <a:lnTo>
                    <a:pt x="69" y="29"/>
                  </a:lnTo>
                  <a:lnTo>
                    <a:pt x="66" y="28"/>
                  </a:lnTo>
                  <a:lnTo>
                    <a:pt x="69" y="24"/>
                  </a:lnTo>
                  <a:lnTo>
                    <a:pt x="69" y="21"/>
                  </a:lnTo>
                  <a:lnTo>
                    <a:pt x="71" y="21"/>
                  </a:lnTo>
                  <a:lnTo>
                    <a:pt x="72" y="21"/>
                  </a:lnTo>
                  <a:lnTo>
                    <a:pt x="72" y="17"/>
                  </a:lnTo>
                  <a:lnTo>
                    <a:pt x="71" y="19"/>
                  </a:lnTo>
                  <a:lnTo>
                    <a:pt x="69" y="21"/>
                  </a:lnTo>
                  <a:lnTo>
                    <a:pt x="69" y="21"/>
                  </a:lnTo>
                  <a:lnTo>
                    <a:pt x="66" y="21"/>
                  </a:lnTo>
                  <a:lnTo>
                    <a:pt x="66" y="17"/>
                  </a:lnTo>
                  <a:lnTo>
                    <a:pt x="62" y="14"/>
                  </a:lnTo>
                  <a:lnTo>
                    <a:pt x="60" y="12"/>
                  </a:lnTo>
                  <a:lnTo>
                    <a:pt x="59" y="10"/>
                  </a:lnTo>
                  <a:lnTo>
                    <a:pt x="55" y="8"/>
                  </a:lnTo>
                  <a:lnTo>
                    <a:pt x="52" y="8"/>
                  </a:lnTo>
                  <a:lnTo>
                    <a:pt x="48" y="12"/>
                  </a:lnTo>
                  <a:lnTo>
                    <a:pt x="48" y="15"/>
                  </a:lnTo>
                  <a:lnTo>
                    <a:pt x="48" y="15"/>
                  </a:lnTo>
                  <a:lnTo>
                    <a:pt x="48" y="17"/>
                  </a:lnTo>
                  <a:lnTo>
                    <a:pt x="45" y="21"/>
                  </a:lnTo>
                  <a:lnTo>
                    <a:pt x="39" y="21"/>
                  </a:lnTo>
                  <a:lnTo>
                    <a:pt x="38" y="24"/>
                  </a:lnTo>
                  <a:lnTo>
                    <a:pt x="38" y="24"/>
                  </a:lnTo>
                  <a:lnTo>
                    <a:pt x="38" y="28"/>
                  </a:lnTo>
                  <a:lnTo>
                    <a:pt x="39" y="29"/>
                  </a:lnTo>
                  <a:lnTo>
                    <a:pt x="43" y="33"/>
                  </a:lnTo>
                  <a:lnTo>
                    <a:pt x="43" y="34"/>
                  </a:lnTo>
                  <a:lnTo>
                    <a:pt x="41" y="34"/>
                  </a:lnTo>
                  <a:lnTo>
                    <a:pt x="38" y="34"/>
                  </a:lnTo>
                  <a:lnTo>
                    <a:pt x="38" y="36"/>
                  </a:lnTo>
                  <a:lnTo>
                    <a:pt x="34" y="40"/>
                  </a:lnTo>
                  <a:lnTo>
                    <a:pt x="31" y="40"/>
                  </a:lnTo>
                  <a:lnTo>
                    <a:pt x="29" y="36"/>
                  </a:lnTo>
                  <a:lnTo>
                    <a:pt x="31" y="34"/>
                  </a:lnTo>
                  <a:lnTo>
                    <a:pt x="29" y="33"/>
                  </a:lnTo>
                  <a:lnTo>
                    <a:pt x="31" y="29"/>
                  </a:lnTo>
                  <a:lnTo>
                    <a:pt x="29" y="29"/>
                  </a:lnTo>
                  <a:lnTo>
                    <a:pt x="26" y="29"/>
                  </a:lnTo>
                  <a:lnTo>
                    <a:pt x="26" y="29"/>
                  </a:lnTo>
                  <a:lnTo>
                    <a:pt x="26" y="33"/>
                  </a:lnTo>
                  <a:lnTo>
                    <a:pt x="26" y="33"/>
                  </a:lnTo>
                  <a:lnTo>
                    <a:pt x="24" y="33"/>
                  </a:lnTo>
                  <a:lnTo>
                    <a:pt x="20" y="33"/>
                  </a:lnTo>
                  <a:lnTo>
                    <a:pt x="19" y="29"/>
                  </a:lnTo>
                  <a:lnTo>
                    <a:pt x="19" y="24"/>
                  </a:lnTo>
                  <a:lnTo>
                    <a:pt x="12" y="24"/>
                  </a:lnTo>
                  <a:lnTo>
                    <a:pt x="12" y="24"/>
                  </a:lnTo>
                  <a:lnTo>
                    <a:pt x="12" y="21"/>
                  </a:lnTo>
                  <a:lnTo>
                    <a:pt x="10" y="21"/>
                  </a:lnTo>
                  <a:lnTo>
                    <a:pt x="10" y="21"/>
                  </a:lnTo>
                  <a:lnTo>
                    <a:pt x="6" y="21"/>
                  </a:lnTo>
                  <a:lnTo>
                    <a:pt x="3" y="21"/>
                  </a:lnTo>
                  <a:lnTo>
                    <a:pt x="1" y="21"/>
                  </a:lnTo>
                  <a:lnTo>
                    <a:pt x="0" y="21"/>
                  </a:lnTo>
                  <a:lnTo>
                    <a:pt x="0" y="19"/>
                  </a:lnTo>
                  <a:lnTo>
                    <a:pt x="1" y="15"/>
                  </a:lnTo>
                  <a:lnTo>
                    <a:pt x="3" y="14"/>
                  </a:lnTo>
                  <a:lnTo>
                    <a:pt x="1" y="12"/>
                  </a:lnTo>
                  <a:lnTo>
                    <a:pt x="0" y="10"/>
                  </a:lnTo>
                  <a:lnTo>
                    <a:pt x="0" y="8"/>
                  </a:lnTo>
                  <a:lnTo>
                    <a:pt x="1" y="7"/>
                  </a:lnTo>
                  <a:lnTo>
                    <a:pt x="1" y="3"/>
                  </a:lnTo>
                  <a:lnTo>
                    <a:pt x="3" y="1"/>
                  </a:lnTo>
                  <a:lnTo>
                    <a:pt x="6" y="1"/>
                  </a:lnTo>
                  <a:lnTo>
                    <a:pt x="6" y="3"/>
                  </a:lnTo>
                  <a:lnTo>
                    <a:pt x="8" y="5"/>
                  </a:lnTo>
                  <a:lnTo>
                    <a:pt x="10" y="7"/>
                  </a:lnTo>
                  <a:lnTo>
                    <a:pt x="12" y="7"/>
                  </a:lnTo>
                  <a:lnTo>
                    <a:pt x="12" y="7"/>
                  </a:lnTo>
                  <a:lnTo>
                    <a:pt x="12" y="8"/>
                  </a:lnTo>
                  <a:lnTo>
                    <a:pt x="12" y="8"/>
                  </a:lnTo>
                  <a:lnTo>
                    <a:pt x="12" y="10"/>
                  </a:lnTo>
                  <a:lnTo>
                    <a:pt x="15" y="12"/>
                  </a:lnTo>
                  <a:lnTo>
                    <a:pt x="15" y="10"/>
                  </a:lnTo>
                  <a:lnTo>
                    <a:pt x="15" y="8"/>
                  </a:lnTo>
                  <a:lnTo>
                    <a:pt x="15" y="8"/>
                  </a:lnTo>
                  <a:lnTo>
                    <a:pt x="15" y="7"/>
                  </a:lnTo>
                  <a:lnTo>
                    <a:pt x="19" y="8"/>
                  </a:lnTo>
                  <a:lnTo>
                    <a:pt x="24" y="12"/>
                  </a:lnTo>
                  <a:lnTo>
                    <a:pt x="29" y="14"/>
                  </a:lnTo>
                  <a:lnTo>
                    <a:pt x="33" y="12"/>
                  </a:lnTo>
                  <a:lnTo>
                    <a:pt x="34" y="10"/>
                  </a:lnTo>
                  <a:lnTo>
                    <a:pt x="43" y="5"/>
                  </a:lnTo>
                  <a:lnTo>
                    <a:pt x="48" y="3"/>
                  </a:lnTo>
                  <a:lnTo>
                    <a:pt x="52" y="0"/>
                  </a:lnTo>
                  <a:lnTo>
                    <a:pt x="55" y="0"/>
                  </a:lnTo>
                  <a:lnTo>
                    <a:pt x="55" y="1"/>
                  </a:lnTo>
                  <a:lnTo>
                    <a:pt x="57" y="3"/>
                  </a:lnTo>
                  <a:lnTo>
                    <a:pt x="59" y="3"/>
                  </a:lnTo>
                  <a:lnTo>
                    <a:pt x="66" y="3"/>
                  </a:lnTo>
                  <a:lnTo>
                    <a:pt x="69" y="3"/>
                  </a:lnTo>
                  <a:lnTo>
                    <a:pt x="74" y="8"/>
                  </a:lnTo>
                  <a:lnTo>
                    <a:pt x="78" y="12"/>
                  </a:lnTo>
                  <a:lnTo>
                    <a:pt x="78" y="14"/>
                  </a:lnTo>
                  <a:lnTo>
                    <a:pt x="81" y="14"/>
                  </a:lnTo>
                  <a:lnTo>
                    <a:pt x="81" y="15"/>
                  </a:lnTo>
                  <a:lnTo>
                    <a:pt x="81" y="19"/>
                  </a:lnTo>
                  <a:lnTo>
                    <a:pt x="81" y="21"/>
                  </a:lnTo>
                  <a:lnTo>
                    <a:pt x="83" y="24"/>
                  </a:lnTo>
                  <a:lnTo>
                    <a:pt x="81" y="29"/>
                  </a:lnTo>
                  <a:lnTo>
                    <a:pt x="79" y="33"/>
                  </a:lnTo>
                  <a:lnTo>
                    <a:pt x="78" y="33"/>
                  </a:lnTo>
                  <a:lnTo>
                    <a:pt x="76" y="33"/>
                  </a:lnTo>
                  <a:lnTo>
                    <a:pt x="74" y="38"/>
                  </a:lnTo>
                  <a:lnTo>
                    <a:pt x="74" y="38"/>
                  </a:lnTo>
                  <a:lnTo>
                    <a:pt x="74"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8" name="Freeform 164">
              <a:extLst>
                <a:ext uri="{FF2B5EF4-FFF2-40B4-BE49-F238E27FC236}">
                  <a16:creationId xmlns:a16="http://schemas.microsoft.com/office/drawing/2014/main" id="{F7A49720-3E21-4402-9141-EBA8FE112601}"/>
                </a:ext>
              </a:extLst>
            </p:cNvPr>
            <p:cNvSpPr>
              <a:spLocks/>
            </p:cNvSpPr>
            <p:nvPr/>
          </p:nvSpPr>
          <p:spPr bwMode="auto">
            <a:xfrm>
              <a:off x="2154238" y="3957638"/>
              <a:ext cx="90488" cy="82550"/>
            </a:xfrm>
            <a:custGeom>
              <a:avLst/>
              <a:gdLst/>
              <a:ahLst/>
              <a:cxnLst>
                <a:cxn ang="0">
                  <a:pos x="50" y="49"/>
                </a:cxn>
                <a:cxn ang="0">
                  <a:pos x="52" y="49"/>
                </a:cxn>
                <a:cxn ang="0">
                  <a:pos x="52" y="52"/>
                </a:cxn>
                <a:cxn ang="0">
                  <a:pos x="49" y="50"/>
                </a:cxn>
                <a:cxn ang="0">
                  <a:pos x="45" y="49"/>
                </a:cxn>
                <a:cxn ang="0">
                  <a:pos x="45" y="43"/>
                </a:cxn>
                <a:cxn ang="0">
                  <a:pos x="40" y="43"/>
                </a:cxn>
                <a:cxn ang="0">
                  <a:pos x="42" y="45"/>
                </a:cxn>
                <a:cxn ang="0">
                  <a:pos x="45" y="49"/>
                </a:cxn>
                <a:cxn ang="0">
                  <a:pos x="40" y="49"/>
                </a:cxn>
                <a:cxn ang="0">
                  <a:pos x="35" y="45"/>
                </a:cxn>
                <a:cxn ang="0">
                  <a:pos x="36" y="40"/>
                </a:cxn>
                <a:cxn ang="0">
                  <a:pos x="33" y="33"/>
                </a:cxn>
                <a:cxn ang="0">
                  <a:pos x="28" y="31"/>
                </a:cxn>
                <a:cxn ang="0">
                  <a:pos x="23" y="24"/>
                </a:cxn>
                <a:cxn ang="0">
                  <a:pos x="19" y="19"/>
                </a:cxn>
                <a:cxn ang="0">
                  <a:pos x="12" y="17"/>
                </a:cxn>
                <a:cxn ang="0">
                  <a:pos x="12" y="19"/>
                </a:cxn>
                <a:cxn ang="0">
                  <a:pos x="17" y="26"/>
                </a:cxn>
                <a:cxn ang="0">
                  <a:pos x="14" y="28"/>
                </a:cxn>
                <a:cxn ang="0">
                  <a:pos x="9" y="24"/>
                </a:cxn>
                <a:cxn ang="0">
                  <a:pos x="0" y="19"/>
                </a:cxn>
                <a:cxn ang="0">
                  <a:pos x="0" y="14"/>
                </a:cxn>
                <a:cxn ang="0">
                  <a:pos x="3" y="9"/>
                </a:cxn>
                <a:cxn ang="0">
                  <a:pos x="0" y="7"/>
                </a:cxn>
                <a:cxn ang="0">
                  <a:pos x="3" y="2"/>
                </a:cxn>
                <a:cxn ang="0">
                  <a:pos x="3" y="0"/>
                </a:cxn>
                <a:cxn ang="0">
                  <a:pos x="9" y="0"/>
                </a:cxn>
                <a:cxn ang="0">
                  <a:pos x="21" y="2"/>
                </a:cxn>
                <a:cxn ang="0">
                  <a:pos x="28" y="3"/>
                </a:cxn>
                <a:cxn ang="0">
                  <a:pos x="30" y="5"/>
                </a:cxn>
                <a:cxn ang="0">
                  <a:pos x="36" y="9"/>
                </a:cxn>
                <a:cxn ang="0">
                  <a:pos x="36" y="10"/>
                </a:cxn>
                <a:cxn ang="0">
                  <a:pos x="40" y="9"/>
                </a:cxn>
                <a:cxn ang="0">
                  <a:pos x="45" y="10"/>
                </a:cxn>
                <a:cxn ang="0">
                  <a:pos x="45" y="17"/>
                </a:cxn>
                <a:cxn ang="0">
                  <a:pos x="50" y="23"/>
                </a:cxn>
                <a:cxn ang="0">
                  <a:pos x="56" y="26"/>
                </a:cxn>
                <a:cxn ang="0">
                  <a:pos x="57" y="28"/>
                </a:cxn>
                <a:cxn ang="0">
                  <a:pos x="54" y="28"/>
                </a:cxn>
                <a:cxn ang="0">
                  <a:pos x="50" y="35"/>
                </a:cxn>
                <a:cxn ang="0">
                  <a:pos x="52" y="38"/>
                </a:cxn>
                <a:cxn ang="0">
                  <a:pos x="52" y="43"/>
                </a:cxn>
                <a:cxn ang="0">
                  <a:pos x="50" y="49"/>
                </a:cxn>
                <a:cxn ang="0">
                  <a:pos x="50" y="49"/>
                </a:cxn>
                <a:cxn ang="0">
                  <a:pos x="50" y="49"/>
                </a:cxn>
              </a:cxnLst>
              <a:rect l="0" t="0" r="r" b="b"/>
              <a:pathLst>
                <a:path w="57" h="52">
                  <a:moveTo>
                    <a:pt x="50" y="49"/>
                  </a:moveTo>
                  <a:lnTo>
                    <a:pt x="50" y="49"/>
                  </a:lnTo>
                  <a:lnTo>
                    <a:pt x="52" y="49"/>
                  </a:lnTo>
                  <a:lnTo>
                    <a:pt x="52" y="49"/>
                  </a:lnTo>
                  <a:lnTo>
                    <a:pt x="52" y="50"/>
                  </a:lnTo>
                  <a:lnTo>
                    <a:pt x="52" y="52"/>
                  </a:lnTo>
                  <a:lnTo>
                    <a:pt x="49" y="52"/>
                  </a:lnTo>
                  <a:lnTo>
                    <a:pt x="49" y="50"/>
                  </a:lnTo>
                  <a:lnTo>
                    <a:pt x="47" y="50"/>
                  </a:lnTo>
                  <a:lnTo>
                    <a:pt x="45" y="49"/>
                  </a:lnTo>
                  <a:lnTo>
                    <a:pt x="45" y="45"/>
                  </a:lnTo>
                  <a:lnTo>
                    <a:pt x="45" y="43"/>
                  </a:lnTo>
                  <a:lnTo>
                    <a:pt x="40" y="42"/>
                  </a:lnTo>
                  <a:lnTo>
                    <a:pt x="40" y="43"/>
                  </a:lnTo>
                  <a:lnTo>
                    <a:pt x="40" y="43"/>
                  </a:lnTo>
                  <a:lnTo>
                    <a:pt x="42" y="45"/>
                  </a:lnTo>
                  <a:lnTo>
                    <a:pt x="45" y="45"/>
                  </a:lnTo>
                  <a:lnTo>
                    <a:pt x="45" y="49"/>
                  </a:lnTo>
                  <a:lnTo>
                    <a:pt x="42" y="50"/>
                  </a:lnTo>
                  <a:lnTo>
                    <a:pt x="40" y="49"/>
                  </a:lnTo>
                  <a:lnTo>
                    <a:pt x="36" y="49"/>
                  </a:lnTo>
                  <a:lnTo>
                    <a:pt x="35" y="45"/>
                  </a:lnTo>
                  <a:lnTo>
                    <a:pt x="35" y="43"/>
                  </a:lnTo>
                  <a:lnTo>
                    <a:pt x="36" y="40"/>
                  </a:lnTo>
                  <a:lnTo>
                    <a:pt x="36" y="38"/>
                  </a:lnTo>
                  <a:lnTo>
                    <a:pt x="33" y="33"/>
                  </a:lnTo>
                  <a:lnTo>
                    <a:pt x="31" y="33"/>
                  </a:lnTo>
                  <a:lnTo>
                    <a:pt x="28" y="31"/>
                  </a:lnTo>
                  <a:lnTo>
                    <a:pt x="23" y="28"/>
                  </a:lnTo>
                  <a:lnTo>
                    <a:pt x="23" y="24"/>
                  </a:lnTo>
                  <a:lnTo>
                    <a:pt x="19" y="23"/>
                  </a:lnTo>
                  <a:lnTo>
                    <a:pt x="19" y="19"/>
                  </a:lnTo>
                  <a:lnTo>
                    <a:pt x="16" y="17"/>
                  </a:lnTo>
                  <a:lnTo>
                    <a:pt x="12" y="17"/>
                  </a:lnTo>
                  <a:lnTo>
                    <a:pt x="12" y="17"/>
                  </a:lnTo>
                  <a:lnTo>
                    <a:pt x="12" y="19"/>
                  </a:lnTo>
                  <a:lnTo>
                    <a:pt x="16" y="23"/>
                  </a:lnTo>
                  <a:lnTo>
                    <a:pt x="17" y="26"/>
                  </a:lnTo>
                  <a:lnTo>
                    <a:pt x="16" y="28"/>
                  </a:lnTo>
                  <a:lnTo>
                    <a:pt x="14" y="28"/>
                  </a:lnTo>
                  <a:lnTo>
                    <a:pt x="12" y="26"/>
                  </a:lnTo>
                  <a:lnTo>
                    <a:pt x="9" y="24"/>
                  </a:lnTo>
                  <a:lnTo>
                    <a:pt x="3" y="24"/>
                  </a:lnTo>
                  <a:lnTo>
                    <a:pt x="0" y="19"/>
                  </a:lnTo>
                  <a:lnTo>
                    <a:pt x="0" y="17"/>
                  </a:lnTo>
                  <a:lnTo>
                    <a:pt x="0" y="14"/>
                  </a:lnTo>
                  <a:lnTo>
                    <a:pt x="3" y="10"/>
                  </a:lnTo>
                  <a:lnTo>
                    <a:pt x="3" y="9"/>
                  </a:lnTo>
                  <a:lnTo>
                    <a:pt x="0" y="7"/>
                  </a:lnTo>
                  <a:lnTo>
                    <a:pt x="0" y="7"/>
                  </a:lnTo>
                  <a:lnTo>
                    <a:pt x="0" y="5"/>
                  </a:lnTo>
                  <a:lnTo>
                    <a:pt x="3" y="2"/>
                  </a:lnTo>
                  <a:lnTo>
                    <a:pt x="0" y="2"/>
                  </a:lnTo>
                  <a:lnTo>
                    <a:pt x="3" y="0"/>
                  </a:lnTo>
                  <a:lnTo>
                    <a:pt x="3" y="0"/>
                  </a:lnTo>
                  <a:lnTo>
                    <a:pt x="9" y="0"/>
                  </a:lnTo>
                  <a:lnTo>
                    <a:pt x="17" y="2"/>
                  </a:lnTo>
                  <a:lnTo>
                    <a:pt x="21" y="2"/>
                  </a:lnTo>
                  <a:lnTo>
                    <a:pt x="26" y="2"/>
                  </a:lnTo>
                  <a:lnTo>
                    <a:pt x="28" y="3"/>
                  </a:lnTo>
                  <a:lnTo>
                    <a:pt x="30" y="5"/>
                  </a:lnTo>
                  <a:lnTo>
                    <a:pt x="30" y="5"/>
                  </a:lnTo>
                  <a:lnTo>
                    <a:pt x="35" y="9"/>
                  </a:lnTo>
                  <a:lnTo>
                    <a:pt x="36" y="9"/>
                  </a:lnTo>
                  <a:lnTo>
                    <a:pt x="36" y="9"/>
                  </a:lnTo>
                  <a:lnTo>
                    <a:pt x="36" y="10"/>
                  </a:lnTo>
                  <a:lnTo>
                    <a:pt x="40" y="10"/>
                  </a:lnTo>
                  <a:lnTo>
                    <a:pt x="40" y="9"/>
                  </a:lnTo>
                  <a:lnTo>
                    <a:pt x="42" y="7"/>
                  </a:lnTo>
                  <a:lnTo>
                    <a:pt x="45" y="10"/>
                  </a:lnTo>
                  <a:lnTo>
                    <a:pt x="45" y="14"/>
                  </a:lnTo>
                  <a:lnTo>
                    <a:pt x="45" y="17"/>
                  </a:lnTo>
                  <a:lnTo>
                    <a:pt x="49" y="21"/>
                  </a:lnTo>
                  <a:lnTo>
                    <a:pt x="50" y="23"/>
                  </a:lnTo>
                  <a:lnTo>
                    <a:pt x="52" y="26"/>
                  </a:lnTo>
                  <a:lnTo>
                    <a:pt x="56" y="26"/>
                  </a:lnTo>
                  <a:lnTo>
                    <a:pt x="57" y="28"/>
                  </a:lnTo>
                  <a:lnTo>
                    <a:pt x="57" y="28"/>
                  </a:lnTo>
                  <a:lnTo>
                    <a:pt x="56" y="28"/>
                  </a:lnTo>
                  <a:lnTo>
                    <a:pt x="54" y="28"/>
                  </a:lnTo>
                  <a:lnTo>
                    <a:pt x="54" y="31"/>
                  </a:lnTo>
                  <a:lnTo>
                    <a:pt x="50" y="35"/>
                  </a:lnTo>
                  <a:lnTo>
                    <a:pt x="50" y="36"/>
                  </a:lnTo>
                  <a:lnTo>
                    <a:pt x="52" y="38"/>
                  </a:lnTo>
                  <a:lnTo>
                    <a:pt x="56" y="42"/>
                  </a:lnTo>
                  <a:lnTo>
                    <a:pt x="52" y="43"/>
                  </a:lnTo>
                  <a:lnTo>
                    <a:pt x="50" y="45"/>
                  </a:lnTo>
                  <a:lnTo>
                    <a:pt x="50" y="49"/>
                  </a:lnTo>
                  <a:lnTo>
                    <a:pt x="50" y="49"/>
                  </a:lnTo>
                  <a:lnTo>
                    <a:pt x="50" y="49"/>
                  </a:lnTo>
                  <a:lnTo>
                    <a:pt x="50" y="49"/>
                  </a:lnTo>
                  <a:lnTo>
                    <a:pt x="50" y="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9" name="Freeform 165">
              <a:extLst>
                <a:ext uri="{FF2B5EF4-FFF2-40B4-BE49-F238E27FC236}">
                  <a16:creationId xmlns:a16="http://schemas.microsoft.com/office/drawing/2014/main" id="{39483C9E-9B99-42FF-9386-FCCB963F0C97}"/>
                </a:ext>
              </a:extLst>
            </p:cNvPr>
            <p:cNvSpPr>
              <a:spLocks/>
            </p:cNvSpPr>
            <p:nvPr/>
          </p:nvSpPr>
          <p:spPr bwMode="auto">
            <a:xfrm>
              <a:off x="2116138" y="3846513"/>
              <a:ext cx="120650" cy="125413"/>
            </a:xfrm>
            <a:custGeom>
              <a:avLst/>
              <a:gdLst/>
              <a:ahLst/>
              <a:cxnLst>
                <a:cxn ang="0">
                  <a:pos x="31" y="70"/>
                </a:cxn>
                <a:cxn ang="0">
                  <a:pos x="36" y="70"/>
                </a:cxn>
                <a:cxn ang="0">
                  <a:pos x="48" y="72"/>
                </a:cxn>
                <a:cxn ang="0">
                  <a:pos x="54" y="73"/>
                </a:cxn>
                <a:cxn ang="0">
                  <a:pos x="57" y="75"/>
                </a:cxn>
                <a:cxn ang="0">
                  <a:pos x="62" y="79"/>
                </a:cxn>
                <a:cxn ang="0">
                  <a:pos x="64" y="79"/>
                </a:cxn>
                <a:cxn ang="0">
                  <a:pos x="66" y="73"/>
                </a:cxn>
                <a:cxn ang="0">
                  <a:pos x="62" y="70"/>
                </a:cxn>
                <a:cxn ang="0">
                  <a:pos x="66" y="61"/>
                </a:cxn>
                <a:cxn ang="0">
                  <a:pos x="64" y="61"/>
                </a:cxn>
                <a:cxn ang="0">
                  <a:pos x="62" y="61"/>
                </a:cxn>
                <a:cxn ang="0">
                  <a:pos x="64" y="58"/>
                </a:cxn>
                <a:cxn ang="0">
                  <a:pos x="64" y="53"/>
                </a:cxn>
                <a:cxn ang="0">
                  <a:pos x="67" y="44"/>
                </a:cxn>
                <a:cxn ang="0">
                  <a:pos x="67" y="46"/>
                </a:cxn>
                <a:cxn ang="0">
                  <a:pos x="67" y="49"/>
                </a:cxn>
                <a:cxn ang="0">
                  <a:pos x="67" y="53"/>
                </a:cxn>
                <a:cxn ang="0">
                  <a:pos x="69" y="51"/>
                </a:cxn>
                <a:cxn ang="0">
                  <a:pos x="71" y="35"/>
                </a:cxn>
                <a:cxn ang="0">
                  <a:pos x="69" y="30"/>
                </a:cxn>
                <a:cxn ang="0">
                  <a:pos x="69" y="28"/>
                </a:cxn>
                <a:cxn ang="0">
                  <a:pos x="71" y="28"/>
                </a:cxn>
                <a:cxn ang="0">
                  <a:pos x="73" y="25"/>
                </a:cxn>
                <a:cxn ang="0">
                  <a:pos x="76" y="19"/>
                </a:cxn>
                <a:cxn ang="0">
                  <a:pos x="76" y="16"/>
                </a:cxn>
                <a:cxn ang="0">
                  <a:pos x="76" y="13"/>
                </a:cxn>
                <a:cxn ang="0">
                  <a:pos x="76" y="4"/>
                </a:cxn>
                <a:cxn ang="0">
                  <a:pos x="76" y="0"/>
                </a:cxn>
                <a:cxn ang="0">
                  <a:pos x="73" y="2"/>
                </a:cxn>
                <a:cxn ang="0">
                  <a:pos x="71" y="0"/>
                </a:cxn>
                <a:cxn ang="0">
                  <a:pos x="69" y="4"/>
                </a:cxn>
                <a:cxn ang="0">
                  <a:pos x="64" y="7"/>
                </a:cxn>
                <a:cxn ang="0">
                  <a:pos x="59" y="9"/>
                </a:cxn>
                <a:cxn ang="0">
                  <a:pos x="54" y="9"/>
                </a:cxn>
                <a:cxn ang="0">
                  <a:pos x="50" y="6"/>
                </a:cxn>
                <a:cxn ang="0">
                  <a:pos x="50" y="9"/>
                </a:cxn>
                <a:cxn ang="0">
                  <a:pos x="43" y="14"/>
                </a:cxn>
                <a:cxn ang="0">
                  <a:pos x="41" y="16"/>
                </a:cxn>
                <a:cxn ang="0">
                  <a:pos x="34" y="21"/>
                </a:cxn>
                <a:cxn ang="0">
                  <a:pos x="31" y="23"/>
                </a:cxn>
                <a:cxn ang="0">
                  <a:pos x="27" y="21"/>
                </a:cxn>
                <a:cxn ang="0">
                  <a:pos x="19" y="25"/>
                </a:cxn>
                <a:cxn ang="0">
                  <a:pos x="14" y="28"/>
                </a:cxn>
                <a:cxn ang="0">
                  <a:pos x="12" y="33"/>
                </a:cxn>
                <a:cxn ang="0">
                  <a:pos x="7" y="37"/>
                </a:cxn>
                <a:cxn ang="0">
                  <a:pos x="3" y="39"/>
                </a:cxn>
                <a:cxn ang="0">
                  <a:pos x="0" y="39"/>
                </a:cxn>
                <a:cxn ang="0">
                  <a:pos x="5" y="47"/>
                </a:cxn>
                <a:cxn ang="0">
                  <a:pos x="8" y="53"/>
                </a:cxn>
                <a:cxn ang="0">
                  <a:pos x="17" y="61"/>
                </a:cxn>
                <a:cxn ang="0">
                  <a:pos x="27" y="70"/>
                </a:cxn>
                <a:cxn ang="0">
                  <a:pos x="27" y="72"/>
                </a:cxn>
              </a:cxnLst>
              <a:rect l="0" t="0" r="r" b="b"/>
              <a:pathLst>
                <a:path w="76" h="79">
                  <a:moveTo>
                    <a:pt x="27" y="72"/>
                  </a:moveTo>
                  <a:lnTo>
                    <a:pt x="31" y="70"/>
                  </a:lnTo>
                  <a:lnTo>
                    <a:pt x="31" y="70"/>
                  </a:lnTo>
                  <a:lnTo>
                    <a:pt x="36" y="70"/>
                  </a:lnTo>
                  <a:lnTo>
                    <a:pt x="45" y="72"/>
                  </a:lnTo>
                  <a:lnTo>
                    <a:pt x="48" y="72"/>
                  </a:lnTo>
                  <a:lnTo>
                    <a:pt x="54" y="72"/>
                  </a:lnTo>
                  <a:lnTo>
                    <a:pt x="54" y="73"/>
                  </a:lnTo>
                  <a:lnTo>
                    <a:pt x="57" y="75"/>
                  </a:lnTo>
                  <a:lnTo>
                    <a:pt x="57" y="75"/>
                  </a:lnTo>
                  <a:lnTo>
                    <a:pt x="62" y="79"/>
                  </a:lnTo>
                  <a:lnTo>
                    <a:pt x="62" y="79"/>
                  </a:lnTo>
                  <a:lnTo>
                    <a:pt x="64" y="79"/>
                  </a:lnTo>
                  <a:lnTo>
                    <a:pt x="64" y="79"/>
                  </a:lnTo>
                  <a:lnTo>
                    <a:pt x="66" y="77"/>
                  </a:lnTo>
                  <a:lnTo>
                    <a:pt x="66" y="73"/>
                  </a:lnTo>
                  <a:lnTo>
                    <a:pt x="62" y="72"/>
                  </a:lnTo>
                  <a:lnTo>
                    <a:pt x="62" y="70"/>
                  </a:lnTo>
                  <a:lnTo>
                    <a:pt x="64" y="65"/>
                  </a:lnTo>
                  <a:lnTo>
                    <a:pt x="66" y="61"/>
                  </a:lnTo>
                  <a:lnTo>
                    <a:pt x="66" y="58"/>
                  </a:lnTo>
                  <a:lnTo>
                    <a:pt x="64" y="61"/>
                  </a:lnTo>
                  <a:lnTo>
                    <a:pt x="64" y="61"/>
                  </a:lnTo>
                  <a:lnTo>
                    <a:pt x="62" y="61"/>
                  </a:lnTo>
                  <a:lnTo>
                    <a:pt x="62" y="61"/>
                  </a:lnTo>
                  <a:lnTo>
                    <a:pt x="64" y="58"/>
                  </a:lnTo>
                  <a:lnTo>
                    <a:pt x="66" y="53"/>
                  </a:lnTo>
                  <a:lnTo>
                    <a:pt x="64" y="53"/>
                  </a:lnTo>
                  <a:lnTo>
                    <a:pt x="64" y="49"/>
                  </a:lnTo>
                  <a:lnTo>
                    <a:pt x="67" y="44"/>
                  </a:lnTo>
                  <a:lnTo>
                    <a:pt x="67" y="44"/>
                  </a:lnTo>
                  <a:lnTo>
                    <a:pt x="67" y="46"/>
                  </a:lnTo>
                  <a:lnTo>
                    <a:pt x="67" y="46"/>
                  </a:lnTo>
                  <a:lnTo>
                    <a:pt x="67" y="49"/>
                  </a:lnTo>
                  <a:lnTo>
                    <a:pt x="67" y="49"/>
                  </a:lnTo>
                  <a:lnTo>
                    <a:pt x="67" y="53"/>
                  </a:lnTo>
                  <a:lnTo>
                    <a:pt x="69" y="53"/>
                  </a:lnTo>
                  <a:lnTo>
                    <a:pt x="69" y="51"/>
                  </a:lnTo>
                  <a:lnTo>
                    <a:pt x="71" y="44"/>
                  </a:lnTo>
                  <a:lnTo>
                    <a:pt x="71" y="35"/>
                  </a:lnTo>
                  <a:lnTo>
                    <a:pt x="71" y="33"/>
                  </a:lnTo>
                  <a:lnTo>
                    <a:pt x="69" y="30"/>
                  </a:lnTo>
                  <a:lnTo>
                    <a:pt x="69" y="30"/>
                  </a:lnTo>
                  <a:lnTo>
                    <a:pt x="69" y="28"/>
                  </a:lnTo>
                  <a:lnTo>
                    <a:pt x="69" y="28"/>
                  </a:lnTo>
                  <a:lnTo>
                    <a:pt x="71" y="28"/>
                  </a:lnTo>
                  <a:lnTo>
                    <a:pt x="73" y="28"/>
                  </a:lnTo>
                  <a:lnTo>
                    <a:pt x="73" y="25"/>
                  </a:lnTo>
                  <a:lnTo>
                    <a:pt x="76" y="21"/>
                  </a:lnTo>
                  <a:lnTo>
                    <a:pt x="76" y="19"/>
                  </a:lnTo>
                  <a:lnTo>
                    <a:pt x="76" y="16"/>
                  </a:lnTo>
                  <a:lnTo>
                    <a:pt x="76" y="16"/>
                  </a:lnTo>
                  <a:lnTo>
                    <a:pt x="76" y="14"/>
                  </a:lnTo>
                  <a:lnTo>
                    <a:pt x="76" y="13"/>
                  </a:lnTo>
                  <a:lnTo>
                    <a:pt x="76" y="9"/>
                  </a:lnTo>
                  <a:lnTo>
                    <a:pt x="76" y="4"/>
                  </a:lnTo>
                  <a:lnTo>
                    <a:pt x="76" y="2"/>
                  </a:lnTo>
                  <a:lnTo>
                    <a:pt x="76" y="0"/>
                  </a:lnTo>
                  <a:lnTo>
                    <a:pt x="76" y="2"/>
                  </a:lnTo>
                  <a:lnTo>
                    <a:pt x="73" y="2"/>
                  </a:lnTo>
                  <a:lnTo>
                    <a:pt x="73" y="0"/>
                  </a:lnTo>
                  <a:lnTo>
                    <a:pt x="71" y="0"/>
                  </a:lnTo>
                  <a:lnTo>
                    <a:pt x="69" y="2"/>
                  </a:lnTo>
                  <a:lnTo>
                    <a:pt x="69" y="4"/>
                  </a:lnTo>
                  <a:lnTo>
                    <a:pt x="66" y="6"/>
                  </a:lnTo>
                  <a:lnTo>
                    <a:pt x="64" y="7"/>
                  </a:lnTo>
                  <a:lnTo>
                    <a:pt x="62" y="7"/>
                  </a:lnTo>
                  <a:lnTo>
                    <a:pt x="59" y="9"/>
                  </a:lnTo>
                  <a:lnTo>
                    <a:pt x="57" y="9"/>
                  </a:lnTo>
                  <a:lnTo>
                    <a:pt x="54" y="9"/>
                  </a:lnTo>
                  <a:lnTo>
                    <a:pt x="54" y="7"/>
                  </a:lnTo>
                  <a:lnTo>
                    <a:pt x="50" y="6"/>
                  </a:lnTo>
                  <a:lnTo>
                    <a:pt x="50" y="6"/>
                  </a:lnTo>
                  <a:lnTo>
                    <a:pt x="50" y="9"/>
                  </a:lnTo>
                  <a:lnTo>
                    <a:pt x="47" y="9"/>
                  </a:lnTo>
                  <a:lnTo>
                    <a:pt x="43" y="14"/>
                  </a:lnTo>
                  <a:lnTo>
                    <a:pt x="43" y="16"/>
                  </a:lnTo>
                  <a:lnTo>
                    <a:pt x="41" y="16"/>
                  </a:lnTo>
                  <a:lnTo>
                    <a:pt x="38" y="19"/>
                  </a:lnTo>
                  <a:lnTo>
                    <a:pt x="34" y="21"/>
                  </a:lnTo>
                  <a:lnTo>
                    <a:pt x="34" y="23"/>
                  </a:lnTo>
                  <a:lnTo>
                    <a:pt x="31" y="23"/>
                  </a:lnTo>
                  <a:lnTo>
                    <a:pt x="31" y="23"/>
                  </a:lnTo>
                  <a:lnTo>
                    <a:pt x="27" y="21"/>
                  </a:lnTo>
                  <a:lnTo>
                    <a:pt x="22" y="21"/>
                  </a:lnTo>
                  <a:lnTo>
                    <a:pt x="19" y="25"/>
                  </a:lnTo>
                  <a:lnTo>
                    <a:pt x="14" y="25"/>
                  </a:lnTo>
                  <a:lnTo>
                    <a:pt x="14" y="28"/>
                  </a:lnTo>
                  <a:lnTo>
                    <a:pt x="14" y="28"/>
                  </a:lnTo>
                  <a:lnTo>
                    <a:pt x="12" y="33"/>
                  </a:lnTo>
                  <a:lnTo>
                    <a:pt x="12" y="37"/>
                  </a:lnTo>
                  <a:lnTo>
                    <a:pt x="7" y="37"/>
                  </a:lnTo>
                  <a:lnTo>
                    <a:pt x="3" y="37"/>
                  </a:lnTo>
                  <a:lnTo>
                    <a:pt x="3" y="39"/>
                  </a:lnTo>
                  <a:lnTo>
                    <a:pt x="3" y="39"/>
                  </a:lnTo>
                  <a:lnTo>
                    <a:pt x="0" y="39"/>
                  </a:lnTo>
                  <a:lnTo>
                    <a:pt x="0" y="39"/>
                  </a:lnTo>
                  <a:lnTo>
                    <a:pt x="5" y="47"/>
                  </a:lnTo>
                  <a:lnTo>
                    <a:pt x="8" y="49"/>
                  </a:lnTo>
                  <a:lnTo>
                    <a:pt x="8" y="53"/>
                  </a:lnTo>
                  <a:lnTo>
                    <a:pt x="14" y="56"/>
                  </a:lnTo>
                  <a:lnTo>
                    <a:pt x="17" y="61"/>
                  </a:lnTo>
                  <a:lnTo>
                    <a:pt x="26" y="70"/>
                  </a:lnTo>
                  <a:lnTo>
                    <a:pt x="27" y="70"/>
                  </a:lnTo>
                  <a:lnTo>
                    <a:pt x="27" y="72"/>
                  </a:lnTo>
                  <a:lnTo>
                    <a:pt x="27" y="72"/>
                  </a:lnTo>
                  <a:lnTo>
                    <a:pt x="27" y="7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0" name="Freeform 166">
              <a:extLst>
                <a:ext uri="{FF2B5EF4-FFF2-40B4-BE49-F238E27FC236}">
                  <a16:creationId xmlns:a16="http://schemas.microsoft.com/office/drawing/2014/main" id="{A3CC49F3-8AC0-434B-BE89-5F15B2447E5D}"/>
                </a:ext>
              </a:extLst>
            </p:cNvPr>
            <p:cNvSpPr>
              <a:spLocks/>
            </p:cNvSpPr>
            <p:nvPr/>
          </p:nvSpPr>
          <p:spPr bwMode="auto">
            <a:xfrm>
              <a:off x="2060575" y="3816351"/>
              <a:ext cx="176213" cy="85725"/>
            </a:xfrm>
            <a:custGeom>
              <a:avLst/>
              <a:gdLst/>
              <a:ahLst/>
              <a:cxnLst>
                <a:cxn ang="0">
                  <a:pos x="42" y="54"/>
                </a:cxn>
                <a:cxn ang="0">
                  <a:pos x="47" y="51"/>
                </a:cxn>
                <a:cxn ang="0">
                  <a:pos x="49" y="45"/>
                </a:cxn>
                <a:cxn ang="0">
                  <a:pos x="52" y="42"/>
                </a:cxn>
                <a:cxn ang="0">
                  <a:pos x="62" y="38"/>
                </a:cxn>
                <a:cxn ang="0">
                  <a:pos x="66" y="40"/>
                </a:cxn>
                <a:cxn ang="0">
                  <a:pos x="69" y="38"/>
                </a:cxn>
                <a:cxn ang="0">
                  <a:pos x="75" y="33"/>
                </a:cxn>
                <a:cxn ang="0">
                  <a:pos x="76" y="32"/>
                </a:cxn>
                <a:cxn ang="0">
                  <a:pos x="83" y="26"/>
                </a:cxn>
                <a:cxn ang="0">
                  <a:pos x="83" y="23"/>
                </a:cxn>
                <a:cxn ang="0">
                  <a:pos x="87" y="26"/>
                </a:cxn>
                <a:cxn ang="0">
                  <a:pos x="92" y="26"/>
                </a:cxn>
                <a:cxn ang="0">
                  <a:pos x="97" y="25"/>
                </a:cxn>
                <a:cxn ang="0">
                  <a:pos x="101" y="23"/>
                </a:cxn>
                <a:cxn ang="0">
                  <a:pos x="104" y="19"/>
                </a:cxn>
                <a:cxn ang="0">
                  <a:pos x="106" y="19"/>
                </a:cxn>
                <a:cxn ang="0">
                  <a:pos x="109" y="19"/>
                </a:cxn>
                <a:cxn ang="0">
                  <a:pos x="109" y="18"/>
                </a:cxn>
                <a:cxn ang="0">
                  <a:pos x="104" y="12"/>
                </a:cxn>
                <a:cxn ang="0">
                  <a:pos x="104" y="16"/>
                </a:cxn>
                <a:cxn ang="0">
                  <a:pos x="97" y="16"/>
                </a:cxn>
                <a:cxn ang="0">
                  <a:pos x="92" y="12"/>
                </a:cxn>
                <a:cxn ang="0">
                  <a:pos x="90" y="12"/>
                </a:cxn>
                <a:cxn ang="0">
                  <a:pos x="90" y="9"/>
                </a:cxn>
                <a:cxn ang="0">
                  <a:pos x="95" y="9"/>
                </a:cxn>
                <a:cxn ang="0">
                  <a:pos x="101" y="11"/>
                </a:cxn>
                <a:cxn ang="0">
                  <a:pos x="94" y="5"/>
                </a:cxn>
                <a:cxn ang="0">
                  <a:pos x="87" y="5"/>
                </a:cxn>
                <a:cxn ang="0">
                  <a:pos x="87" y="7"/>
                </a:cxn>
                <a:cxn ang="0">
                  <a:pos x="76" y="5"/>
                </a:cxn>
                <a:cxn ang="0">
                  <a:pos x="66" y="2"/>
                </a:cxn>
                <a:cxn ang="0">
                  <a:pos x="61" y="2"/>
                </a:cxn>
                <a:cxn ang="0">
                  <a:pos x="59" y="5"/>
                </a:cxn>
                <a:cxn ang="0">
                  <a:pos x="55" y="5"/>
                </a:cxn>
                <a:cxn ang="0">
                  <a:pos x="43" y="5"/>
                </a:cxn>
                <a:cxn ang="0">
                  <a:pos x="29" y="7"/>
                </a:cxn>
                <a:cxn ang="0">
                  <a:pos x="26" y="7"/>
                </a:cxn>
                <a:cxn ang="0">
                  <a:pos x="22" y="12"/>
                </a:cxn>
                <a:cxn ang="0">
                  <a:pos x="16" y="14"/>
                </a:cxn>
                <a:cxn ang="0">
                  <a:pos x="9" y="23"/>
                </a:cxn>
                <a:cxn ang="0">
                  <a:pos x="7" y="30"/>
                </a:cxn>
                <a:cxn ang="0">
                  <a:pos x="3" y="33"/>
                </a:cxn>
                <a:cxn ang="0">
                  <a:pos x="2" y="35"/>
                </a:cxn>
                <a:cxn ang="0">
                  <a:pos x="3" y="47"/>
                </a:cxn>
                <a:cxn ang="0">
                  <a:pos x="10" y="49"/>
                </a:cxn>
                <a:cxn ang="0">
                  <a:pos x="16" y="51"/>
                </a:cxn>
                <a:cxn ang="0">
                  <a:pos x="16" y="49"/>
                </a:cxn>
                <a:cxn ang="0">
                  <a:pos x="21" y="52"/>
                </a:cxn>
                <a:cxn ang="0">
                  <a:pos x="29" y="54"/>
                </a:cxn>
                <a:cxn ang="0">
                  <a:pos x="29" y="49"/>
                </a:cxn>
                <a:cxn ang="0">
                  <a:pos x="35" y="49"/>
                </a:cxn>
                <a:cxn ang="0">
                  <a:pos x="38" y="51"/>
                </a:cxn>
                <a:cxn ang="0">
                  <a:pos x="38" y="51"/>
                </a:cxn>
                <a:cxn ang="0">
                  <a:pos x="38" y="54"/>
                </a:cxn>
                <a:cxn ang="0">
                  <a:pos x="38" y="54"/>
                </a:cxn>
              </a:cxnLst>
              <a:rect l="0" t="0" r="r" b="b"/>
              <a:pathLst>
                <a:path w="111" h="54">
                  <a:moveTo>
                    <a:pt x="38" y="54"/>
                  </a:moveTo>
                  <a:lnTo>
                    <a:pt x="42" y="54"/>
                  </a:lnTo>
                  <a:lnTo>
                    <a:pt x="47" y="54"/>
                  </a:lnTo>
                  <a:lnTo>
                    <a:pt x="47" y="51"/>
                  </a:lnTo>
                  <a:lnTo>
                    <a:pt x="49" y="45"/>
                  </a:lnTo>
                  <a:lnTo>
                    <a:pt x="49" y="45"/>
                  </a:lnTo>
                  <a:lnTo>
                    <a:pt x="49" y="42"/>
                  </a:lnTo>
                  <a:lnTo>
                    <a:pt x="52" y="42"/>
                  </a:lnTo>
                  <a:lnTo>
                    <a:pt x="57" y="38"/>
                  </a:lnTo>
                  <a:lnTo>
                    <a:pt x="62" y="38"/>
                  </a:lnTo>
                  <a:lnTo>
                    <a:pt x="64" y="40"/>
                  </a:lnTo>
                  <a:lnTo>
                    <a:pt x="66" y="40"/>
                  </a:lnTo>
                  <a:lnTo>
                    <a:pt x="68" y="40"/>
                  </a:lnTo>
                  <a:lnTo>
                    <a:pt x="69" y="38"/>
                  </a:lnTo>
                  <a:lnTo>
                    <a:pt x="73" y="37"/>
                  </a:lnTo>
                  <a:lnTo>
                    <a:pt x="75" y="33"/>
                  </a:lnTo>
                  <a:lnTo>
                    <a:pt x="76" y="33"/>
                  </a:lnTo>
                  <a:lnTo>
                    <a:pt x="76" y="32"/>
                  </a:lnTo>
                  <a:lnTo>
                    <a:pt x="80" y="26"/>
                  </a:lnTo>
                  <a:lnTo>
                    <a:pt x="83" y="26"/>
                  </a:lnTo>
                  <a:lnTo>
                    <a:pt x="83" y="23"/>
                  </a:lnTo>
                  <a:lnTo>
                    <a:pt x="83" y="23"/>
                  </a:lnTo>
                  <a:lnTo>
                    <a:pt x="87" y="25"/>
                  </a:lnTo>
                  <a:lnTo>
                    <a:pt x="87" y="26"/>
                  </a:lnTo>
                  <a:lnTo>
                    <a:pt x="90" y="26"/>
                  </a:lnTo>
                  <a:lnTo>
                    <a:pt x="92" y="26"/>
                  </a:lnTo>
                  <a:lnTo>
                    <a:pt x="94" y="25"/>
                  </a:lnTo>
                  <a:lnTo>
                    <a:pt x="97" y="25"/>
                  </a:lnTo>
                  <a:lnTo>
                    <a:pt x="99" y="23"/>
                  </a:lnTo>
                  <a:lnTo>
                    <a:pt x="101" y="23"/>
                  </a:lnTo>
                  <a:lnTo>
                    <a:pt x="101" y="19"/>
                  </a:lnTo>
                  <a:lnTo>
                    <a:pt x="104" y="19"/>
                  </a:lnTo>
                  <a:lnTo>
                    <a:pt x="104" y="19"/>
                  </a:lnTo>
                  <a:lnTo>
                    <a:pt x="106" y="19"/>
                  </a:lnTo>
                  <a:lnTo>
                    <a:pt x="108" y="19"/>
                  </a:lnTo>
                  <a:lnTo>
                    <a:pt x="109" y="19"/>
                  </a:lnTo>
                  <a:lnTo>
                    <a:pt x="111" y="19"/>
                  </a:lnTo>
                  <a:lnTo>
                    <a:pt x="109" y="18"/>
                  </a:lnTo>
                  <a:lnTo>
                    <a:pt x="106" y="14"/>
                  </a:lnTo>
                  <a:lnTo>
                    <a:pt x="104" y="12"/>
                  </a:lnTo>
                  <a:lnTo>
                    <a:pt x="104" y="12"/>
                  </a:lnTo>
                  <a:lnTo>
                    <a:pt x="104" y="16"/>
                  </a:lnTo>
                  <a:lnTo>
                    <a:pt x="101" y="16"/>
                  </a:lnTo>
                  <a:lnTo>
                    <a:pt x="97" y="16"/>
                  </a:lnTo>
                  <a:lnTo>
                    <a:pt x="95" y="14"/>
                  </a:lnTo>
                  <a:lnTo>
                    <a:pt x="92" y="12"/>
                  </a:lnTo>
                  <a:lnTo>
                    <a:pt x="90" y="12"/>
                  </a:lnTo>
                  <a:lnTo>
                    <a:pt x="90" y="12"/>
                  </a:lnTo>
                  <a:lnTo>
                    <a:pt x="92" y="11"/>
                  </a:lnTo>
                  <a:lnTo>
                    <a:pt x="90" y="9"/>
                  </a:lnTo>
                  <a:lnTo>
                    <a:pt x="92" y="9"/>
                  </a:lnTo>
                  <a:lnTo>
                    <a:pt x="95" y="9"/>
                  </a:lnTo>
                  <a:lnTo>
                    <a:pt x="101" y="11"/>
                  </a:lnTo>
                  <a:lnTo>
                    <a:pt x="101" y="11"/>
                  </a:lnTo>
                  <a:lnTo>
                    <a:pt x="97" y="7"/>
                  </a:lnTo>
                  <a:lnTo>
                    <a:pt x="94" y="5"/>
                  </a:lnTo>
                  <a:lnTo>
                    <a:pt x="90" y="5"/>
                  </a:lnTo>
                  <a:lnTo>
                    <a:pt x="87" y="5"/>
                  </a:lnTo>
                  <a:lnTo>
                    <a:pt x="87" y="5"/>
                  </a:lnTo>
                  <a:lnTo>
                    <a:pt x="87" y="7"/>
                  </a:lnTo>
                  <a:lnTo>
                    <a:pt x="83" y="5"/>
                  </a:lnTo>
                  <a:lnTo>
                    <a:pt x="76" y="5"/>
                  </a:lnTo>
                  <a:lnTo>
                    <a:pt x="69" y="5"/>
                  </a:lnTo>
                  <a:lnTo>
                    <a:pt x="66" y="2"/>
                  </a:lnTo>
                  <a:lnTo>
                    <a:pt x="62" y="0"/>
                  </a:lnTo>
                  <a:lnTo>
                    <a:pt x="61" y="2"/>
                  </a:lnTo>
                  <a:lnTo>
                    <a:pt x="62" y="2"/>
                  </a:lnTo>
                  <a:lnTo>
                    <a:pt x="59" y="5"/>
                  </a:lnTo>
                  <a:lnTo>
                    <a:pt x="57" y="5"/>
                  </a:lnTo>
                  <a:lnTo>
                    <a:pt x="55" y="5"/>
                  </a:lnTo>
                  <a:lnTo>
                    <a:pt x="50" y="5"/>
                  </a:lnTo>
                  <a:lnTo>
                    <a:pt x="43" y="5"/>
                  </a:lnTo>
                  <a:lnTo>
                    <a:pt x="33" y="5"/>
                  </a:lnTo>
                  <a:lnTo>
                    <a:pt x="29" y="7"/>
                  </a:lnTo>
                  <a:lnTo>
                    <a:pt x="26" y="5"/>
                  </a:lnTo>
                  <a:lnTo>
                    <a:pt x="26" y="7"/>
                  </a:lnTo>
                  <a:lnTo>
                    <a:pt x="24" y="9"/>
                  </a:lnTo>
                  <a:lnTo>
                    <a:pt x="22" y="12"/>
                  </a:lnTo>
                  <a:lnTo>
                    <a:pt x="17" y="16"/>
                  </a:lnTo>
                  <a:lnTo>
                    <a:pt x="16" y="14"/>
                  </a:lnTo>
                  <a:lnTo>
                    <a:pt x="12" y="19"/>
                  </a:lnTo>
                  <a:lnTo>
                    <a:pt x="9" y="23"/>
                  </a:lnTo>
                  <a:lnTo>
                    <a:pt x="10" y="25"/>
                  </a:lnTo>
                  <a:lnTo>
                    <a:pt x="7" y="30"/>
                  </a:lnTo>
                  <a:lnTo>
                    <a:pt x="3" y="33"/>
                  </a:lnTo>
                  <a:lnTo>
                    <a:pt x="3" y="33"/>
                  </a:lnTo>
                  <a:lnTo>
                    <a:pt x="3" y="35"/>
                  </a:lnTo>
                  <a:lnTo>
                    <a:pt x="2" y="35"/>
                  </a:lnTo>
                  <a:lnTo>
                    <a:pt x="0" y="42"/>
                  </a:lnTo>
                  <a:lnTo>
                    <a:pt x="3" y="47"/>
                  </a:lnTo>
                  <a:lnTo>
                    <a:pt x="5" y="47"/>
                  </a:lnTo>
                  <a:lnTo>
                    <a:pt x="10" y="49"/>
                  </a:lnTo>
                  <a:lnTo>
                    <a:pt x="16" y="52"/>
                  </a:lnTo>
                  <a:lnTo>
                    <a:pt x="16" y="51"/>
                  </a:lnTo>
                  <a:lnTo>
                    <a:pt x="12" y="49"/>
                  </a:lnTo>
                  <a:lnTo>
                    <a:pt x="16" y="49"/>
                  </a:lnTo>
                  <a:lnTo>
                    <a:pt x="17" y="49"/>
                  </a:lnTo>
                  <a:lnTo>
                    <a:pt x="21" y="52"/>
                  </a:lnTo>
                  <a:lnTo>
                    <a:pt x="22" y="54"/>
                  </a:lnTo>
                  <a:lnTo>
                    <a:pt x="29" y="54"/>
                  </a:lnTo>
                  <a:lnTo>
                    <a:pt x="33" y="51"/>
                  </a:lnTo>
                  <a:lnTo>
                    <a:pt x="29" y="49"/>
                  </a:lnTo>
                  <a:lnTo>
                    <a:pt x="33" y="49"/>
                  </a:lnTo>
                  <a:lnTo>
                    <a:pt x="35" y="49"/>
                  </a:lnTo>
                  <a:lnTo>
                    <a:pt x="35" y="51"/>
                  </a:lnTo>
                  <a:lnTo>
                    <a:pt x="38" y="51"/>
                  </a:lnTo>
                  <a:lnTo>
                    <a:pt x="38" y="49"/>
                  </a:lnTo>
                  <a:lnTo>
                    <a:pt x="38" y="51"/>
                  </a:lnTo>
                  <a:lnTo>
                    <a:pt x="38" y="52"/>
                  </a:lnTo>
                  <a:lnTo>
                    <a:pt x="38" y="54"/>
                  </a:lnTo>
                  <a:lnTo>
                    <a:pt x="38" y="54"/>
                  </a:lnTo>
                  <a:lnTo>
                    <a:pt x="38" y="54"/>
                  </a:lnTo>
                  <a:lnTo>
                    <a:pt x="38" y="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1" name="Freeform 167">
              <a:extLst>
                <a:ext uri="{FF2B5EF4-FFF2-40B4-BE49-F238E27FC236}">
                  <a16:creationId xmlns:a16="http://schemas.microsoft.com/office/drawing/2014/main" id="{437238CE-F04A-4FB3-BDC9-37C6F9C3FF83}"/>
                </a:ext>
              </a:extLst>
            </p:cNvPr>
            <p:cNvSpPr>
              <a:spLocks/>
            </p:cNvSpPr>
            <p:nvPr/>
          </p:nvSpPr>
          <p:spPr bwMode="auto">
            <a:xfrm>
              <a:off x="2076450" y="3756026"/>
              <a:ext cx="30163" cy="60325"/>
            </a:xfrm>
            <a:custGeom>
              <a:avLst/>
              <a:gdLst/>
              <a:ahLst/>
              <a:cxnLst>
                <a:cxn ang="0">
                  <a:pos x="0" y="9"/>
                </a:cxn>
                <a:cxn ang="0">
                  <a:pos x="0" y="9"/>
                </a:cxn>
                <a:cxn ang="0">
                  <a:pos x="0" y="9"/>
                </a:cxn>
                <a:cxn ang="0">
                  <a:pos x="2" y="5"/>
                </a:cxn>
                <a:cxn ang="0">
                  <a:pos x="4" y="5"/>
                </a:cxn>
                <a:cxn ang="0">
                  <a:pos x="4" y="9"/>
                </a:cxn>
                <a:cxn ang="0">
                  <a:pos x="6" y="9"/>
                </a:cxn>
                <a:cxn ang="0">
                  <a:pos x="6" y="9"/>
                </a:cxn>
                <a:cxn ang="0">
                  <a:pos x="7" y="9"/>
                </a:cxn>
                <a:cxn ang="0">
                  <a:pos x="7" y="5"/>
                </a:cxn>
                <a:cxn ang="0">
                  <a:pos x="9" y="3"/>
                </a:cxn>
                <a:cxn ang="0">
                  <a:pos x="11" y="2"/>
                </a:cxn>
                <a:cxn ang="0">
                  <a:pos x="11" y="0"/>
                </a:cxn>
                <a:cxn ang="0">
                  <a:pos x="12" y="0"/>
                </a:cxn>
                <a:cxn ang="0">
                  <a:pos x="14" y="0"/>
                </a:cxn>
                <a:cxn ang="0">
                  <a:pos x="16" y="0"/>
                </a:cxn>
                <a:cxn ang="0">
                  <a:pos x="18" y="0"/>
                </a:cxn>
                <a:cxn ang="0">
                  <a:pos x="19" y="0"/>
                </a:cxn>
                <a:cxn ang="0">
                  <a:pos x="19" y="2"/>
                </a:cxn>
                <a:cxn ang="0">
                  <a:pos x="19" y="3"/>
                </a:cxn>
                <a:cxn ang="0">
                  <a:pos x="19" y="10"/>
                </a:cxn>
                <a:cxn ang="0">
                  <a:pos x="18" y="14"/>
                </a:cxn>
                <a:cxn ang="0">
                  <a:pos x="16" y="17"/>
                </a:cxn>
                <a:cxn ang="0">
                  <a:pos x="18" y="19"/>
                </a:cxn>
                <a:cxn ang="0">
                  <a:pos x="18" y="24"/>
                </a:cxn>
                <a:cxn ang="0">
                  <a:pos x="16" y="28"/>
                </a:cxn>
                <a:cxn ang="0">
                  <a:pos x="11" y="35"/>
                </a:cxn>
                <a:cxn ang="0">
                  <a:pos x="9" y="33"/>
                </a:cxn>
                <a:cxn ang="0">
                  <a:pos x="6" y="36"/>
                </a:cxn>
                <a:cxn ang="0">
                  <a:pos x="4" y="38"/>
                </a:cxn>
                <a:cxn ang="0">
                  <a:pos x="4" y="38"/>
                </a:cxn>
                <a:cxn ang="0">
                  <a:pos x="2" y="38"/>
                </a:cxn>
                <a:cxn ang="0">
                  <a:pos x="2" y="38"/>
                </a:cxn>
                <a:cxn ang="0">
                  <a:pos x="0" y="38"/>
                </a:cxn>
                <a:cxn ang="0">
                  <a:pos x="0" y="9"/>
                </a:cxn>
                <a:cxn ang="0">
                  <a:pos x="0" y="9"/>
                </a:cxn>
                <a:cxn ang="0">
                  <a:pos x="0" y="9"/>
                </a:cxn>
                <a:cxn ang="0">
                  <a:pos x="0" y="9"/>
                </a:cxn>
              </a:cxnLst>
              <a:rect l="0" t="0" r="r" b="b"/>
              <a:pathLst>
                <a:path w="19" h="38">
                  <a:moveTo>
                    <a:pt x="0" y="9"/>
                  </a:moveTo>
                  <a:lnTo>
                    <a:pt x="0" y="9"/>
                  </a:lnTo>
                  <a:lnTo>
                    <a:pt x="0" y="9"/>
                  </a:lnTo>
                  <a:lnTo>
                    <a:pt x="2" y="5"/>
                  </a:lnTo>
                  <a:lnTo>
                    <a:pt x="4" y="5"/>
                  </a:lnTo>
                  <a:lnTo>
                    <a:pt x="4" y="9"/>
                  </a:lnTo>
                  <a:lnTo>
                    <a:pt x="6" y="9"/>
                  </a:lnTo>
                  <a:lnTo>
                    <a:pt x="6" y="9"/>
                  </a:lnTo>
                  <a:lnTo>
                    <a:pt x="7" y="9"/>
                  </a:lnTo>
                  <a:lnTo>
                    <a:pt x="7" y="5"/>
                  </a:lnTo>
                  <a:lnTo>
                    <a:pt x="9" y="3"/>
                  </a:lnTo>
                  <a:lnTo>
                    <a:pt x="11" y="2"/>
                  </a:lnTo>
                  <a:lnTo>
                    <a:pt x="11" y="0"/>
                  </a:lnTo>
                  <a:lnTo>
                    <a:pt x="12" y="0"/>
                  </a:lnTo>
                  <a:lnTo>
                    <a:pt x="14" y="0"/>
                  </a:lnTo>
                  <a:lnTo>
                    <a:pt x="16" y="0"/>
                  </a:lnTo>
                  <a:lnTo>
                    <a:pt x="18" y="0"/>
                  </a:lnTo>
                  <a:lnTo>
                    <a:pt x="19" y="0"/>
                  </a:lnTo>
                  <a:lnTo>
                    <a:pt x="19" y="2"/>
                  </a:lnTo>
                  <a:lnTo>
                    <a:pt x="19" y="3"/>
                  </a:lnTo>
                  <a:lnTo>
                    <a:pt x="19" y="10"/>
                  </a:lnTo>
                  <a:lnTo>
                    <a:pt x="18" y="14"/>
                  </a:lnTo>
                  <a:lnTo>
                    <a:pt x="16" y="17"/>
                  </a:lnTo>
                  <a:lnTo>
                    <a:pt x="18" y="19"/>
                  </a:lnTo>
                  <a:lnTo>
                    <a:pt x="18" y="24"/>
                  </a:lnTo>
                  <a:lnTo>
                    <a:pt x="16" y="28"/>
                  </a:lnTo>
                  <a:lnTo>
                    <a:pt x="11" y="35"/>
                  </a:lnTo>
                  <a:lnTo>
                    <a:pt x="9" y="33"/>
                  </a:lnTo>
                  <a:lnTo>
                    <a:pt x="6" y="36"/>
                  </a:lnTo>
                  <a:lnTo>
                    <a:pt x="4" y="38"/>
                  </a:lnTo>
                  <a:lnTo>
                    <a:pt x="4" y="38"/>
                  </a:lnTo>
                  <a:lnTo>
                    <a:pt x="2" y="38"/>
                  </a:lnTo>
                  <a:lnTo>
                    <a:pt x="2" y="38"/>
                  </a:lnTo>
                  <a:lnTo>
                    <a:pt x="0" y="38"/>
                  </a:lnTo>
                  <a:lnTo>
                    <a:pt x="0" y="9"/>
                  </a:lnTo>
                  <a:lnTo>
                    <a:pt x="0" y="9"/>
                  </a:lnTo>
                  <a:lnTo>
                    <a:pt x="0" y="9"/>
                  </a:lnTo>
                  <a:lnTo>
                    <a:pt x="0" y="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2" name="Freeform 168">
              <a:extLst>
                <a:ext uri="{FF2B5EF4-FFF2-40B4-BE49-F238E27FC236}">
                  <a16:creationId xmlns:a16="http://schemas.microsoft.com/office/drawing/2014/main" id="{61E05923-47D1-4B7E-A375-FD633590073B}"/>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3" name="Freeform 169">
              <a:extLst>
                <a:ext uri="{FF2B5EF4-FFF2-40B4-BE49-F238E27FC236}">
                  <a16:creationId xmlns:a16="http://schemas.microsoft.com/office/drawing/2014/main" id="{A72F45E2-9551-4994-B62F-95079B8B9109}"/>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4" name="Freeform 170">
              <a:extLst>
                <a:ext uri="{FF2B5EF4-FFF2-40B4-BE49-F238E27FC236}">
                  <a16:creationId xmlns:a16="http://schemas.microsoft.com/office/drawing/2014/main" id="{79094E75-4D0D-4142-BCA5-975601ED8FCB}"/>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5" name="Freeform 171">
              <a:extLst>
                <a:ext uri="{FF2B5EF4-FFF2-40B4-BE49-F238E27FC236}">
                  <a16:creationId xmlns:a16="http://schemas.microsoft.com/office/drawing/2014/main" id="{B8AD8D28-CC9D-411A-A27A-B9B2F9D3173E}"/>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6" name="Freeform 172">
              <a:extLst>
                <a:ext uri="{FF2B5EF4-FFF2-40B4-BE49-F238E27FC236}">
                  <a16:creationId xmlns:a16="http://schemas.microsoft.com/office/drawing/2014/main" id="{7977AA74-C3BB-41E8-A3A2-C96F35F8665A}"/>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7" name="Freeform 173">
              <a:extLst>
                <a:ext uri="{FF2B5EF4-FFF2-40B4-BE49-F238E27FC236}">
                  <a16:creationId xmlns:a16="http://schemas.microsoft.com/office/drawing/2014/main" id="{CC9D1396-EB1E-42BD-B42C-EE7876568CB1}"/>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8" name="Freeform 174">
              <a:extLst>
                <a:ext uri="{FF2B5EF4-FFF2-40B4-BE49-F238E27FC236}">
                  <a16:creationId xmlns:a16="http://schemas.microsoft.com/office/drawing/2014/main" id="{BF91CDA1-8C7A-472F-983D-C88879E0094D}"/>
                </a:ext>
              </a:extLst>
            </p:cNvPr>
            <p:cNvSpPr>
              <a:spLocks noEditPoints="1"/>
            </p:cNvSpPr>
            <p:nvPr/>
          </p:nvSpPr>
          <p:spPr bwMode="auto">
            <a:xfrm>
              <a:off x="2493963" y="3919538"/>
              <a:ext cx="363538" cy="330200"/>
            </a:xfrm>
            <a:custGeom>
              <a:avLst/>
              <a:gdLst/>
              <a:ahLst/>
              <a:cxnLst>
                <a:cxn ang="0">
                  <a:pos x="128" y="208"/>
                </a:cxn>
                <a:cxn ang="0">
                  <a:pos x="153" y="187"/>
                </a:cxn>
                <a:cxn ang="0">
                  <a:pos x="161" y="179"/>
                </a:cxn>
                <a:cxn ang="0">
                  <a:pos x="153" y="158"/>
                </a:cxn>
                <a:cxn ang="0">
                  <a:pos x="147" y="147"/>
                </a:cxn>
                <a:cxn ang="0">
                  <a:pos x="172" y="151"/>
                </a:cxn>
                <a:cxn ang="0">
                  <a:pos x="198" y="142"/>
                </a:cxn>
                <a:cxn ang="0">
                  <a:pos x="208" y="121"/>
                </a:cxn>
                <a:cxn ang="0">
                  <a:pos x="208" y="100"/>
                </a:cxn>
                <a:cxn ang="0">
                  <a:pos x="220" y="95"/>
                </a:cxn>
                <a:cxn ang="0">
                  <a:pos x="217" y="81"/>
                </a:cxn>
                <a:cxn ang="0">
                  <a:pos x="229" y="69"/>
                </a:cxn>
                <a:cxn ang="0">
                  <a:pos x="210" y="67"/>
                </a:cxn>
                <a:cxn ang="0">
                  <a:pos x="201" y="67"/>
                </a:cxn>
                <a:cxn ang="0">
                  <a:pos x="210" y="59"/>
                </a:cxn>
                <a:cxn ang="0">
                  <a:pos x="198" y="50"/>
                </a:cxn>
                <a:cxn ang="0">
                  <a:pos x="186" y="43"/>
                </a:cxn>
                <a:cxn ang="0">
                  <a:pos x="175" y="38"/>
                </a:cxn>
                <a:cxn ang="0">
                  <a:pos x="193" y="33"/>
                </a:cxn>
                <a:cxn ang="0">
                  <a:pos x="172" y="29"/>
                </a:cxn>
                <a:cxn ang="0">
                  <a:pos x="149" y="36"/>
                </a:cxn>
                <a:cxn ang="0">
                  <a:pos x="135" y="41"/>
                </a:cxn>
                <a:cxn ang="0">
                  <a:pos x="99" y="36"/>
                </a:cxn>
                <a:cxn ang="0">
                  <a:pos x="90" y="29"/>
                </a:cxn>
                <a:cxn ang="0">
                  <a:pos x="71" y="19"/>
                </a:cxn>
                <a:cxn ang="0">
                  <a:pos x="62" y="5"/>
                </a:cxn>
                <a:cxn ang="0">
                  <a:pos x="52" y="17"/>
                </a:cxn>
                <a:cxn ang="0">
                  <a:pos x="59" y="22"/>
                </a:cxn>
                <a:cxn ang="0">
                  <a:pos x="48" y="24"/>
                </a:cxn>
                <a:cxn ang="0">
                  <a:pos x="33" y="36"/>
                </a:cxn>
                <a:cxn ang="0">
                  <a:pos x="27" y="60"/>
                </a:cxn>
                <a:cxn ang="0">
                  <a:pos x="22" y="47"/>
                </a:cxn>
                <a:cxn ang="0">
                  <a:pos x="27" y="27"/>
                </a:cxn>
                <a:cxn ang="0">
                  <a:pos x="27" y="15"/>
                </a:cxn>
                <a:cxn ang="0">
                  <a:pos x="24" y="15"/>
                </a:cxn>
                <a:cxn ang="0">
                  <a:pos x="10" y="31"/>
                </a:cxn>
                <a:cxn ang="0">
                  <a:pos x="1" y="55"/>
                </a:cxn>
                <a:cxn ang="0">
                  <a:pos x="17" y="76"/>
                </a:cxn>
                <a:cxn ang="0">
                  <a:pos x="15" y="88"/>
                </a:cxn>
                <a:cxn ang="0">
                  <a:pos x="33" y="95"/>
                </a:cxn>
                <a:cxn ang="0">
                  <a:pos x="52" y="95"/>
                </a:cxn>
                <a:cxn ang="0">
                  <a:pos x="74" y="111"/>
                </a:cxn>
                <a:cxn ang="0">
                  <a:pos x="94" y="111"/>
                </a:cxn>
                <a:cxn ang="0">
                  <a:pos x="99" y="120"/>
                </a:cxn>
                <a:cxn ang="0">
                  <a:pos x="94" y="135"/>
                </a:cxn>
                <a:cxn ang="0">
                  <a:pos x="94" y="151"/>
                </a:cxn>
                <a:cxn ang="0">
                  <a:pos x="97" y="173"/>
                </a:cxn>
                <a:cxn ang="0">
                  <a:pos x="99" y="184"/>
                </a:cxn>
                <a:cxn ang="0">
                  <a:pos x="106" y="200"/>
                </a:cxn>
                <a:cxn ang="0">
                  <a:pos x="90" y="7"/>
                </a:cxn>
                <a:cxn ang="0">
                  <a:pos x="83" y="3"/>
                </a:cxn>
                <a:cxn ang="0">
                  <a:pos x="78" y="5"/>
                </a:cxn>
                <a:cxn ang="0">
                  <a:pos x="71" y="1"/>
                </a:cxn>
                <a:cxn ang="0">
                  <a:pos x="61" y="0"/>
                </a:cxn>
                <a:cxn ang="0">
                  <a:pos x="55" y="0"/>
                </a:cxn>
                <a:cxn ang="0">
                  <a:pos x="163" y="24"/>
                </a:cxn>
                <a:cxn ang="0">
                  <a:pos x="151" y="27"/>
                </a:cxn>
              </a:cxnLst>
              <a:rect l="0" t="0" r="r" b="b"/>
              <a:pathLst>
                <a:path w="229" h="208">
                  <a:moveTo>
                    <a:pt x="106" y="200"/>
                  </a:moveTo>
                  <a:lnTo>
                    <a:pt x="113" y="203"/>
                  </a:lnTo>
                  <a:lnTo>
                    <a:pt x="120" y="208"/>
                  </a:lnTo>
                  <a:lnTo>
                    <a:pt x="121" y="208"/>
                  </a:lnTo>
                  <a:lnTo>
                    <a:pt x="128" y="208"/>
                  </a:lnTo>
                  <a:lnTo>
                    <a:pt x="133" y="203"/>
                  </a:lnTo>
                  <a:lnTo>
                    <a:pt x="140" y="201"/>
                  </a:lnTo>
                  <a:lnTo>
                    <a:pt x="142" y="198"/>
                  </a:lnTo>
                  <a:lnTo>
                    <a:pt x="151" y="193"/>
                  </a:lnTo>
                  <a:lnTo>
                    <a:pt x="153" y="187"/>
                  </a:lnTo>
                  <a:lnTo>
                    <a:pt x="154" y="184"/>
                  </a:lnTo>
                  <a:lnTo>
                    <a:pt x="163" y="184"/>
                  </a:lnTo>
                  <a:lnTo>
                    <a:pt x="166" y="180"/>
                  </a:lnTo>
                  <a:lnTo>
                    <a:pt x="166" y="179"/>
                  </a:lnTo>
                  <a:lnTo>
                    <a:pt x="161" y="179"/>
                  </a:lnTo>
                  <a:lnTo>
                    <a:pt x="156" y="179"/>
                  </a:lnTo>
                  <a:lnTo>
                    <a:pt x="147" y="175"/>
                  </a:lnTo>
                  <a:lnTo>
                    <a:pt x="149" y="170"/>
                  </a:lnTo>
                  <a:lnTo>
                    <a:pt x="147" y="166"/>
                  </a:lnTo>
                  <a:lnTo>
                    <a:pt x="153" y="158"/>
                  </a:lnTo>
                  <a:lnTo>
                    <a:pt x="151" y="156"/>
                  </a:lnTo>
                  <a:lnTo>
                    <a:pt x="147" y="151"/>
                  </a:lnTo>
                  <a:lnTo>
                    <a:pt x="144" y="151"/>
                  </a:lnTo>
                  <a:lnTo>
                    <a:pt x="142" y="147"/>
                  </a:lnTo>
                  <a:lnTo>
                    <a:pt x="147" y="147"/>
                  </a:lnTo>
                  <a:lnTo>
                    <a:pt x="151" y="147"/>
                  </a:lnTo>
                  <a:lnTo>
                    <a:pt x="156" y="151"/>
                  </a:lnTo>
                  <a:lnTo>
                    <a:pt x="163" y="151"/>
                  </a:lnTo>
                  <a:lnTo>
                    <a:pt x="170" y="151"/>
                  </a:lnTo>
                  <a:lnTo>
                    <a:pt x="172" y="151"/>
                  </a:lnTo>
                  <a:lnTo>
                    <a:pt x="179" y="151"/>
                  </a:lnTo>
                  <a:lnTo>
                    <a:pt x="184" y="144"/>
                  </a:lnTo>
                  <a:lnTo>
                    <a:pt x="189" y="144"/>
                  </a:lnTo>
                  <a:lnTo>
                    <a:pt x="189" y="144"/>
                  </a:lnTo>
                  <a:lnTo>
                    <a:pt x="198" y="142"/>
                  </a:lnTo>
                  <a:lnTo>
                    <a:pt x="203" y="142"/>
                  </a:lnTo>
                  <a:lnTo>
                    <a:pt x="213" y="135"/>
                  </a:lnTo>
                  <a:lnTo>
                    <a:pt x="215" y="132"/>
                  </a:lnTo>
                  <a:lnTo>
                    <a:pt x="215" y="128"/>
                  </a:lnTo>
                  <a:lnTo>
                    <a:pt x="208" y="121"/>
                  </a:lnTo>
                  <a:lnTo>
                    <a:pt x="203" y="116"/>
                  </a:lnTo>
                  <a:lnTo>
                    <a:pt x="201" y="111"/>
                  </a:lnTo>
                  <a:lnTo>
                    <a:pt x="205" y="109"/>
                  </a:lnTo>
                  <a:lnTo>
                    <a:pt x="205" y="104"/>
                  </a:lnTo>
                  <a:lnTo>
                    <a:pt x="208" y="100"/>
                  </a:lnTo>
                  <a:lnTo>
                    <a:pt x="212" y="102"/>
                  </a:lnTo>
                  <a:lnTo>
                    <a:pt x="213" y="100"/>
                  </a:lnTo>
                  <a:lnTo>
                    <a:pt x="217" y="102"/>
                  </a:lnTo>
                  <a:lnTo>
                    <a:pt x="220" y="99"/>
                  </a:lnTo>
                  <a:lnTo>
                    <a:pt x="220" y="95"/>
                  </a:lnTo>
                  <a:lnTo>
                    <a:pt x="217" y="92"/>
                  </a:lnTo>
                  <a:lnTo>
                    <a:pt x="215" y="92"/>
                  </a:lnTo>
                  <a:lnTo>
                    <a:pt x="213" y="88"/>
                  </a:lnTo>
                  <a:lnTo>
                    <a:pt x="212" y="86"/>
                  </a:lnTo>
                  <a:lnTo>
                    <a:pt x="217" y="81"/>
                  </a:lnTo>
                  <a:lnTo>
                    <a:pt x="220" y="81"/>
                  </a:lnTo>
                  <a:lnTo>
                    <a:pt x="224" y="78"/>
                  </a:lnTo>
                  <a:lnTo>
                    <a:pt x="229" y="73"/>
                  </a:lnTo>
                  <a:lnTo>
                    <a:pt x="229" y="71"/>
                  </a:lnTo>
                  <a:lnTo>
                    <a:pt x="229" y="69"/>
                  </a:lnTo>
                  <a:lnTo>
                    <a:pt x="220" y="67"/>
                  </a:lnTo>
                  <a:lnTo>
                    <a:pt x="217" y="67"/>
                  </a:lnTo>
                  <a:lnTo>
                    <a:pt x="217" y="67"/>
                  </a:lnTo>
                  <a:lnTo>
                    <a:pt x="213" y="67"/>
                  </a:lnTo>
                  <a:lnTo>
                    <a:pt x="210" y="67"/>
                  </a:lnTo>
                  <a:lnTo>
                    <a:pt x="208" y="67"/>
                  </a:lnTo>
                  <a:lnTo>
                    <a:pt x="201" y="69"/>
                  </a:lnTo>
                  <a:lnTo>
                    <a:pt x="198" y="69"/>
                  </a:lnTo>
                  <a:lnTo>
                    <a:pt x="198" y="69"/>
                  </a:lnTo>
                  <a:lnTo>
                    <a:pt x="201" y="67"/>
                  </a:lnTo>
                  <a:lnTo>
                    <a:pt x="201" y="67"/>
                  </a:lnTo>
                  <a:lnTo>
                    <a:pt x="205" y="66"/>
                  </a:lnTo>
                  <a:lnTo>
                    <a:pt x="206" y="64"/>
                  </a:lnTo>
                  <a:lnTo>
                    <a:pt x="210" y="60"/>
                  </a:lnTo>
                  <a:lnTo>
                    <a:pt x="210" y="59"/>
                  </a:lnTo>
                  <a:lnTo>
                    <a:pt x="208" y="57"/>
                  </a:lnTo>
                  <a:lnTo>
                    <a:pt x="208" y="55"/>
                  </a:lnTo>
                  <a:lnTo>
                    <a:pt x="206" y="55"/>
                  </a:lnTo>
                  <a:lnTo>
                    <a:pt x="201" y="52"/>
                  </a:lnTo>
                  <a:lnTo>
                    <a:pt x="198" y="50"/>
                  </a:lnTo>
                  <a:lnTo>
                    <a:pt x="194" y="47"/>
                  </a:lnTo>
                  <a:lnTo>
                    <a:pt x="194" y="47"/>
                  </a:lnTo>
                  <a:lnTo>
                    <a:pt x="189" y="47"/>
                  </a:lnTo>
                  <a:lnTo>
                    <a:pt x="189" y="45"/>
                  </a:lnTo>
                  <a:lnTo>
                    <a:pt x="186" y="43"/>
                  </a:lnTo>
                  <a:lnTo>
                    <a:pt x="184" y="43"/>
                  </a:lnTo>
                  <a:lnTo>
                    <a:pt x="184" y="47"/>
                  </a:lnTo>
                  <a:lnTo>
                    <a:pt x="180" y="43"/>
                  </a:lnTo>
                  <a:lnTo>
                    <a:pt x="180" y="40"/>
                  </a:lnTo>
                  <a:lnTo>
                    <a:pt x="175" y="38"/>
                  </a:lnTo>
                  <a:lnTo>
                    <a:pt x="175" y="36"/>
                  </a:lnTo>
                  <a:lnTo>
                    <a:pt x="179" y="34"/>
                  </a:lnTo>
                  <a:lnTo>
                    <a:pt x="186" y="34"/>
                  </a:lnTo>
                  <a:lnTo>
                    <a:pt x="187" y="33"/>
                  </a:lnTo>
                  <a:lnTo>
                    <a:pt x="193" y="33"/>
                  </a:lnTo>
                  <a:lnTo>
                    <a:pt x="194" y="29"/>
                  </a:lnTo>
                  <a:lnTo>
                    <a:pt x="189" y="31"/>
                  </a:lnTo>
                  <a:lnTo>
                    <a:pt x="180" y="29"/>
                  </a:lnTo>
                  <a:lnTo>
                    <a:pt x="175" y="29"/>
                  </a:lnTo>
                  <a:lnTo>
                    <a:pt x="172" y="29"/>
                  </a:lnTo>
                  <a:lnTo>
                    <a:pt x="165" y="33"/>
                  </a:lnTo>
                  <a:lnTo>
                    <a:pt x="161" y="31"/>
                  </a:lnTo>
                  <a:lnTo>
                    <a:pt x="158" y="31"/>
                  </a:lnTo>
                  <a:lnTo>
                    <a:pt x="153" y="36"/>
                  </a:lnTo>
                  <a:lnTo>
                    <a:pt x="149" y="36"/>
                  </a:lnTo>
                  <a:lnTo>
                    <a:pt x="144" y="40"/>
                  </a:lnTo>
                  <a:lnTo>
                    <a:pt x="144" y="41"/>
                  </a:lnTo>
                  <a:lnTo>
                    <a:pt x="139" y="41"/>
                  </a:lnTo>
                  <a:lnTo>
                    <a:pt x="137" y="43"/>
                  </a:lnTo>
                  <a:lnTo>
                    <a:pt x="135" y="41"/>
                  </a:lnTo>
                  <a:lnTo>
                    <a:pt x="127" y="36"/>
                  </a:lnTo>
                  <a:lnTo>
                    <a:pt x="125" y="33"/>
                  </a:lnTo>
                  <a:lnTo>
                    <a:pt x="125" y="33"/>
                  </a:lnTo>
                  <a:lnTo>
                    <a:pt x="116" y="33"/>
                  </a:lnTo>
                  <a:lnTo>
                    <a:pt x="99" y="36"/>
                  </a:lnTo>
                  <a:lnTo>
                    <a:pt x="92" y="36"/>
                  </a:lnTo>
                  <a:lnTo>
                    <a:pt x="88" y="34"/>
                  </a:lnTo>
                  <a:lnTo>
                    <a:pt x="87" y="33"/>
                  </a:lnTo>
                  <a:lnTo>
                    <a:pt x="87" y="29"/>
                  </a:lnTo>
                  <a:lnTo>
                    <a:pt x="90" y="29"/>
                  </a:lnTo>
                  <a:lnTo>
                    <a:pt x="88" y="27"/>
                  </a:lnTo>
                  <a:lnTo>
                    <a:pt x="85" y="22"/>
                  </a:lnTo>
                  <a:lnTo>
                    <a:pt x="81" y="19"/>
                  </a:lnTo>
                  <a:lnTo>
                    <a:pt x="74" y="22"/>
                  </a:lnTo>
                  <a:lnTo>
                    <a:pt x="71" y="19"/>
                  </a:lnTo>
                  <a:lnTo>
                    <a:pt x="67" y="19"/>
                  </a:lnTo>
                  <a:lnTo>
                    <a:pt x="66" y="19"/>
                  </a:lnTo>
                  <a:lnTo>
                    <a:pt x="62" y="15"/>
                  </a:lnTo>
                  <a:lnTo>
                    <a:pt x="62" y="10"/>
                  </a:lnTo>
                  <a:lnTo>
                    <a:pt x="62" y="5"/>
                  </a:lnTo>
                  <a:lnTo>
                    <a:pt x="61" y="3"/>
                  </a:lnTo>
                  <a:lnTo>
                    <a:pt x="55" y="5"/>
                  </a:lnTo>
                  <a:lnTo>
                    <a:pt x="52" y="12"/>
                  </a:lnTo>
                  <a:lnTo>
                    <a:pt x="52" y="15"/>
                  </a:lnTo>
                  <a:lnTo>
                    <a:pt x="52" y="17"/>
                  </a:lnTo>
                  <a:lnTo>
                    <a:pt x="55" y="15"/>
                  </a:lnTo>
                  <a:lnTo>
                    <a:pt x="59" y="15"/>
                  </a:lnTo>
                  <a:lnTo>
                    <a:pt x="62" y="19"/>
                  </a:lnTo>
                  <a:lnTo>
                    <a:pt x="62" y="19"/>
                  </a:lnTo>
                  <a:lnTo>
                    <a:pt x="59" y="22"/>
                  </a:lnTo>
                  <a:lnTo>
                    <a:pt x="55" y="19"/>
                  </a:lnTo>
                  <a:lnTo>
                    <a:pt x="54" y="19"/>
                  </a:lnTo>
                  <a:lnTo>
                    <a:pt x="52" y="19"/>
                  </a:lnTo>
                  <a:lnTo>
                    <a:pt x="52" y="22"/>
                  </a:lnTo>
                  <a:lnTo>
                    <a:pt x="48" y="24"/>
                  </a:lnTo>
                  <a:lnTo>
                    <a:pt x="40" y="24"/>
                  </a:lnTo>
                  <a:lnTo>
                    <a:pt x="34" y="27"/>
                  </a:lnTo>
                  <a:lnTo>
                    <a:pt x="31" y="29"/>
                  </a:lnTo>
                  <a:lnTo>
                    <a:pt x="31" y="33"/>
                  </a:lnTo>
                  <a:lnTo>
                    <a:pt x="33" y="36"/>
                  </a:lnTo>
                  <a:lnTo>
                    <a:pt x="33" y="45"/>
                  </a:lnTo>
                  <a:lnTo>
                    <a:pt x="34" y="47"/>
                  </a:lnTo>
                  <a:lnTo>
                    <a:pt x="36" y="52"/>
                  </a:lnTo>
                  <a:lnTo>
                    <a:pt x="33" y="57"/>
                  </a:lnTo>
                  <a:lnTo>
                    <a:pt x="27" y="60"/>
                  </a:lnTo>
                  <a:lnTo>
                    <a:pt x="24" y="60"/>
                  </a:lnTo>
                  <a:lnTo>
                    <a:pt x="24" y="55"/>
                  </a:lnTo>
                  <a:lnTo>
                    <a:pt x="21" y="52"/>
                  </a:lnTo>
                  <a:lnTo>
                    <a:pt x="21" y="47"/>
                  </a:lnTo>
                  <a:lnTo>
                    <a:pt x="22" y="47"/>
                  </a:lnTo>
                  <a:lnTo>
                    <a:pt x="22" y="43"/>
                  </a:lnTo>
                  <a:lnTo>
                    <a:pt x="29" y="36"/>
                  </a:lnTo>
                  <a:lnTo>
                    <a:pt x="29" y="31"/>
                  </a:lnTo>
                  <a:lnTo>
                    <a:pt x="27" y="27"/>
                  </a:lnTo>
                  <a:lnTo>
                    <a:pt x="27" y="27"/>
                  </a:lnTo>
                  <a:lnTo>
                    <a:pt x="27" y="24"/>
                  </a:lnTo>
                  <a:lnTo>
                    <a:pt x="24" y="24"/>
                  </a:lnTo>
                  <a:lnTo>
                    <a:pt x="22" y="19"/>
                  </a:lnTo>
                  <a:lnTo>
                    <a:pt x="24" y="17"/>
                  </a:lnTo>
                  <a:lnTo>
                    <a:pt x="27" y="15"/>
                  </a:lnTo>
                  <a:lnTo>
                    <a:pt x="33" y="15"/>
                  </a:lnTo>
                  <a:lnTo>
                    <a:pt x="36" y="10"/>
                  </a:lnTo>
                  <a:lnTo>
                    <a:pt x="34" y="10"/>
                  </a:lnTo>
                  <a:lnTo>
                    <a:pt x="33" y="12"/>
                  </a:lnTo>
                  <a:lnTo>
                    <a:pt x="24" y="15"/>
                  </a:lnTo>
                  <a:lnTo>
                    <a:pt x="21" y="22"/>
                  </a:lnTo>
                  <a:lnTo>
                    <a:pt x="17" y="24"/>
                  </a:lnTo>
                  <a:lnTo>
                    <a:pt x="15" y="24"/>
                  </a:lnTo>
                  <a:lnTo>
                    <a:pt x="12" y="29"/>
                  </a:lnTo>
                  <a:lnTo>
                    <a:pt x="10" y="31"/>
                  </a:lnTo>
                  <a:lnTo>
                    <a:pt x="5" y="40"/>
                  </a:lnTo>
                  <a:lnTo>
                    <a:pt x="3" y="43"/>
                  </a:lnTo>
                  <a:lnTo>
                    <a:pt x="5" y="47"/>
                  </a:lnTo>
                  <a:lnTo>
                    <a:pt x="3" y="52"/>
                  </a:lnTo>
                  <a:lnTo>
                    <a:pt x="1" y="55"/>
                  </a:lnTo>
                  <a:lnTo>
                    <a:pt x="0" y="59"/>
                  </a:lnTo>
                  <a:lnTo>
                    <a:pt x="3" y="57"/>
                  </a:lnTo>
                  <a:lnTo>
                    <a:pt x="7" y="57"/>
                  </a:lnTo>
                  <a:lnTo>
                    <a:pt x="12" y="71"/>
                  </a:lnTo>
                  <a:lnTo>
                    <a:pt x="17" y="76"/>
                  </a:lnTo>
                  <a:lnTo>
                    <a:pt x="17" y="80"/>
                  </a:lnTo>
                  <a:lnTo>
                    <a:pt x="15" y="83"/>
                  </a:lnTo>
                  <a:lnTo>
                    <a:pt x="15" y="86"/>
                  </a:lnTo>
                  <a:lnTo>
                    <a:pt x="15" y="86"/>
                  </a:lnTo>
                  <a:lnTo>
                    <a:pt x="15" y="88"/>
                  </a:lnTo>
                  <a:lnTo>
                    <a:pt x="17" y="92"/>
                  </a:lnTo>
                  <a:lnTo>
                    <a:pt x="22" y="93"/>
                  </a:lnTo>
                  <a:lnTo>
                    <a:pt x="26" y="95"/>
                  </a:lnTo>
                  <a:lnTo>
                    <a:pt x="29" y="97"/>
                  </a:lnTo>
                  <a:lnTo>
                    <a:pt x="33" y="95"/>
                  </a:lnTo>
                  <a:lnTo>
                    <a:pt x="36" y="95"/>
                  </a:lnTo>
                  <a:lnTo>
                    <a:pt x="40" y="97"/>
                  </a:lnTo>
                  <a:lnTo>
                    <a:pt x="43" y="95"/>
                  </a:lnTo>
                  <a:lnTo>
                    <a:pt x="47" y="95"/>
                  </a:lnTo>
                  <a:lnTo>
                    <a:pt x="52" y="95"/>
                  </a:lnTo>
                  <a:lnTo>
                    <a:pt x="55" y="97"/>
                  </a:lnTo>
                  <a:lnTo>
                    <a:pt x="67" y="111"/>
                  </a:lnTo>
                  <a:lnTo>
                    <a:pt x="74" y="109"/>
                  </a:lnTo>
                  <a:lnTo>
                    <a:pt x="74" y="111"/>
                  </a:lnTo>
                  <a:lnTo>
                    <a:pt x="74" y="111"/>
                  </a:lnTo>
                  <a:lnTo>
                    <a:pt x="78" y="111"/>
                  </a:lnTo>
                  <a:lnTo>
                    <a:pt x="81" y="111"/>
                  </a:lnTo>
                  <a:lnTo>
                    <a:pt x="85" y="111"/>
                  </a:lnTo>
                  <a:lnTo>
                    <a:pt x="88" y="111"/>
                  </a:lnTo>
                  <a:lnTo>
                    <a:pt x="94" y="111"/>
                  </a:lnTo>
                  <a:lnTo>
                    <a:pt x="94" y="109"/>
                  </a:lnTo>
                  <a:lnTo>
                    <a:pt x="97" y="109"/>
                  </a:lnTo>
                  <a:lnTo>
                    <a:pt x="99" y="111"/>
                  </a:lnTo>
                  <a:lnTo>
                    <a:pt x="99" y="116"/>
                  </a:lnTo>
                  <a:lnTo>
                    <a:pt x="99" y="120"/>
                  </a:lnTo>
                  <a:lnTo>
                    <a:pt x="99" y="123"/>
                  </a:lnTo>
                  <a:lnTo>
                    <a:pt x="97" y="125"/>
                  </a:lnTo>
                  <a:lnTo>
                    <a:pt x="94" y="128"/>
                  </a:lnTo>
                  <a:lnTo>
                    <a:pt x="92" y="128"/>
                  </a:lnTo>
                  <a:lnTo>
                    <a:pt x="94" y="135"/>
                  </a:lnTo>
                  <a:lnTo>
                    <a:pt x="94" y="137"/>
                  </a:lnTo>
                  <a:lnTo>
                    <a:pt x="92" y="142"/>
                  </a:lnTo>
                  <a:lnTo>
                    <a:pt x="92" y="147"/>
                  </a:lnTo>
                  <a:lnTo>
                    <a:pt x="94" y="151"/>
                  </a:lnTo>
                  <a:lnTo>
                    <a:pt x="94" y="151"/>
                  </a:lnTo>
                  <a:lnTo>
                    <a:pt x="97" y="161"/>
                  </a:lnTo>
                  <a:lnTo>
                    <a:pt x="92" y="172"/>
                  </a:lnTo>
                  <a:lnTo>
                    <a:pt x="94" y="175"/>
                  </a:lnTo>
                  <a:lnTo>
                    <a:pt x="94" y="175"/>
                  </a:lnTo>
                  <a:lnTo>
                    <a:pt x="97" y="173"/>
                  </a:lnTo>
                  <a:lnTo>
                    <a:pt x="97" y="175"/>
                  </a:lnTo>
                  <a:lnTo>
                    <a:pt x="97" y="175"/>
                  </a:lnTo>
                  <a:lnTo>
                    <a:pt x="99" y="179"/>
                  </a:lnTo>
                  <a:lnTo>
                    <a:pt x="100" y="180"/>
                  </a:lnTo>
                  <a:lnTo>
                    <a:pt x="99" y="184"/>
                  </a:lnTo>
                  <a:lnTo>
                    <a:pt x="100" y="187"/>
                  </a:lnTo>
                  <a:lnTo>
                    <a:pt x="106" y="196"/>
                  </a:lnTo>
                  <a:lnTo>
                    <a:pt x="106" y="200"/>
                  </a:lnTo>
                  <a:lnTo>
                    <a:pt x="106" y="200"/>
                  </a:lnTo>
                  <a:lnTo>
                    <a:pt x="106" y="200"/>
                  </a:lnTo>
                  <a:lnTo>
                    <a:pt x="106" y="200"/>
                  </a:lnTo>
                  <a:lnTo>
                    <a:pt x="106" y="200"/>
                  </a:lnTo>
                  <a:close/>
                  <a:moveTo>
                    <a:pt x="83" y="3"/>
                  </a:moveTo>
                  <a:lnTo>
                    <a:pt x="87" y="3"/>
                  </a:lnTo>
                  <a:lnTo>
                    <a:pt x="90" y="7"/>
                  </a:lnTo>
                  <a:lnTo>
                    <a:pt x="88" y="8"/>
                  </a:lnTo>
                  <a:lnTo>
                    <a:pt x="87" y="7"/>
                  </a:lnTo>
                  <a:lnTo>
                    <a:pt x="85" y="5"/>
                  </a:lnTo>
                  <a:lnTo>
                    <a:pt x="83" y="3"/>
                  </a:lnTo>
                  <a:lnTo>
                    <a:pt x="83" y="3"/>
                  </a:lnTo>
                  <a:lnTo>
                    <a:pt x="83" y="3"/>
                  </a:lnTo>
                  <a:lnTo>
                    <a:pt x="83" y="3"/>
                  </a:lnTo>
                  <a:close/>
                  <a:moveTo>
                    <a:pt x="71" y="1"/>
                  </a:moveTo>
                  <a:lnTo>
                    <a:pt x="74" y="5"/>
                  </a:lnTo>
                  <a:lnTo>
                    <a:pt x="78" y="5"/>
                  </a:lnTo>
                  <a:lnTo>
                    <a:pt x="76" y="7"/>
                  </a:lnTo>
                  <a:lnTo>
                    <a:pt x="71" y="7"/>
                  </a:lnTo>
                  <a:lnTo>
                    <a:pt x="71" y="3"/>
                  </a:lnTo>
                  <a:lnTo>
                    <a:pt x="71" y="1"/>
                  </a:lnTo>
                  <a:lnTo>
                    <a:pt x="71" y="1"/>
                  </a:lnTo>
                  <a:lnTo>
                    <a:pt x="71" y="1"/>
                  </a:lnTo>
                  <a:lnTo>
                    <a:pt x="71" y="1"/>
                  </a:lnTo>
                  <a:close/>
                  <a:moveTo>
                    <a:pt x="55" y="0"/>
                  </a:moveTo>
                  <a:lnTo>
                    <a:pt x="57" y="0"/>
                  </a:lnTo>
                  <a:lnTo>
                    <a:pt x="61" y="0"/>
                  </a:lnTo>
                  <a:lnTo>
                    <a:pt x="57" y="0"/>
                  </a:lnTo>
                  <a:lnTo>
                    <a:pt x="55" y="0"/>
                  </a:lnTo>
                  <a:lnTo>
                    <a:pt x="55" y="0"/>
                  </a:lnTo>
                  <a:lnTo>
                    <a:pt x="55" y="0"/>
                  </a:lnTo>
                  <a:lnTo>
                    <a:pt x="55" y="0"/>
                  </a:lnTo>
                  <a:close/>
                  <a:moveTo>
                    <a:pt x="151" y="27"/>
                  </a:moveTo>
                  <a:lnTo>
                    <a:pt x="154" y="24"/>
                  </a:lnTo>
                  <a:lnTo>
                    <a:pt x="156" y="27"/>
                  </a:lnTo>
                  <a:lnTo>
                    <a:pt x="161" y="24"/>
                  </a:lnTo>
                  <a:lnTo>
                    <a:pt x="163" y="24"/>
                  </a:lnTo>
                  <a:lnTo>
                    <a:pt x="160" y="27"/>
                  </a:lnTo>
                  <a:lnTo>
                    <a:pt x="156" y="27"/>
                  </a:lnTo>
                  <a:lnTo>
                    <a:pt x="153" y="27"/>
                  </a:lnTo>
                  <a:lnTo>
                    <a:pt x="153" y="27"/>
                  </a:lnTo>
                  <a:lnTo>
                    <a:pt x="151" y="27"/>
                  </a:lnTo>
                  <a:lnTo>
                    <a:pt x="151" y="27"/>
                  </a:lnTo>
                  <a:lnTo>
                    <a:pt x="151" y="27"/>
                  </a:lnTo>
                  <a:lnTo>
                    <a:pt x="151" y="2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9" name="Freeform 175">
              <a:extLst>
                <a:ext uri="{FF2B5EF4-FFF2-40B4-BE49-F238E27FC236}">
                  <a16:creationId xmlns:a16="http://schemas.microsoft.com/office/drawing/2014/main" id="{CD094E72-947D-4B74-9B4A-3668600DD2B3}"/>
                </a:ext>
              </a:extLst>
            </p:cNvPr>
            <p:cNvSpPr>
              <a:spLocks noEditPoints="1"/>
            </p:cNvSpPr>
            <p:nvPr/>
          </p:nvSpPr>
          <p:spPr bwMode="auto">
            <a:xfrm>
              <a:off x="2284413" y="4227513"/>
              <a:ext cx="161925" cy="177800"/>
            </a:xfrm>
            <a:custGeom>
              <a:avLst/>
              <a:gdLst/>
              <a:ahLst/>
              <a:cxnLst>
                <a:cxn ang="0">
                  <a:pos x="97" y="26"/>
                </a:cxn>
                <a:cxn ang="0">
                  <a:pos x="93" y="23"/>
                </a:cxn>
                <a:cxn ang="0">
                  <a:pos x="88" y="19"/>
                </a:cxn>
                <a:cxn ang="0">
                  <a:pos x="83" y="21"/>
                </a:cxn>
                <a:cxn ang="0">
                  <a:pos x="80" y="26"/>
                </a:cxn>
                <a:cxn ang="0">
                  <a:pos x="73" y="23"/>
                </a:cxn>
                <a:cxn ang="0">
                  <a:pos x="62" y="19"/>
                </a:cxn>
                <a:cxn ang="0">
                  <a:pos x="62" y="14"/>
                </a:cxn>
                <a:cxn ang="0">
                  <a:pos x="53" y="11"/>
                </a:cxn>
                <a:cxn ang="0">
                  <a:pos x="41" y="2"/>
                </a:cxn>
                <a:cxn ang="0">
                  <a:pos x="36" y="6"/>
                </a:cxn>
                <a:cxn ang="0">
                  <a:pos x="24" y="9"/>
                </a:cxn>
                <a:cxn ang="0">
                  <a:pos x="14" y="12"/>
                </a:cxn>
                <a:cxn ang="0">
                  <a:pos x="15" y="19"/>
                </a:cxn>
                <a:cxn ang="0">
                  <a:pos x="15" y="26"/>
                </a:cxn>
                <a:cxn ang="0">
                  <a:pos x="10" y="35"/>
                </a:cxn>
                <a:cxn ang="0">
                  <a:pos x="7" y="42"/>
                </a:cxn>
                <a:cxn ang="0">
                  <a:pos x="1" y="47"/>
                </a:cxn>
                <a:cxn ang="0">
                  <a:pos x="3" y="54"/>
                </a:cxn>
                <a:cxn ang="0">
                  <a:pos x="3" y="63"/>
                </a:cxn>
                <a:cxn ang="0">
                  <a:pos x="0" y="66"/>
                </a:cxn>
                <a:cxn ang="0">
                  <a:pos x="7" y="72"/>
                </a:cxn>
                <a:cxn ang="0">
                  <a:pos x="12" y="75"/>
                </a:cxn>
                <a:cxn ang="0">
                  <a:pos x="15" y="72"/>
                </a:cxn>
                <a:cxn ang="0">
                  <a:pos x="19" y="66"/>
                </a:cxn>
                <a:cxn ang="0">
                  <a:pos x="19" y="72"/>
                </a:cxn>
                <a:cxn ang="0">
                  <a:pos x="19" y="66"/>
                </a:cxn>
                <a:cxn ang="0">
                  <a:pos x="20" y="72"/>
                </a:cxn>
                <a:cxn ang="0">
                  <a:pos x="20" y="80"/>
                </a:cxn>
                <a:cxn ang="0">
                  <a:pos x="15" y="89"/>
                </a:cxn>
                <a:cxn ang="0">
                  <a:pos x="19" y="94"/>
                </a:cxn>
                <a:cxn ang="0">
                  <a:pos x="12" y="99"/>
                </a:cxn>
                <a:cxn ang="0">
                  <a:pos x="15" y="103"/>
                </a:cxn>
                <a:cxn ang="0">
                  <a:pos x="20" y="105"/>
                </a:cxn>
                <a:cxn ang="0">
                  <a:pos x="29" y="106"/>
                </a:cxn>
                <a:cxn ang="0">
                  <a:pos x="36" y="112"/>
                </a:cxn>
                <a:cxn ang="0">
                  <a:pos x="52" y="84"/>
                </a:cxn>
                <a:cxn ang="0">
                  <a:pos x="74" y="75"/>
                </a:cxn>
                <a:cxn ang="0">
                  <a:pos x="92" y="58"/>
                </a:cxn>
                <a:cxn ang="0">
                  <a:pos x="100" y="47"/>
                </a:cxn>
                <a:cxn ang="0">
                  <a:pos x="102" y="42"/>
                </a:cxn>
                <a:cxn ang="0">
                  <a:pos x="99" y="30"/>
                </a:cxn>
                <a:cxn ang="0">
                  <a:pos x="97" y="26"/>
                </a:cxn>
                <a:cxn ang="0">
                  <a:pos x="97" y="26"/>
                </a:cxn>
                <a:cxn ang="0">
                  <a:pos x="97" y="26"/>
                </a:cxn>
                <a:cxn ang="0">
                  <a:pos x="12" y="80"/>
                </a:cxn>
                <a:cxn ang="0">
                  <a:pos x="15" y="75"/>
                </a:cxn>
                <a:cxn ang="0">
                  <a:pos x="15" y="77"/>
                </a:cxn>
                <a:cxn ang="0">
                  <a:pos x="15" y="84"/>
                </a:cxn>
                <a:cxn ang="0">
                  <a:pos x="14" y="84"/>
                </a:cxn>
                <a:cxn ang="0">
                  <a:pos x="14" y="84"/>
                </a:cxn>
              </a:cxnLst>
              <a:rect l="0" t="0" r="r" b="b"/>
              <a:pathLst>
                <a:path w="102" h="112">
                  <a:moveTo>
                    <a:pt x="97" y="26"/>
                  </a:moveTo>
                  <a:lnTo>
                    <a:pt x="97" y="26"/>
                  </a:lnTo>
                  <a:lnTo>
                    <a:pt x="95" y="25"/>
                  </a:lnTo>
                  <a:lnTo>
                    <a:pt x="93" y="23"/>
                  </a:lnTo>
                  <a:lnTo>
                    <a:pt x="92" y="21"/>
                  </a:lnTo>
                  <a:lnTo>
                    <a:pt x="88" y="19"/>
                  </a:lnTo>
                  <a:lnTo>
                    <a:pt x="85" y="18"/>
                  </a:lnTo>
                  <a:lnTo>
                    <a:pt x="83" y="21"/>
                  </a:lnTo>
                  <a:lnTo>
                    <a:pt x="83" y="25"/>
                  </a:lnTo>
                  <a:lnTo>
                    <a:pt x="80" y="26"/>
                  </a:lnTo>
                  <a:lnTo>
                    <a:pt x="76" y="25"/>
                  </a:lnTo>
                  <a:lnTo>
                    <a:pt x="73" y="23"/>
                  </a:lnTo>
                  <a:lnTo>
                    <a:pt x="67" y="21"/>
                  </a:lnTo>
                  <a:lnTo>
                    <a:pt x="62" y="19"/>
                  </a:lnTo>
                  <a:lnTo>
                    <a:pt x="60" y="18"/>
                  </a:lnTo>
                  <a:lnTo>
                    <a:pt x="62" y="14"/>
                  </a:lnTo>
                  <a:lnTo>
                    <a:pt x="57" y="11"/>
                  </a:lnTo>
                  <a:lnTo>
                    <a:pt x="53" y="11"/>
                  </a:lnTo>
                  <a:lnTo>
                    <a:pt x="48" y="6"/>
                  </a:lnTo>
                  <a:lnTo>
                    <a:pt x="41" y="2"/>
                  </a:lnTo>
                  <a:lnTo>
                    <a:pt x="36" y="0"/>
                  </a:lnTo>
                  <a:lnTo>
                    <a:pt x="36" y="6"/>
                  </a:lnTo>
                  <a:lnTo>
                    <a:pt x="29" y="6"/>
                  </a:lnTo>
                  <a:lnTo>
                    <a:pt x="24" y="9"/>
                  </a:lnTo>
                  <a:lnTo>
                    <a:pt x="19" y="9"/>
                  </a:lnTo>
                  <a:lnTo>
                    <a:pt x="14" y="12"/>
                  </a:lnTo>
                  <a:lnTo>
                    <a:pt x="15" y="16"/>
                  </a:lnTo>
                  <a:lnTo>
                    <a:pt x="15" y="19"/>
                  </a:lnTo>
                  <a:lnTo>
                    <a:pt x="19" y="21"/>
                  </a:lnTo>
                  <a:lnTo>
                    <a:pt x="15" y="26"/>
                  </a:lnTo>
                  <a:lnTo>
                    <a:pt x="10" y="33"/>
                  </a:lnTo>
                  <a:lnTo>
                    <a:pt x="10" y="35"/>
                  </a:lnTo>
                  <a:lnTo>
                    <a:pt x="12" y="39"/>
                  </a:lnTo>
                  <a:lnTo>
                    <a:pt x="7" y="42"/>
                  </a:lnTo>
                  <a:lnTo>
                    <a:pt x="3" y="44"/>
                  </a:lnTo>
                  <a:lnTo>
                    <a:pt x="1" y="47"/>
                  </a:lnTo>
                  <a:lnTo>
                    <a:pt x="1" y="51"/>
                  </a:lnTo>
                  <a:lnTo>
                    <a:pt x="3" y="54"/>
                  </a:lnTo>
                  <a:lnTo>
                    <a:pt x="3" y="58"/>
                  </a:lnTo>
                  <a:lnTo>
                    <a:pt x="3" y="63"/>
                  </a:lnTo>
                  <a:lnTo>
                    <a:pt x="1" y="66"/>
                  </a:lnTo>
                  <a:lnTo>
                    <a:pt x="0" y="66"/>
                  </a:lnTo>
                  <a:lnTo>
                    <a:pt x="1" y="70"/>
                  </a:lnTo>
                  <a:lnTo>
                    <a:pt x="7" y="72"/>
                  </a:lnTo>
                  <a:lnTo>
                    <a:pt x="10" y="75"/>
                  </a:lnTo>
                  <a:lnTo>
                    <a:pt x="12" y="75"/>
                  </a:lnTo>
                  <a:lnTo>
                    <a:pt x="14" y="75"/>
                  </a:lnTo>
                  <a:lnTo>
                    <a:pt x="15" y="72"/>
                  </a:lnTo>
                  <a:lnTo>
                    <a:pt x="15" y="70"/>
                  </a:lnTo>
                  <a:lnTo>
                    <a:pt x="19" y="66"/>
                  </a:lnTo>
                  <a:lnTo>
                    <a:pt x="19" y="70"/>
                  </a:lnTo>
                  <a:lnTo>
                    <a:pt x="19" y="72"/>
                  </a:lnTo>
                  <a:lnTo>
                    <a:pt x="19" y="72"/>
                  </a:lnTo>
                  <a:lnTo>
                    <a:pt x="19" y="66"/>
                  </a:lnTo>
                  <a:lnTo>
                    <a:pt x="20" y="66"/>
                  </a:lnTo>
                  <a:lnTo>
                    <a:pt x="20" y="72"/>
                  </a:lnTo>
                  <a:lnTo>
                    <a:pt x="20" y="77"/>
                  </a:lnTo>
                  <a:lnTo>
                    <a:pt x="20" y="80"/>
                  </a:lnTo>
                  <a:lnTo>
                    <a:pt x="19" y="84"/>
                  </a:lnTo>
                  <a:lnTo>
                    <a:pt x="15" y="89"/>
                  </a:lnTo>
                  <a:lnTo>
                    <a:pt x="15" y="89"/>
                  </a:lnTo>
                  <a:lnTo>
                    <a:pt x="19" y="94"/>
                  </a:lnTo>
                  <a:lnTo>
                    <a:pt x="15" y="96"/>
                  </a:lnTo>
                  <a:lnTo>
                    <a:pt x="12" y="99"/>
                  </a:lnTo>
                  <a:lnTo>
                    <a:pt x="14" y="103"/>
                  </a:lnTo>
                  <a:lnTo>
                    <a:pt x="15" y="103"/>
                  </a:lnTo>
                  <a:lnTo>
                    <a:pt x="19" y="99"/>
                  </a:lnTo>
                  <a:lnTo>
                    <a:pt x="20" y="105"/>
                  </a:lnTo>
                  <a:lnTo>
                    <a:pt x="26" y="105"/>
                  </a:lnTo>
                  <a:lnTo>
                    <a:pt x="29" y="106"/>
                  </a:lnTo>
                  <a:lnTo>
                    <a:pt x="34" y="112"/>
                  </a:lnTo>
                  <a:lnTo>
                    <a:pt x="36" y="112"/>
                  </a:lnTo>
                  <a:lnTo>
                    <a:pt x="40" y="108"/>
                  </a:lnTo>
                  <a:lnTo>
                    <a:pt x="52" y="84"/>
                  </a:lnTo>
                  <a:lnTo>
                    <a:pt x="55" y="79"/>
                  </a:lnTo>
                  <a:lnTo>
                    <a:pt x="74" y="75"/>
                  </a:lnTo>
                  <a:lnTo>
                    <a:pt x="80" y="66"/>
                  </a:lnTo>
                  <a:lnTo>
                    <a:pt x="92" y="58"/>
                  </a:lnTo>
                  <a:lnTo>
                    <a:pt x="97" y="47"/>
                  </a:lnTo>
                  <a:lnTo>
                    <a:pt x="100" y="47"/>
                  </a:lnTo>
                  <a:lnTo>
                    <a:pt x="102" y="44"/>
                  </a:lnTo>
                  <a:lnTo>
                    <a:pt x="102" y="42"/>
                  </a:lnTo>
                  <a:lnTo>
                    <a:pt x="102" y="39"/>
                  </a:lnTo>
                  <a:lnTo>
                    <a:pt x="99" y="30"/>
                  </a:lnTo>
                  <a:lnTo>
                    <a:pt x="99" y="28"/>
                  </a:lnTo>
                  <a:lnTo>
                    <a:pt x="97" y="26"/>
                  </a:lnTo>
                  <a:lnTo>
                    <a:pt x="97" y="26"/>
                  </a:lnTo>
                  <a:lnTo>
                    <a:pt x="97" y="26"/>
                  </a:lnTo>
                  <a:lnTo>
                    <a:pt x="97" y="26"/>
                  </a:lnTo>
                  <a:lnTo>
                    <a:pt x="97" y="26"/>
                  </a:lnTo>
                  <a:close/>
                  <a:moveTo>
                    <a:pt x="14" y="84"/>
                  </a:moveTo>
                  <a:lnTo>
                    <a:pt x="12" y="80"/>
                  </a:lnTo>
                  <a:lnTo>
                    <a:pt x="15" y="77"/>
                  </a:lnTo>
                  <a:lnTo>
                    <a:pt x="15" y="75"/>
                  </a:lnTo>
                  <a:lnTo>
                    <a:pt x="19" y="75"/>
                  </a:lnTo>
                  <a:lnTo>
                    <a:pt x="15" y="77"/>
                  </a:lnTo>
                  <a:lnTo>
                    <a:pt x="15" y="80"/>
                  </a:lnTo>
                  <a:lnTo>
                    <a:pt x="15" y="84"/>
                  </a:lnTo>
                  <a:lnTo>
                    <a:pt x="14" y="84"/>
                  </a:lnTo>
                  <a:lnTo>
                    <a:pt x="14" y="84"/>
                  </a:lnTo>
                  <a:lnTo>
                    <a:pt x="14" y="84"/>
                  </a:lnTo>
                  <a:lnTo>
                    <a:pt x="14" y="8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0" name="Freeform 176">
              <a:extLst>
                <a:ext uri="{FF2B5EF4-FFF2-40B4-BE49-F238E27FC236}">
                  <a16:creationId xmlns:a16="http://schemas.microsoft.com/office/drawing/2014/main" id="{5A483021-41C4-463E-AA14-8AAD7A38D75A}"/>
                </a:ext>
              </a:extLst>
            </p:cNvPr>
            <p:cNvSpPr>
              <a:spLocks/>
            </p:cNvSpPr>
            <p:nvPr/>
          </p:nvSpPr>
          <p:spPr bwMode="auto">
            <a:xfrm>
              <a:off x="2274888" y="4267201"/>
              <a:ext cx="350838" cy="519113"/>
            </a:xfrm>
            <a:custGeom>
              <a:avLst/>
              <a:gdLst/>
              <a:ahLst/>
              <a:cxnLst>
                <a:cxn ang="0">
                  <a:pos x="202" y="191"/>
                </a:cxn>
                <a:cxn ang="0">
                  <a:pos x="188" y="191"/>
                </a:cxn>
                <a:cxn ang="0">
                  <a:pos x="190" y="170"/>
                </a:cxn>
                <a:cxn ang="0">
                  <a:pos x="174" y="174"/>
                </a:cxn>
                <a:cxn ang="0">
                  <a:pos x="153" y="163"/>
                </a:cxn>
                <a:cxn ang="0">
                  <a:pos x="134" y="144"/>
                </a:cxn>
                <a:cxn ang="0">
                  <a:pos x="131" y="132"/>
                </a:cxn>
                <a:cxn ang="0">
                  <a:pos x="132" y="120"/>
                </a:cxn>
                <a:cxn ang="0">
                  <a:pos x="139" y="111"/>
                </a:cxn>
                <a:cxn ang="0">
                  <a:pos x="143" y="95"/>
                </a:cxn>
                <a:cxn ang="0">
                  <a:pos x="155" y="83"/>
                </a:cxn>
                <a:cxn ang="0">
                  <a:pos x="179" y="76"/>
                </a:cxn>
                <a:cxn ang="0">
                  <a:pos x="186" y="73"/>
                </a:cxn>
                <a:cxn ang="0">
                  <a:pos x="193" y="73"/>
                </a:cxn>
                <a:cxn ang="0">
                  <a:pos x="183" y="67"/>
                </a:cxn>
                <a:cxn ang="0">
                  <a:pos x="190" y="45"/>
                </a:cxn>
                <a:cxn ang="0">
                  <a:pos x="181" y="40"/>
                </a:cxn>
                <a:cxn ang="0">
                  <a:pos x="162" y="38"/>
                </a:cxn>
                <a:cxn ang="0">
                  <a:pos x="148" y="41"/>
                </a:cxn>
                <a:cxn ang="0">
                  <a:pos x="143" y="38"/>
                </a:cxn>
                <a:cxn ang="0">
                  <a:pos x="138" y="26"/>
                </a:cxn>
                <a:cxn ang="0">
                  <a:pos x="120" y="14"/>
                </a:cxn>
                <a:cxn ang="0">
                  <a:pos x="112" y="3"/>
                </a:cxn>
                <a:cxn ang="0">
                  <a:pos x="103" y="1"/>
                </a:cxn>
                <a:cxn ang="0">
                  <a:pos x="106" y="17"/>
                </a:cxn>
                <a:cxn ang="0">
                  <a:pos x="86" y="41"/>
                </a:cxn>
                <a:cxn ang="0">
                  <a:pos x="44" y="81"/>
                </a:cxn>
                <a:cxn ang="0">
                  <a:pos x="32" y="76"/>
                </a:cxn>
                <a:cxn ang="0">
                  <a:pos x="20" y="76"/>
                </a:cxn>
                <a:cxn ang="0">
                  <a:pos x="21" y="62"/>
                </a:cxn>
                <a:cxn ang="0">
                  <a:pos x="9" y="67"/>
                </a:cxn>
                <a:cxn ang="0">
                  <a:pos x="0" y="83"/>
                </a:cxn>
                <a:cxn ang="0">
                  <a:pos x="2" y="92"/>
                </a:cxn>
                <a:cxn ang="0">
                  <a:pos x="6" y="104"/>
                </a:cxn>
                <a:cxn ang="0">
                  <a:pos x="7" y="111"/>
                </a:cxn>
                <a:cxn ang="0">
                  <a:pos x="28" y="121"/>
                </a:cxn>
                <a:cxn ang="0">
                  <a:pos x="35" y="137"/>
                </a:cxn>
                <a:cxn ang="0">
                  <a:pos x="47" y="154"/>
                </a:cxn>
                <a:cxn ang="0">
                  <a:pos x="56" y="170"/>
                </a:cxn>
                <a:cxn ang="0">
                  <a:pos x="65" y="191"/>
                </a:cxn>
                <a:cxn ang="0">
                  <a:pos x="66" y="198"/>
                </a:cxn>
                <a:cxn ang="0">
                  <a:pos x="77" y="214"/>
                </a:cxn>
                <a:cxn ang="0">
                  <a:pos x="89" y="231"/>
                </a:cxn>
                <a:cxn ang="0">
                  <a:pos x="93" y="241"/>
                </a:cxn>
                <a:cxn ang="0">
                  <a:pos x="94" y="250"/>
                </a:cxn>
                <a:cxn ang="0">
                  <a:pos x="101" y="259"/>
                </a:cxn>
                <a:cxn ang="0">
                  <a:pos x="113" y="267"/>
                </a:cxn>
                <a:cxn ang="0">
                  <a:pos x="122" y="273"/>
                </a:cxn>
                <a:cxn ang="0">
                  <a:pos x="132" y="281"/>
                </a:cxn>
                <a:cxn ang="0">
                  <a:pos x="143" y="288"/>
                </a:cxn>
                <a:cxn ang="0">
                  <a:pos x="157" y="294"/>
                </a:cxn>
                <a:cxn ang="0">
                  <a:pos x="167" y="300"/>
                </a:cxn>
                <a:cxn ang="0">
                  <a:pos x="176" y="309"/>
                </a:cxn>
                <a:cxn ang="0">
                  <a:pos x="185" y="316"/>
                </a:cxn>
                <a:cxn ang="0">
                  <a:pos x="197" y="327"/>
                </a:cxn>
                <a:cxn ang="0">
                  <a:pos x="211" y="320"/>
                </a:cxn>
                <a:cxn ang="0">
                  <a:pos x="212" y="309"/>
                </a:cxn>
                <a:cxn ang="0">
                  <a:pos x="211" y="306"/>
                </a:cxn>
                <a:cxn ang="0">
                  <a:pos x="221" y="288"/>
                </a:cxn>
                <a:cxn ang="0">
                  <a:pos x="216" y="267"/>
                </a:cxn>
                <a:cxn ang="0">
                  <a:pos x="216" y="245"/>
                </a:cxn>
                <a:cxn ang="0">
                  <a:pos x="221" y="219"/>
                </a:cxn>
                <a:cxn ang="0">
                  <a:pos x="205" y="194"/>
                </a:cxn>
              </a:cxnLst>
              <a:rect l="0" t="0" r="r" b="b"/>
              <a:pathLst>
                <a:path w="221" h="327">
                  <a:moveTo>
                    <a:pt x="205" y="194"/>
                  </a:moveTo>
                  <a:lnTo>
                    <a:pt x="204" y="191"/>
                  </a:lnTo>
                  <a:lnTo>
                    <a:pt x="202" y="191"/>
                  </a:lnTo>
                  <a:lnTo>
                    <a:pt x="202" y="191"/>
                  </a:lnTo>
                  <a:lnTo>
                    <a:pt x="197" y="191"/>
                  </a:lnTo>
                  <a:lnTo>
                    <a:pt x="193" y="194"/>
                  </a:lnTo>
                  <a:lnTo>
                    <a:pt x="192" y="194"/>
                  </a:lnTo>
                  <a:lnTo>
                    <a:pt x="188" y="191"/>
                  </a:lnTo>
                  <a:lnTo>
                    <a:pt x="188" y="186"/>
                  </a:lnTo>
                  <a:lnTo>
                    <a:pt x="188" y="177"/>
                  </a:lnTo>
                  <a:lnTo>
                    <a:pt x="188" y="172"/>
                  </a:lnTo>
                  <a:lnTo>
                    <a:pt x="190" y="170"/>
                  </a:lnTo>
                  <a:lnTo>
                    <a:pt x="190" y="167"/>
                  </a:lnTo>
                  <a:lnTo>
                    <a:pt x="188" y="163"/>
                  </a:lnTo>
                  <a:lnTo>
                    <a:pt x="181" y="167"/>
                  </a:lnTo>
                  <a:lnTo>
                    <a:pt x="174" y="174"/>
                  </a:lnTo>
                  <a:lnTo>
                    <a:pt x="167" y="174"/>
                  </a:lnTo>
                  <a:lnTo>
                    <a:pt x="159" y="174"/>
                  </a:lnTo>
                  <a:lnTo>
                    <a:pt x="157" y="168"/>
                  </a:lnTo>
                  <a:lnTo>
                    <a:pt x="153" y="163"/>
                  </a:lnTo>
                  <a:lnTo>
                    <a:pt x="148" y="163"/>
                  </a:lnTo>
                  <a:lnTo>
                    <a:pt x="139" y="163"/>
                  </a:lnTo>
                  <a:lnTo>
                    <a:pt x="143" y="158"/>
                  </a:lnTo>
                  <a:lnTo>
                    <a:pt x="134" y="144"/>
                  </a:lnTo>
                  <a:lnTo>
                    <a:pt x="129" y="139"/>
                  </a:lnTo>
                  <a:lnTo>
                    <a:pt x="131" y="137"/>
                  </a:lnTo>
                  <a:lnTo>
                    <a:pt x="129" y="135"/>
                  </a:lnTo>
                  <a:lnTo>
                    <a:pt x="131" y="132"/>
                  </a:lnTo>
                  <a:lnTo>
                    <a:pt x="131" y="127"/>
                  </a:lnTo>
                  <a:lnTo>
                    <a:pt x="129" y="125"/>
                  </a:lnTo>
                  <a:lnTo>
                    <a:pt x="132" y="123"/>
                  </a:lnTo>
                  <a:lnTo>
                    <a:pt x="132" y="120"/>
                  </a:lnTo>
                  <a:lnTo>
                    <a:pt x="138" y="116"/>
                  </a:lnTo>
                  <a:lnTo>
                    <a:pt x="139" y="116"/>
                  </a:lnTo>
                  <a:lnTo>
                    <a:pt x="143" y="114"/>
                  </a:lnTo>
                  <a:lnTo>
                    <a:pt x="139" y="111"/>
                  </a:lnTo>
                  <a:lnTo>
                    <a:pt x="139" y="104"/>
                  </a:lnTo>
                  <a:lnTo>
                    <a:pt x="143" y="101"/>
                  </a:lnTo>
                  <a:lnTo>
                    <a:pt x="143" y="99"/>
                  </a:lnTo>
                  <a:lnTo>
                    <a:pt x="143" y="95"/>
                  </a:lnTo>
                  <a:lnTo>
                    <a:pt x="143" y="90"/>
                  </a:lnTo>
                  <a:lnTo>
                    <a:pt x="148" y="88"/>
                  </a:lnTo>
                  <a:lnTo>
                    <a:pt x="152" y="87"/>
                  </a:lnTo>
                  <a:lnTo>
                    <a:pt x="155" y="83"/>
                  </a:lnTo>
                  <a:lnTo>
                    <a:pt x="157" y="81"/>
                  </a:lnTo>
                  <a:lnTo>
                    <a:pt x="159" y="80"/>
                  </a:lnTo>
                  <a:lnTo>
                    <a:pt x="169" y="80"/>
                  </a:lnTo>
                  <a:lnTo>
                    <a:pt x="179" y="76"/>
                  </a:lnTo>
                  <a:lnTo>
                    <a:pt x="179" y="73"/>
                  </a:lnTo>
                  <a:lnTo>
                    <a:pt x="181" y="73"/>
                  </a:lnTo>
                  <a:lnTo>
                    <a:pt x="185" y="73"/>
                  </a:lnTo>
                  <a:lnTo>
                    <a:pt x="186" y="73"/>
                  </a:lnTo>
                  <a:lnTo>
                    <a:pt x="192" y="76"/>
                  </a:lnTo>
                  <a:lnTo>
                    <a:pt x="190" y="76"/>
                  </a:lnTo>
                  <a:lnTo>
                    <a:pt x="193" y="76"/>
                  </a:lnTo>
                  <a:lnTo>
                    <a:pt x="193" y="73"/>
                  </a:lnTo>
                  <a:lnTo>
                    <a:pt x="193" y="67"/>
                  </a:lnTo>
                  <a:lnTo>
                    <a:pt x="192" y="66"/>
                  </a:lnTo>
                  <a:lnTo>
                    <a:pt x="188" y="67"/>
                  </a:lnTo>
                  <a:lnTo>
                    <a:pt x="183" y="67"/>
                  </a:lnTo>
                  <a:lnTo>
                    <a:pt x="183" y="66"/>
                  </a:lnTo>
                  <a:lnTo>
                    <a:pt x="193" y="45"/>
                  </a:lnTo>
                  <a:lnTo>
                    <a:pt x="193" y="45"/>
                  </a:lnTo>
                  <a:lnTo>
                    <a:pt x="190" y="45"/>
                  </a:lnTo>
                  <a:lnTo>
                    <a:pt x="188" y="43"/>
                  </a:lnTo>
                  <a:lnTo>
                    <a:pt x="185" y="41"/>
                  </a:lnTo>
                  <a:lnTo>
                    <a:pt x="183" y="41"/>
                  </a:lnTo>
                  <a:lnTo>
                    <a:pt x="181" y="40"/>
                  </a:lnTo>
                  <a:lnTo>
                    <a:pt x="178" y="40"/>
                  </a:lnTo>
                  <a:lnTo>
                    <a:pt x="171" y="41"/>
                  </a:lnTo>
                  <a:lnTo>
                    <a:pt x="169" y="40"/>
                  </a:lnTo>
                  <a:lnTo>
                    <a:pt x="162" y="38"/>
                  </a:lnTo>
                  <a:lnTo>
                    <a:pt x="159" y="41"/>
                  </a:lnTo>
                  <a:lnTo>
                    <a:pt x="157" y="43"/>
                  </a:lnTo>
                  <a:lnTo>
                    <a:pt x="152" y="43"/>
                  </a:lnTo>
                  <a:lnTo>
                    <a:pt x="148" y="41"/>
                  </a:lnTo>
                  <a:lnTo>
                    <a:pt x="146" y="43"/>
                  </a:lnTo>
                  <a:lnTo>
                    <a:pt x="143" y="41"/>
                  </a:lnTo>
                  <a:lnTo>
                    <a:pt x="143" y="40"/>
                  </a:lnTo>
                  <a:lnTo>
                    <a:pt x="143" y="38"/>
                  </a:lnTo>
                  <a:lnTo>
                    <a:pt x="139" y="33"/>
                  </a:lnTo>
                  <a:lnTo>
                    <a:pt x="139" y="31"/>
                  </a:lnTo>
                  <a:lnTo>
                    <a:pt x="138" y="31"/>
                  </a:lnTo>
                  <a:lnTo>
                    <a:pt x="138" y="26"/>
                  </a:lnTo>
                  <a:lnTo>
                    <a:pt x="134" y="21"/>
                  </a:lnTo>
                  <a:lnTo>
                    <a:pt x="126" y="21"/>
                  </a:lnTo>
                  <a:lnTo>
                    <a:pt x="124" y="21"/>
                  </a:lnTo>
                  <a:lnTo>
                    <a:pt x="120" y="14"/>
                  </a:lnTo>
                  <a:lnTo>
                    <a:pt x="120" y="8"/>
                  </a:lnTo>
                  <a:lnTo>
                    <a:pt x="117" y="7"/>
                  </a:lnTo>
                  <a:lnTo>
                    <a:pt x="115" y="3"/>
                  </a:lnTo>
                  <a:lnTo>
                    <a:pt x="112" y="3"/>
                  </a:lnTo>
                  <a:lnTo>
                    <a:pt x="105" y="1"/>
                  </a:lnTo>
                  <a:lnTo>
                    <a:pt x="103" y="0"/>
                  </a:lnTo>
                  <a:lnTo>
                    <a:pt x="101" y="0"/>
                  </a:lnTo>
                  <a:lnTo>
                    <a:pt x="103" y="1"/>
                  </a:lnTo>
                  <a:lnTo>
                    <a:pt x="103" y="3"/>
                  </a:lnTo>
                  <a:lnTo>
                    <a:pt x="106" y="12"/>
                  </a:lnTo>
                  <a:lnTo>
                    <a:pt x="106" y="15"/>
                  </a:lnTo>
                  <a:lnTo>
                    <a:pt x="106" y="17"/>
                  </a:lnTo>
                  <a:lnTo>
                    <a:pt x="105" y="21"/>
                  </a:lnTo>
                  <a:lnTo>
                    <a:pt x="101" y="21"/>
                  </a:lnTo>
                  <a:lnTo>
                    <a:pt x="98" y="31"/>
                  </a:lnTo>
                  <a:lnTo>
                    <a:pt x="86" y="41"/>
                  </a:lnTo>
                  <a:lnTo>
                    <a:pt x="79" y="48"/>
                  </a:lnTo>
                  <a:lnTo>
                    <a:pt x="61" y="52"/>
                  </a:lnTo>
                  <a:lnTo>
                    <a:pt x="58" y="57"/>
                  </a:lnTo>
                  <a:lnTo>
                    <a:pt x="44" y="81"/>
                  </a:lnTo>
                  <a:lnTo>
                    <a:pt x="42" y="85"/>
                  </a:lnTo>
                  <a:lnTo>
                    <a:pt x="40" y="85"/>
                  </a:lnTo>
                  <a:lnTo>
                    <a:pt x="35" y="80"/>
                  </a:lnTo>
                  <a:lnTo>
                    <a:pt x="32" y="76"/>
                  </a:lnTo>
                  <a:lnTo>
                    <a:pt x="26" y="76"/>
                  </a:lnTo>
                  <a:lnTo>
                    <a:pt x="25" y="73"/>
                  </a:lnTo>
                  <a:lnTo>
                    <a:pt x="21" y="76"/>
                  </a:lnTo>
                  <a:lnTo>
                    <a:pt x="20" y="76"/>
                  </a:lnTo>
                  <a:lnTo>
                    <a:pt x="16" y="73"/>
                  </a:lnTo>
                  <a:lnTo>
                    <a:pt x="20" y="67"/>
                  </a:lnTo>
                  <a:lnTo>
                    <a:pt x="25" y="67"/>
                  </a:lnTo>
                  <a:lnTo>
                    <a:pt x="21" y="62"/>
                  </a:lnTo>
                  <a:lnTo>
                    <a:pt x="20" y="62"/>
                  </a:lnTo>
                  <a:lnTo>
                    <a:pt x="20" y="62"/>
                  </a:lnTo>
                  <a:lnTo>
                    <a:pt x="13" y="66"/>
                  </a:lnTo>
                  <a:lnTo>
                    <a:pt x="9" y="67"/>
                  </a:lnTo>
                  <a:lnTo>
                    <a:pt x="4" y="73"/>
                  </a:lnTo>
                  <a:lnTo>
                    <a:pt x="2" y="80"/>
                  </a:lnTo>
                  <a:lnTo>
                    <a:pt x="0" y="81"/>
                  </a:lnTo>
                  <a:lnTo>
                    <a:pt x="0" y="83"/>
                  </a:lnTo>
                  <a:lnTo>
                    <a:pt x="4" y="85"/>
                  </a:lnTo>
                  <a:lnTo>
                    <a:pt x="4" y="88"/>
                  </a:lnTo>
                  <a:lnTo>
                    <a:pt x="2" y="90"/>
                  </a:lnTo>
                  <a:lnTo>
                    <a:pt x="2" y="92"/>
                  </a:lnTo>
                  <a:lnTo>
                    <a:pt x="6" y="95"/>
                  </a:lnTo>
                  <a:lnTo>
                    <a:pt x="7" y="101"/>
                  </a:lnTo>
                  <a:lnTo>
                    <a:pt x="7" y="104"/>
                  </a:lnTo>
                  <a:lnTo>
                    <a:pt x="6" y="104"/>
                  </a:lnTo>
                  <a:lnTo>
                    <a:pt x="2" y="104"/>
                  </a:lnTo>
                  <a:lnTo>
                    <a:pt x="0" y="107"/>
                  </a:lnTo>
                  <a:lnTo>
                    <a:pt x="4" y="109"/>
                  </a:lnTo>
                  <a:lnTo>
                    <a:pt x="7" y="111"/>
                  </a:lnTo>
                  <a:lnTo>
                    <a:pt x="13" y="114"/>
                  </a:lnTo>
                  <a:lnTo>
                    <a:pt x="16" y="116"/>
                  </a:lnTo>
                  <a:lnTo>
                    <a:pt x="25" y="120"/>
                  </a:lnTo>
                  <a:lnTo>
                    <a:pt x="28" y="121"/>
                  </a:lnTo>
                  <a:lnTo>
                    <a:pt x="28" y="125"/>
                  </a:lnTo>
                  <a:lnTo>
                    <a:pt x="32" y="130"/>
                  </a:lnTo>
                  <a:lnTo>
                    <a:pt x="33" y="135"/>
                  </a:lnTo>
                  <a:lnTo>
                    <a:pt x="35" y="137"/>
                  </a:lnTo>
                  <a:lnTo>
                    <a:pt x="42" y="140"/>
                  </a:lnTo>
                  <a:lnTo>
                    <a:pt x="44" y="146"/>
                  </a:lnTo>
                  <a:lnTo>
                    <a:pt x="47" y="151"/>
                  </a:lnTo>
                  <a:lnTo>
                    <a:pt x="47" y="154"/>
                  </a:lnTo>
                  <a:lnTo>
                    <a:pt x="47" y="160"/>
                  </a:lnTo>
                  <a:lnTo>
                    <a:pt x="51" y="163"/>
                  </a:lnTo>
                  <a:lnTo>
                    <a:pt x="53" y="167"/>
                  </a:lnTo>
                  <a:lnTo>
                    <a:pt x="56" y="170"/>
                  </a:lnTo>
                  <a:lnTo>
                    <a:pt x="58" y="175"/>
                  </a:lnTo>
                  <a:lnTo>
                    <a:pt x="56" y="177"/>
                  </a:lnTo>
                  <a:lnTo>
                    <a:pt x="59" y="182"/>
                  </a:lnTo>
                  <a:lnTo>
                    <a:pt x="65" y="191"/>
                  </a:lnTo>
                  <a:lnTo>
                    <a:pt x="66" y="194"/>
                  </a:lnTo>
                  <a:lnTo>
                    <a:pt x="66" y="194"/>
                  </a:lnTo>
                  <a:lnTo>
                    <a:pt x="66" y="198"/>
                  </a:lnTo>
                  <a:lnTo>
                    <a:pt x="66" y="198"/>
                  </a:lnTo>
                  <a:lnTo>
                    <a:pt x="73" y="205"/>
                  </a:lnTo>
                  <a:lnTo>
                    <a:pt x="75" y="207"/>
                  </a:lnTo>
                  <a:lnTo>
                    <a:pt x="75" y="212"/>
                  </a:lnTo>
                  <a:lnTo>
                    <a:pt x="77" y="214"/>
                  </a:lnTo>
                  <a:lnTo>
                    <a:pt x="82" y="217"/>
                  </a:lnTo>
                  <a:lnTo>
                    <a:pt x="82" y="219"/>
                  </a:lnTo>
                  <a:lnTo>
                    <a:pt x="87" y="227"/>
                  </a:lnTo>
                  <a:lnTo>
                    <a:pt x="89" y="231"/>
                  </a:lnTo>
                  <a:lnTo>
                    <a:pt x="94" y="240"/>
                  </a:lnTo>
                  <a:lnTo>
                    <a:pt x="94" y="241"/>
                  </a:lnTo>
                  <a:lnTo>
                    <a:pt x="94" y="245"/>
                  </a:lnTo>
                  <a:lnTo>
                    <a:pt x="93" y="241"/>
                  </a:lnTo>
                  <a:lnTo>
                    <a:pt x="93" y="245"/>
                  </a:lnTo>
                  <a:lnTo>
                    <a:pt x="93" y="247"/>
                  </a:lnTo>
                  <a:lnTo>
                    <a:pt x="93" y="250"/>
                  </a:lnTo>
                  <a:lnTo>
                    <a:pt x="94" y="250"/>
                  </a:lnTo>
                  <a:lnTo>
                    <a:pt x="98" y="250"/>
                  </a:lnTo>
                  <a:lnTo>
                    <a:pt x="98" y="254"/>
                  </a:lnTo>
                  <a:lnTo>
                    <a:pt x="98" y="254"/>
                  </a:lnTo>
                  <a:lnTo>
                    <a:pt x="101" y="259"/>
                  </a:lnTo>
                  <a:lnTo>
                    <a:pt x="106" y="260"/>
                  </a:lnTo>
                  <a:lnTo>
                    <a:pt x="108" y="264"/>
                  </a:lnTo>
                  <a:lnTo>
                    <a:pt x="110" y="267"/>
                  </a:lnTo>
                  <a:lnTo>
                    <a:pt x="113" y="267"/>
                  </a:lnTo>
                  <a:lnTo>
                    <a:pt x="115" y="269"/>
                  </a:lnTo>
                  <a:lnTo>
                    <a:pt x="117" y="273"/>
                  </a:lnTo>
                  <a:lnTo>
                    <a:pt x="117" y="273"/>
                  </a:lnTo>
                  <a:lnTo>
                    <a:pt x="122" y="273"/>
                  </a:lnTo>
                  <a:lnTo>
                    <a:pt x="124" y="271"/>
                  </a:lnTo>
                  <a:lnTo>
                    <a:pt x="124" y="273"/>
                  </a:lnTo>
                  <a:lnTo>
                    <a:pt x="126" y="278"/>
                  </a:lnTo>
                  <a:lnTo>
                    <a:pt x="132" y="281"/>
                  </a:lnTo>
                  <a:lnTo>
                    <a:pt x="134" y="281"/>
                  </a:lnTo>
                  <a:lnTo>
                    <a:pt x="134" y="285"/>
                  </a:lnTo>
                  <a:lnTo>
                    <a:pt x="138" y="287"/>
                  </a:lnTo>
                  <a:lnTo>
                    <a:pt x="143" y="288"/>
                  </a:lnTo>
                  <a:lnTo>
                    <a:pt x="143" y="287"/>
                  </a:lnTo>
                  <a:lnTo>
                    <a:pt x="146" y="288"/>
                  </a:lnTo>
                  <a:lnTo>
                    <a:pt x="152" y="292"/>
                  </a:lnTo>
                  <a:lnTo>
                    <a:pt x="157" y="294"/>
                  </a:lnTo>
                  <a:lnTo>
                    <a:pt x="160" y="295"/>
                  </a:lnTo>
                  <a:lnTo>
                    <a:pt x="162" y="295"/>
                  </a:lnTo>
                  <a:lnTo>
                    <a:pt x="162" y="297"/>
                  </a:lnTo>
                  <a:lnTo>
                    <a:pt x="167" y="300"/>
                  </a:lnTo>
                  <a:lnTo>
                    <a:pt x="171" y="304"/>
                  </a:lnTo>
                  <a:lnTo>
                    <a:pt x="174" y="306"/>
                  </a:lnTo>
                  <a:lnTo>
                    <a:pt x="176" y="306"/>
                  </a:lnTo>
                  <a:lnTo>
                    <a:pt x="176" y="309"/>
                  </a:lnTo>
                  <a:lnTo>
                    <a:pt x="176" y="311"/>
                  </a:lnTo>
                  <a:lnTo>
                    <a:pt x="176" y="313"/>
                  </a:lnTo>
                  <a:lnTo>
                    <a:pt x="181" y="314"/>
                  </a:lnTo>
                  <a:lnTo>
                    <a:pt x="185" y="316"/>
                  </a:lnTo>
                  <a:lnTo>
                    <a:pt x="190" y="321"/>
                  </a:lnTo>
                  <a:lnTo>
                    <a:pt x="193" y="325"/>
                  </a:lnTo>
                  <a:lnTo>
                    <a:pt x="197" y="327"/>
                  </a:lnTo>
                  <a:lnTo>
                    <a:pt x="197" y="327"/>
                  </a:lnTo>
                  <a:lnTo>
                    <a:pt x="202" y="325"/>
                  </a:lnTo>
                  <a:lnTo>
                    <a:pt x="205" y="321"/>
                  </a:lnTo>
                  <a:lnTo>
                    <a:pt x="207" y="323"/>
                  </a:lnTo>
                  <a:lnTo>
                    <a:pt x="211" y="320"/>
                  </a:lnTo>
                  <a:lnTo>
                    <a:pt x="212" y="318"/>
                  </a:lnTo>
                  <a:lnTo>
                    <a:pt x="209" y="314"/>
                  </a:lnTo>
                  <a:lnTo>
                    <a:pt x="211" y="311"/>
                  </a:lnTo>
                  <a:lnTo>
                    <a:pt x="212" y="309"/>
                  </a:lnTo>
                  <a:lnTo>
                    <a:pt x="214" y="309"/>
                  </a:lnTo>
                  <a:lnTo>
                    <a:pt x="214" y="306"/>
                  </a:lnTo>
                  <a:lnTo>
                    <a:pt x="212" y="306"/>
                  </a:lnTo>
                  <a:lnTo>
                    <a:pt x="211" y="306"/>
                  </a:lnTo>
                  <a:lnTo>
                    <a:pt x="212" y="300"/>
                  </a:lnTo>
                  <a:lnTo>
                    <a:pt x="216" y="297"/>
                  </a:lnTo>
                  <a:lnTo>
                    <a:pt x="221" y="292"/>
                  </a:lnTo>
                  <a:lnTo>
                    <a:pt x="221" y="288"/>
                  </a:lnTo>
                  <a:lnTo>
                    <a:pt x="216" y="278"/>
                  </a:lnTo>
                  <a:lnTo>
                    <a:pt x="216" y="273"/>
                  </a:lnTo>
                  <a:lnTo>
                    <a:pt x="216" y="269"/>
                  </a:lnTo>
                  <a:lnTo>
                    <a:pt x="216" y="267"/>
                  </a:lnTo>
                  <a:lnTo>
                    <a:pt x="216" y="264"/>
                  </a:lnTo>
                  <a:lnTo>
                    <a:pt x="216" y="262"/>
                  </a:lnTo>
                  <a:lnTo>
                    <a:pt x="219" y="255"/>
                  </a:lnTo>
                  <a:lnTo>
                    <a:pt x="216" y="245"/>
                  </a:lnTo>
                  <a:lnTo>
                    <a:pt x="216" y="240"/>
                  </a:lnTo>
                  <a:lnTo>
                    <a:pt x="219" y="234"/>
                  </a:lnTo>
                  <a:lnTo>
                    <a:pt x="219" y="222"/>
                  </a:lnTo>
                  <a:lnTo>
                    <a:pt x="221" y="219"/>
                  </a:lnTo>
                  <a:lnTo>
                    <a:pt x="221" y="214"/>
                  </a:lnTo>
                  <a:lnTo>
                    <a:pt x="205" y="194"/>
                  </a:lnTo>
                  <a:lnTo>
                    <a:pt x="205" y="194"/>
                  </a:lnTo>
                  <a:lnTo>
                    <a:pt x="205"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1" name="Freeform 177">
              <a:extLst>
                <a:ext uri="{FF2B5EF4-FFF2-40B4-BE49-F238E27FC236}">
                  <a16:creationId xmlns:a16="http://schemas.microsoft.com/office/drawing/2014/main" id="{193936D1-773E-4E21-92CA-5B7552C9A0E4}"/>
                </a:ext>
              </a:extLst>
            </p:cNvPr>
            <p:cNvSpPr>
              <a:spLocks/>
            </p:cNvSpPr>
            <p:nvPr/>
          </p:nvSpPr>
          <p:spPr bwMode="auto">
            <a:xfrm>
              <a:off x="2600325" y="4537076"/>
              <a:ext cx="334963" cy="381000"/>
            </a:xfrm>
            <a:custGeom>
              <a:avLst/>
              <a:gdLst/>
              <a:ahLst/>
              <a:cxnLst>
                <a:cxn ang="0">
                  <a:pos x="202" y="176"/>
                </a:cxn>
                <a:cxn ang="0">
                  <a:pos x="200" y="136"/>
                </a:cxn>
                <a:cxn ang="0">
                  <a:pos x="192" y="115"/>
                </a:cxn>
                <a:cxn ang="0">
                  <a:pos x="155" y="96"/>
                </a:cxn>
                <a:cxn ang="0">
                  <a:pos x="157" y="77"/>
                </a:cxn>
                <a:cxn ang="0">
                  <a:pos x="139" y="71"/>
                </a:cxn>
                <a:cxn ang="0">
                  <a:pos x="131" y="63"/>
                </a:cxn>
                <a:cxn ang="0">
                  <a:pos x="115" y="59"/>
                </a:cxn>
                <a:cxn ang="0">
                  <a:pos x="99" y="49"/>
                </a:cxn>
                <a:cxn ang="0">
                  <a:pos x="87" y="49"/>
                </a:cxn>
                <a:cxn ang="0">
                  <a:pos x="77" y="37"/>
                </a:cxn>
                <a:cxn ang="0">
                  <a:pos x="72" y="26"/>
                </a:cxn>
                <a:cxn ang="0">
                  <a:pos x="70" y="7"/>
                </a:cxn>
                <a:cxn ang="0">
                  <a:pos x="65" y="4"/>
                </a:cxn>
                <a:cxn ang="0">
                  <a:pos x="53" y="4"/>
                </a:cxn>
                <a:cxn ang="0">
                  <a:pos x="37" y="17"/>
                </a:cxn>
                <a:cxn ang="0">
                  <a:pos x="23" y="23"/>
                </a:cxn>
                <a:cxn ang="0">
                  <a:pos x="11" y="23"/>
                </a:cxn>
                <a:cxn ang="0">
                  <a:pos x="14" y="50"/>
                </a:cxn>
                <a:cxn ang="0">
                  <a:pos x="11" y="71"/>
                </a:cxn>
                <a:cxn ang="0">
                  <a:pos x="11" y="94"/>
                </a:cxn>
                <a:cxn ang="0">
                  <a:pos x="11" y="101"/>
                </a:cxn>
                <a:cxn ang="0">
                  <a:pos x="14" y="120"/>
                </a:cxn>
                <a:cxn ang="0">
                  <a:pos x="7" y="132"/>
                </a:cxn>
                <a:cxn ang="0">
                  <a:pos x="9" y="137"/>
                </a:cxn>
                <a:cxn ang="0">
                  <a:pos x="11" y="144"/>
                </a:cxn>
                <a:cxn ang="0">
                  <a:pos x="14" y="153"/>
                </a:cxn>
                <a:cxn ang="0">
                  <a:pos x="16" y="164"/>
                </a:cxn>
                <a:cxn ang="0">
                  <a:pos x="28" y="177"/>
                </a:cxn>
                <a:cxn ang="0">
                  <a:pos x="23" y="193"/>
                </a:cxn>
                <a:cxn ang="0">
                  <a:pos x="46" y="240"/>
                </a:cxn>
                <a:cxn ang="0">
                  <a:pos x="54" y="237"/>
                </a:cxn>
                <a:cxn ang="0">
                  <a:pos x="60" y="228"/>
                </a:cxn>
                <a:cxn ang="0">
                  <a:pos x="75" y="223"/>
                </a:cxn>
                <a:cxn ang="0">
                  <a:pos x="86" y="223"/>
                </a:cxn>
                <a:cxn ang="0">
                  <a:pos x="96" y="226"/>
                </a:cxn>
                <a:cxn ang="0">
                  <a:pos x="101" y="235"/>
                </a:cxn>
                <a:cxn ang="0">
                  <a:pos x="101" y="224"/>
                </a:cxn>
                <a:cxn ang="0">
                  <a:pos x="124" y="219"/>
                </a:cxn>
                <a:cxn ang="0">
                  <a:pos x="133" y="209"/>
                </a:cxn>
                <a:cxn ang="0">
                  <a:pos x="131" y="197"/>
                </a:cxn>
                <a:cxn ang="0">
                  <a:pos x="138" y="177"/>
                </a:cxn>
                <a:cxn ang="0">
                  <a:pos x="185" y="170"/>
                </a:cxn>
                <a:cxn ang="0">
                  <a:pos x="200" y="183"/>
                </a:cxn>
              </a:cxnLst>
              <a:rect l="0" t="0" r="r" b="b"/>
              <a:pathLst>
                <a:path w="211" h="240">
                  <a:moveTo>
                    <a:pt x="200" y="183"/>
                  </a:moveTo>
                  <a:lnTo>
                    <a:pt x="202" y="177"/>
                  </a:lnTo>
                  <a:lnTo>
                    <a:pt x="202" y="176"/>
                  </a:lnTo>
                  <a:lnTo>
                    <a:pt x="211" y="158"/>
                  </a:lnTo>
                  <a:lnTo>
                    <a:pt x="211" y="151"/>
                  </a:lnTo>
                  <a:lnTo>
                    <a:pt x="200" y="136"/>
                  </a:lnTo>
                  <a:lnTo>
                    <a:pt x="192" y="132"/>
                  </a:lnTo>
                  <a:lnTo>
                    <a:pt x="192" y="127"/>
                  </a:lnTo>
                  <a:lnTo>
                    <a:pt x="192" y="115"/>
                  </a:lnTo>
                  <a:lnTo>
                    <a:pt x="162" y="115"/>
                  </a:lnTo>
                  <a:lnTo>
                    <a:pt x="162" y="108"/>
                  </a:lnTo>
                  <a:lnTo>
                    <a:pt x="155" y="96"/>
                  </a:lnTo>
                  <a:lnTo>
                    <a:pt x="157" y="92"/>
                  </a:lnTo>
                  <a:lnTo>
                    <a:pt x="157" y="85"/>
                  </a:lnTo>
                  <a:lnTo>
                    <a:pt x="157" y="77"/>
                  </a:lnTo>
                  <a:lnTo>
                    <a:pt x="155" y="73"/>
                  </a:lnTo>
                  <a:lnTo>
                    <a:pt x="150" y="71"/>
                  </a:lnTo>
                  <a:lnTo>
                    <a:pt x="139" y="71"/>
                  </a:lnTo>
                  <a:lnTo>
                    <a:pt x="134" y="70"/>
                  </a:lnTo>
                  <a:lnTo>
                    <a:pt x="131" y="68"/>
                  </a:lnTo>
                  <a:lnTo>
                    <a:pt x="131" y="63"/>
                  </a:lnTo>
                  <a:lnTo>
                    <a:pt x="127" y="61"/>
                  </a:lnTo>
                  <a:lnTo>
                    <a:pt x="119" y="59"/>
                  </a:lnTo>
                  <a:lnTo>
                    <a:pt x="115" y="59"/>
                  </a:lnTo>
                  <a:lnTo>
                    <a:pt x="110" y="54"/>
                  </a:lnTo>
                  <a:lnTo>
                    <a:pt x="105" y="54"/>
                  </a:lnTo>
                  <a:lnTo>
                    <a:pt x="99" y="49"/>
                  </a:lnTo>
                  <a:lnTo>
                    <a:pt x="93" y="50"/>
                  </a:lnTo>
                  <a:lnTo>
                    <a:pt x="91" y="50"/>
                  </a:lnTo>
                  <a:lnTo>
                    <a:pt x="87" y="49"/>
                  </a:lnTo>
                  <a:lnTo>
                    <a:pt x="82" y="45"/>
                  </a:lnTo>
                  <a:lnTo>
                    <a:pt x="79" y="44"/>
                  </a:lnTo>
                  <a:lnTo>
                    <a:pt x="77" y="37"/>
                  </a:lnTo>
                  <a:lnTo>
                    <a:pt x="73" y="35"/>
                  </a:lnTo>
                  <a:lnTo>
                    <a:pt x="70" y="28"/>
                  </a:lnTo>
                  <a:lnTo>
                    <a:pt x="72" y="26"/>
                  </a:lnTo>
                  <a:lnTo>
                    <a:pt x="70" y="17"/>
                  </a:lnTo>
                  <a:lnTo>
                    <a:pt x="72" y="12"/>
                  </a:lnTo>
                  <a:lnTo>
                    <a:pt x="70" y="7"/>
                  </a:lnTo>
                  <a:lnTo>
                    <a:pt x="70" y="4"/>
                  </a:lnTo>
                  <a:lnTo>
                    <a:pt x="68" y="0"/>
                  </a:lnTo>
                  <a:lnTo>
                    <a:pt x="65" y="4"/>
                  </a:lnTo>
                  <a:lnTo>
                    <a:pt x="61" y="0"/>
                  </a:lnTo>
                  <a:lnTo>
                    <a:pt x="56" y="0"/>
                  </a:lnTo>
                  <a:lnTo>
                    <a:pt x="53" y="4"/>
                  </a:lnTo>
                  <a:lnTo>
                    <a:pt x="47" y="4"/>
                  </a:lnTo>
                  <a:lnTo>
                    <a:pt x="39" y="10"/>
                  </a:lnTo>
                  <a:lnTo>
                    <a:pt x="37" y="17"/>
                  </a:lnTo>
                  <a:lnTo>
                    <a:pt x="32" y="19"/>
                  </a:lnTo>
                  <a:lnTo>
                    <a:pt x="27" y="19"/>
                  </a:lnTo>
                  <a:lnTo>
                    <a:pt x="23" y="23"/>
                  </a:lnTo>
                  <a:lnTo>
                    <a:pt x="20" y="23"/>
                  </a:lnTo>
                  <a:lnTo>
                    <a:pt x="14" y="26"/>
                  </a:lnTo>
                  <a:lnTo>
                    <a:pt x="11" y="23"/>
                  </a:lnTo>
                  <a:lnTo>
                    <a:pt x="0" y="26"/>
                  </a:lnTo>
                  <a:lnTo>
                    <a:pt x="14" y="45"/>
                  </a:lnTo>
                  <a:lnTo>
                    <a:pt x="14" y="50"/>
                  </a:lnTo>
                  <a:lnTo>
                    <a:pt x="14" y="54"/>
                  </a:lnTo>
                  <a:lnTo>
                    <a:pt x="14" y="66"/>
                  </a:lnTo>
                  <a:lnTo>
                    <a:pt x="11" y="71"/>
                  </a:lnTo>
                  <a:lnTo>
                    <a:pt x="11" y="77"/>
                  </a:lnTo>
                  <a:lnTo>
                    <a:pt x="14" y="87"/>
                  </a:lnTo>
                  <a:lnTo>
                    <a:pt x="11" y="94"/>
                  </a:lnTo>
                  <a:lnTo>
                    <a:pt x="11" y="96"/>
                  </a:lnTo>
                  <a:lnTo>
                    <a:pt x="11" y="99"/>
                  </a:lnTo>
                  <a:lnTo>
                    <a:pt x="11" y="101"/>
                  </a:lnTo>
                  <a:lnTo>
                    <a:pt x="11" y="104"/>
                  </a:lnTo>
                  <a:lnTo>
                    <a:pt x="11" y="108"/>
                  </a:lnTo>
                  <a:lnTo>
                    <a:pt x="14" y="120"/>
                  </a:lnTo>
                  <a:lnTo>
                    <a:pt x="14" y="124"/>
                  </a:lnTo>
                  <a:lnTo>
                    <a:pt x="11" y="127"/>
                  </a:lnTo>
                  <a:lnTo>
                    <a:pt x="7" y="132"/>
                  </a:lnTo>
                  <a:lnTo>
                    <a:pt x="6" y="136"/>
                  </a:lnTo>
                  <a:lnTo>
                    <a:pt x="7" y="137"/>
                  </a:lnTo>
                  <a:lnTo>
                    <a:pt x="9" y="137"/>
                  </a:lnTo>
                  <a:lnTo>
                    <a:pt x="9" y="141"/>
                  </a:lnTo>
                  <a:lnTo>
                    <a:pt x="11" y="141"/>
                  </a:lnTo>
                  <a:lnTo>
                    <a:pt x="11" y="144"/>
                  </a:lnTo>
                  <a:lnTo>
                    <a:pt x="14" y="148"/>
                  </a:lnTo>
                  <a:lnTo>
                    <a:pt x="14" y="150"/>
                  </a:lnTo>
                  <a:lnTo>
                    <a:pt x="14" y="153"/>
                  </a:lnTo>
                  <a:lnTo>
                    <a:pt x="14" y="155"/>
                  </a:lnTo>
                  <a:lnTo>
                    <a:pt x="14" y="158"/>
                  </a:lnTo>
                  <a:lnTo>
                    <a:pt x="16" y="164"/>
                  </a:lnTo>
                  <a:lnTo>
                    <a:pt x="18" y="167"/>
                  </a:lnTo>
                  <a:lnTo>
                    <a:pt x="27" y="174"/>
                  </a:lnTo>
                  <a:lnTo>
                    <a:pt x="28" y="177"/>
                  </a:lnTo>
                  <a:lnTo>
                    <a:pt x="25" y="183"/>
                  </a:lnTo>
                  <a:lnTo>
                    <a:pt x="27" y="186"/>
                  </a:lnTo>
                  <a:lnTo>
                    <a:pt x="23" y="193"/>
                  </a:lnTo>
                  <a:lnTo>
                    <a:pt x="25" y="198"/>
                  </a:lnTo>
                  <a:lnTo>
                    <a:pt x="33" y="205"/>
                  </a:lnTo>
                  <a:lnTo>
                    <a:pt x="46" y="240"/>
                  </a:lnTo>
                  <a:lnTo>
                    <a:pt x="51" y="240"/>
                  </a:lnTo>
                  <a:lnTo>
                    <a:pt x="53" y="237"/>
                  </a:lnTo>
                  <a:lnTo>
                    <a:pt x="54" y="237"/>
                  </a:lnTo>
                  <a:lnTo>
                    <a:pt x="54" y="237"/>
                  </a:lnTo>
                  <a:lnTo>
                    <a:pt x="56" y="235"/>
                  </a:lnTo>
                  <a:lnTo>
                    <a:pt x="60" y="228"/>
                  </a:lnTo>
                  <a:lnTo>
                    <a:pt x="65" y="221"/>
                  </a:lnTo>
                  <a:lnTo>
                    <a:pt x="70" y="219"/>
                  </a:lnTo>
                  <a:lnTo>
                    <a:pt x="75" y="223"/>
                  </a:lnTo>
                  <a:lnTo>
                    <a:pt x="79" y="223"/>
                  </a:lnTo>
                  <a:lnTo>
                    <a:pt x="82" y="221"/>
                  </a:lnTo>
                  <a:lnTo>
                    <a:pt x="86" y="223"/>
                  </a:lnTo>
                  <a:lnTo>
                    <a:pt x="93" y="221"/>
                  </a:lnTo>
                  <a:lnTo>
                    <a:pt x="96" y="221"/>
                  </a:lnTo>
                  <a:lnTo>
                    <a:pt x="96" y="226"/>
                  </a:lnTo>
                  <a:lnTo>
                    <a:pt x="99" y="235"/>
                  </a:lnTo>
                  <a:lnTo>
                    <a:pt x="99" y="237"/>
                  </a:lnTo>
                  <a:lnTo>
                    <a:pt x="101" y="235"/>
                  </a:lnTo>
                  <a:lnTo>
                    <a:pt x="101" y="231"/>
                  </a:lnTo>
                  <a:lnTo>
                    <a:pt x="101" y="228"/>
                  </a:lnTo>
                  <a:lnTo>
                    <a:pt x="101" y="224"/>
                  </a:lnTo>
                  <a:lnTo>
                    <a:pt x="105" y="219"/>
                  </a:lnTo>
                  <a:lnTo>
                    <a:pt x="115" y="219"/>
                  </a:lnTo>
                  <a:lnTo>
                    <a:pt x="124" y="219"/>
                  </a:lnTo>
                  <a:lnTo>
                    <a:pt x="127" y="223"/>
                  </a:lnTo>
                  <a:lnTo>
                    <a:pt x="127" y="217"/>
                  </a:lnTo>
                  <a:lnTo>
                    <a:pt x="133" y="209"/>
                  </a:lnTo>
                  <a:lnTo>
                    <a:pt x="133" y="203"/>
                  </a:lnTo>
                  <a:lnTo>
                    <a:pt x="133" y="198"/>
                  </a:lnTo>
                  <a:lnTo>
                    <a:pt x="131" y="197"/>
                  </a:lnTo>
                  <a:lnTo>
                    <a:pt x="136" y="190"/>
                  </a:lnTo>
                  <a:lnTo>
                    <a:pt x="138" y="183"/>
                  </a:lnTo>
                  <a:lnTo>
                    <a:pt x="138" y="177"/>
                  </a:lnTo>
                  <a:lnTo>
                    <a:pt x="143" y="177"/>
                  </a:lnTo>
                  <a:lnTo>
                    <a:pt x="166" y="170"/>
                  </a:lnTo>
                  <a:lnTo>
                    <a:pt x="185" y="170"/>
                  </a:lnTo>
                  <a:lnTo>
                    <a:pt x="195" y="177"/>
                  </a:lnTo>
                  <a:lnTo>
                    <a:pt x="199" y="177"/>
                  </a:lnTo>
                  <a:lnTo>
                    <a:pt x="200" y="183"/>
                  </a:lnTo>
                  <a:lnTo>
                    <a:pt x="200" y="183"/>
                  </a:lnTo>
                  <a:lnTo>
                    <a:pt x="200" y="1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2" name="Freeform 178">
              <a:extLst>
                <a:ext uri="{FF2B5EF4-FFF2-40B4-BE49-F238E27FC236}">
                  <a16:creationId xmlns:a16="http://schemas.microsoft.com/office/drawing/2014/main" id="{73BD4D27-C7EC-4CC7-A270-735DDF33F51F}"/>
                </a:ext>
              </a:extLst>
            </p:cNvPr>
            <p:cNvSpPr>
              <a:spLocks/>
            </p:cNvSpPr>
            <p:nvPr/>
          </p:nvSpPr>
          <p:spPr bwMode="auto">
            <a:xfrm>
              <a:off x="2801938" y="4806951"/>
              <a:ext cx="231775" cy="241300"/>
            </a:xfrm>
            <a:custGeom>
              <a:avLst/>
              <a:gdLst/>
              <a:ahLst/>
              <a:cxnLst>
                <a:cxn ang="0">
                  <a:pos x="2" y="47"/>
                </a:cxn>
                <a:cxn ang="0">
                  <a:pos x="6" y="33"/>
                </a:cxn>
                <a:cxn ang="0">
                  <a:pos x="6" y="27"/>
                </a:cxn>
                <a:cxn ang="0">
                  <a:pos x="11" y="13"/>
                </a:cxn>
                <a:cxn ang="0">
                  <a:pos x="16" y="7"/>
                </a:cxn>
                <a:cxn ang="0">
                  <a:pos x="59" y="0"/>
                </a:cxn>
                <a:cxn ang="0">
                  <a:pos x="73" y="9"/>
                </a:cxn>
                <a:cxn ang="0">
                  <a:pos x="75" y="16"/>
                </a:cxn>
                <a:cxn ang="0">
                  <a:pos x="78" y="25"/>
                </a:cxn>
                <a:cxn ang="0">
                  <a:pos x="82" y="42"/>
                </a:cxn>
                <a:cxn ang="0">
                  <a:pos x="82" y="47"/>
                </a:cxn>
                <a:cxn ang="0">
                  <a:pos x="87" y="51"/>
                </a:cxn>
                <a:cxn ang="0">
                  <a:pos x="99" y="53"/>
                </a:cxn>
                <a:cxn ang="0">
                  <a:pos x="112" y="51"/>
                </a:cxn>
                <a:cxn ang="0">
                  <a:pos x="118" y="54"/>
                </a:cxn>
                <a:cxn ang="0">
                  <a:pos x="125" y="77"/>
                </a:cxn>
                <a:cxn ang="0">
                  <a:pos x="129" y="84"/>
                </a:cxn>
                <a:cxn ang="0">
                  <a:pos x="141" y="82"/>
                </a:cxn>
                <a:cxn ang="0">
                  <a:pos x="146" y="84"/>
                </a:cxn>
                <a:cxn ang="0">
                  <a:pos x="145" y="105"/>
                </a:cxn>
                <a:cxn ang="0">
                  <a:pos x="143" y="107"/>
                </a:cxn>
                <a:cxn ang="0">
                  <a:pos x="143" y="110"/>
                </a:cxn>
                <a:cxn ang="0">
                  <a:pos x="141" y="112"/>
                </a:cxn>
                <a:cxn ang="0">
                  <a:pos x="141" y="119"/>
                </a:cxn>
                <a:cxn ang="0">
                  <a:pos x="138" y="129"/>
                </a:cxn>
                <a:cxn ang="0">
                  <a:pos x="136" y="134"/>
                </a:cxn>
                <a:cxn ang="0">
                  <a:pos x="125" y="145"/>
                </a:cxn>
                <a:cxn ang="0">
                  <a:pos x="118" y="148"/>
                </a:cxn>
                <a:cxn ang="0">
                  <a:pos x="113" y="152"/>
                </a:cxn>
                <a:cxn ang="0">
                  <a:pos x="110" y="152"/>
                </a:cxn>
                <a:cxn ang="0">
                  <a:pos x="99" y="150"/>
                </a:cxn>
                <a:cxn ang="0">
                  <a:pos x="77" y="148"/>
                </a:cxn>
                <a:cxn ang="0">
                  <a:pos x="75" y="145"/>
                </a:cxn>
                <a:cxn ang="0">
                  <a:pos x="82" y="133"/>
                </a:cxn>
                <a:cxn ang="0">
                  <a:pos x="82" y="126"/>
                </a:cxn>
                <a:cxn ang="0">
                  <a:pos x="89" y="119"/>
                </a:cxn>
                <a:cxn ang="0">
                  <a:pos x="87" y="112"/>
                </a:cxn>
                <a:cxn ang="0">
                  <a:pos x="78" y="103"/>
                </a:cxn>
                <a:cxn ang="0">
                  <a:pos x="61" y="98"/>
                </a:cxn>
                <a:cxn ang="0">
                  <a:pos x="51" y="93"/>
                </a:cxn>
                <a:cxn ang="0">
                  <a:pos x="33" y="84"/>
                </a:cxn>
                <a:cxn ang="0">
                  <a:pos x="28" y="77"/>
                </a:cxn>
                <a:cxn ang="0">
                  <a:pos x="11" y="65"/>
                </a:cxn>
                <a:cxn ang="0">
                  <a:pos x="6" y="58"/>
                </a:cxn>
                <a:cxn ang="0">
                  <a:pos x="0" y="53"/>
                </a:cxn>
                <a:cxn ang="0">
                  <a:pos x="0" y="53"/>
                </a:cxn>
              </a:cxnLst>
              <a:rect l="0" t="0" r="r" b="b"/>
              <a:pathLst>
                <a:path w="146" h="152">
                  <a:moveTo>
                    <a:pt x="0" y="53"/>
                  </a:moveTo>
                  <a:lnTo>
                    <a:pt x="2" y="47"/>
                  </a:lnTo>
                  <a:lnTo>
                    <a:pt x="6" y="39"/>
                  </a:lnTo>
                  <a:lnTo>
                    <a:pt x="6" y="33"/>
                  </a:lnTo>
                  <a:lnTo>
                    <a:pt x="6" y="28"/>
                  </a:lnTo>
                  <a:lnTo>
                    <a:pt x="6" y="27"/>
                  </a:lnTo>
                  <a:lnTo>
                    <a:pt x="9" y="20"/>
                  </a:lnTo>
                  <a:lnTo>
                    <a:pt x="11" y="13"/>
                  </a:lnTo>
                  <a:lnTo>
                    <a:pt x="11" y="9"/>
                  </a:lnTo>
                  <a:lnTo>
                    <a:pt x="16" y="7"/>
                  </a:lnTo>
                  <a:lnTo>
                    <a:pt x="39" y="0"/>
                  </a:lnTo>
                  <a:lnTo>
                    <a:pt x="59" y="0"/>
                  </a:lnTo>
                  <a:lnTo>
                    <a:pt x="70" y="9"/>
                  </a:lnTo>
                  <a:lnTo>
                    <a:pt x="73" y="9"/>
                  </a:lnTo>
                  <a:lnTo>
                    <a:pt x="77" y="13"/>
                  </a:lnTo>
                  <a:lnTo>
                    <a:pt x="75" y="16"/>
                  </a:lnTo>
                  <a:lnTo>
                    <a:pt x="78" y="20"/>
                  </a:lnTo>
                  <a:lnTo>
                    <a:pt x="78" y="25"/>
                  </a:lnTo>
                  <a:lnTo>
                    <a:pt x="82" y="30"/>
                  </a:lnTo>
                  <a:lnTo>
                    <a:pt x="82" y="42"/>
                  </a:lnTo>
                  <a:lnTo>
                    <a:pt x="82" y="44"/>
                  </a:lnTo>
                  <a:lnTo>
                    <a:pt x="82" y="47"/>
                  </a:lnTo>
                  <a:lnTo>
                    <a:pt x="82" y="53"/>
                  </a:lnTo>
                  <a:lnTo>
                    <a:pt x="87" y="51"/>
                  </a:lnTo>
                  <a:lnTo>
                    <a:pt x="91" y="53"/>
                  </a:lnTo>
                  <a:lnTo>
                    <a:pt x="99" y="53"/>
                  </a:lnTo>
                  <a:lnTo>
                    <a:pt x="105" y="54"/>
                  </a:lnTo>
                  <a:lnTo>
                    <a:pt x="112" y="51"/>
                  </a:lnTo>
                  <a:lnTo>
                    <a:pt x="115" y="54"/>
                  </a:lnTo>
                  <a:lnTo>
                    <a:pt x="118" y="54"/>
                  </a:lnTo>
                  <a:lnTo>
                    <a:pt x="120" y="58"/>
                  </a:lnTo>
                  <a:lnTo>
                    <a:pt x="125" y="77"/>
                  </a:lnTo>
                  <a:lnTo>
                    <a:pt x="129" y="84"/>
                  </a:lnTo>
                  <a:lnTo>
                    <a:pt x="129" y="84"/>
                  </a:lnTo>
                  <a:lnTo>
                    <a:pt x="138" y="80"/>
                  </a:lnTo>
                  <a:lnTo>
                    <a:pt x="141" y="82"/>
                  </a:lnTo>
                  <a:lnTo>
                    <a:pt x="145" y="84"/>
                  </a:lnTo>
                  <a:lnTo>
                    <a:pt x="146" y="84"/>
                  </a:lnTo>
                  <a:lnTo>
                    <a:pt x="145" y="87"/>
                  </a:lnTo>
                  <a:lnTo>
                    <a:pt x="145" y="105"/>
                  </a:lnTo>
                  <a:lnTo>
                    <a:pt x="143" y="107"/>
                  </a:lnTo>
                  <a:lnTo>
                    <a:pt x="143" y="107"/>
                  </a:lnTo>
                  <a:lnTo>
                    <a:pt x="143" y="107"/>
                  </a:lnTo>
                  <a:lnTo>
                    <a:pt x="143" y="110"/>
                  </a:lnTo>
                  <a:lnTo>
                    <a:pt x="143" y="112"/>
                  </a:lnTo>
                  <a:lnTo>
                    <a:pt x="141" y="112"/>
                  </a:lnTo>
                  <a:lnTo>
                    <a:pt x="141" y="117"/>
                  </a:lnTo>
                  <a:lnTo>
                    <a:pt x="141" y="119"/>
                  </a:lnTo>
                  <a:lnTo>
                    <a:pt x="141" y="126"/>
                  </a:lnTo>
                  <a:lnTo>
                    <a:pt x="138" y="129"/>
                  </a:lnTo>
                  <a:lnTo>
                    <a:pt x="136" y="133"/>
                  </a:lnTo>
                  <a:lnTo>
                    <a:pt x="136" y="134"/>
                  </a:lnTo>
                  <a:lnTo>
                    <a:pt x="127" y="141"/>
                  </a:lnTo>
                  <a:lnTo>
                    <a:pt x="125" y="145"/>
                  </a:lnTo>
                  <a:lnTo>
                    <a:pt x="124" y="150"/>
                  </a:lnTo>
                  <a:lnTo>
                    <a:pt x="118" y="148"/>
                  </a:lnTo>
                  <a:lnTo>
                    <a:pt x="117" y="150"/>
                  </a:lnTo>
                  <a:lnTo>
                    <a:pt x="113" y="152"/>
                  </a:lnTo>
                  <a:lnTo>
                    <a:pt x="112" y="152"/>
                  </a:lnTo>
                  <a:lnTo>
                    <a:pt x="110" y="152"/>
                  </a:lnTo>
                  <a:lnTo>
                    <a:pt x="106" y="152"/>
                  </a:lnTo>
                  <a:lnTo>
                    <a:pt x="99" y="150"/>
                  </a:lnTo>
                  <a:lnTo>
                    <a:pt x="89" y="147"/>
                  </a:lnTo>
                  <a:lnTo>
                    <a:pt x="77" y="148"/>
                  </a:lnTo>
                  <a:lnTo>
                    <a:pt x="75" y="148"/>
                  </a:lnTo>
                  <a:lnTo>
                    <a:pt x="75" y="145"/>
                  </a:lnTo>
                  <a:lnTo>
                    <a:pt x="78" y="138"/>
                  </a:lnTo>
                  <a:lnTo>
                    <a:pt x="82" y="133"/>
                  </a:lnTo>
                  <a:lnTo>
                    <a:pt x="82" y="129"/>
                  </a:lnTo>
                  <a:lnTo>
                    <a:pt x="82" y="126"/>
                  </a:lnTo>
                  <a:lnTo>
                    <a:pt x="87" y="124"/>
                  </a:lnTo>
                  <a:lnTo>
                    <a:pt x="89" y="119"/>
                  </a:lnTo>
                  <a:lnTo>
                    <a:pt x="89" y="115"/>
                  </a:lnTo>
                  <a:lnTo>
                    <a:pt x="87" y="112"/>
                  </a:lnTo>
                  <a:lnTo>
                    <a:pt x="82" y="107"/>
                  </a:lnTo>
                  <a:lnTo>
                    <a:pt x="78" y="103"/>
                  </a:lnTo>
                  <a:lnTo>
                    <a:pt x="68" y="101"/>
                  </a:lnTo>
                  <a:lnTo>
                    <a:pt x="61" y="98"/>
                  </a:lnTo>
                  <a:lnTo>
                    <a:pt x="54" y="93"/>
                  </a:lnTo>
                  <a:lnTo>
                    <a:pt x="51" y="93"/>
                  </a:lnTo>
                  <a:lnTo>
                    <a:pt x="44" y="87"/>
                  </a:lnTo>
                  <a:lnTo>
                    <a:pt x="33" y="84"/>
                  </a:lnTo>
                  <a:lnTo>
                    <a:pt x="32" y="80"/>
                  </a:lnTo>
                  <a:lnTo>
                    <a:pt x="28" y="77"/>
                  </a:lnTo>
                  <a:lnTo>
                    <a:pt x="23" y="77"/>
                  </a:lnTo>
                  <a:lnTo>
                    <a:pt x="11" y="65"/>
                  </a:lnTo>
                  <a:lnTo>
                    <a:pt x="9" y="58"/>
                  </a:lnTo>
                  <a:lnTo>
                    <a:pt x="6" y="58"/>
                  </a:lnTo>
                  <a:lnTo>
                    <a:pt x="2" y="54"/>
                  </a:lnTo>
                  <a:lnTo>
                    <a:pt x="0" y="53"/>
                  </a:lnTo>
                  <a:lnTo>
                    <a:pt x="0" y="53"/>
                  </a:lnTo>
                  <a:lnTo>
                    <a:pt x="0" y="5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3" name="Freeform 179">
              <a:extLst>
                <a:ext uri="{FF2B5EF4-FFF2-40B4-BE49-F238E27FC236}">
                  <a16:creationId xmlns:a16="http://schemas.microsoft.com/office/drawing/2014/main" id="{3041EF76-9E0E-47BA-8B0E-F8B904AE6EF5}"/>
                </a:ext>
              </a:extLst>
            </p:cNvPr>
            <p:cNvSpPr>
              <a:spLocks/>
            </p:cNvSpPr>
            <p:nvPr/>
          </p:nvSpPr>
          <p:spPr bwMode="auto">
            <a:xfrm>
              <a:off x="2940050" y="5119688"/>
              <a:ext cx="141288" cy="163513"/>
            </a:xfrm>
            <a:custGeom>
              <a:avLst/>
              <a:gdLst/>
              <a:ahLst/>
              <a:cxnLst>
                <a:cxn ang="0">
                  <a:pos x="12" y="2"/>
                </a:cxn>
                <a:cxn ang="0">
                  <a:pos x="25" y="0"/>
                </a:cxn>
                <a:cxn ang="0">
                  <a:pos x="31" y="9"/>
                </a:cxn>
                <a:cxn ang="0">
                  <a:pos x="37" y="16"/>
                </a:cxn>
                <a:cxn ang="0">
                  <a:pos x="42" y="23"/>
                </a:cxn>
                <a:cxn ang="0">
                  <a:pos x="49" y="19"/>
                </a:cxn>
                <a:cxn ang="0">
                  <a:pos x="58" y="28"/>
                </a:cxn>
                <a:cxn ang="0">
                  <a:pos x="64" y="31"/>
                </a:cxn>
                <a:cxn ang="0">
                  <a:pos x="70" y="36"/>
                </a:cxn>
                <a:cxn ang="0">
                  <a:pos x="78" y="45"/>
                </a:cxn>
                <a:cxn ang="0">
                  <a:pos x="87" y="54"/>
                </a:cxn>
                <a:cxn ang="0">
                  <a:pos x="84" y="63"/>
                </a:cxn>
                <a:cxn ang="0">
                  <a:pos x="85" y="70"/>
                </a:cxn>
                <a:cxn ang="0">
                  <a:pos x="89" y="73"/>
                </a:cxn>
                <a:cxn ang="0">
                  <a:pos x="87" y="76"/>
                </a:cxn>
                <a:cxn ang="0">
                  <a:pos x="85" y="83"/>
                </a:cxn>
                <a:cxn ang="0">
                  <a:pos x="82" y="90"/>
                </a:cxn>
                <a:cxn ang="0">
                  <a:pos x="78" y="92"/>
                </a:cxn>
                <a:cxn ang="0">
                  <a:pos x="70" y="99"/>
                </a:cxn>
                <a:cxn ang="0">
                  <a:pos x="64" y="99"/>
                </a:cxn>
                <a:cxn ang="0">
                  <a:pos x="64" y="103"/>
                </a:cxn>
                <a:cxn ang="0">
                  <a:pos x="59" y="103"/>
                </a:cxn>
                <a:cxn ang="0">
                  <a:pos x="56" y="99"/>
                </a:cxn>
                <a:cxn ang="0">
                  <a:pos x="49" y="99"/>
                </a:cxn>
                <a:cxn ang="0">
                  <a:pos x="40" y="103"/>
                </a:cxn>
                <a:cxn ang="0">
                  <a:pos x="40" y="99"/>
                </a:cxn>
                <a:cxn ang="0">
                  <a:pos x="37" y="99"/>
                </a:cxn>
                <a:cxn ang="0">
                  <a:pos x="30" y="94"/>
                </a:cxn>
                <a:cxn ang="0">
                  <a:pos x="18" y="94"/>
                </a:cxn>
                <a:cxn ang="0">
                  <a:pos x="12" y="90"/>
                </a:cxn>
                <a:cxn ang="0">
                  <a:pos x="4" y="82"/>
                </a:cxn>
                <a:cxn ang="0">
                  <a:pos x="0" y="68"/>
                </a:cxn>
                <a:cxn ang="0">
                  <a:pos x="0" y="66"/>
                </a:cxn>
                <a:cxn ang="0">
                  <a:pos x="7" y="61"/>
                </a:cxn>
                <a:cxn ang="0">
                  <a:pos x="4" y="47"/>
                </a:cxn>
                <a:cxn ang="0">
                  <a:pos x="4" y="40"/>
                </a:cxn>
                <a:cxn ang="0">
                  <a:pos x="4" y="31"/>
                </a:cxn>
                <a:cxn ang="0">
                  <a:pos x="7" y="23"/>
                </a:cxn>
                <a:cxn ang="0">
                  <a:pos x="7" y="17"/>
                </a:cxn>
                <a:cxn ang="0">
                  <a:pos x="9" y="7"/>
                </a:cxn>
                <a:cxn ang="0">
                  <a:pos x="12" y="2"/>
                </a:cxn>
                <a:cxn ang="0">
                  <a:pos x="12" y="2"/>
                </a:cxn>
              </a:cxnLst>
              <a:rect l="0" t="0" r="r" b="b"/>
              <a:pathLst>
                <a:path w="89" h="103">
                  <a:moveTo>
                    <a:pt x="12" y="2"/>
                  </a:moveTo>
                  <a:lnTo>
                    <a:pt x="12" y="2"/>
                  </a:lnTo>
                  <a:lnTo>
                    <a:pt x="14" y="3"/>
                  </a:lnTo>
                  <a:lnTo>
                    <a:pt x="25" y="0"/>
                  </a:lnTo>
                  <a:lnTo>
                    <a:pt x="28" y="3"/>
                  </a:lnTo>
                  <a:lnTo>
                    <a:pt x="31" y="9"/>
                  </a:lnTo>
                  <a:lnTo>
                    <a:pt x="35" y="9"/>
                  </a:lnTo>
                  <a:lnTo>
                    <a:pt x="37" y="16"/>
                  </a:lnTo>
                  <a:lnTo>
                    <a:pt x="40" y="23"/>
                  </a:lnTo>
                  <a:lnTo>
                    <a:pt x="42" y="23"/>
                  </a:lnTo>
                  <a:lnTo>
                    <a:pt x="45" y="19"/>
                  </a:lnTo>
                  <a:lnTo>
                    <a:pt x="49" y="19"/>
                  </a:lnTo>
                  <a:lnTo>
                    <a:pt x="52" y="26"/>
                  </a:lnTo>
                  <a:lnTo>
                    <a:pt x="58" y="28"/>
                  </a:lnTo>
                  <a:lnTo>
                    <a:pt x="61" y="28"/>
                  </a:lnTo>
                  <a:lnTo>
                    <a:pt x="64" y="31"/>
                  </a:lnTo>
                  <a:lnTo>
                    <a:pt x="64" y="36"/>
                  </a:lnTo>
                  <a:lnTo>
                    <a:pt x="70" y="36"/>
                  </a:lnTo>
                  <a:lnTo>
                    <a:pt x="77" y="40"/>
                  </a:lnTo>
                  <a:lnTo>
                    <a:pt x="78" y="45"/>
                  </a:lnTo>
                  <a:lnTo>
                    <a:pt x="84" y="50"/>
                  </a:lnTo>
                  <a:lnTo>
                    <a:pt x="87" y="54"/>
                  </a:lnTo>
                  <a:lnTo>
                    <a:pt x="87" y="59"/>
                  </a:lnTo>
                  <a:lnTo>
                    <a:pt x="84" y="63"/>
                  </a:lnTo>
                  <a:lnTo>
                    <a:pt x="85" y="68"/>
                  </a:lnTo>
                  <a:lnTo>
                    <a:pt x="85" y="70"/>
                  </a:lnTo>
                  <a:lnTo>
                    <a:pt x="85" y="71"/>
                  </a:lnTo>
                  <a:lnTo>
                    <a:pt x="89" y="73"/>
                  </a:lnTo>
                  <a:lnTo>
                    <a:pt x="89" y="75"/>
                  </a:lnTo>
                  <a:lnTo>
                    <a:pt x="87" y="76"/>
                  </a:lnTo>
                  <a:lnTo>
                    <a:pt x="85" y="80"/>
                  </a:lnTo>
                  <a:lnTo>
                    <a:pt x="85" y="83"/>
                  </a:lnTo>
                  <a:lnTo>
                    <a:pt x="82" y="87"/>
                  </a:lnTo>
                  <a:lnTo>
                    <a:pt x="82" y="90"/>
                  </a:lnTo>
                  <a:lnTo>
                    <a:pt x="82" y="90"/>
                  </a:lnTo>
                  <a:lnTo>
                    <a:pt x="78" y="92"/>
                  </a:lnTo>
                  <a:lnTo>
                    <a:pt x="77" y="97"/>
                  </a:lnTo>
                  <a:lnTo>
                    <a:pt x="70" y="99"/>
                  </a:lnTo>
                  <a:lnTo>
                    <a:pt x="68" y="99"/>
                  </a:lnTo>
                  <a:lnTo>
                    <a:pt x="64" y="99"/>
                  </a:lnTo>
                  <a:lnTo>
                    <a:pt x="64" y="103"/>
                  </a:lnTo>
                  <a:lnTo>
                    <a:pt x="64" y="103"/>
                  </a:lnTo>
                  <a:lnTo>
                    <a:pt x="63" y="103"/>
                  </a:lnTo>
                  <a:lnTo>
                    <a:pt x="59" y="103"/>
                  </a:lnTo>
                  <a:lnTo>
                    <a:pt x="58" y="103"/>
                  </a:lnTo>
                  <a:lnTo>
                    <a:pt x="56" y="99"/>
                  </a:lnTo>
                  <a:lnTo>
                    <a:pt x="52" y="99"/>
                  </a:lnTo>
                  <a:lnTo>
                    <a:pt x="49" y="99"/>
                  </a:lnTo>
                  <a:lnTo>
                    <a:pt x="42" y="103"/>
                  </a:lnTo>
                  <a:lnTo>
                    <a:pt x="40" y="103"/>
                  </a:lnTo>
                  <a:lnTo>
                    <a:pt x="40" y="99"/>
                  </a:lnTo>
                  <a:lnTo>
                    <a:pt x="40" y="99"/>
                  </a:lnTo>
                  <a:lnTo>
                    <a:pt x="40" y="99"/>
                  </a:lnTo>
                  <a:lnTo>
                    <a:pt x="37" y="99"/>
                  </a:lnTo>
                  <a:lnTo>
                    <a:pt x="35" y="97"/>
                  </a:lnTo>
                  <a:lnTo>
                    <a:pt x="30" y="94"/>
                  </a:lnTo>
                  <a:lnTo>
                    <a:pt x="26" y="94"/>
                  </a:lnTo>
                  <a:lnTo>
                    <a:pt x="18" y="94"/>
                  </a:lnTo>
                  <a:lnTo>
                    <a:pt x="14" y="94"/>
                  </a:lnTo>
                  <a:lnTo>
                    <a:pt x="12" y="90"/>
                  </a:lnTo>
                  <a:lnTo>
                    <a:pt x="9" y="89"/>
                  </a:lnTo>
                  <a:lnTo>
                    <a:pt x="4" y="82"/>
                  </a:lnTo>
                  <a:lnTo>
                    <a:pt x="0" y="75"/>
                  </a:lnTo>
                  <a:lnTo>
                    <a:pt x="0" y="68"/>
                  </a:lnTo>
                  <a:lnTo>
                    <a:pt x="0" y="68"/>
                  </a:lnTo>
                  <a:lnTo>
                    <a:pt x="0" y="66"/>
                  </a:lnTo>
                  <a:lnTo>
                    <a:pt x="4" y="63"/>
                  </a:lnTo>
                  <a:lnTo>
                    <a:pt x="7" y="61"/>
                  </a:lnTo>
                  <a:lnTo>
                    <a:pt x="4" y="56"/>
                  </a:lnTo>
                  <a:lnTo>
                    <a:pt x="4" y="47"/>
                  </a:lnTo>
                  <a:lnTo>
                    <a:pt x="4" y="45"/>
                  </a:lnTo>
                  <a:lnTo>
                    <a:pt x="4" y="40"/>
                  </a:lnTo>
                  <a:lnTo>
                    <a:pt x="4" y="36"/>
                  </a:lnTo>
                  <a:lnTo>
                    <a:pt x="4" y="31"/>
                  </a:lnTo>
                  <a:lnTo>
                    <a:pt x="7" y="31"/>
                  </a:lnTo>
                  <a:lnTo>
                    <a:pt x="7" y="23"/>
                  </a:lnTo>
                  <a:lnTo>
                    <a:pt x="4" y="19"/>
                  </a:lnTo>
                  <a:lnTo>
                    <a:pt x="7" y="17"/>
                  </a:lnTo>
                  <a:lnTo>
                    <a:pt x="7" y="9"/>
                  </a:lnTo>
                  <a:lnTo>
                    <a:pt x="9" y="7"/>
                  </a:lnTo>
                  <a:lnTo>
                    <a:pt x="9" y="3"/>
                  </a:lnTo>
                  <a:lnTo>
                    <a:pt x="12" y="2"/>
                  </a:lnTo>
                  <a:lnTo>
                    <a:pt x="12" y="2"/>
                  </a:lnTo>
                  <a:lnTo>
                    <a:pt x="12"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4" name="Freeform 180">
              <a:extLst>
                <a:ext uri="{FF2B5EF4-FFF2-40B4-BE49-F238E27FC236}">
                  <a16:creationId xmlns:a16="http://schemas.microsoft.com/office/drawing/2014/main" id="{BFB21F25-18A0-4CAA-98B2-4CDABAA96A46}"/>
                </a:ext>
              </a:extLst>
            </p:cNvPr>
            <p:cNvSpPr>
              <a:spLocks noEditPoints="1"/>
            </p:cNvSpPr>
            <p:nvPr/>
          </p:nvSpPr>
          <p:spPr bwMode="auto">
            <a:xfrm>
              <a:off x="7748588" y="3041651"/>
              <a:ext cx="115888" cy="201613"/>
            </a:xfrm>
            <a:custGeom>
              <a:avLst/>
              <a:gdLst/>
              <a:ahLst/>
              <a:cxnLst>
                <a:cxn ang="0">
                  <a:pos x="47" y="92"/>
                </a:cxn>
                <a:cxn ang="0">
                  <a:pos x="45" y="90"/>
                </a:cxn>
                <a:cxn ang="0">
                  <a:pos x="21" y="104"/>
                </a:cxn>
                <a:cxn ang="0">
                  <a:pos x="21" y="100"/>
                </a:cxn>
                <a:cxn ang="0">
                  <a:pos x="22" y="102"/>
                </a:cxn>
                <a:cxn ang="0">
                  <a:pos x="21" y="104"/>
                </a:cxn>
                <a:cxn ang="0">
                  <a:pos x="59" y="85"/>
                </a:cxn>
                <a:cxn ang="0">
                  <a:pos x="57" y="92"/>
                </a:cxn>
                <a:cxn ang="0">
                  <a:pos x="59" y="85"/>
                </a:cxn>
                <a:cxn ang="0">
                  <a:pos x="59" y="85"/>
                </a:cxn>
                <a:cxn ang="0">
                  <a:pos x="68" y="106"/>
                </a:cxn>
                <a:cxn ang="0">
                  <a:pos x="71" y="106"/>
                </a:cxn>
                <a:cxn ang="0">
                  <a:pos x="69" y="107"/>
                </a:cxn>
                <a:cxn ang="0">
                  <a:pos x="71" y="100"/>
                </a:cxn>
                <a:cxn ang="0">
                  <a:pos x="69" y="97"/>
                </a:cxn>
                <a:cxn ang="0">
                  <a:pos x="73" y="97"/>
                </a:cxn>
                <a:cxn ang="0">
                  <a:pos x="71" y="100"/>
                </a:cxn>
                <a:cxn ang="0">
                  <a:pos x="24" y="127"/>
                </a:cxn>
                <a:cxn ang="0">
                  <a:pos x="33" y="120"/>
                </a:cxn>
                <a:cxn ang="0">
                  <a:pos x="33" y="127"/>
                </a:cxn>
                <a:cxn ang="0">
                  <a:pos x="24" y="127"/>
                </a:cxn>
                <a:cxn ang="0">
                  <a:pos x="0" y="22"/>
                </a:cxn>
                <a:cxn ang="0">
                  <a:pos x="7" y="20"/>
                </a:cxn>
                <a:cxn ang="0">
                  <a:pos x="15" y="33"/>
                </a:cxn>
                <a:cxn ang="0">
                  <a:pos x="19" y="41"/>
                </a:cxn>
                <a:cxn ang="0">
                  <a:pos x="14" y="38"/>
                </a:cxn>
                <a:cxn ang="0">
                  <a:pos x="7" y="47"/>
                </a:cxn>
                <a:cxn ang="0">
                  <a:pos x="15" y="54"/>
                </a:cxn>
                <a:cxn ang="0">
                  <a:pos x="21" y="60"/>
                </a:cxn>
                <a:cxn ang="0">
                  <a:pos x="19" y="73"/>
                </a:cxn>
                <a:cxn ang="0">
                  <a:pos x="19" y="80"/>
                </a:cxn>
                <a:cxn ang="0">
                  <a:pos x="19" y="85"/>
                </a:cxn>
                <a:cxn ang="0">
                  <a:pos x="24" y="99"/>
                </a:cxn>
                <a:cxn ang="0">
                  <a:pos x="29" y="100"/>
                </a:cxn>
                <a:cxn ang="0">
                  <a:pos x="33" y="94"/>
                </a:cxn>
                <a:cxn ang="0">
                  <a:pos x="43" y="88"/>
                </a:cxn>
                <a:cxn ang="0">
                  <a:pos x="50" y="88"/>
                </a:cxn>
                <a:cxn ang="0">
                  <a:pos x="54" y="88"/>
                </a:cxn>
                <a:cxn ang="0">
                  <a:pos x="62" y="83"/>
                </a:cxn>
                <a:cxn ang="0">
                  <a:pos x="66" y="74"/>
                </a:cxn>
                <a:cxn ang="0">
                  <a:pos x="62" y="62"/>
                </a:cxn>
                <a:cxn ang="0">
                  <a:pos x="59" y="41"/>
                </a:cxn>
                <a:cxn ang="0">
                  <a:pos x="40" y="12"/>
                </a:cxn>
                <a:cxn ang="0">
                  <a:pos x="15" y="5"/>
                </a:cxn>
                <a:cxn ang="0">
                  <a:pos x="0" y="19"/>
                </a:cxn>
                <a:cxn ang="0">
                  <a:pos x="0" y="22"/>
                </a:cxn>
              </a:cxnLst>
              <a:rect l="0" t="0" r="r" b="b"/>
              <a:pathLst>
                <a:path w="73" h="127">
                  <a:moveTo>
                    <a:pt x="45" y="90"/>
                  </a:moveTo>
                  <a:lnTo>
                    <a:pt x="47" y="90"/>
                  </a:lnTo>
                  <a:lnTo>
                    <a:pt x="47" y="92"/>
                  </a:lnTo>
                  <a:lnTo>
                    <a:pt x="45" y="92"/>
                  </a:lnTo>
                  <a:lnTo>
                    <a:pt x="45" y="90"/>
                  </a:lnTo>
                  <a:lnTo>
                    <a:pt x="45" y="90"/>
                  </a:lnTo>
                  <a:lnTo>
                    <a:pt x="45" y="90"/>
                  </a:lnTo>
                  <a:lnTo>
                    <a:pt x="45" y="90"/>
                  </a:lnTo>
                  <a:close/>
                  <a:moveTo>
                    <a:pt x="21" y="104"/>
                  </a:moveTo>
                  <a:lnTo>
                    <a:pt x="19" y="100"/>
                  </a:lnTo>
                  <a:lnTo>
                    <a:pt x="19" y="100"/>
                  </a:lnTo>
                  <a:lnTo>
                    <a:pt x="21" y="100"/>
                  </a:lnTo>
                  <a:lnTo>
                    <a:pt x="22" y="97"/>
                  </a:lnTo>
                  <a:lnTo>
                    <a:pt x="22" y="100"/>
                  </a:lnTo>
                  <a:lnTo>
                    <a:pt x="22" y="102"/>
                  </a:lnTo>
                  <a:lnTo>
                    <a:pt x="22" y="102"/>
                  </a:lnTo>
                  <a:lnTo>
                    <a:pt x="21" y="104"/>
                  </a:lnTo>
                  <a:lnTo>
                    <a:pt x="21" y="104"/>
                  </a:lnTo>
                  <a:lnTo>
                    <a:pt x="21" y="104"/>
                  </a:lnTo>
                  <a:lnTo>
                    <a:pt x="21" y="104"/>
                  </a:lnTo>
                  <a:close/>
                  <a:moveTo>
                    <a:pt x="59" y="85"/>
                  </a:moveTo>
                  <a:lnTo>
                    <a:pt x="55" y="88"/>
                  </a:lnTo>
                  <a:lnTo>
                    <a:pt x="55" y="88"/>
                  </a:lnTo>
                  <a:lnTo>
                    <a:pt x="57" y="92"/>
                  </a:lnTo>
                  <a:lnTo>
                    <a:pt x="59" y="90"/>
                  </a:lnTo>
                  <a:lnTo>
                    <a:pt x="59" y="88"/>
                  </a:lnTo>
                  <a:lnTo>
                    <a:pt x="59" y="85"/>
                  </a:lnTo>
                  <a:lnTo>
                    <a:pt x="59" y="85"/>
                  </a:lnTo>
                  <a:lnTo>
                    <a:pt x="59" y="85"/>
                  </a:lnTo>
                  <a:lnTo>
                    <a:pt x="59" y="85"/>
                  </a:lnTo>
                  <a:lnTo>
                    <a:pt x="59" y="85"/>
                  </a:lnTo>
                  <a:close/>
                  <a:moveTo>
                    <a:pt x="69" y="107"/>
                  </a:moveTo>
                  <a:lnTo>
                    <a:pt x="68" y="106"/>
                  </a:lnTo>
                  <a:lnTo>
                    <a:pt x="69" y="104"/>
                  </a:lnTo>
                  <a:lnTo>
                    <a:pt x="73" y="104"/>
                  </a:lnTo>
                  <a:lnTo>
                    <a:pt x="71" y="106"/>
                  </a:lnTo>
                  <a:lnTo>
                    <a:pt x="69" y="107"/>
                  </a:lnTo>
                  <a:lnTo>
                    <a:pt x="69" y="107"/>
                  </a:lnTo>
                  <a:lnTo>
                    <a:pt x="69" y="107"/>
                  </a:lnTo>
                  <a:lnTo>
                    <a:pt x="69" y="107"/>
                  </a:lnTo>
                  <a:lnTo>
                    <a:pt x="69" y="107"/>
                  </a:lnTo>
                  <a:close/>
                  <a:moveTo>
                    <a:pt x="71" y="100"/>
                  </a:moveTo>
                  <a:lnTo>
                    <a:pt x="69" y="102"/>
                  </a:lnTo>
                  <a:lnTo>
                    <a:pt x="69" y="99"/>
                  </a:lnTo>
                  <a:lnTo>
                    <a:pt x="69" y="97"/>
                  </a:lnTo>
                  <a:lnTo>
                    <a:pt x="71" y="94"/>
                  </a:lnTo>
                  <a:lnTo>
                    <a:pt x="73" y="94"/>
                  </a:lnTo>
                  <a:lnTo>
                    <a:pt x="73" y="97"/>
                  </a:lnTo>
                  <a:lnTo>
                    <a:pt x="73" y="97"/>
                  </a:lnTo>
                  <a:lnTo>
                    <a:pt x="71" y="100"/>
                  </a:lnTo>
                  <a:lnTo>
                    <a:pt x="71" y="100"/>
                  </a:lnTo>
                  <a:lnTo>
                    <a:pt x="71" y="100"/>
                  </a:lnTo>
                  <a:lnTo>
                    <a:pt x="71" y="100"/>
                  </a:lnTo>
                  <a:close/>
                  <a:moveTo>
                    <a:pt x="24" y="127"/>
                  </a:moveTo>
                  <a:lnTo>
                    <a:pt x="24" y="125"/>
                  </a:lnTo>
                  <a:lnTo>
                    <a:pt x="26" y="121"/>
                  </a:lnTo>
                  <a:lnTo>
                    <a:pt x="33" y="120"/>
                  </a:lnTo>
                  <a:lnTo>
                    <a:pt x="36" y="121"/>
                  </a:lnTo>
                  <a:lnTo>
                    <a:pt x="36" y="121"/>
                  </a:lnTo>
                  <a:lnTo>
                    <a:pt x="33" y="127"/>
                  </a:lnTo>
                  <a:lnTo>
                    <a:pt x="29" y="127"/>
                  </a:lnTo>
                  <a:lnTo>
                    <a:pt x="24" y="127"/>
                  </a:lnTo>
                  <a:lnTo>
                    <a:pt x="24" y="127"/>
                  </a:lnTo>
                  <a:lnTo>
                    <a:pt x="24" y="127"/>
                  </a:lnTo>
                  <a:lnTo>
                    <a:pt x="24" y="127"/>
                  </a:lnTo>
                  <a:close/>
                  <a:moveTo>
                    <a:pt x="0" y="22"/>
                  </a:moveTo>
                  <a:lnTo>
                    <a:pt x="0" y="22"/>
                  </a:lnTo>
                  <a:lnTo>
                    <a:pt x="3" y="20"/>
                  </a:lnTo>
                  <a:lnTo>
                    <a:pt x="7" y="20"/>
                  </a:lnTo>
                  <a:lnTo>
                    <a:pt x="3" y="22"/>
                  </a:lnTo>
                  <a:lnTo>
                    <a:pt x="10" y="27"/>
                  </a:lnTo>
                  <a:lnTo>
                    <a:pt x="15" y="33"/>
                  </a:lnTo>
                  <a:lnTo>
                    <a:pt x="19" y="36"/>
                  </a:lnTo>
                  <a:lnTo>
                    <a:pt x="15" y="38"/>
                  </a:lnTo>
                  <a:lnTo>
                    <a:pt x="19" y="41"/>
                  </a:lnTo>
                  <a:lnTo>
                    <a:pt x="19" y="43"/>
                  </a:lnTo>
                  <a:lnTo>
                    <a:pt x="15" y="41"/>
                  </a:lnTo>
                  <a:lnTo>
                    <a:pt x="14" y="38"/>
                  </a:lnTo>
                  <a:lnTo>
                    <a:pt x="12" y="41"/>
                  </a:lnTo>
                  <a:lnTo>
                    <a:pt x="10" y="41"/>
                  </a:lnTo>
                  <a:lnTo>
                    <a:pt x="7" y="47"/>
                  </a:lnTo>
                  <a:lnTo>
                    <a:pt x="14" y="50"/>
                  </a:lnTo>
                  <a:lnTo>
                    <a:pt x="15" y="50"/>
                  </a:lnTo>
                  <a:lnTo>
                    <a:pt x="15" y="54"/>
                  </a:lnTo>
                  <a:lnTo>
                    <a:pt x="19" y="60"/>
                  </a:lnTo>
                  <a:lnTo>
                    <a:pt x="19" y="62"/>
                  </a:lnTo>
                  <a:lnTo>
                    <a:pt x="21" y="60"/>
                  </a:lnTo>
                  <a:lnTo>
                    <a:pt x="22" y="67"/>
                  </a:lnTo>
                  <a:lnTo>
                    <a:pt x="19" y="71"/>
                  </a:lnTo>
                  <a:lnTo>
                    <a:pt x="19" y="73"/>
                  </a:lnTo>
                  <a:lnTo>
                    <a:pt x="19" y="76"/>
                  </a:lnTo>
                  <a:lnTo>
                    <a:pt x="19" y="78"/>
                  </a:lnTo>
                  <a:lnTo>
                    <a:pt x="19" y="80"/>
                  </a:lnTo>
                  <a:lnTo>
                    <a:pt x="19" y="83"/>
                  </a:lnTo>
                  <a:lnTo>
                    <a:pt x="19" y="85"/>
                  </a:lnTo>
                  <a:lnTo>
                    <a:pt x="19" y="85"/>
                  </a:lnTo>
                  <a:lnTo>
                    <a:pt x="21" y="94"/>
                  </a:lnTo>
                  <a:lnTo>
                    <a:pt x="24" y="94"/>
                  </a:lnTo>
                  <a:lnTo>
                    <a:pt x="24" y="99"/>
                  </a:lnTo>
                  <a:lnTo>
                    <a:pt x="26" y="99"/>
                  </a:lnTo>
                  <a:lnTo>
                    <a:pt x="26" y="102"/>
                  </a:lnTo>
                  <a:lnTo>
                    <a:pt x="29" y="100"/>
                  </a:lnTo>
                  <a:lnTo>
                    <a:pt x="29" y="97"/>
                  </a:lnTo>
                  <a:lnTo>
                    <a:pt x="31" y="97"/>
                  </a:lnTo>
                  <a:lnTo>
                    <a:pt x="33" y="94"/>
                  </a:lnTo>
                  <a:lnTo>
                    <a:pt x="40" y="88"/>
                  </a:lnTo>
                  <a:lnTo>
                    <a:pt x="43" y="88"/>
                  </a:lnTo>
                  <a:lnTo>
                    <a:pt x="43" y="88"/>
                  </a:lnTo>
                  <a:lnTo>
                    <a:pt x="47" y="85"/>
                  </a:lnTo>
                  <a:lnTo>
                    <a:pt x="47" y="85"/>
                  </a:lnTo>
                  <a:lnTo>
                    <a:pt x="50" y="88"/>
                  </a:lnTo>
                  <a:lnTo>
                    <a:pt x="52" y="88"/>
                  </a:lnTo>
                  <a:lnTo>
                    <a:pt x="52" y="90"/>
                  </a:lnTo>
                  <a:lnTo>
                    <a:pt x="54" y="88"/>
                  </a:lnTo>
                  <a:lnTo>
                    <a:pt x="54" y="85"/>
                  </a:lnTo>
                  <a:lnTo>
                    <a:pt x="57" y="83"/>
                  </a:lnTo>
                  <a:lnTo>
                    <a:pt x="62" y="83"/>
                  </a:lnTo>
                  <a:lnTo>
                    <a:pt x="64" y="78"/>
                  </a:lnTo>
                  <a:lnTo>
                    <a:pt x="64" y="76"/>
                  </a:lnTo>
                  <a:lnTo>
                    <a:pt x="66" y="74"/>
                  </a:lnTo>
                  <a:lnTo>
                    <a:pt x="66" y="60"/>
                  </a:lnTo>
                  <a:lnTo>
                    <a:pt x="64" y="60"/>
                  </a:lnTo>
                  <a:lnTo>
                    <a:pt x="62" y="62"/>
                  </a:lnTo>
                  <a:lnTo>
                    <a:pt x="62" y="57"/>
                  </a:lnTo>
                  <a:lnTo>
                    <a:pt x="62" y="47"/>
                  </a:lnTo>
                  <a:lnTo>
                    <a:pt x="59" y="41"/>
                  </a:lnTo>
                  <a:lnTo>
                    <a:pt x="59" y="36"/>
                  </a:lnTo>
                  <a:lnTo>
                    <a:pt x="50" y="22"/>
                  </a:lnTo>
                  <a:lnTo>
                    <a:pt x="40" y="12"/>
                  </a:lnTo>
                  <a:lnTo>
                    <a:pt x="33" y="0"/>
                  </a:lnTo>
                  <a:lnTo>
                    <a:pt x="28" y="5"/>
                  </a:lnTo>
                  <a:lnTo>
                    <a:pt x="15" y="5"/>
                  </a:lnTo>
                  <a:lnTo>
                    <a:pt x="10" y="12"/>
                  </a:lnTo>
                  <a:lnTo>
                    <a:pt x="7" y="12"/>
                  </a:lnTo>
                  <a:lnTo>
                    <a:pt x="0" y="19"/>
                  </a:lnTo>
                  <a:lnTo>
                    <a:pt x="0" y="22"/>
                  </a:lnTo>
                  <a:lnTo>
                    <a:pt x="0" y="22"/>
                  </a:lnTo>
                  <a:lnTo>
                    <a:pt x="0" y="2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5" name="Freeform 181">
              <a:extLst>
                <a:ext uri="{FF2B5EF4-FFF2-40B4-BE49-F238E27FC236}">
                  <a16:creationId xmlns:a16="http://schemas.microsoft.com/office/drawing/2014/main" id="{95A4E8F9-3582-434D-8494-0B115E48DDEB}"/>
                </a:ext>
              </a:extLst>
            </p:cNvPr>
            <p:cNvSpPr>
              <a:spLocks/>
            </p:cNvSpPr>
            <p:nvPr/>
          </p:nvSpPr>
          <p:spPr bwMode="auto">
            <a:xfrm>
              <a:off x="7685088" y="2863851"/>
              <a:ext cx="131763" cy="223838"/>
            </a:xfrm>
            <a:custGeom>
              <a:avLst/>
              <a:gdLst/>
              <a:ahLst/>
              <a:cxnLst>
                <a:cxn ang="0">
                  <a:pos x="0" y="79"/>
                </a:cxn>
                <a:cxn ang="0">
                  <a:pos x="7" y="70"/>
                </a:cxn>
                <a:cxn ang="0">
                  <a:pos x="12" y="65"/>
                </a:cxn>
                <a:cxn ang="0">
                  <a:pos x="19" y="58"/>
                </a:cxn>
                <a:cxn ang="0">
                  <a:pos x="22" y="46"/>
                </a:cxn>
                <a:cxn ang="0">
                  <a:pos x="22" y="37"/>
                </a:cxn>
                <a:cxn ang="0">
                  <a:pos x="29" y="40"/>
                </a:cxn>
                <a:cxn ang="0">
                  <a:pos x="35" y="42"/>
                </a:cxn>
                <a:cxn ang="0">
                  <a:pos x="41" y="42"/>
                </a:cxn>
                <a:cxn ang="0">
                  <a:pos x="52" y="42"/>
                </a:cxn>
                <a:cxn ang="0">
                  <a:pos x="55" y="37"/>
                </a:cxn>
                <a:cxn ang="0">
                  <a:pos x="48" y="28"/>
                </a:cxn>
                <a:cxn ang="0">
                  <a:pos x="54" y="28"/>
                </a:cxn>
                <a:cxn ang="0">
                  <a:pos x="61" y="18"/>
                </a:cxn>
                <a:cxn ang="0">
                  <a:pos x="68" y="14"/>
                </a:cxn>
                <a:cxn ang="0">
                  <a:pos x="68" y="9"/>
                </a:cxn>
                <a:cxn ang="0">
                  <a:pos x="68" y="0"/>
                </a:cxn>
                <a:cxn ang="0">
                  <a:pos x="73" y="4"/>
                </a:cxn>
                <a:cxn ang="0">
                  <a:pos x="73" y="9"/>
                </a:cxn>
                <a:cxn ang="0">
                  <a:pos x="83" y="14"/>
                </a:cxn>
                <a:cxn ang="0">
                  <a:pos x="76" y="21"/>
                </a:cxn>
                <a:cxn ang="0">
                  <a:pos x="76" y="25"/>
                </a:cxn>
                <a:cxn ang="0">
                  <a:pos x="73" y="37"/>
                </a:cxn>
                <a:cxn ang="0">
                  <a:pos x="76" y="49"/>
                </a:cxn>
                <a:cxn ang="0">
                  <a:pos x="78" y="56"/>
                </a:cxn>
                <a:cxn ang="0">
                  <a:pos x="76" y="61"/>
                </a:cxn>
                <a:cxn ang="0">
                  <a:pos x="68" y="72"/>
                </a:cxn>
                <a:cxn ang="0">
                  <a:pos x="64" y="77"/>
                </a:cxn>
                <a:cxn ang="0">
                  <a:pos x="57" y="79"/>
                </a:cxn>
                <a:cxn ang="0">
                  <a:pos x="50" y="86"/>
                </a:cxn>
                <a:cxn ang="0">
                  <a:pos x="52" y="92"/>
                </a:cxn>
                <a:cxn ang="0">
                  <a:pos x="52" y="99"/>
                </a:cxn>
                <a:cxn ang="0">
                  <a:pos x="59" y="105"/>
                </a:cxn>
                <a:cxn ang="0">
                  <a:pos x="73" y="115"/>
                </a:cxn>
                <a:cxn ang="0">
                  <a:pos x="55" y="120"/>
                </a:cxn>
                <a:cxn ang="0">
                  <a:pos x="43" y="127"/>
                </a:cxn>
                <a:cxn ang="0">
                  <a:pos x="36" y="136"/>
                </a:cxn>
                <a:cxn ang="0">
                  <a:pos x="31" y="132"/>
                </a:cxn>
                <a:cxn ang="0">
                  <a:pos x="29" y="139"/>
                </a:cxn>
                <a:cxn ang="0">
                  <a:pos x="22" y="141"/>
                </a:cxn>
                <a:cxn ang="0">
                  <a:pos x="24" y="132"/>
                </a:cxn>
                <a:cxn ang="0">
                  <a:pos x="17" y="134"/>
                </a:cxn>
                <a:cxn ang="0">
                  <a:pos x="17" y="129"/>
                </a:cxn>
                <a:cxn ang="0">
                  <a:pos x="21" y="119"/>
                </a:cxn>
                <a:cxn ang="0">
                  <a:pos x="28" y="115"/>
                </a:cxn>
                <a:cxn ang="0">
                  <a:pos x="19" y="117"/>
                </a:cxn>
                <a:cxn ang="0">
                  <a:pos x="17" y="106"/>
                </a:cxn>
                <a:cxn ang="0">
                  <a:pos x="19" y="96"/>
                </a:cxn>
                <a:cxn ang="0">
                  <a:pos x="22" y="92"/>
                </a:cxn>
                <a:cxn ang="0">
                  <a:pos x="17" y="96"/>
                </a:cxn>
                <a:cxn ang="0">
                  <a:pos x="12" y="92"/>
                </a:cxn>
                <a:cxn ang="0">
                  <a:pos x="7" y="92"/>
                </a:cxn>
                <a:cxn ang="0">
                  <a:pos x="3" y="89"/>
                </a:cxn>
                <a:cxn ang="0">
                  <a:pos x="0" y="89"/>
                </a:cxn>
                <a:cxn ang="0">
                  <a:pos x="0" y="89"/>
                </a:cxn>
              </a:cxnLst>
              <a:rect l="0" t="0" r="r" b="b"/>
              <a:pathLst>
                <a:path w="83" h="141">
                  <a:moveTo>
                    <a:pt x="0" y="89"/>
                  </a:moveTo>
                  <a:lnTo>
                    <a:pt x="0" y="79"/>
                  </a:lnTo>
                  <a:lnTo>
                    <a:pt x="7" y="75"/>
                  </a:lnTo>
                  <a:lnTo>
                    <a:pt x="7" y="70"/>
                  </a:lnTo>
                  <a:lnTo>
                    <a:pt x="7" y="68"/>
                  </a:lnTo>
                  <a:lnTo>
                    <a:pt x="12" y="65"/>
                  </a:lnTo>
                  <a:lnTo>
                    <a:pt x="15" y="59"/>
                  </a:lnTo>
                  <a:lnTo>
                    <a:pt x="19" y="58"/>
                  </a:lnTo>
                  <a:lnTo>
                    <a:pt x="21" y="49"/>
                  </a:lnTo>
                  <a:lnTo>
                    <a:pt x="22" y="46"/>
                  </a:lnTo>
                  <a:lnTo>
                    <a:pt x="22" y="44"/>
                  </a:lnTo>
                  <a:lnTo>
                    <a:pt x="22" y="37"/>
                  </a:lnTo>
                  <a:lnTo>
                    <a:pt x="26" y="35"/>
                  </a:lnTo>
                  <a:lnTo>
                    <a:pt x="29" y="40"/>
                  </a:lnTo>
                  <a:lnTo>
                    <a:pt x="31" y="40"/>
                  </a:lnTo>
                  <a:lnTo>
                    <a:pt x="35" y="42"/>
                  </a:lnTo>
                  <a:lnTo>
                    <a:pt x="36" y="42"/>
                  </a:lnTo>
                  <a:lnTo>
                    <a:pt x="41" y="42"/>
                  </a:lnTo>
                  <a:lnTo>
                    <a:pt x="48" y="42"/>
                  </a:lnTo>
                  <a:lnTo>
                    <a:pt x="52" y="42"/>
                  </a:lnTo>
                  <a:lnTo>
                    <a:pt x="55" y="40"/>
                  </a:lnTo>
                  <a:lnTo>
                    <a:pt x="55" y="37"/>
                  </a:lnTo>
                  <a:lnTo>
                    <a:pt x="50" y="32"/>
                  </a:lnTo>
                  <a:lnTo>
                    <a:pt x="48" y="28"/>
                  </a:lnTo>
                  <a:lnTo>
                    <a:pt x="50" y="28"/>
                  </a:lnTo>
                  <a:lnTo>
                    <a:pt x="54" y="28"/>
                  </a:lnTo>
                  <a:lnTo>
                    <a:pt x="61" y="21"/>
                  </a:lnTo>
                  <a:lnTo>
                    <a:pt x="61" y="18"/>
                  </a:lnTo>
                  <a:lnTo>
                    <a:pt x="64" y="14"/>
                  </a:lnTo>
                  <a:lnTo>
                    <a:pt x="68" y="14"/>
                  </a:lnTo>
                  <a:lnTo>
                    <a:pt x="68" y="12"/>
                  </a:lnTo>
                  <a:lnTo>
                    <a:pt x="68" y="9"/>
                  </a:lnTo>
                  <a:lnTo>
                    <a:pt x="68" y="4"/>
                  </a:lnTo>
                  <a:lnTo>
                    <a:pt x="68" y="0"/>
                  </a:lnTo>
                  <a:lnTo>
                    <a:pt x="71" y="0"/>
                  </a:lnTo>
                  <a:lnTo>
                    <a:pt x="73" y="4"/>
                  </a:lnTo>
                  <a:lnTo>
                    <a:pt x="73" y="6"/>
                  </a:lnTo>
                  <a:lnTo>
                    <a:pt x="73" y="9"/>
                  </a:lnTo>
                  <a:lnTo>
                    <a:pt x="80" y="9"/>
                  </a:lnTo>
                  <a:lnTo>
                    <a:pt x="83" y="14"/>
                  </a:lnTo>
                  <a:lnTo>
                    <a:pt x="83" y="14"/>
                  </a:lnTo>
                  <a:lnTo>
                    <a:pt x="76" y="21"/>
                  </a:lnTo>
                  <a:lnTo>
                    <a:pt x="76" y="19"/>
                  </a:lnTo>
                  <a:lnTo>
                    <a:pt x="76" y="25"/>
                  </a:lnTo>
                  <a:lnTo>
                    <a:pt x="73" y="32"/>
                  </a:lnTo>
                  <a:lnTo>
                    <a:pt x="73" y="37"/>
                  </a:lnTo>
                  <a:lnTo>
                    <a:pt x="76" y="40"/>
                  </a:lnTo>
                  <a:lnTo>
                    <a:pt x="76" y="49"/>
                  </a:lnTo>
                  <a:lnTo>
                    <a:pt x="80" y="52"/>
                  </a:lnTo>
                  <a:lnTo>
                    <a:pt x="78" y="56"/>
                  </a:lnTo>
                  <a:lnTo>
                    <a:pt x="73" y="59"/>
                  </a:lnTo>
                  <a:lnTo>
                    <a:pt x="76" y="61"/>
                  </a:lnTo>
                  <a:lnTo>
                    <a:pt x="64" y="70"/>
                  </a:lnTo>
                  <a:lnTo>
                    <a:pt x="68" y="72"/>
                  </a:lnTo>
                  <a:lnTo>
                    <a:pt x="64" y="75"/>
                  </a:lnTo>
                  <a:lnTo>
                    <a:pt x="64" y="77"/>
                  </a:lnTo>
                  <a:lnTo>
                    <a:pt x="61" y="77"/>
                  </a:lnTo>
                  <a:lnTo>
                    <a:pt x="57" y="79"/>
                  </a:lnTo>
                  <a:lnTo>
                    <a:pt x="55" y="82"/>
                  </a:lnTo>
                  <a:lnTo>
                    <a:pt x="50" y="86"/>
                  </a:lnTo>
                  <a:lnTo>
                    <a:pt x="50" y="91"/>
                  </a:lnTo>
                  <a:lnTo>
                    <a:pt x="52" y="92"/>
                  </a:lnTo>
                  <a:lnTo>
                    <a:pt x="50" y="96"/>
                  </a:lnTo>
                  <a:lnTo>
                    <a:pt x="52" y="99"/>
                  </a:lnTo>
                  <a:lnTo>
                    <a:pt x="57" y="101"/>
                  </a:lnTo>
                  <a:lnTo>
                    <a:pt x="59" y="105"/>
                  </a:lnTo>
                  <a:lnTo>
                    <a:pt x="73" y="112"/>
                  </a:lnTo>
                  <a:lnTo>
                    <a:pt x="73" y="115"/>
                  </a:lnTo>
                  <a:lnTo>
                    <a:pt x="68" y="120"/>
                  </a:lnTo>
                  <a:lnTo>
                    <a:pt x="55" y="120"/>
                  </a:lnTo>
                  <a:lnTo>
                    <a:pt x="48" y="127"/>
                  </a:lnTo>
                  <a:lnTo>
                    <a:pt x="43" y="127"/>
                  </a:lnTo>
                  <a:lnTo>
                    <a:pt x="36" y="132"/>
                  </a:lnTo>
                  <a:lnTo>
                    <a:pt x="36" y="136"/>
                  </a:lnTo>
                  <a:lnTo>
                    <a:pt x="31" y="132"/>
                  </a:lnTo>
                  <a:lnTo>
                    <a:pt x="31" y="132"/>
                  </a:lnTo>
                  <a:lnTo>
                    <a:pt x="31" y="134"/>
                  </a:lnTo>
                  <a:lnTo>
                    <a:pt x="29" y="139"/>
                  </a:lnTo>
                  <a:lnTo>
                    <a:pt x="26" y="138"/>
                  </a:lnTo>
                  <a:lnTo>
                    <a:pt x="22" y="141"/>
                  </a:lnTo>
                  <a:lnTo>
                    <a:pt x="21" y="138"/>
                  </a:lnTo>
                  <a:lnTo>
                    <a:pt x="24" y="132"/>
                  </a:lnTo>
                  <a:lnTo>
                    <a:pt x="21" y="132"/>
                  </a:lnTo>
                  <a:lnTo>
                    <a:pt x="17" y="134"/>
                  </a:lnTo>
                  <a:lnTo>
                    <a:pt x="15" y="132"/>
                  </a:lnTo>
                  <a:lnTo>
                    <a:pt x="17" y="129"/>
                  </a:lnTo>
                  <a:lnTo>
                    <a:pt x="17" y="124"/>
                  </a:lnTo>
                  <a:lnTo>
                    <a:pt x="21" y="119"/>
                  </a:lnTo>
                  <a:lnTo>
                    <a:pt x="24" y="119"/>
                  </a:lnTo>
                  <a:lnTo>
                    <a:pt x="28" y="115"/>
                  </a:lnTo>
                  <a:lnTo>
                    <a:pt x="24" y="117"/>
                  </a:lnTo>
                  <a:lnTo>
                    <a:pt x="19" y="117"/>
                  </a:lnTo>
                  <a:lnTo>
                    <a:pt x="17" y="115"/>
                  </a:lnTo>
                  <a:lnTo>
                    <a:pt x="17" y="106"/>
                  </a:lnTo>
                  <a:lnTo>
                    <a:pt x="21" y="99"/>
                  </a:lnTo>
                  <a:lnTo>
                    <a:pt x="19" y="96"/>
                  </a:lnTo>
                  <a:lnTo>
                    <a:pt x="21" y="96"/>
                  </a:lnTo>
                  <a:lnTo>
                    <a:pt x="22" y="92"/>
                  </a:lnTo>
                  <a:lnTo>
                    <a:pt x="19" y="92"/>
                  </a:lnTo>
                  <a:lnTo>
                    <a:pt x="17" y="96"/>
                  </a:lnTo>
                  <a:lnTo>
                    <a:pt x="12" y="96"/>
                  </a:lnTo>
                  <a:lnTo>
                    <a:pt x="12" y="92"/>
                  </a:lnTo>
                  <a:lnTo>
                    <a:pt x="7" y="91"/>
                  </a:lnTo>
                  <a:lnTo>
                    <a:pt x="7" y="92"/>
                  </a:lnTo>
                  <a:lnTo>
                    <a:pt x="3" y="96"/>
                  </a:lnTo>
                  <a:lnTo>
                    <a:pt x="3" y="89"/>
                  </a:lnTo>
                  <a:lnTo>
                    <a:pt x="3"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6" name="Freeform 182">
              <a:extLst>
                <a:ext uri="{FF2B5EF4-FFF2-40B4-BE49-F238E27FC236}">
                  <a16:creationId xmlns:a16="http://schemas.microsoft.com/office/drawing/2014/main" id="{82197ABB-4823-458C-BA47-C35C7C1A52B1}"/>
                </a:ext>
              </a:extLst>
            </p:cNvPr>
            <p:cNvSpPr>
              <a:spLocks noEditPoints="1"/>
            </p:cNvSpPr>
            <p:nvPr/>
          </p:nvSpPr>
          <p:spPr bwMode="auto">
            <a:xfrm>
              <a:off x="7824788" y="4514851"/>
              <a:ext cx="84138" cy="22225"/>
            </a:xfrm>
            <a:custGeom>
              <a:avLst/>
              <a:gdLst/>
              <a:ahLst/>
              <a:cxnLst>
                <a:cxn ang="0">
                  <a:pos x="0" y="11"/>
                </a:cxn>
                <a:cxn ang="0">
                  <a:pos x="4" y="14"/>
                </a:cxn>
                <a:cxn ang="0">
                  <a:pos x="7" y="12"/>
                </a:cxn>
                <a:cxn ang="0">
                  <a:pos x="9" y="12"/>
                </a:cxn>
                <a:cxn ang="0">
                  <a:pos x="9" y="9"/>
                </a:cxn>
                <a:cxn ang="0">
                  <a:pos x="7" y="9"/>
                </a:cxn>
                <a:cxn ang="0">
                  <a:pos x="4" y="11"/>
                </a:cxn>
                <a:cxn ang="0">
                  <a:pos x="0" y="11"/>
                </a:cxn>
                <a:cxn ang="0">
                  <a:pos x="0" y="11"/>
                </a:cxn>
                <a:cxn ang="0">
                  <a:pos x="0" y="11"/>
                </a:cxn>
                <a:cxn ang="0">
                  <a:pos x="0" y="11"/>
                </a:cxn>
                <a:cxn ang="0">
                  <a:pos x="14" y="7"/>
                </a:cxn>
                <a:cxn ang="0">
                  <a:pos x="18" y="11"/>
                </a:cxn>
                <a:cxn ang="0">
                  <a:pos x="21" y="14"/>
                </a:cxn>
                <a:cxn ang="0">
                  <a:pos x="21" y="14"/>
                </a:cxn>
                <a:cxn ang="0">
                  <a:pos x="25" y="11"/>
                </a:cxn>
                <a:cxn ang="0">
                  <a:pos x="28" y="11"/>
                </a:cxn>
                <a:cxn ang="0">
                  <a:pos x="30" y="11"/>
                </a:cxn>
                <a:cxn ang="0">
                  <a:pos x="39" y="11"/>
                </a:cxn>
                <a:cxn ang="0">
                  <a:pos x="42" y="7"/>
                </a:cxn>
                <a:cxn ang="0">
                  <a:pos x="47" y="5"/>
                </a:cxn>
                <a:cxn ang="0">
                  <a:pos x="49" y="5"/>
                </a:cxn>
                <a:cxn ang="0">
                  <a:pos x="51" y="5"/>
                </a:cxn>
                <a:cxn ang="0">
                  <a:pos x="53" y="2"/>
                </a:cxn>
                <a:cxn ang="0">
                  <a:pos x="53" y="0"/>
                </a:cxn>
                <a:cxn ang="0">
                  <a:pos x="53" y="0"/>
                </a:cxn>
                <a:cxn ang="0">
                  <a:pos x="46" y="0"/>
                </a:cxn>
                <a:cxn ang="0">
                  <a:pos x="40" y="0"/>
                </a:cxn>
                <a:cxn ang="0">
                  <a:pos x="39" y="2"/>
                </a:cxn>
                <a:cxn ang="0">
                  <a:pos x="35" y="2"/>
                </a:cxn>
                <a:cxn ang="0">
                  <a:pos x="30" y="2"/>
                </a:cxn>
                <a:cxn ang="0">
                  <a:pos x="23" y="2"/>
                </a:cxn>
                <a:cxn ang="0">
                  <a:pos x="18" y="5"/>
                </a:cxn>
                <a:cxn ang="0">
                  <a:pos x="14" y="7"/>
                </a:cxn>
                <a:cxn ang="0">
                  <a:pos x="14" y="7"/>
                </a:cxn>
                <a:cxn ang="0">
                  <a:pos x="14" y="7"/>
                </a:cxn>
              </a:cxnLst>
              <a:rect l="0" t="0" r="r" b="b"/>
              <a:pathLst>
                <a:path w="53" h="14">
                  <a:moveTo>
                    <a:pt x="0" y="11"/>
                  </a:moveTo>
                  <a:lnTo>
                    <a:pt x="4" y="14"/>
                  </a:lnTo>
                  <a:lnTo>
                    <a:pt x="7" y="12"/>
                  </a:lnTo>
                  <a:lnTo>
                    <a:pt x="9" y="12"/>
                  </a:lnTo>
                  <a:lnTo>
                    <a:pt x="9" y="9"/>
                  </a:lnTo>
                  <a:lnTo>
                    <a:pt x="7" y="9"/>
                  </a:lnTo>
                  <a:lnTo>
                    <a:pt x="4" y="11"/>
                  </a:lnTo>
                  <a:lnTo>
                    <a:pt x="0" y="11"/>
                  </a:lnTo>
                  <a:lnTo>
                    <a:pt x="0" y="11"/>
                  </a:lnTo>
                  <a:lnTo>
                    <a:pt x="0" y="11"/>
                  </a:lnTo>
                  <a:lnTo>
                    <a:pt x="0" y="11"/>
                  </a:lnTo>
                  <a:close/>
                  <a:moveTo>
                    <a:pt x="14" y="7"/>
                  </a:moveTo>
                  <a:lnTo>
                    <a:pt x="18" y="11"/>
                  </a:lnTo>
                  <a:lnTo>
                    <a:pt x="21" y="14"/>
                  </a:lnTo>
                  <a:lnTo>
                    <a:pt x="21" y="14"/>
                  </a:lnTo>
                  <a:lnTo>
                    <a:pt x="25" y="11"/>
                  </a:lnTo>
                  <a:lnTo>
                    <a:pt x="28" y="11"/>
                  </a:lnTo>
                  <a:lnTo>
                    <a:pt x="30" y="11"/>
                  </a:lnTo>
                  <a:lnTo>
                    <a:pt x="39" y="11"/>
                  </a:lnTo>
                  <a:lnTo>
                    <a:pt x="42" y="7"/>
                  </a:lnTo>
                  <a:lnTo>
                    <a:pt x="47" y="5"/>
                  </a:lnTo>
                  <a:lnTo>
                    <a:pt x="49" y="5"/>
                  </a:lnTo>
                  <a:lnTo>
                    <a:pt x="51" y="5"/>
                  </a:lnTo>
                  <a:lnTo>
                    <a:pt x="53" y="2"/>
                  </a:lnTo>
                  <a:lnTo>
                    <a:pt x="53" y="0"/>
                  </a:lnTo>
                  <a:lnTo>
                    <a:pt x="53" y="0"/>
                  </a:lnTo>
                  <a:lnTo>
                    <a:pt x="46" y="0"/>
                  </a:lnTo>
                  <a:lnTo>
                    <a:pt x="40" y="0"/>
                  </a:lnTo>
                  <a:lnTo>
                    <a:pt x="39" y="2"/>
                  </a:lnTo>
                  <a:lnTo>
                    <a:pt x="35" y="2"/>
                  </a:lnTo>
                  <a:lnTo>
                    <a:pt x="30" y="2"/>
                  </a:lnTo>
                  <a:lnTo>
                    <a:pt x="23" y="2"/>
                  </a:lnTo>
                  <a:lnTo>
                    <a:pt x="18" y="5"/>
                  </a:lnTo>
                  <a:lnTo>
                    <a:pt x="14" y="7"/>
                  </a:lnTo>
                  <a:lnTo>
                    <a:pt x="14" y="7"/>
                  </a:lnTo>
                  <a:lnTo>
                    <a:pt x="14"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7" name="Freeform 183">
              <a:extLst>
                <a:ext uri="{FF2B5EF4-FFF2-40B4-BE49-F238E27FC236}">
                  <a16:creationId xmlns:a16="http://schemas.microsoft.com/office/drawing/2014/main" id="{09E02F6C-34B0-48FC-A837-1C76935D4441}"/>
                </a:ext>
              </a:extLst>
            </p:cNvPr>
            <p:cNvSpPr>
              <a:spLocks noEditPoints="1"/>
            </p:cNvSpPr>
            <p:nvPr/>
          </p:nvSpPr>
          <p:spPr bwMode="auto">
            <a:xfrm>
              <a:off x="7561263" y="4125913"/>
              <a:ext cx="31750" cy="25400"/>
            </a:xfrm>
            <a:custGeom>
              <a:avLst/>
              <a:gdLst/>
              <a:ahLst/>
              <a:cxnLst>
                <a:cxn ang="0">
                  <a:pos x="0" y="7"/>
                </a:cxn>
                <a:cxn ang="0">
                  <a:pos x="5" y="10"/>
                </a:cxn>
                <a:cxn ang="0">
                  <a:pos x="5" y="10"/>
                </a:cxn>
                <a:cxn ang="0">
                  <a:pos x="8" y="14"/>
                </a:cxn>
                <a:cxn ang="0">
                  <a:pos x="12" y="16"/>
                </a:cxn>
                <a:cxn ang="0">
                  <a:pos x="14" y="16"/>
                </a:cxn>
                <a:cxn ang="0">
                  <a:pos x="12" y="7"/>
                </a:cxn>
                <a:cxn ang="0">
                  <a:pos x="14" y="5"/>
                </a:cxn>
                <a:cxn ang="0">
                  <a:pos x="15" y="5"/>
                </a:cxn>
                <a:cxn ang="0">
                  <a:pos x="15" y="5"/>
                </a:cxn>
                <a:cxn ang="0">
                  <a:pos x="15" y="0"/>
                </a:cxn>
                <a:cxn ang="0">
                  <a:pos x="12" y="2"/>
                </a:cxn>
                <a:cxn ang="0">
                  <a:pos x="7" y="5"/>
                </a:cxn>
                <a:cxn ang="0">
                  <a:pos x="1" y="7"/>
                </a:cxn>
                <a:cxn ang="0">
                  <a:pos x="0" y="7"/>
                </a:cxn>
                <a:cxn ang="0">
                  <a:pos x="0" y="7"/>
                </a:cxn>
                <a:cxn ang="0">
                  <a:pos x="0" y="7"/>
                </a:cxn>
                <a:cxn ang="0">
                  <a:pos x="0" y="7"/>
                </a:cxn>
                <a:cxn ang="0">
                  <a:pos x="15" y="7"/>
                </a:cxn>
                <a:cxn ang="0">
                  <a:pos x="17" y="10"/>
                </a:cxn>
                <a:cxn ang="0">
                  <a:pos x="17" y="12"/>
                </a:cxn>
                <a:cxn ang="0">
                  <a:pos x="19" y="14"/>
                </a:cxn>
                <a:cxn ang="0">
                  <a:pos x="20" y="10"/>
                </a:cxn>
                <a:cxn ang="0">
                  <a:pos x="19" y="7"/>
                </a:cxn>
                <a:cxn ang="0">
                  <a:pos x="19" y="5"/>
                </a:cxn>
                <a:cxn ang="0">
                  <a:pos x="17" y="5"/>
                </a:cxn>
                <a:cxn ang="0">
                  <a:pos x="15" y="7"/>
                </a:cxn>
                <a:cxn ang="0">
                  <a:pos x="15" y="7"/>
                </a:cxn>
                <a:cxn ang="0">
                  <a:pos x="15" y="7"/>
                </a:cxn>
              </a:cxnLst>
              <a:rect l="0" t="0" r="r" b="b"/>
              <a:pathLst>
                <a:path w="20" h="16">
                  <a:moveTo>
                    <a:pt x="0" y="7"/>
                  </a:moveTo>
                  <a:lnTo>
                    <a:pt x="5" y="10"/>
                  </a:lnTo>
                  <a:lnTo>
                    <a:pt x="5" y="10"/>
                  </a:lnTo>
                  <a:lnTo>
                    <a:pt x="8" y="14"/>
                  </a:lnTo>
                  <a:lnTo>
                    <a:pt x="12" y="16"/>
                  </a:lnTo>
                  <a:lnTo>
                    <a:pt x="14" y="16"/>
                  </a:lnTo>
                  <a:lnTo>
                    <a:pt x="12" y="7"/>
                  </a:lnTo>
                  <a:lnTo>
                    <a:pt x="14" y="5"/>
                  </a:lnTo>
                  <a:lnTo>
                    <a:pt x="15" y="5"/>
                  </a:lnTo>
                  <a:lnTo>
                    <a:pt x="15" y="5"/>
                  </a:lnTo>
                  <a:lnTo>
                    <a:pt x="15" y="0"/>
                  </a:lnTo>
                  <a:lnTo>
                    <a:pt x="12" y="2"/>
                  </a:lnTo>
                  <a:lnTo>
                    <a:pt x="7" y="5"/>
                  </a:lnTo>
                  <a:lnTo>
                    <a:pt x="1" y="7"/>
                  </a:lnTo>
                  <a:lnTo>
                    <a:pt x="0" y="7"/>
                  </a:lnTo>
                  <a:lnTo>
                    <a:pt x="0" y="7"/>
                  </a:lnTo>
                  <a:lnTo>
                    <a:pt x="0" y="7"/>
                  </a:lnTo>
                  <a:lnTo>
                    <a:pt x="0" y="7"/>
                  </a:lnTo>
                  <a:close/>
                  <a:moveTo>
                    <a:pt x="15" y="7"/>
                  </a:moveTo>
                  <a:lnTo>
                    <a:pt x="17" y="10"/>
                  </a:lnTo>
                  <a:lnTo>
                    <a:pt x="17" y="12"/>
                  </a:lnTo>
                  <a:lnTo>
                    <a:pt x="19" y="14"/>
                  </a:lnTo>
                  <a:lnTo>
                    <a:pt x="20" y="10"/>
                  </a:lnTo>
                  <a:lnTo>
                    <a:pt x="19" y="7"/>
                  </a:lnTo>
                  <a:lnTo>
                    <a:pt x="19" y="5"/>
                  </a:lnTo>
                  <a:lnTo>
                    <a:pt x="17" y="5"/>
                  </a:lnTo>
                  <a:lnTo>
                    <a:pt x="15" y="7"/>
                  </a:lnTo>
                  <a:lnTo>
                    <a:pt x="15" y="7"/>
                  </a:lnTo>
                  <a:lnTo>
                    <a:pt x="15"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8" name="Freeform 184">
              <a:extLst>
                <a:ext uri="{FF2B5EF4-FFF2-40B4-BE49-F238E27FC236}">
                  <a16:creationId xmlns:a16="http://schemas.microsoft.com/office/drawing/2014/main" id="{77558B50-9E78-47AB-9BA3-6C7831152355}"/>
                </a:ext>
              </a:extLst>
            </p:cNvPr>
            <p:cNvSpPr>
              <a:spLocks/>
            </p:cNvSpPr>
            <p:nvPr/>
          </p:nvSpPr>
          <p:spPr bwMode="auto">
            <a:xfrm>
              <a:off x="7229475" y="3856038"/>
              <a:ext cx="146050" cy="115888"/>
            </a:xfrm>
            <a:custGeom>
              <a:avLst/>
              <a:gdLst/>
              <a:ahLst/>
              <a:cxnLst>
                <a:cxn ang="0">
                  <a:pos x="44" y="71"/>
                </a:cxn>
                <a:cxn ang="0">
                  <a:pos x="50" y="64"/>
                </a:cxn>
                <a:cxn ang="0">
                  <a:pos x="56" y="66"/>
                </a:cxn>
                <a:cxn ang="0">
                  <a:pos x="66" y="66"/>
                </a:cxn>
                <a:cxn ang="0">
                  <a:pos x="75" y="67"/>
                </a:cxn>
                <a:cxn ang="0">
                  <a:pos x="71" y="62"/>
                </a:cxn>
                <a:cxn ang="0">
                  <a:pos x="66" y="59"/>
                </a:cxn>
                <a:cxn ang="0">
                  <a:pos x="70" y="50"/>
                </a:cxn>
                <a:cxn ang="0">
                  <a:pos x="77" y="47"/>
                </a:cxn>
                <a:cxn ang="0">
                  <a:pos x="85" y="41"/>
                </a:cxn>
                <a:cxn ang="0">
                  <a:pos x="90" y="40"/>
                </a:cxn>
                <a:cxn ang="0">
                  <a:pos x="92" y="31"/>
                </a:cxn>
                <a:cxn ang="0">
                  <a:pos x="92" y="22"/>
                </a:cxn>
                <a:cxn ang="0">
                  <a:pos x="89" y="10"/>
                </a:cxn>
                <a:cxn ang="0">
                  <a:pos x="83" y="5"/>
                </a:cxn>
                <a:cxn ang="0">
                  <a:pos x="77" y="1"/>
                </a:cxn>
                <a:cxn ang="0">
                  <a:pos x="75" y="0"/>
                </a:cxn>
                <a:cxn ang="0">
                  <a:pos x="66" y="1"/>
                </a:cxn>
                <a:cxn ang="0">
                  <a:pos x="66" y="8"/>
                </a:cxn>
                <a:cxn ang="0">
                  <a:pos x="70" y="15"/>
                </a:cxn>
                <a:cxn ang="0">
                  <a:pos x="61" y="8"/>
                </a:cxn>
                <a:cxn ang="0">
                  <a:pos x="52" y="5"/>
                </a:cxn>
                <a:cxn ang="0">
                  <a:pos x="47" y="5"/>
                </a:cxn>
                <a:cxn ang="0">
                  <a:pos x="38" y="1"/>
                </a:cxn>
                <a:cxn ang="0">
                  <a:pos x="31" y="1"/>
                </a:cxn>
                <a:cxn ang="0">
                  <a:pos x="24" y="1"/>
                </a:cxn>
                <a:cxn ang="0">
                  <a:pos x="12" y="5"/>
                </a:cxn>
                <a:cxn ang="0">
                  <a:pos x="5" y="8"/>
                </a:cxn>
                <a:cxn ang="0">
                  <a:pos x="0" y="17"/>
                </a:cxn>
                <a:cxn ang="0">
                  <a:pos x="2" y="31"/>
                </a:cxn>
                <a:cxn ang="0">
                  <a:pos x="7" y="36"/>
                </a:cxn>
                <a:cxn ang="0">
                  <a:pos x="5" y="43"/>
                </a:cxn>
                <a:cxn ang="0">
                  <a:pos x="9" y="47"/>
                </a:cxn>
                <a:cxn ang="0">
                  <a:pos x="11" y="52"/>
                </a:cxn>
                <a:cxn ang="0">
                  <a:pos x="14" y="59"/>
                </a:cxn>
                <a:cxn ang="0">
                  <a:pos x="17" y="59"/>
                </a:cxn>
                <a:cxn ang="0">
                  <a:pos x="17" y="64"/>
                </a:cxn>
                <a:cxn ang="0">
                  <a:pos x="19" y="67"/>
                </a:cxn>
                <a:cxn ang="0">
                  <a:pos x="23" y="64"/>
                </a:cxn>
                <a:cxn ang="0">
                  <a:pos x="24" y="62"/>
                </a:cxn>
                <a:cxn ang="0">
                  <a:pos x="28" y="66"/>
                </a:cxn>
                <a:cxn ang="0">
                  <a:pos x="24" y="71"/>
                </a:cxn>
                <a:cxn ang="0">
                  <a:pos x="28" y="73"/>
                </a:cxn>
                <a:cxn ang="0">
                  <a:pos x="30" y="71"/>
                </a:cxn>
                <a:cxn ang="0">
                  <a:pos x="33" y="73"/>
                </a:cxn>
                <a:cxn ang="0">
                  <a:pos x="37" y="73"/>
                </a:cxn>
                <a:cxn ang="0">
                  <a:pos x="40" y="73"/>
                </a:cxn>
              </a:cxnLst>
              <a:rect l="0" t="0" r="r" b="b"/>
              <a:pathLst>
                <a:path w="92" h="73">
                  <a:moveTo>
                    <a:pt x="40" y="73"/>
                  </a:moveTo>
                  <a:lnTo>
                    <a:pt x="44" y="71"/>
                  </a:lnTo>
                  <a:lnTo>
                    <a:pt x="49" y="69"/>
                  </a:lnTo>
                  <a:lnTo>
                    <a:pt x="50" y="64"/>
                  </a:lnTo>
                  <a:lnTo>
                    <a:pt x="52" y="64"/>
                  </a:lnTo>
                  <a:lnTo>
                    <a:pt x="56" y="66"/>
                  </a:lnTo>
                  <a:lnTo>
                    <a:pt x="64" y="64"/>
                  </a:lnTo>
                  <a:lnTo>
                    <a:pt x="66" y="66"/>
                  </a:lnTo>
                  <a:lnTo>
                    <a:pt x="70" y="69"/>
                  </a:lnTo>
                  <a:lnTo>
                    <a:pt x="75" y="67"/>
                  </a:lnTo>
                  <a:lnTo>
                    <a:pt x="71" y="64"/>
                  </a:lnTo>
                  <a:lnTo>
                    <a:pt x="71" y="62"/>
                  </a:lnTo>
                  <a:lnTo>
                    <a:pt x="70" y="59"/>
                  </a:lnTo>
                  <a:lnTo>
                    <a:pt x="66" y="59"/>
                  </a:lnTo>
                  <a:lnTo>
                    <a:pt x="66" y="52"/>
                  </a:lnTo>
                  <a:lnTo>
                    <a:pt x="70" y="50"/>
                  </a:lnTo>
                  <a:lnTo>
                    <a:pt x="75" y="50"/>
                  </a:lnTo>
                  <a:lnTo>
                    <a:pt x="77" y="47"/>
                  </a:lnTo>
                  <a:lnTo>
                    <a:pt x="83" y="43"/>
                  </a:lnTo>
                  <a:lnTo>
                    <a:pt x="85" y="41"/>
                  </a:lnTo>
                  <a:lnTo>
                    <a:pt x="87" y="40"/>
                  </a:lnTo>
                  <a:lnTo>
                    <a:pt x="90" y="40"/>
                  </a:lnTo>
                  <a:lnTo>
                    <a:pt x="92" y="34"/>
                  </a:lnTo>
                  <a:lnTo>
                    <a:pt x="92" y="31"/>
                  </a:lnTo>
                  <a:lnTo>
                    <a:pt x="92" y="26"/>
                  </a:lnTo>
                  <a:lnTo>
                    <a:pt x="92" y="22"/>
                  </a:lnTo>
                  <a:lnTo>
                    <a:pt x="92" y="19"/>
                  </a:lnTo>
                  <a:lnTo>
                    <a:pt x="89" y="10"/>
                  </a:lnTo>
                  <a:lnTo>
                    <a:pt x="85" y="8"/>
                  </a:lnTo>
                  <a:lnTo>
                    <a:pt x="83" y="5"/>
                  </a:lnTo>
                  <a:lnTo>
                    <a:pt x="83" y="5"/>
                  </a:lnTo>
                  <a:lnTo>
                    <a:pt x="77" y="1"/>
                  </a:lnTo>
                  <a:lnTo>
                    <a:pt x="75" y="1"/>
                  </a:lnTo>
                  <a:lnTo>
                    <a:pt x="75" y="0"/>
                  </a:lnTo>
                  <a:lnTo>
                    <a:pt x="66" y="1"/>
                  </a:lnTo>
                  <a:lnTo>
                    <a:pt x="66" y="1"/>
                  </a:lnTo>
                  <a:lnTo>
                    <a:pt x="70" y="7"/>
                  </a:lnTo>
                  <a:lnTo>
                    <a:pt x="66" y="8"/>
                  </a:lnTo>
                  <a:lnTo>
                    <a:pt x="70" y="12"/>
                  </a:lnTo>
                  <a:lnTo>
                    <a:pt x="70" y="15"/>
                  </a:lnTo>
                  <a:lnTo>
                    <a:pt x="64" y="13"/>
                  </a:lnTo>
                  <a:lnTo>
                    <a:pt x="61" y="8"/>
                  </a:lnTo>
                  <a:lnTo>
                    <a:pt x="56" y="7"/>
                  </a:lnTo>
                  <a:lnTo>
                    <a:pt x="52" y="5"/>
                  </a:lnTo>
                  <a:lnTo>
                    <a:pt x="49" y="1"/>
                  </a:lnTo>
                  <a:lnTo>
                    <a:pt x="47" y="5"/>
                  </a:lnTo>
                  <a:lnTo>
                    <a:pt x="44" y="1"/>
                  </a:lnTo>
                  <a:lnTo>
                    <a:pt x="38" y="1"/>
                  </a:lnTo>
                  <a:lnTo>
                    <a:pt x="37" y="1"/>
                  </a:lnTo>
                  <a:lnTo>
                    <a:pt x="31" y="1"/>
                  </a:lnTo>
                  <a:lnTo>
                    <a:pt x="28" y="1"/>
                  </a:lnTo>
                  <a:lnTo>
                    <a:pt x="24" y="1"/>
                  </a:lnTo>
                  <a:lnTo>
                    <a:pt x="19" y="1"/>
                  </a:lnTo>
                  <a:lnTo>
                    <a:pt x="12" y="5"/>
                  </a:lnTo>
                  <a:lnTo>
                    <a:pt x="9" y="5"/>
                  </a:lnTo>
                  <a:lnTo>
                    <a:pt x="5" y="8"/>
                  </a:lnTo>
                  <a:lnTo>
                    <a:pt x="4" y="13"/>
                  </a:lnTo>
                  <a:lnTo>
                    <a:pt x="0" y="17"/>
                  </a:lnTo>
                  <a:lnTo>
                    <a:pt x="0" y="24"/>
                  </a:lnTo>
                  <a:lnTo>
                    <a:pt x="2" y="31"/>
                  </a:lnTo>
                  <a:lnTo>
                    <a:pt x="5" y="33"/>
                  </a:lnTo>
                  <a:lnTo>
                    <a:pt x="7" y="36"/>
                  </a:lnTo>
                  <a:lnTo>
                    <a:pt x="7" y="41"/>
                  </a:lnTo>
                  <a:lnTo>
                    <a:pt x="5" y="43"/>
                  </a:lnTo>
                  <a:lnTo>
                    <a:pt x="5" y="43"/>
                  </a:lnTo>
                  <a:lnTo>
                    <a:pt x="9" y="47"/>
                  </a:lnTo>
                  <a:lnTo>
                    <a:pt x="9" y="50"/>
                  </a:lnTo>
                  <a:lnTo>
                    <a:pt x="11" y="52"/>
                  </a:lnTo>
                  <a:lnTo>
                    <a:pt x="11" y="55"/>
                  </a:lnTo>
                  <a:lnTo>
                    <a:pt x="14" y="59"/>
                  </a:lnTo>
                  <a:lnTo>
                    <a:pt x="14" y="59"/>
                  </a:lnTo>
                  <a:lnTo>
                    <a:pt x="17" y="59"/>
                  </a:lnTo>
                  <a:lnTo>
                    <a:pt x="14" y="62"/>
                  </a:lnTo>
                  <a:lnTo>
                    <a:pt x="17" y="64"/>
                  </a:lnTo>
                  <a:lnTo>
                    <a:pt x="17" y="67"/>
                  </a:lnTo>
                  <a:lnTo>
                    <a:pt x="19" y="67"/>
                  </a:lnTo>
                  <a:lnTo>
                    <a:pt x="23" y="67"/>
                  </a:lnTo>
                  <a:lnTo>
                    <a:pt x="23" y="64"/>
                  </a:lnTo>
                  <a:lnTo>
                    <a:pt x="24" y="62"/>
                  </a:lnTo>
                  <a:lnTo>
                    <a:pt x="24" y="62"/>
                  </a:lnTo>
                  <a:lnTo>
                    <a:pt x="24" y="64"/>
                  </a:lnTo>
                  <a:lnTo>
                    <a:pt x="28" y="66"/>
                  </a:lnTo>
                  <a:lnTo>
                    <a:pt x="28" y="69"/>
                  </a:lnTo>
                  <a:lnTo>
                    <a:pt x="24" y="71"/>
                  </a:lnTo>
                  <a:lnTo>
                    <a:pt x="24" y="73"/>
                  </a:lnTo>
                  <a:lnTo>
                    <a:pt x="28" y="73"/>
                  </a:lnTo>
                  <a:lnTo>
                    <a:pt x="28" y="73"/>
                  </a:lnTo>
                  <a:lnTo>
                    <a:pt x="30" y="71"/>
                  </a:lnTo>
                  <a:lnTo>
                    <a:pt x="31" y="71"/>
                  </a:lnTo>
                  <a:lnTo>
                    <a:pt x="33" y="73"/>
                  </a:lnTo>
                  <a:lnTo>
                    <a:pt x="37" y="73"/>
                  </a:lnTo>
                  <a:lnTo>
                    <a:pt x="37" y="73"/>
                  </a:lnTo>
                  <a:lnTo>
                    <a:pt x="40" y="73"/>
                  </a:lnTo>
                  <a:lnTo>
                    <a:pt x="40" y="73"/>
                  </a:lnTo>
                  <a:lnTo>
                    <a:pt x="40"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9" name="Freeform 185">
              <a:extLst>
                <a:ext uri="{FF2B5EF4-FFF2-40B4-BE49-F238E27FC236}">
                  <a16:creationId xmlns:a16="http://schemas.microsoft.com/office/drawing/2014/main" id="{BD840327-95DB-4F02-BD8F-59AFE89D237A}"/>
                </a:ext>
              </a:extLst>
            </p:cNvPr>
            <p:cNvSpPr>
              <a:spLocks/>
            </p:cNvSpPr>
            <p:nvPr/>
          </p:nvSpPr>
          <p:spPr bwMode="auto">
            <a:xfrm>
              <a:off x="7151688" y="3624263"/>
              <a:ext cx="215900" cy="255588"/>
            </a:xfrm>
            <a:custGeom>
              <a:avLst/>
              <a:gdLst/>
              <a:ahLst/>
              <a:cxnLst>
                <a:cxn ang="0">
                  <a:pos x="20" y="22"/>
                </a:cxn>
                <a:cxn ang="0">
                  <a:pos x="25" y="17"/>
                </a:cxn>
                <a:cxn ang="0">
                  <a:pos x="23" y="5"/>
                </a:cxn>
                <a:cxn ang="0">
                  <a:pos x="32" y="0"/>
                </a:cxn>
                <a:cxn ang="0">
                  <a:pos x="42" y="8"/>
                </a:cxn>
                <a:cxn ang="0">
                  <a:pos x="44" y="17"/>
                </a:cxn>
                <a:cxn ang="0">
                  <a:pos x="61" y="27"/>
                </a:cxn>
                <a:cxn ang="0">
                  <a:pos x="73" y="27"/>
                </a:cxn>
                <a:cxn ang="0">
                  <a:pos x="80" y="36"/>
                </a:cxn>
                <a:cxn ang="0">
                  <a:pos x="86" y="41"/>
                </a:cxn>
                <a:cxn ang="0">
                  <a:pos x="79" y="52"/>
                </a:cxn>
                <a:cxn ang="0">
                  <a:pos x="68" y="53"/>
                </a:cxn>
                <a:cxn ang="0">
                  <a:pos x="70" y="64"/>
                </a:cxn>
                <a:cxn ang="0">
                  <a:pos x="77" y="69"/>
                </a:cxn>
                <a:cxn ang="0">
                  <a:pos x="89" y="74"/>
                </a:cxn>
                <a:cxn ang="0">
                  <a:pos x="101" y="86"/>
                </a:cxn>
                <a:cxn ang="0">
                  <a:pos x="108" y="99"/>
                </a:cxn>
                <a:cxn ang="0">
                  <a:pos x="117" y="104"/>
                </a:cxn>
                <a:cxn ang="0">
                  <a:pos x="122" y="109"/>
                </a:cxn>
                <a:cxn ang="0">
                  <a:pos x="124" y="114"/>
                </a:cxn>
                <a:cxn ang="0">
                  <a:pos x="132" y="118"/>
                </a:cxn>
                <a:cxn ang="0">
                  <a:pos x="134" y="121"/>
                </a:cxn>
                <a:cxn ang="0">
                  <a:pos x="136" y="128"/>
                </a:cxn>
                <a:cxn ang="0">
                  <a:pos x="132" y="140"/>
                </a:cxn>
                <a:cxn ang="0">
                  <a:pos x="131" y="149"/>
                </a:cxn>
                <a:cxn ang="0">
                  <a:pos x="122" y="146"/>
                </a:cxn>
                <a:cxn ang="0">
                  <a:pos x="113" y="147"/>
                </a:cxn>
                <a:cxn ang="0">
                  <a:pos x="117" y="156"/>
                </a:cxn>
                <a:cxn ang="0">
                  <a:pos x="108" y="154"/>
                </a:cxn>
                <a:cxn ang="0">
                  <a:pos x="96" y="147"/>
                </a:cxn>
                <a:cxn ang="0">
                  <a:pos x="101" y="137"/>
                </a:cxn>
                <a:cxn ang="0">
                  <a:pos x="101" y="130"/>
                </a:cxn>
                <a:cxn ang="0">
                  <a:pos x="99" y="121"/>
                </a:cxn>
                <a:cxn ang="0">
                  <a:pos x="91" y="118"/>
                </a:cxn>
                <a:cxn ang="0">
                  <a:pos x="87" y="109"/>
                </a:cxn>
                <a:cxn ang="0">
                  <a:pos x="87" y="99"/>
                </a:cxn>
                <a:cxn ang="0">
                  <a:pos x="80" y="88"/>
                </a:cxn>
                <a:cxn ang="0">
                  <a:pos x="65" y="76"/>
                </a:cxn>
                <a:cxn ang="0">
                  <a:pos x="49" y="86"/>
                </a:cxn>
                <a:cxn ang="0">
                  <a:pos x="35" y="78"/>
                </a:cxn>
                <a:cxn ang="0">
                  <a:pos x="27" y="86"/>
                </a:cxn>
                <a:cxn ang="0">
                  <a:pos x="21" y="74"/>
                </a:cxn>
                <a:cxn ang="0">
                  <a:pos x="21" y="64"/>
                </a:cxn>
                <a:cxn ang="0">
                  <a:pos x="21" y="55"/>
                </a:cxn>
                <a:cxn ang="0">
                  <a:pos x="9" y="55"/>
                </a:cxn>
                <a:cxn ang="0">
                  <a:pos x="9" y="43"/>
                </a:cxn>
                <a:cxn ang="0">
                  <a:pos x="0" y="36"/>
                </a:cxn>
                <a:cxn ang="0">
                  <a:pos x="6" y="31"/>
                </a:cxn>
                <a:cxn ang="0">
                  <a:pos x="6" y="22"/>
                </a:cxn>
                <a:cxn ang="0">
                  <a:pos x="14" y="17"/>
                </a:cxn>
              </a:cxnLst>
              <a:rect l="0" t="0" r="r" b="b"/>
              <a:pathLst>
                <a:path w="136" h="161">
                  <a:moveTo>
                    <a:pt x="14" y="17"/>
                  </a:moveTo>
                  <a:lnTo>
                    <a:pt x="18" y="19"/>
                  </a:lnTo>
                  <a:lnTo>
                    <a:pt x="20" y="22"/>
                  </a:lnTo>
                  <a:lnTo>
                    <a:pt x="23" y="20"/>
                  </a:lnTo>
                  <a:lnTo>
                    <a:pt x="27" y="22"/>
                  </a:lnTo>
                  <a:lnTo>
                    <a:pt x="25" y="17"/>
                  </a:lnTo>
                  <a:lnTo>
                    <a:pt x="25" y="13"/>
                  </a:lnTo>
                  <a:lnTo>
                    <a:pt x="25" y="8"/>
                  </a:lnTo>
                  <a:lnTo>
                    <a:pt x="23" y="5"/>
                  </a:lnTo>
                  <a:lnTo>
                    <a:pt x="27" y="1"/>
                  </a:lnTo>
                  <a:lnTo>
                    <a:pt x="27" y="0"/>
                  </a:lnTo>
                  <a:lnTo>
                    <a:pt x="32" y="0"/>
                  </a:lnTo>
                  <a:lnTo>
                    <a:pt x="33" y="1"/>
                  </a:lnTo>
                  <a:lnTo>
                    <a:pt x="39" y="5"/>
                  </a:lnTo>
                  <a:lnTo>
                    <a:pt x="42" y="8"/>
                  </a:lnTo>
                  <a:lnTo>
                    <a:pt x="46" y="10"/>
                  </a:lnTo>
                  <a:lnTo>
                    <a:pt x="46" y="15"/>
                  </a:lnTo>
                  <a:lnTo>
                    <a:pt x="44" y="17"/>
                  </a:lnTo>
                  <a:lnTo>
                    <a:pt x="51" y="24"/>
                  </a:lnTo>
                  <a:lnTo>
                    <a:pt x="54" y="27"/>
                  </a:lnTo>
                  <a:lnTo>
                    <a:pt x="61" y="27"/>
                  </a:lnTo>
                  <a:lnTo>
                    <a:pt x="65" y="31"/>
                  </a:lnTo>
                  <a:lnTo>
                    <a:pt x="68" y="27"/>
                  </a:lnTo>
                  <a:lnTo>
                    <a:pt x="73" y="27"/>
                  </a:lnTo>
                  <a:lnTo>
                    <a:pt x="77" y="33"/>
                  </a:lnTo>
                  <a:lnTo>
                    <a:pt x="80" y="33"/>
                  </a:lnTo>
                  <a:lnTo>
                    <a:pt x="80" y="36"/>
                  </a:lnTo>
                  <a:lnTo>
                    <a:pt x="80" y="38"/>
                  </a:lnTo>
                  <a:lnTo>
                    <a:pt x="86" y="39"/>
                  </a:lnTo>
                  <a:lnTo>
                    <a:pt x="86" y="41"/>
                  </a:lnTo>
                  <a:lnTo>
                    <a:pt x="82" y="43"/>
                  </a:lnTo>
                  <a:lnTo>
                    <a:pt x="80" y="50"/>
                  </a:lnTo>
                  <a:lnTo>
                    <a:pt x="79" y="52"/>
                  </a:lnTo>
                  <a:lnTo>
                    <a:pt x="77" y="52"/>
                  </a:lnTo>
                  <a:lnTo>
                    <a:pt x="72" y="53"/>
                  </a:lnTo>
                  <a:lnTo>
                    <a:pt x="68" y="53"/>
                  </a:lnTo>
                  <a:lnTo>
                    <a:pt x="70" y="55"/>
                  </a:lnTo>
                  <a:lnTo>
                    <a:pt x="73" y="60"/>
                  </a:lnTo>
                  <a:lnTo>
                    <a:pt x="70" y="64"/>
                  </a:lnTo>
                  <a:lnTo>
                    <a:pt x="72" y="66"/>
                  </a:lnTo>
                  <a:lnTo>
                    <a:pt x="73" y="66"/>
                  </a:lnTo>
                  <a:lnTo>
                    <a:pt x="77" y="69"/>
                  </a:lnTo>
                  <a:lnTo>
                    <a:pt x="80" y="71"/>
                  </a:lnTo>
                  <a:lnTo>
                    <a:pt x="86" y="73"/>
                  </a:lnTo>
                  <a:lnTo>
                    <a:pt x="89" y="74"/>
                  </a:lnTo>
                  <a:lnTo>
                    <a:pt x="94" y="78"/>
                  </a:lnTo>
                  <a:lnTo>
                    <a:pt x="99" y="83"/>
                  </a:lnTo>
                  <a:lnTo>
                    <a:pt x="101" y="86"/>
                  </a:lnTo>
                  <a:lnTo>
                    <a:pt x="101" y="88"/>
                  </a:lnTo>
                  <a:lnTo>
                    <a:pt x="106" y="95"/>
                  </a:lnTo>
                  <a:lnTo>
                    <a:pt x="108" y="99"/>
                  </a:lnTo>
                  <a:lnTo>
                    <a:pt x="112" y="100"/>
                  </a:lnTo>
                  <a:lnTo>
                    <a:pt x="113" y="100"/>
                  </a:lnTo>
                  <a:lnTo>
                    <a:pt x="117" y="104"/>
                  </a:lnTo>
                  <a:lnTo>
                    <a:pt x="117" y="106"/>
                  </a:lnTo>
                  <a:lnTo>
                    <a:pt x="119" y="109"/>
                  </a:lnTo>
                  <a:lnTo>
                    <a:pt x="122" y="109"/>
                  </a:lnTo>
                  <a:lnTo>
                    <a:pt x="122" y="109"/>
                  </a:lnTo>
                  <a:lnTo>
                    <a:pt x="122" y="111"/>
                  </a:lnTo>
                  <a:lnTo>
                    <a:pt x="124" y="114"/>
                  </a:lnTo>
                  <a:lnTo>
                    <a:pt x="127" y="114"/>
                  </a:lnTo>
                  <a:lnTo>
                    <a:pt x="129" y="118"/>
                  </a:lnTo>
                  <a:lnTo>
                    <a:pt x="132" y="118"/>
                  </a:lnTo>
                  <a:lnTo>
                    <a:pt x="136" y="118"/>
                  </a:lnTo>
                  <a:lnTo>
                    <a:pt x="136" y="118"/>
                  </a:lnTo>
                  <a:lnTo>
                    <a:pt x="134" y="121"/>
                  </a:lnTo>
                  <a:lnTo>
                    <a:pt x="132" y="125"/>
                  </a:lnTo>
                  <a:lnTo>
                    <a:pt x="134" y="128"/>
                  </a:lnTo>
                  <a:lnTo>
                    <a:pt x="136" y="128"/>
                  </a:lnTo>
                  <a:lnTo>
                    <a:pt x="136" y="132"/>
                  </a:lnTo>
                  <a:lnTo>
                    <a:pt x="132" y="137"/>
                  </a:lnTo>
                  <a:lnTo>
                    <a:pt x="132" y="140"/>
                  </a:lnTo>
                  <a:lnTo>
                    <a:pt x="134" y="142"/>
                  </a:lnTo>
                  <a:lnTo>
                    <a:pt x="134" y="147"/>
                  </a:lnTo>
                  <a:lnTo>
                    <a:pt x="131" y="149"/>
                  </a:lnTo>
                  <a:lnTo>
                    <a:pt x="129" y="149"/>
                  </a:lnTo>
                  <a:lnTo>
                    <a:pt x="124" y="147"/>
                  </a:lnTo>
                  <a:lnTo>
                    <a:pt x="122" y="146"/>
                  </a:lnTo>
                  <a:lnTo>
                    <a:pt x="122" y="146"/>
                  </a:lnTo>
                  <a:lnTo>
                    <a:pt x="113" y="146"/>
                  </a:lnTo>
                  <a:lnTo>
                    <a:pt x="113" y="147"/>
                  </a:lnTo>
                  <a:lnTo>
                    <a:pt x="117" y="153"/>
                  </a:lnTo>
                  <a:lnTo>
                    <a:pt x="113" y="154"/>
                  </a:lnTo>
                  <a:lnTo>
                    <a:pt x="117" y="156"/>
                  </a:lnTo>
                  <a:lnTo>
                    <a:pt x="117" y="161"/>
                  </a:lnTo>
                  <a:lnTo>
                    <a:pt x="112" y="159"/>
                  </a:lnTo>
                  <a:lnTo>
                    <a:pt x="108" y="154"/>
                  </a:lnTo>
                  <a:lnTo>
                    <a:pt x="103" y="153"/>
                  </a:lnTo>
                  <a:lnTo>
                    <a:pt x="101" y="151"/>
                  </a:lnTo>
                  <a:lnTo>
                    <a:pt x="96" y="147"/>
                  </a:lnTo>
                  <a:lnTo>
                    <a:pt x="99" y="147"/>
                  </a:lnTo>
                  <a:lnTo>
                    <a:pt x="101" y="146"/>
                  </a:lnTo>
                  <a:lnTo>
                    <a:pt x="101" y="137"/>
                  </a:lnTo>
                  <a:lnTo>
                    <a:pt x="99" y="137"/>
                  </a:lnTo>
                  <a:lnTo>
                    <a:pt x="101" y="133"/>
                  </a:lnTo>
                  <a:lnTo>
                    <a:pt x="101" y="130"/>
                  </a:lnTo>
                  <a:lnTo>
                    <a:pt x="103" y="126"/>
                  </a:lnTo>
                  <a:lnTo>
                    <a:pt x="101" y="125"/>
                  </a:lnTo>
                  <a:lnTo>
                    <a:pt x="99" y="121"/>
                  </a:lnTo>
                  <a:lnTo>
                    <a:pt x="99" y="119"/>
                  </a:lnTo>
                  <a:lnTo>
                    <a:pt x="96" y="118"/>
                  </a:lnTo>
                  <a:lnTo>
                    <a:pt x="91" y="118"/>
                  </a:lnTo>
                  <a:lnTo>
                    <a:pt x="89" y="114"/>
                  </a:lnTo>
                  <a:lnTo>
                    <a:pt x="86" y="111"/>
                  </a:lnTo>
                  <a:lnTo>
                    <a:pt x="87" y="109"/>
                  </a:lnTo>
                  <a:lnTo>
                    <a:pt x="87" y="106"/>
                  </a:lnTo>
                  <a:lnTo>
                    <a:pt x="86" y="100"/>
                  </a:lnTo>
                  <a:lnTo>
                    <a:pt x="87" y="99"/>
                  </a:lnTo>
                  <a:lnTo>
                    <a:pt x="87" y="95"/>
                  </a:lnTo>
                  <a:lnTo>
                    <a:pt x="86" y="92"/>
                  </a:lnTo>
                  <a:lnTo>
                    <a:pt x="80" y="88"/>
                  </a:lnTo>
                  <a:lnTo>
                    <a:pt x="73" y="83"/>
                  </a:lnTo>
                  <a:lnTo>
                    <a:pt x="72" y="78"/>
                  </a:lnTo>
                  <a:lnTo>
                    <a:pt x="65" y="76"/>
                  </a:lnTo>
                  <a:lnTo>
                    <a:pt x="58" y="78"/>
                  </a:lnTo>
                  <a:lnTo>
                    <a:pt x="54" y="86"/>
                  </a:lnTo>
                  <a:lnTo>
                    <a:pt x="49" y="86"/>
                  </a:lnTo>
                  <a:lnTo>
                    <a:pt x="46" y="83"/>
                  </a:lnTo>
                  <a:lnTo>
                    <a:pt x="42" y="83"/>
                  </a:lnTo>
                  <a:lnTo>
                    <a:pt x="35" y="78"/>
                  </a:lnTo>
                  <a:lnTo>
                    <a:pt x="32" y="83"/>
                  </a:lnTo>
                  <a:lnTo>
                    <a:pt x="32" y="86"/>
                  </a:lnTo>
                  <a:lnTo>
                    <a:pt x="27" y="86"/>
                  </a:lnTo>
                  <a:lnTo>
                    <a:pt x="21" y="88"/>
                  </a:lnTo>
                  <a:lnTo>
                    <a:pt x="21" y="81"/>
                  </a:lnTo>
                  <a:lnTo>
                    <a:pt x="21" y="74"/>
                  </a:lnTo>
                  <a:lnTo>
                    <a:pt x="20" y="69"/>
                  </a:lnTo>
                  <a:lnTo>
                    <a:pt x="21" y="67"/>
                  </a:lnTo>
                  <a:lnTo>
                    <a:pt x="21" y="64"/>
                  </a:lnTo>
                  <a:lnTo>
                    <a:pt x="20" y="60"/>
                  </a:lnTo>
                  <a:lnTo>
                    <a:pt x="21" y="59"/>
                  </a:lnTo>
                  <a:lnTo>
                    <a:pt x="21" y="55"/>
                  </a:lnTo>
                  <a:lnTo>
                    <a:pt x="14" y="55"/>
                  </a:lnTo>
                  <a:lnTo>
                    <a:pt x="13" y="55"/>
                  </a:lnTo>
                  <a:lnTo>
                    <a:pt x="9" y="55"/>
                  </a:lnTo>
                  <a:lnTo>
                    <a:pt x="6" y="52"/>
                  </a:lnTo>
                  <a:lnTo>
                    <a:pt x="9" y="50"/>
                  </a:lnTo>
                  <a:lnTo>
                    <a:pt x="9" y="43"/>
                  </a:lnTo>
                  <a:lnTo>
                    <a:pt x="6" y="39"/>
                  </a:lnTo>
                  <a:lnTo>
                    <a:pt x="2" y="41"/>
                  </a:lnTo>
                  <a:lnTo>
                    <a:pt x="0" y="36"/>
                  </a:lnTo>
                  <a:lnTo>
                    <a:pt x="2" y="33"/>
                  </a:lnTo>
                  <a:lnTo>
                    <a:pt x="4" y="33"/>
                  </a:lnTo>
                  <a:lnTo>
                    <a:pt x="6" y="31"/>
                  </a:lnTo>
                  <a:lnTo>
                    <a:pt x="6" y="27"/>
                  </a:lnTo>
                  <a:lnTo>
                    <a:pt x="6" y="24"/>
                  </a:lnTo>
                  <a:lnTo>
                    <a:pt x="6" y="22"/>
                  </a:lnTo>
                  <a:lnTo>
                    <a:pt x="11" y="20"/>
                  </a:lnTo>
                  <a:lnTo>
                    <a:pt x="14" y="17"/>
                  </a:lnTo>
                  <a:lnTo>
                    <a:pt x="14" y="17"/>
                  </a:lnTo>
                  <a:lnTo>
                    <a:pt x="14"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0" name="Freeform 186">
              <a:extLst>
                <a:ext uri="{FF2B5EF4-FFF2-40B4-BE49-F238E27FC236}">
                  <a16:creationId xmlns:a16="http://schemas.microsoft.com/office/drawing/2014/main" id="{841E82E8-137E-4731-AF73-D764522B231B}"/>
                </a:ext>
              </a:extLst>
            </p:cNvPr>
            <p:cNvSpPr>
              <a:spLocks noEditPoints="1"/>
            </p:cNvSpPr>
            <p:nvPr/>
          </p:nvSpPr>
          <p:spPr bwMode="auto">
            <a:xfrm>
              <a:off x="7083425" y="3678238"/>
              <a:ext cx="231775" cy="433388"/>
            </a:xfrm>
            <a:custGeom>
              <a:avLst/>
              <a:gdLst/>
              <a:ahLst/>
              <a:cxnLst>
                <a:cxn ang="0">
                  <a:pos x="47" y="14"/>
                </a:cxn>
                <a:cxn ang="0">
                  <a:pos x="61" y="25"/>
                </a:cxn>
                <a:cxn ang="0">
                  <a:pos x="63" y="52"/>
                </a:cxn>
                <a:cxn ang="0">
                  <a:pos x="87" y="45"/>
                </a:cxn>
                <a:cxn ang="0">
                  <a:pos x="116" y="47"/>
                </a:cxn>
                <a:cxn ang="0">
                  <a:pos x="129" y="70"/>
                </a:cxn>
                <a:cxn ang="0">
                  <a:pos x="141" y="84"/>
                </a:cxn>
                <a:cxn ang="0">
                  <a:pos x="142" y="101"/>
                </a:cxn>
                <a:cxn ang="0">
                  <a:pos x="129" y="112"/>
                </a:cxn>
                <a:cxn ang="0">
                  <a:pos x="104" y="113"/>
                </a:cxn>
                <a:cxn ang="0">
                  <a:pos x="92" y="143"/>
                </a:cxn>
                <a:cxn ang="0">
                  <a:pos x="96" y="157"/>
                </a:cxn>
                <a:cxn ang="0">
                  <a:pos x="87" y="152"/>
                </a:cxn>
                <a:cxn ang="0">
                  <a:pos x="78" y="148"/>
                </a:cxn>
                <a:cxn ang="0">
                  <a:pos x="68" y="143"/>
                </a:cxn>
                <a:cxn ang="0">
                  <a:pos x="63" y="132"/>
                </a:cxn>
                <a:cxn ang="0">
                  <a:pos x="52" y="134"/>
                </a:cxn>
                <a:cxn ang="0">
                  <a:pos x="52" y="139"/>
                </a:cxn>
                <a:cxn ang="0">
                  <a:pos x="50" y="159"/>
                </a:cxn>
                <a:cxn ang="0">
                  <a:pos x="40" y="192"/>
                </a:cxn>
                <a:cxn ang="0">
                  <a:pos x="42" y="202"/>
                </a:cxn>
                <a:cxn ang="0">
                  <a:pos x="47" y="207"/>
                </a:cxn>
                <a:cxn ang="0">
                  <a:pos x="54" y="221"/>
                </a:cxn>
                <a:cxn ang="0">
                  <a:pos x="61" y="223"/>
                </a:cxn>
                <a:cxn ang="0">
                  <a:pos x="64" y="240"/>
                </a:cxn>
                <a:cxn ang="0">
                  <a:pos x="68" y="244"/>
                </a:cxn>
                <a:cxn ang="0">
                  <a:pos x="82" y="254"/>
                </a:cxn>
                <a:cxn ang="0">
                  <a:pos x="92" y="266"/>
                </a:cxn>
                <a:cxn ang="0">
                  <a:pos x="75" y="272"/>
                </a:cxn>
                <a:cxn ang="0">
                  <a:pos x="70" y="258"/>
                </a:cxn>
                <a:cxn ang="0">
                  <a:pos x="50" y="254"/>
                </a:cxn>
                <a:cxn ang="0">
                  <a:pos x="47" y="245"/>
                </a:cxn>
                <a:cxn ang="0">
                  <a:pos x="35" y="226"/>
                </a:cxn>
                <a:cxn ang="0">
                  <a:pos x="28" y="226"/>
                </a:cxn>
                <a:cxn ang="0">
                  <a:pos x="30" y="207"/>
                </a:cxn>
                <a:cxn ang="0">
                  <a:pos x="30" y="195"/>
                </a:cxn>
                <a:cxn ang="0">
                  <a:pos x="42" y="165"/>
                </a:cxn>
                <a:cxn ang="0">
                  <a:pos x="40" y="143"/>
                </a:cxn>
                <a:cxn ang="0">
                  <a:pos x="31" y="117"/>
                </a:cxn>
                <a:cxn ang="0">
                  <a:pos x="24" y="94"/>
                </a:cxn>
                <a:cxn ang="0">
                  <a:pos x="23" y="73"/>
                </a:cxn>
                <a:cxn ang="0">
                  <a:pos x="5" y="49"/>
                </a:cxn>
                <a:cxn ang="0">
                  <a:pos x="5" y="32"/>
                </a:cxn>
                <a:cxn ang="0">
                  <a:pos x="19" y="16"/>
                </a:cxn>
                <a:cxn ang="0">
                  <a:pos x="33" y="5"/>
                </a:cxn>
                <a:cxn ang="0">
                  <a:pos x="42" y="0"/>
                </a:cxn>
                <a:cxn ang="0">
                  <a:pos x="52" y="258"/>
                </a:cxn>
                <a:cxn ang="0">
                  <a:pos x="40" y="238"/>
                </a:cxn>
                <a:cxn ang="0">
                  <a:pos x="40" y="238"/>
                </a:cxn>
                <a:cxn ang="0">
                  <a:pos x="30" y="235"/>
                </a:cxn>
                <a:cxn ang="0">
                  <a:pos x="28" y="230"/>
                </a:cxn>
                <a:cxn ang="0">
                  <a:pos x="89" y="155"/>
                </a:cxn>
                <a:cxn ang="0">
                  <a:pos x="56" y="199"/>
                </a:cxn>
                <a:cxn ang="0">
                  <a:pos x="54" y="204"/>
                </a:cxn>
              </a:cxnLst>
              <a:rect l="0" t="0" r="r" b="b"/>
              <a:pathLst>
                <a:path w="146" h="273">
                  <a:moveTo>
                    <a:pt x="42" y="0"/>
                  </a:moveTo>
                  <a:lnTo>
                    <a:pt x="43" y="4"/>
                  </a:lnTo>
                  <a:lnTo>
                    <a:pt x="47" y="4"/>
                  </a:lnTo>
                  <a:lnTo>
                    <a:pt x="50" y="5"/>
                  </a:lnTo>
                  <a:lnTo>
                    <a:pt x="50" y="12"/>
                  </a:lnTo>
                  <a:lnTo>
                    <a:pt x="47" y="14"/>
                  </a:lnTo>
                  <a:lnTo>
                    <a:pt x="50" y="19"/>
                  </a:lnTo>
                  <a:lnTo>
                    <a:pt x="54" y="19"/>
                  </a:lnTo>
                  <a:lnTo>
                    <a:pt x="56" y="18"/>
                  </a:lnTo>
                  <a:lnTo>
                    <a:pt x="63" y="18"/>
                  </a:lnTo>
                  <a:lnTo>
                    <a:pt x="63" y="21"/>
                  </a:lnTo>
                  <a:lnTo>
                    <a:pt x="61" y="25"/>
                  </a:lnTo>
                  <a:lnTo>
                    <a:pt x="63" y="28"/>
                  </a:lnTo>
                  <a:lnTo>
                    <a:pt x="63" y="32"/>
                  </a:lnTo>
                  <a:lnTo>
                    <a:pt x="61" y="32"/>
                  </a:lnTo>
                  <a:lnTo>
                    <a:pt x="63" y="37"/>
                  </a:lnTo>
                  <a:lnTo>
                    <a:pt x="63" y="44"/>
                  </a:lnTo>
                  <a:lnTo>
                    <a:pt x="63" y="52"/>
                  </a:lnTo>
                  <a:lnTo>
                    <a:pt x="68" y="51"/>
                  </a:lnTo>
                  <a:lnTo>
                    <a:pt x="73" y="49"/>
                  </a:lnTo>
                  <a:lnTo>
                    <a:pt x="73" y="45"/>
                  </a:lnTo>
                  <a:lnTo>
                    <a:pt x="78" y="42"/>
                  </a:lnTo>
                  <a:lnTo>
                    <a:pt x="83" y="45"/>
                  </a:lnTo>
                  <a:lnTo>
                    <a:pt x="87" y="45"/>
                  </a:lnTo>
                  <a:lnTo>
                    <a:pt x="90" y="49"/>
                  </a:lnTo>
                  <a:lnTo>
                    <a:pt x="97" y="49"/>
                  </a:lnTo>
                  <a:lnTo>
                    <a:pt x="101" y="40"/>
                  </a:lnTo>
                  <a:lnTo>
                    <a:pt x="106" y="40"/>
                  </a:lnTo>
                  <a:lnTo>
                    <a:pt x="113" y="42"/>
                  </a:lnTo>
                  <a:lnTo>
                    <a:pt x="116" y="47"/>
                  </a:lnTo>
                  <a:lnTo>
                    <a:pt x="123" y="52"/>
                  </a:lnTo>
                  <a:lnTo>
                    <a:pt x="127" y="56"/>
                  </a:lnTo>
                  <a:lnTo>
                    <a:pt x="129" y="59"/>
                  </a:lnTo>
                  <a:lnTo>
                    <a:pt x="129" y="63"/>
                  </a:lnTo>
                  <a:lnTo>
                    <a:pt x="127" y="65"/>
                  </a:lnTo>
                  <a:lnTo>
                    <a:pt x="129" y="70"/>
                  </a:lnTo>
                  <a:lnTo>
                    <a:pt x="129" y="73"/>
                  </a:lnTo>
                  <a:lnTo>
                    <a:pt x="127" y="75"/>
                  </a:lnTo>
                  <a:lnTo>
                    <a:pt x="132" y="79"/>
                  </a:lnTo>
                  <a:lnTo>
                    <a:pt x="134" y="82"/>
                  </a:lnTo>
                  <a:lnTo>
                    <a:pt x="137" y="82"/>
                  </a:lnTo>
                  <a:lnTo>
                    <a:pt x="141" y="84"/>
                  </a:lnTo>
                  <a:lnTo>
                    <a:pt x="141" y="85"/>
                  </a:lnTo>
                  <a:lnTo>
                    <a:pt x="142" y="89"/>
                  </a:lnTo>
                  <a:lnTo>
                    <a:pt x="146" y="91"/>
                  </a:lnTo>
                  <a:lnTo>
                    <a:pt x="142" y="94"/>
                  </a:lnTo>
                  <a:lnTo>
                    <a:pt x="142" y="98"/>
                  </a:lnTo>
                  <a:lnTo>
                    <a:pt x="142" y="101"/>
                  </a:lnTo>
                  <a:lnTo>
                    <a:pt x="142" y="101"/>
                  </a:lnTo>
                  <a:lnTo>
                    <a:pt x="142" y="110"/>
                  </a:lnTo>
                  <a:lnTo>
                    <a:pt x="142" y="112"/>
                  </a:lnTo>
                  <a:lnTo>
                    <a:pt x="137" y="113"/>
                  </a:lnTo>
                  <a:lnTo>
                    <a:pt x="134" y="110"/>
                  </a:lnTo>
                  <a:lnTo>
                    <a:pt x="129" y="112"/>
                  </a:lnTo>
                  <a:lnTo>
                    <a:pt x="127" y="110"/>
                  </a:lnTo>
                  <a:lnTo>
                    <a:pt x="123" y="110"/>
                  </a:lnTo>
                  <a:lnTo>
                    <a:pt x="118" y="112"/>
                  </a:lnTo>
                  <a:lnTo>
                    <a:pt x="116" y="110"/>
                  </a:lnTo>
                  <a:lnTo>
                    <a:pt x="111" y="110"/>
                  </a:lnTo>
                  <a:lnTo>
                    <a:pt x="104" y="113"/>
                  </a:lnTo>
                  <a:lnTo>
                    <a:pt x="101" y="113"/>
                  </a:lnTo>
                  <a:lnTo>
                    <a:pt x="97" y="119"/>
                  </a:lnTo>
                  <a:lnTo>
                    <a:pt x="96" y="124"/>
                  </a:lnTo>
                  <a:lnTo>
                    <a:pt x="92" y="127"/>
                  </a:lnTo>
                  <a:lnTo>
                    <a:pt x="92" y="134"/>
                  </a:lnTo>
                  <a:lnTo>
                    <a:pt x="92" y="143"/>
                  </a:lnTo>
                  <a:lnTo>
                    <a:pt x="97" y="143"/>
                  </a:lnTo>
                  <a:lnTo>
                    <a:pt x="97" y="146"/>
                  </a:lnTo>
                  <a:lnTo>
                    <a:pt x="97" y="153"/>
                  </a:lnTo>
                  <a:lnTo>
                    <a:pt x="97" y="155"/>
                  </a:lnTo>
                  <a:lnTo>
                    <a:pt x="97" y="155"/>
                  </a:lnTo>
                  <a:lnTo>
                    <a:pt x="96" y="157"/>
                  </a:lnTo>
                  <a:lnTo>
                    <a:pt x="96" y="159"/>
                  </a:lnTo>
                  <a:lnTo>
                    <a:pt x="96" y="157"/>
                  </a:lnTo>
                  <a:lnTo>
                    <a:pt x="92" y="153"/>
                  </a:lnTo>
                  <a:lnTo>
                    <a:pt x="90" y="153"/>
                  </a:lnTo>
                  <a:lnTo>
                    <a:pt x="90" y="152"/>
                  </a:lnTo>
                  <a:lnTo>
                    <a:pt x="87" y="152"/>
                  </a:lnTo>
                  <a:lnTo>
                    <a:pt x="83" y="146"/>
                  </a:lnTo>
                  <a:lnTo>
                    <a:pt x="80" y="146"/>
                  </a:lnTo>
                  <a:lnTo>
                    <a:pt x="78" y="146"/>
                  </a:lnTo>
                  <a:lnTo>
                    <a:pt x="78" y="148"/>
                  </a:lnTo>
                  <a:lnTo>
                    <a:pt x="78" y="148"/>
                  </a:lnTo>
                  <a:lnTo>
                    <a:pt x="78" y="148"/>
                  </a:lnTo>
                  <a:lnTo>
                    <a:pt x="73" y="146"/>
                  </a:lnTo>
                  <a:lnTo>
                    <a:pt x="70" y="148"/>
                  </a:lnTo>
                  <a:lnTo>
                    <a:pt x="68" y="146"/>
                  </a:lnTo>
                  <a:lnTo>
                    <a:pt x="66" y="146"/>
                  </a:lnTo>
                  <a:lnTo>
                    <a:pt x="66" y="146"/>
                  </a:lnTo>
                  <a:lnTo>
                    <a:pt x="68" y="143"/>
                  </a:lnTo>
                  <a:lnTo>
                    <a:pt x="66" y="139"/>
                  </a:lnTo>
                  <a:lnTo>
                    <a:pt x="66" y="134"/>
                  </a:lnTo>
                  <a:lnTo>
                    <a:pt x="68" y="134"/>
                  </a:lnTo>
                  <a:lnTo>
                    <a:pt x="66" y="132"/>
                  </a:lnTo>
                  <a:lnTo>
                    <a:pt x="63" y="132"/>
                  </a:lnTo>
                  <a:lnTo>
                    <a:pt x="63" y="132"/>
                  </a:lnTo>
                  <a:lnTo>
                    <a:pt x="61" y="132"/>
                  </a:lnTo>
                  <a:lnTo>
                    <a:pt x="61" y="131"/>
                  </a:lnTo>
                  <a:lnTo>
                    <a:pt x="57" y="132"/>
                  </a:lnTo>
                  <a:lnTo>
                    <a:pt x="56" y="132"/>
                  </a:lnTo>
                  <a:lnTo>
                    <a:pt x="54" y="132"/>
                  </a:lnTo>
                  <a:lnTo>
                    <a:pt x="52" y="134"/>
                  </a:lnTo>
                  <a:lnTo>
                    <a:pt x="50" y="134"/>
                  </a:lnTo>
                  <a:lnTo>
                    <a:pt x="50" y="132"/>
                  </a:lnTo>
                  <a:lnTo>
                    <a:pt x="50" y="134"/>
                  </a:lnTo>
                  <a:lnTo>
                    <a:pt x="50" y="134"/>
                  </a:lnTo>
                  <a:lnTo>
                    <a:pt x="52" y="138"/>
                  </a:lnTo>
                  <a:lnTo>
                    <a:pt x="52" y="139"/>
                  </a:lnTo>
                  <a:lnTo>
                    <a:pt x="50" y="143"/>
                  </a:lnTo>
                  <a:lnTo>
                    <a:pt x="50" y="146"/>
                  </a:lnTo>
                  <a:lnTo>
                    <a:pt x="50" y="148"/>
                  </a:lnTo>
                  <a:lnTo>
                    <a:pt x="50" y="152"/>
                  </a:lnTo>
                  <a:lnTo>
                    <a:pt x="50" y="155"/>
                  </a:lnTo>
                  <a:lnTo>
                    <a:pt x="50" y="159"/>
                  </a:lnTo>
                  <a:lnTo>
                    <a:pt x="47" y="162"/>
                  </a:lnTo>
                  <a:lnTo>
                    <a:pt x="47" y="165"/>
                  </a:lnTo>
                  <a:lnTo>
                    <a:pt x="45" y="179"/>
                  </a:lnTo>
                  <a:lnTo>
                    <a:pt x="42" y="185"/>
                  </a:lnTo>
                  <a:lnTo>
                    <a:pt x="42" y="186"/>
                  </a:lnTo>
                  <a:lnTo>
                    <a:pt x="40" y="192"/>
                  </a:lnTo>
                  <a:lnTo>
                    <a:pt x="42" y="192"/>
                  </a:lnTo>
                  <a:lnTo>
                    <a:pt x="42" y="192"/>
                  </a:lnTo>
                  <a:lnTo>
                    <a:pt x="40" y="195"/>
                  </a:lnTo>
                  <a:lnTo>
                    <a:pt x="40" y="195"/>
                  </a:lnTo>
                  <a:lnTo>
                    <a:pt x="42" y="200"/>
                  </a:lnTo>
                  <a:lnTo>
                    <a:pt x="42" y="202"/>
                  </a:lnTo>
                  <a:lnTo>
                    <a:pt x="45" y="207"/>
                  </a:lnTo>
                  <a:lnTo>
                    <a:pt x="43" y="209"/>
                  </a:lnTo>
                  <a:lnTo>
                    <a:pt x="45" y="212"/>
                  </a:lnTo>
                  <a:lnTo>
                    <a:pt x="47" y="212"/>
                  </a:lnTo>
                  <a:lnTo>
                    <a:pt x="47" y="209"/>
                  </a:lnTo>
                  <a:lnTo>
                    <a:pt x="47" y="207"/>
                  </a:lnTo>
                  <a:lnTo>
                    <a:pt x="47" y="209"/>
                  </a:lnTo>
                  <a:lnTo>
                    <a:pt x="50" y="209"/>
                  </a:lnTo>
                  <a:lnTo>
                    <a:pt x="52" y="209"/>
                  </a:lnTo>
                  <a:lnTo>
                    <a:pt x="52" y="212"/>
                  </a:lnTo>
                  <a:lnTo>
                    <a:pt x="54" y="216"/>
                  </a:lnTo>
                  <a:lnTo>
                    <a:pt x="54" y="221"/>
                  </a:lnTo>
                  <a:lnTo>
                    <a:pt x="56" y="221"/>
                  </a:lnTo>
                  <a:lnTo>
                    <a:pt x="57" y="223"/>
                  </a:lnTo>
                  <a:lnTo>
                    <a:pt x="59" y="223"/>
                  </a:lnTo>
                  <a:lnTo>
                    <a:pt x="59" y="221"/>
                  </a:lnTo>
                  <a:lnTo>
                    <a:pt x="59" y="221"/>
                  </a:lnTo>
                  <a:lnTo>
                    <a:pt x="61" y="223"/>
                  </a:lnTo>
                  <a:lnTo>
                    <a:pt x="63" y="226"/>
                  </a:lnTo>
                  <a:lnTo>
                    <a:pt x="63" y="228"/>
                  </a:lnTo>
                  <a:lnTo>
                    <a:pt x="64" y="230"/>
                  </a:lnTo>
                  <a:lnTo>
                    <a:pt x="66" y="237"/>
                  </a:lnTo>
                  <a:lnTo>
                    <a:pt x="66" y="238"/>
                  </a:lnTo>
                  <a:lnTo>
                    <a:pt x="64" y="240"/>
                  </a:lnTo>
                  <a:lnTo>
                    <a:pt x="64" y="238"/>
                  </a:lnTo>
                  <a:lnTo>
                    <a:pt x="61" y="240"/>
                  </a:lnTo>
                  <a:lnTo>
                    <a:pt x="61" y="244"/>
                  </a:lnTo>
                  <a:lnTo>
                    <a:pt x="66" y="245"/>
                  </a:lnTo>
                  <a:lnTo>
                    <a:pt x="66" y="240"/>
                  </a:lnTo>
                  <a:lnTo>
                    <a:pt x="68" y="244"/>
                  </a:lnTo>
                  <a:lnTo>
                    <a:pt x="68" y="245"/>
                  </a:lnTo>
                  <a:lnTo>
                    <a:pt x="70" y="249"/>
                  </a:lnTo>
                  <a:lnTo>
                    <a:pt x="73" y="254"/>
                  </a:lnTo>
                  <a:lnTo>
                    <a:pt x="78" y="254"/>
                  </a:lnTo>
                  <a:lnTo>
                    <a:pt x="78" y="254"/>
                  </a:lnTo>
                  <a:lnTo>
                    <a:pt x="82" y="254"/>
                  </a:lnTo>
                  <a:lnTo>
                    <a:pt x="85" y="254"/>
                  </a:lnTo>
                  <a:lnTo>
                    <a:pt x="87" y="259"/>
                  </a:lnTo>
                  <a:lnTo>
                    <a:pt x="89" y="261"/>
                  </a:lnTo>
                  <a:lnTo>
                    <a:pt x="92" y="265"/>
                  </a:lnTo>
                  <a:lnTo>
                    <a:pt x="92" y="266"/>
                  </a:lnTo>
                  <a:lnTo>
                    <a:pt x="92" y="266"/>
                  </a:lnTo>
                  <a:lnTo>
                    <a:pt x="92" y="270"/>
                  </a:lnTo>
                  <a:lnTo>
                    <a:pt x="89" y="272"/>
                  </a:lnTo>
                  <a:lnTo>
                    <a:pt x="87" y="270"/>
                  </a:lnTo>
                  <a:lnTo>
                    <a:pt x="83" y="270"/>
                  </a:lnTo>
                  <a:lnTo>
                    <a:pt x="80" y="273"/>
                  </a:lnTo>
                  <a:lnTo>
                    <a:pt x="75" y="272"/>
                  </a:lnTo>
                  <a:lnTo>
                    <a:pt x="75" y="270"/>
                  </a:lnTo>
                  <a:lnTo>
                    <a:pt x="78" y="266"/>
                  </a:lnTo>
                  <a:lnTo>
                    <a:pt x="78" y="261"/>
                  </a:lnTo>
                  <a:lnTo>
                    <a:pt x="75" y="259"/>
                  </a:lnTo>
                  <a:lnTo>
                    <a:pt x="73" y="259"/>
                  </a:lnTo>
                  <a:lnTo>
                    <a:pt x="70" y="258"/>
                  </a:lnTo>
                  <a:lnTo>
                    <a:pt x="66" y="258"/>
                  </a:lnTo>
                  <a:lnTo>
                    <a:pt x="63" y="254"/>
                  </a:lnTo>
                  <a:lnTo>
                    <a:pt x="61" y="258"/>
                  </a:lnTo>
                  <a:lnTo>
                    <a:pt x="59" y="259"/>
                  </a:lnTo>
                  <a:lnTo>
                    <a:pt x="59" y="258"/>
                  </a:lnTo>
                  <a:lnTo>
                    <a:pt x="50" y="254"/>
                  </a:lnTo>
                  <a:lnTo>
                    <a:pt x="50" y="251"/>
                  </a:lnTo>
                  <a:lnTo>
                    <a:pt x="52" y="249"/>
                  </a:lnTo>
                  <a:lnTo>
                    <a:pt x="52" y="249"/>
                  </a:lnTo>
                  <a:lnTo>
                    <a:pt x="50" y="249"/>
                  </a:lnTo>
                  <a:lnTo>
                    <a:pt x="50" y="245"/>
                  </a:lnTo>
                  <a:lnTo>
                    <a:pt x="47" y="245"/>
                  </a:lnTo>
                  <a:lnTo>
                    <a:pt x="47" y="240"/>
                  </a:lnTo>
                  <a:lnTo>
                    <a:pt x="43" y="237"/>
                  </a:lnTo>
                  <a:lnTo>
                    <a:pt x="40" y="237"/>
                  </a:lnTo>
                  <a:lnTo>
                    <a:pt x="38" y="230"/>
                  </a:lnTo>
                  <a:lnTo>
                    <a:pt x="35" y="230"/>
                  </a:lnTo>
                  <a:lnTo>
                    <a:pt x="35" y="226"/>
                  </a:lnTo>
                  <a:lnTo>
                    <a:pt x="33" y="225"/>
                  </a:lnTo>
                  <a:lnTo>
                    <a:pt x="33" y="223"/>
                  </a:lnTo>
                  <a:lnTo>
                    <a:pt x="30" y="225"/>
                  </a:lnTo>
                  <a:lnTo>
                    <a:pt x="30" y="228"/>
                  </a:lnTo>
                  <a:lnTo>
                    <a:pt x="28" y="228"/>
                  </a:lnTo>
                  <a:lnTo>
                    <a:pt x="28" y="226"/>
                  </a:lnTo>
                  <a:lnTo>
                    <a:pt x="24" y="221"/>
                  </a:lnTo>
                  <a:lnTo>
                    <a:pt x="28" y="218"/>
                  </a:lnTo>
                  <a:lnTo>
                    <a:pt x="24" y="212"/>
                  </a:lnTo>
                  <a:lnTo>
                    <a:pt x="28" y="212"/>
                  </a:lnTo>
                  <a:lnTo>
                    <a:pt x="28" y="207"/>
                  </a:lnTo>
                  <a:lnTo>
                    <a:pt x="30" y="207"/>
                  </a:lnTo>
                  <a:lnTo>
                    <a:pt x="30" y="204"/>
                  </a:lnTo>
                  <a:lnTo>
                    <a:pt x="28" y="204"/>
                  </a:lnTo>
                  <a:lnTo>
                    <a:pt x="31" y="200"/>
                  </a:lnTo>
                  <a:lnTo>
                    <a:pt x="30" y="199"/>
                  </a:lnTo>
                  <a:lnTo>
                    <a:pt x="33" y="195"/>
                  </a:lnTo>
                  <a:lnTo>
                    <a:pt x="30" y="195"/>
                  </a:lnTo>
                  <a:lnTo>
                    <a:pt x="31" y="188"/>
                  </a:lnTo>
                  <a:lnTo>
                    <a:pt x="31" y="186"/>
                  </a:lnTo>
                  <a:lnTo>
                    <a:pt x="33" y="185"/>
                  </a:lnTo>
                  <a:lnTo>
                    <a:pt x="35" y="179"/>
                  </a:lnTo>
                  <a:lnTo>
                    <a:pt x="38" y="176"/>
                  </a:lnTo>
                  <a:lnTo>
                    <a:pt x="42" y="165"/>
                  </a:lnTo>
                  <a:lnTo>
                    <a:pt x="45" y="164"/>
                  </a:lnTo>
                  <a:lnTo>
                    <a:pt x="45" y="159"/>
                  </a:lnTo>
                  <a:lnTo>
                    <a:pt x="42" y="155"/>
                  </a:lnTo>
                  <a:lnTo>
                    <a:pt x="43" y="152"/>
                  </a:lnTo>
                  <a:lnTo>
                    <a:pt x="42" y="146"/>
                  </a:lnTo>
                  <a:lnTo>
                    <a:pt x="40" y="143"/>
                  </a:lnTo>
                  <a:lnTo>
                    <a:pt x="38" y="139"/>
                  </a:lnTo>
                  <a:lnTo>
                    <a:pt x="38" y="134"/>
                  </a:lnTo>
                  <a:lnTo>
                    <a:pt x="38" y="132"/>
                  </a:lnTo>
                  <a:lnTo>
                    <a:pt x="40" y="129"/>
                  </a:lnTo>
                  <a:lnTo>
                    <a:pt x="36" y="122"/>
                  </a:lnTo>
                  <a:lnTo>
                    <a:pt x="31" y="117"/>
                  </a:lnTo>
                  <a:lnTo>
                    <a:pt x="28" y="113"/>
                  </a:lnTo>
                  <a:lnTo>
                    <a:pt x="23" y="106"/>
                  </a:lnTo>
                  <a:lnTo>
                    <a:pt x="23" y="105"/>
                  </a:lnTo>
                  <a:lnTo>
                    <a:pt x="19" y="98"/>
                  </a:lnTo>
                  <a:lnTo>
                    <a:pt x="24" y="96"/>
                  </a:lnTo>
                  <a:lnTo>
                    <a:pt x="24" y="94"/>
                  </a:lnTo>
                  <a:lnTo>
                    <a:pt x="23" y="85"/>
                  </a:lnTo>
                  <a:lnTo>
                    <a:pt x="24" y="82"/>
                  </a:lnTo>
                  <a:lnTo>
                    <a:pt x="28" y="82"/>
                  </a:lnTo>
                  <a:lnTo>
                    <a:pt x="28" y="77"/>
                  </a:lnTo>
                  <a:lnTo>
                    <a:pt x="24" y="75"/>
                  </a:lnTo>
                  <a:lnTo>
                    <a:pt x="23" y="73"/>
                  </a:lnTo>
                  <a:lnTo>
                    <a:pt x="19" y="68"/>
                  </a:lnTo>
                  <a:lnTo>
                    <a:pt x="17" y="65"/>
                  </a:lnTo>
                  <a:lnTo>
                    <a:pt x="14" y="58"/>
                  </a:lnTo>
                  <a:lnTo>
                    <a:pt x="9" y="54"/>
                  </a:lnTo>
                  <a:lnTo>
                    <a:pt x="9" y="51"/>
                  </a:lnTo>
                  <a:lnTo>
                    <a:pt x="5" y="49"/>
                  </a:lnTo>
                  <a:lnTo>
                    <a:pt x="2" y="44"/>
                  </a:lnTo>
                  <a:lnTo>
                    <a:pt x="0" y="42"/>
                  </a:lnTo>
                  <a:lnTo>
                    <a:pt x="0" y="40"/>
                  </a:lnTo>
                  <a:lnTo>
                    <a:pt x="3" y="40"/>
                  </a:lnTo>
                  <a:lnTo>
                    <a:pt x="7" y="37"/>
                  </a:lnTo>
                  <a:lnTo>
                    <a:pt x="5" y="32"/>
                  </a:lnTo>
                  <a:lnTo>
                    <a:pt x="5" y="28"/>
                  </a:lnTo>
                  <a:lnTo>
                    <a:pt x="9" y="26"/>
                  </a:lnTo>
                  <a:lnTo>
                    <a:pt x="7" y="19"/>
                  </a:lnTo>
                  <a:lnTo>
                    <a:pt x="10" y="16"/>
                  </a:lnTo>
                  <a:lnTo>
                    <a:pt x="17" y="19"/>
                  </a:lnTo>
                  <a:lnTo>
                    <a:pt x="19" y="16"/>
                  </a:lnTo>
                  <a:lnTo>
                    <a:pt x="24" y="16"/>
                  </a:lnTo>
                  <a:lnTo>
                    <a:pt x="24" y="14"/>
                  </a:lnTo>
                  <a:lnTo>
                    <a:pt x="24" y="9"/>
                  </a:lnTo>
                  <a:lnTo>
                    <a:pt x="28" y="7"/>
                  </a:lnTo>
                  <a:lnTo>
                    <a:pt x="31" y="7"/>
                  </a:lnTo>
                  <a:lnTo>
                    <a:pt x="33" y="5"/>
                  </a:lnTo>
                  <a:lnTo>
                    <a:pt x="31" y="4"/>
                  </a:lnTo>
                  <a:lnTo>
                    <a:pt x="31" y="0"/>
                  </a:lnTo>
                  <a:lnTo>
                    <a:pt x="35" y="0"/>
                  </a:lnTo>
                  <a:lnTo>
                    <a:pt x="40" y="0"/>
                  </a:lnTo>
                  <a:lnTo>
                    <a:pt x="42" y="0"/>
                  </a:lnTo>
                  <a:lnTo>
                    <a:pt x="42" y="0"/>
                  </a:lnTo>
                  <a:lnTo>
                    <a:pt x="42" y="0"/>
                  </a:lnTo>
                  <a:lnTo>
                    <a:pt x="42" y="0"/>
                  </a:lnTo>
                  <a:close/>
                  <a:moveTo>
                    <a:pt x="50" y="254"/>
                  </a:moveTo>
                  <a:lnTo>
                    <a:pt x="50" y="258"/>
                  </a:lnTo>
                  <a:lnTo>
                    <a:pt x="52" y="258"/>
                  </a:lnTo>
                  <a:lnTo>
                    <a:pt x="52" y="258"/>
                  </a:lnTo>
                  <a:lnTo>
                    <a:pt x="50" y="254"/>
                  </a:lnTo>
                  <a:lnTo>
                    <a:pt x="50" y="254"/>
                  </a:lnTo>
                  <a:lnTo>
                    <a:pt x="50" y="254"/>
                  </a:lnTo>
                  <a:lnTo>
                    <a:pt x="50" y="254"/>
                  </a:lnTo>
                  <a:lnTo>
                    <a:pt x="50" y="254"/>
                  </a:lnTo>
                  <a:close/>
                  <a:moveTo>
                    <a:pt x="40" y="238"/>
                  </a:moveTo>
                  <a:lnTo>
                    <a:pt x="40" y="240"/>
                  </a:lnTo>
                  <a:lnTo>
                    <a:pt x="40" y="240"/>
                  </a:lnTo>
                  <a:lnTo>
                    <a:pt x="40" y="238"/>
                  </a:lnTo>
                  <a:lnTo>
                    <a:pt x="40" y="238"/>
                  </a:lnTo>
                  <a:lnTo>
                    <a:pt x="40" y="238"/>
                  </a:lnTo>
                  <a:lnTo>
                    <a:pt x="40" y="238"/>
                  </a:lnTo>
                  <a:lnTo>
                    <a:pt x="40" y="238"/>
                  </a:lnTo>
                  <a:close/>
                  <a:moveTo>
                    <a:pt x="28" y="230"/>
                  </a:moveTo>
                  <a:lnTo>
                    <a:pt x="28" y="232"/>
                  </a:lnTo>
                  <a:lnTo>
                    <a:pt x="28" y="233"/>
                  </a:lnTo>
                  <a:lnTo>
                    <a:pt x="28" y="237"/>
                  </a:lnTo>
                  <a:lnTo>
                    <a:pt x="30" y="235"/>
                  </a:lnTo>
                  <a:lnTo>
                    <a:pt x="30" y="230"/>
                  </a:lnTo>
                  <a:lnTo>
                    <a:pt x="30" y="230"/>
                  </a:lnTo>
                  <a:lnTo>
                    <a:pt x="28" y="230"/>
                  </a:lnTo>
                  <a:lnTo>
                    <a:pt x="28" y="230"/>
                  </a:lnTo>
                  <a:lnTo>
                    <a:pt x="28" y="230"/>
                  </a:lnTo>
                  <a:lnTo>
                    <a:pt x="28" y="230"/>
                  </a:lnTo>
                  <a:close/>
                  <a:moveTo>
                    <a:pt x="89" y="155"/>
                  </a:moveTo>
                  <a:lnTo>
                    <a:pt x="90" y="159"/>
                  </a:lnTo>
                  <a:lnTo>
                    <a:pt x="92" y="160"/>
                  </a:lnTo>
                  <a:lnTo>
                    <a:pt x="92" y="160"/>
                  </a:lnTo>
                  <a:lnTo>
                    <a:pt x="89" y="155"/>
                  </a:lnTo>
                  <a:lnTo>
                    <a:pt x="89" y="155"/>
                  </a:lnTo>
                  <a:lnTo>
                    <a:pt x="89" y="155"/>
                  </a:lnTo>
                  <a:lnTo>
                    <a:pt x="89" y="155"/>
                  </a:lnTo>
                  <a:close/>
                  <a:moveTo>
                    <a:pt x="56" y="199"/>
                  </a:moveTo>
                  <a:lnTo>
                    <a:pt x="52" y="199"/>
                  </a:lnTo>
                  <a:lnTo>
                    <a:pt x="54" y="200"/>
                  </a:lnTo>
                  <a:lnTo>
                    <a:pt x="56" y="199"/>
                  </a:lnTo>
                  <a:lnTo>
                    <a:pt x="56" y="199"/>
                  </a:lnTo>
                  <a:lnTo>
                    <a:pt x="56" y="199"/>
                  </a:lnTo>
                  <a:lnTo>
                    <a:pt x="56" y="199"/>
                  </a:lnTo>
                  <a:close/>
                  <a:moveTo>
                    <a:pt x="56" y="202"/>
                  </a:moveTo>
                  <a:lnTo>
                    <a:pt x="54" y="204"/>
                  </a:lnTo>
                  <a:lnTo>
                    <a:pt x="54" y="204"/>
                  </a:lnTo>
                  <a:lnTo>
                    <a:pt x="56" y="209"/>
                  </a:lnTo>
                  <a:lnTo>
                    <a:pt x="57" y="204"/>
                  </a:lnTo>
                  <a:lnTo>
                    <a:pt x="56" y="202"/>
                  </a:lnTo>
                  <a:lnTo>
                    <a:pt x="56" y="202"/>
                  </a:lnTo>
                  <a:lnTo>
                    <a:pt x="56" y="20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1" name="Freeform 187">
              <a:extLst>
                <a:ext uri="{FF2B5EF4-FFF2-40B4-BE49-F238E27FC236}">
                  <a16:creationId xmlns:a16="http://schemas.microsoft.com/office/drawing/2014/main" id="{590EF08E-09EA-4617-A1EF-56DCB814B9AB}"/>
                </a:ext>
              </a:extLst>
            </p:cNvPr>
            <p:cNvSpPr>
              <a:spLocks noEditPoints="1"/>
            </p:cNvSpPr>
            <p:nvPr/>
          </p:nvSpPr>
          <p:spPr bwMode="auto">
            <a:xfrm>
              <a:off x="6937375" y="3443288"/>
              <a:ext cx="236538" cy="544513"/>
            </a:xfrm>
            <a:custGeom>
              <a:avLst/>
              <a:gdLst/>
              <a:ahLst/>
              <a:cxnLst>
                <a:cxn ang="0">
                  <a:pos x="83" y="6"/>
                </a:cxn>
                <a:cxn ang="0">
                  <a:pos x="97" y="27"/>
                </a:cxn>
                <a:cxn ang="0">
                  <a:pos x="92" y="49"/>
                </a:cxn>
                <a:cxn ang="0">
                  <a:pos x="83" y="60"/>
                </a:cxn>
                <a:cxn ang="0">
                  <a:pos x="87" y="74"/>
                </a:cxn>
                <a:cxn ang="0">
                  <a:pos x="102" y="82"/>
                </a:cxn>
                <a:cxn ang="0">
                  <a:pos x="111" y="94"/>
                </a:cxn>
                <a:cxn ang="0">
                  <a:pos x="125" y="98"/>
                </a:cxn>
                <a:cxn ang="0">
                  <a:pos x="116" y="117"/>
                </a:cxn>
                <a:cxn ang="0">
                  <a:pos x="130" y="124"/>
                </a:cxn>
                <a:cxn ang="0">
                  <a:pos x="149" y="126"/>
                </a:cxn>
                <a:cxn ang="0">
                  <a:pos x="141" y="141"/>
                </a:cxn>
                <a:cxn ang="0">
                  <a:pos x="125" y="152"/>
                </a:cxn>
                <a:cxn ang="0">
                  <a:pos x="118" y="164"/>
                </a:cxn>
                <a:cxn ang="0">
                  <a:pos x="99" y="176"/>
                </a:cxn>
                <a:cxn ang="0">
                  <a:pos x="95" y="192"/>
                </a:cxn>
                <a:cxn ang="0">
                  <a:pos x="113" y="214"/>
                </a:cxn>
                <a:cxn ang="0">
                  <a:pos x="115" y="233"/>
                </a:cxn>
                <a:cxn ang="0">
                  <a:pos x="120" y="261"/>
                </a:cxn>
                <a:cxn ang="0">
                  <a:pos x="130" y="286"/>
                </a:cxn>
                <a:cxn ang="0">
                  <a:pos x="137" y="308"/>
                </a:cxn>
                <a:cxn ang="0">
                  <a:pos x="125" y="334"/>
                </a:cxn>
                <a:cxn ang="0">
                  <a:pos x="120" y="331"/>
                </a:cxn>
                <a:cxn ang="0">
                  <a:pos x="123" y="320"/>
                </a:cxn>
                <a:cxn ang="0">
                  <a:pos x="125" y="305"/>
                </a:cxn>
                <a:cxn ang="0">
                  <a:pos x="120" y="282"/>
                </a:cxn>
                <a:cxn ang="0">
                  <a:pos x="111" y="275"/>
                </a:cxn>
                <a:cxn ang="0">
                  <a:pos x="104" y="254"/>
                </a:cxn>
                <a:cxn ang="0">
                  <a:pos x="102" y="230"/>
                </a:cxn>
                <a:cxn ang="0">
                  <a:pos x="97" y="223"/>
                </a:cxn>
                <a:cxn ang="0">
                  <a:pos x="85" y="207"/>
                </a:cxn>
                <a:cxn ang="0">
                  <a:pos x="85" y="211"/>
                </a:cxn>
                <a:cxn ang="0">
                  <a:pos x="76" y="220"/>
                </a:cxn>
                <a:cxn ang="0">
                  <a:pos x="71" y="227"/>
                </a:cxn>
                <a:cxn ang="0">
                  <a:pos x="57" y="233"/>
                </a:cxn>
                <a:cxn ang="0">
                  <a:pos x="47" y="239"/>
                </a:cxn>
                <a:cxn ang="0">
                  <a:pos x="45" y="230"/>
                </a:cxn>
                <a:cxn ang="0">
                  <a:pos x="49" y="207"/>
                </a:cxn>
                <a:cxn ang="0">
                  <a:pos x="42" y="190"/>
                </a:cxn>
                <a:cxn ang="0">
                  <a:pos x="29" y="173"/>
                </a:cxn>
                <a:cxn ang="0">
                  <a:pos x="19" y="171"/>
                </a:cxn>
                <a:cxn ang="0">
                  <a:pos x="26" y="171"/>
                </a:cxn>
                <a:cxn ang="0">
                  <a:pos x="26" y="160"/>
                </a:cxn>
                <a:cxn ang="0">
                  <a:pos x="12" y="157"/>
                </a:cxn>
                <a:cxn ang="0">
                  <a:pos x="10" y="157"/>
                </a:cxn>
                <a:cxn ang="0">
                  <a:pos x="0" y="136"/>
                </a:cxn>
                <a:cxn ang="0">
                  <a:pos x="9" y="120"/>
                </a:cxn>
                <a:cxn ang="0">
                  <a:pos x="16" y="101"/>
                </a:cxn>
                <a:cxn ang="0">
                  <a:pos x="26" y="84"/>
                </a:cxn>
                <a:cxn ang="0">
                  <a:pos x="35" y="49"/>
                </a:cxn>
                <a:cxn ang="0">
                  <a:pos x="49" y="21"/>
                </a:cxn>
                <a:cxn ang="0">
                  <a:pos x="66" y="13"/>
                </a:cxn>
                <a:cxn ang="0">
                  <a:pos x="68" y="2"/>
                </a:cxn>
                <a:cxn ang="0">
                  <a:pos x="24" y="180"/>
                </a:cxn>
              </a:cxnLst>
              <a:rect l="0" t="0" r="r" b="b"/>
              <a:pathLst>
                <a:path w="149" h="343">
                  <a:moveTo>
                    <a:pt x="68" y="2"/>
                  </a:moveTo>
                  <a:lnTo>
                    <a:pt x="71" y="0"/>
                  </a:lnTo>
                  <a:lnTo>
                    <a:pt x="75" y="2"/>
                  </a:lnTo>
                  <a:lnTo>
                    <a:pt x="76" y="0"/>
                  </a:lnTo>
                  <a:lnTo>
                    <a:pt x="80" y="0"/>
                  </a:lnTo>
                  <a:lnTo>
                    <a:pt x="83" y="6"/>
                  </a:lnTo>
                  <a:lnTo>
                    <a:pt x="87" y="7"/>
                  </a:lnTo>
                  <a:lnTo>
                    <a:pt x="87" y="14"/>
                  </a:lnTo>
                  <a:lnTo>
                    <a:pt x="90" y="14"/>
                  </a:lnTo>
                  <a:lnTo>
                    <a:pt x="94" y="16"/>
                  </a:lnTo>
                  <a:lnTo>
                    <a:pt x="94" y="21"/>
                  </a:lnTo>
                  <a:lnTo>
                    <a:pt x="97" y="27"/>
                  </a:lnTo>
                  <a:lnTo>
                    <a:pt x="97" y="34"/>
                  </a:lnTo>
                  <a:lnTo>
                    <a:pt x="95" y="39"/>
                  </a:lnTo>
                  <a:lnTo>
                    <a:pt x="95" y="44"/>
                  </a:lnTo>
                  <a:lnTo>
                    <a:pt x="95" y="44"/>
                  </a:lnTo>
                  <a:lnTo>
                    <a:pt x="92" y="47"/>
                  </a:lnTo>
                  <a:lnTo>
                    <a:pt x="92" y="49"/>
                  </a:lnTo>
                  <a:lnTo>
                    <a:pt x="90" y="51"/>
                  </a:lnTo>
                  <a:lnTo>
                    <a:pt x="89" y="53"/>
                  </a:lnTo>
                  <a:lnTo>
                    <a:pt x="90" y="56"/>
                  </a:lnTo>
                  <a:lnTo>
                    <a:pt x="89" y="58"/>
                  </a:lnTo>
                  <a:lnTo>
                    <a:pt x="87" y="58"/>
                  </a:lnTo>
                  <a:lnTo>
                    <a:pt x="83" y="60"/>
                  </a:lnTo>
                  <a:lnTo>
                    <a:pt x="83" y="63"/>
                  </a:lnTo>
                  <a:lnTo>
                    <a:pt x="85" y="65"/>
                  </a:lnTo>
                  <a:lnTo>
                    <a:pt x="83" y="67"/>
                  </a:lnTo>
                  <a:lnTo>
                    <a:pt x="83" y="70"/>
                  </a:lnTo>
                  <a:lnTo>
                    <a:pt x="85" y="70"/>
                  </a:lnTo>
                  <a:lnTo>
                    <a:pt x="87" y="74"/>
                  </a:lnTo>
                  <a:lnTo>
                    <a:pt x="90" y="75"/>
                  </a:lnTo>
                  <a:lnTo>
                    <a:pt x="89" y="80"/>
                  </a:lnTo>
                  <a:lnTo>
                    <a:pt x="90" y="84"/>
                  </a:lnTo>
                  <a:lnTo>
                    <a:pt x="95" y="80"/>
                  </a:lnTo>
                  <a:lnTo>
                    <a:pt x="102" y="79"/>
                  </a:lnTo>
                  <a:lnTo>
                    <a:pt x="102" y="82"/>
                  </a:lnTo>
                  <a:lnTo>
                    <a:pt x="102" y="84"/>
                  </a:lnTo>
                  <a:lnTo>
                    <a:pt x="104" y="86"/>
                  </a:lnTo>
                  <a:lnTo>
                    <a:pt x="108" y="86"/>
                  </a:lnTo>
                  <a:lnTo>
                    <a:pt x="111" y="87"/>
                  </a:lnTo>
                  <a:lnTo>
                    <a:pt x="108" y="89"/>
                  </a:lnTo>
                  <a:lnTo>
                    <a:pt x="111" y="94"/>
                  </a:lnTo>
                  <a:lnTo>
                    <a:pt x="115" y="94"/>
                  </a:lnTo>
                  <a:lnTo>
                    <a:pt x="115" y="94"/>
                  </a:lnTo>
                  <a:lnTo>
                    <a:pt x="115" y="98"/>
                  </a:lnTo>
                  <a:lnTo>
                    <a:pt x="116" y="98"/>
                  </a:lnTo>
                  <a:lnTo>
                    <a:pt x="122" y="98"/>
                  </a:lnTo>
                  <a:lnTo>
                    <a:pt x="125" y="98"/>
                  </a:lnTo>
                  <a:lnTo>
                    <a:pt x="125" y="101"/>
                  </a:lnTo>
                  <a:lnTo>
                    <a:pt x="123" y="103"/>
                  </a:lnTo>
                  <a:lnTo>
                    <a:pt x="123" y="107"/>
                  </a:lnTo>
                  <a:lnTo>
                    <a:pt x="120" y="112"/>
                  </a:lnTo>
                  <a:lnTo>
                    <a:pt x="116" y="115"/>
                  </a:lnTo>
                  <a:lnTo>
                    <a:pt x="116" y="117"/>
                  </a:lnTo>
                  <a:lnTo>
                    <a:pt x="120" y="117"/>
                  </a:lnTo>
                  <a:lnTo>
                    <a:pt x="125" y="117"/>
                  </a:lnTo>
                  <a:lnTo>
                    <a:pt x="125" y="117"/>
                  </a:lnTo>
                  <a:lnTo>
                    <a:pt x="127" y="115"/>
                  </a:lnTo>
                  <a:lnTo>
                    <a:pt x="130" y="117"/>
                  </a:lnTo>
                  <a:lnTo>
                    <a:pt x="130" y="124"/>
                  </a:lnTo>
                  <a:lnTo>
                    <a:pt x="130" y="126"/>
                  </a:lnTo>
                  <a:lnTo>
                    <a:pt x="134" y="129"/>
                  </a:lnTo>
                  <a:lnTo>
                    <a:pt x="135" y="126"/>
                  </a:lnTo>
                  <a:lnTo>
                    <a:pt x="141" y="126"/>
                  </a:lnTo>
                  <a:lnTo>
                    <a:pt x="148" y="124"/>
                  </a:lnTo>
                  <a:lnTo>
                    <a:pt x="149" y="126"/>
                  </a:lnTo>
                  <a:lnTo>
                    <a:pt x="149" y="129"/>
                  </a:lnTo>
                  <a:lnTo>
                    <a:pt x="146" y="131"/>
                  </a:lnTo>
                  <a:lnTo>
                    <a:pt x="141" y="133"/>
                  </a:lnTo>
                  <a:lnTo>
                    <a:pt x="141" y="136"/>
                  </a:lnTo>
                  <a:lnTo>
                    <a:pt x="139" y="138"/>
                  </a:lnTo>
                  <a:lnTo>
                    <a:pt x="141" y="141"/>
                  </a:lnTo>
                  <a:lnTo>
                    <a:pt x="137" y="143"/>
                  </a:lnTo>
                  <a:lnTo>
                    <a:pt x="135" y="143"/>
                  </a:lnTo>
                  <a:lnTo>
                    <a:pt x="134" y="148"/>
                  </a:lnTo>
                  <a:lnTo>
                    <a:pt x="127" y="148"/>
                  </a:lnTo>
                  <a:lnTo>
                    <a:pt x="125" y="148"/>
                  </a:lnTo>
                  <a:lnTo>
                    <a:pt x="125" y="152"/>
                  </a:lnTo>
                  <a:lnTo>
                    <a:pt x="127" y="153"/>
                  </a:lnTo>
                  <a:lnTo>
                    <a:pt x="125" y="157"/>
                  </a:lnTo>
                  <a:lnTo>
                    <a:pt x="122" y="157"/>
                  </a:lnTo>
                  <a:lnTo>
                    <a:pt x="118" y="157"/>
                  </a:lnTo>
                  <a:lnTo>
                    <a:pt x="118" y="162"/>
                  </a:lnTo>
                  <a:lnTo>
                    <a:pt x="118" y="164"/>
                  </a:lnTo>
                  <a:lnTo>
                    <a:pt x="113" y="164"/>
                  </a:lnTo>
                  <a:lnTo>
                    <a:pt x="111" y="167"/>
                  </a:lnTo>
                  <a:lnTo>
                    <a:pt x="102" y="164"/>
                  </a:lnTo>
                  <a:lnTo>
                    <a:pt x="99" y="167"/>
                  </a:lnTo>
                  <a:lnTo>
                    <a:pt x="102" y="174"/>
                  </a:lnTo>
                  <a:lnTo>
                    <a:pt x="99" y="176"/>
                  </a:lnTo>
                  <a:lnTo>
                    <a:pt x="99" y="180"/>
                  </a:lnTo>
                  <a:lnTo>
                    <a:pt x="99" y="183"/>
                  </a:lnTo>
                  <a:lnTo>
                    <a:pt x="97" y="188"/>
                  </a:lnTo>
                  <a:lnTo>
                    <a:pt x="92" y="188"/>
                  </a:lnTo>
                  <a:lnTo>
                    <a:pt x="94" y="190"/>
                  </a:lnTo>
                  <a:lnTo>
                    <a:pt x="95" y="192"/>
                  </a:lnTo>
                  <a:lnTo>
                    <a:pt x="99" y="197"/>
                  </a:lnTo>
                  <a:lnTo>
                    <a:pt x="102" y="199"/>
                  </a:lnTo>
                  <a:lnTo>
                    <a:pt x="102" y="202"/>
                  </a:lnTo>
                  <a:lnTo>
                    <a:pt x="108" y="206"/>
                  </a:lnTo>
                  <a:lnTo>
                    <a:pt x="111" y="213"/>
                  </a:lnTo>
                  <a:lnTo>
                    <a:pt x="113" y="214"/>
                  </a:lnTo>
                  <a:lnTo>
                    <a:pt x="115" y="220"/>
                  </a:lnTo>
                  <a:lnTo>
                    <a:pt x="116" y="223"/>
                  </a:lnTo>
                  <a:lnTo>
                    <a:pt x="120" y="225"/>
                  </a:lnTo>
                  <a:lnTo>
                    <a:pt x="120" y="228"/>
                  </a:lnTo>
                  <a:lnTo>
                    <a:pt x="116" y="230"/>
                  </a:lnTo>
                  <a:lnTo>
                    <a:pt x="115" y="233"/>
                  </a:lnTo>
                  <a:lnTo>
                    <a:pt x="116" y="240"/>
                  </a:lnTo>
                  <a:lnTo>
                    <a:pt x="116" y="242"/>
                  </a:lnTo>
                  <a:lnTo>
                    <a:pt x="113" y="246"/>
                  </a:lnTo>
                  <a:lnTo>
                    <a:pt x="115" y="251"/>
                  </a:lnTo>
                  <a:lnTo>
                    <a:pt x="115" y="254"/>
                  </a:lnTo>
                  <a:lnTo>
                    <a:pt x="120" y="261"/>
                  </a:lnTo>
                  <a:lnTo>
                    <a:pt x="125" y="263"/>
                  </a:lnTo>
                  <a:lnTo>
                    <a:pt x="130" y="268"/>
                  </a:lnTo>
                  <a:lnTo>
                    <a:pt x="134" y="275"/>
                  </a:lnTo>
                  <a:lnTo>
                    <a:pt x="130" y="279"/>
                  </a:lnTo>
                  <a:lnTo>
                    <a:pt x="130" y="282"/>
                  </a:lnTo>
                  <a:lnTo>
                    <a:pt x="130" y="286"/>
                  </a:lnTo>
                  <a:lnTo>
                    <a:pt x="134" y="289"/>
                  </a:lnTo>
                  <a:lnTo>
                    <a:pt x="134" y="293"/>
                  </a:lnTo>
                  <a:lnTo>
                    <a:pt x="135" y="298"/>
                  </a:lnTo>
                  <a:lnTo>
                    <a:pt x="134" y="301"/>
                  </a:lnTo>
                  <a:lnTo>
                    <a:pt x="137" y="305"/>
                  </a:lnTo>
                  <a:lnTo>
                    <a:pt x="137" y="308"/>
                  </a:lnTo>
                  <a:lnTo>
                    <a:pt x="134" y="312"/>
                  </a:lnTo>
                  <a:lnTo>
                    <a:pt x="130" y="322"/>
                  </a:lnTo>
                  <a:lnTo>
                    <a:pt x="127" y="326"/>
                  </a:lnTo>
                  <a:lnTo>
                    <a:pt x="127" y="329"/>
                  </a:lnTo>
                  <a:lnTo>
                    <a:pt x="125" y="333"/>
                  </a:lnTo>
                  <a:lnTo>
                    <a:pt x="125" y="334"/>
                  </a:lnTo>
                  <a:lnTo>
                    <a:pt x="125" y="334"/>
                  </a:lnTo>
                  <a:lnTo>
                    <a:pt x="123" y="338"/>
                  </a:lnTo>
                  <a:lnTo>
                    <a:pt x="123" y="343"/>
                  </a:lnTo>
                  <a:lnTo>
                    <a:pt x="122" y="338"/>
                  </a:lnTo>
                  <a:lnTo>
                    <a:pt x="122" y="333"/>
                  </a:lnTo>
                  <a:lnTo>
                    <a:pt x="120" y="331"/>
                  </a:lnTo>
                  <a:lnTo>
                    <a:pt x="120" y="329"/>
                  </a:lnTo>
                  <a:lnTo>
                    <a:pt x="122" y="329"/>
                  </a:lnTo>
                  <a:lnTo>
                    <a:pt x="122" y="327"/>
                  </a:lnTo>
                  <a:lnTo>
                    <a:pt x="125" y="324"/>
                  </a:lnTo>
                  <a:lnTo>
                    <a:pt x="125" y="322"/>
                  </a:lnTo>
                  <a:lnTo>
                    <a:pt x="123" y="320"/>
                  </a:lnTo>
                  <a:lnTo>
                    <a:pt x="123" y="317"/>
                  </a:lnTo>
                  <a:lnTo>
                    <a:pt x="125" y="317"/>
                  </a:lnTo>
                  <a:lnTo>
                    <a:pt x="127" y="315"/>
                  </a:lnTo>
                  <a:lnTo>
                    <a:pt x="125" y="308"/>
                  </a:lnTo>
                  <a:lnTo>
                    <a:pt x="127" y="308"/>
                  </a:lnTo>
                  <a:lnTo>
                    <a:pt x="125" y="305"/>
                  </a:lnTo>
                  <a:lnTo>
                    <a:pt x="123" y="301"/>
                  </a:lnTo>
                  <a:lnTo>
                    <a:pt x="122" y="298"/>
                  </a:lnTo>
                  <a:lnTo>
                    <a:pt x="123" y="298"/>
                  </a:lnTo>
                  <a:lnTo>
                    <a:pt x="123" y="293"/>
                  </a:lnTo>
                  <a:lnTo>
                    <a:pt x="120" y="293"/>
                  </a:lnTo>
                  <a:lnTo>
                    <a:pt x="120" y="282"/>
                  </a:lnTo>
                  <a:lnTo>
                    <a:pt x="116" y="279"/>
                  </a:lnTo>
                  <a:lnTo>
                    <a:pt x="116" y="275"/>
                  </a:lnTo>
                  <a:lnTo>
                    <a:pt x="113" y="272"/>
                  </a:lnTo>
                  <a:lnTo>
                    <a:pt x="113" y="277"/>
                  </a:lnTo>
                  <a:lnTo>
                    <a:pt x="111" y="277"/>
                  </a:lnTo>
                  <a:lnTo>
                    <a:pt x="111" y="275"/>
                  </a:lnTo>
                  <a:lnTo>
                    <a:pt x="111" y="272"/>
                  </a:lnTo>
                  <a:lnTo>
                    <a:pt x="111" y="263"/>
                  </a:lnTo>
                  <a:lnTo>
                    <a:pt x="108" y="261"/>
                  </a:lnTo>
                  <a:lnTo>
                    <a:pt x="108" y="258"/>
                  </a:lnTo>
                  <a:lnTo>
                    <a:pt x="111" y="256"/>
                  </a:lnTo>
                  <a:lnTo>
                    <a:pt x="104" y="254"/>
                  </a:lnTo>
                  <a:lnTo>
                    <a:pt x="104" y="247"/>
                  </a:lnTo>
                  <a:lnTo>
                    <a:pt x="102" y="247"/>
                  </a:lnTo>
                  <a:lnTo>
                    <a:pt x="102" y="235"/>
                  </a:lnTo>
                  <a:lnTo>
                    <a:pt x="99" y="235"/>
                  </a:lnTo>
                  <a:lnTo>
                    <a:pt x="99" y="230"/>
                  </a:lnTo>
                  <a:lnTo>
                    <a:pt x="102" y="230"/>
                  </a:lnTo>
                  <a:lnTo>
                    <a:pt x="102" y="228"/>
                  </a:lnTo>
                  <a:lnTo>
                    <a:pt x="99" y="225"/>
                  </a:lnTo>
                  <a:lnTo>
                    <a:pt x="99" y="223"/>
                  </a:lnTo>
                  <a:lnTo>
                    <a:pt x="99" y="220"/>
                  </a:lnTo>
                  <a:lnTo>
                    <a:pt x="99" y="223"/>
                  </a:lnTo>
                  <a:lnTo>
                    <a:pt x="97" y="223"/>
                  </a:lnTo>
                  <a:lnTo>
                    <a:pt x="94" y="223"/>
                  </a:lnTo>
                  <a:lnTo>
                    <a:pt x="92" y="220"/>
                  </a:lnTo>
                  <a:lnTo>
                    <a:pt x="92" y="218"/>
                  </a:lnTo>
                  <a:lnTo>
                    <a:pt x="89" y="211"/>
                  </a:lnTo>
                  <a:lnTo>
                    <a:pt x="87" y="207"/>
                  </a:lnTo>
                  <a:lnTo>
                    <a:pt x="85" y="207"/>
                  </a:lnTo>
                  <a:lnTo>
                    <a:pt x="85" y="207"/>
                  </a:lnTo>
                  <a:lnTo>
                    <a:pt x="82" y="206"/>
                  </a:lnTo>
                  <a:lnTo>
                    <a:pt x="83" y="207"/>
                  </a:lnTo>
                  <a:lnTo>
                    <a:pt x="83" y="207"/>
                  </a:lnTo>
                  <a:lnTo>
                    <a:pt x="83" y="211"/>
                  </a:lnTo>
                  <a:lnTo>
                    <a:pt x="85" y="211"/>
                  </a:lnTo>
                  <a:lnTo>
                    <a:pt x="85" y="214"/>
                  </a:lnTo>
                  <a:lnTo>
                    <a:pt x="83" y="216"/>
                  </a:lnTo>
                  <a:lnTo>
                    <a:pt x="83" y="220"/>
                  </a:lnTo>
                  <a:lnTo>
                    <a:pt x="80" y="223"/>
                  </a:lnTo>
                  <a:lnTo>
                    <a:pt x="76" y="221"/>
                  </a:lnTo>
                  <a:lnTo>
                    <a:pt x="76" y="220"/>
                  </a:lnTo>
                  <a:lnTo>
                    <a:pt x="75" y="220"/>
                  </a:lnTo>
                  <a:lnTo>
                    <a:pt x="76" y="223"/>
                  </a:lnTo>
                  <a:lnTo>
                    <a:pt x="76" y="223"/>
                  </a:lnTo>
                  <a:lnTo>
                    <a:pt x="76" y="225"/>
                  </a:lnTo>
                  <a:lnTo>
                    <a:pt x="75" y="227"/>
                  </a:lnTo>
                  <a:lnTo>
                    <a:pt x="71" y="227"/>
                  </a:lnTo>
                  <a:lnTo>
                    <a:pt x="69" y="225"/>
                  </a:lnTo>
                  <a:lnTo>
                    <a:pt x="69" y="228"/>
                  </a:lnTo>
                  <a:lnTo>
                    <a:pt x="62" y="233"/>
                  </a:lnTo>
                  <a:lnTo>
                    <a:pt x="59" y="233"/>
                  </a:lnTo>
                  <a:lnTo>
                    <a:pt x="57" y="233"/>
                  </a:lnTo>
                  <a:lnTo>
                    <a:pt x="57" y="233"/>
                  </a:lnTo>
                  <a:lnTo>
                    <a:pt x="57" y="233"/>
                  </a:lnTo>
                  <a:lnTo>
                    <a:pt x="57" y="235"/>
                  </a:lnTo>
                  <a:lnTo>
                    <a:pt x="54" y="235"/>
                  </a:lnTo>
                  <a:lnTo>
                    <a:pt x="54" y="233"/>
                  </a:lnTo>
                  <a:lnTo>
                    <a:pt x="49" y="235"/>
                  </a:lnTo>
                  <a:lnTo>
                    <a:pt x="47" y="239"/>
                  </a:lnTo>
                  <a:lnTo>
                    <a:pt x="45" y="239"/>
                  </a:lnTo>
                  <a:lnTo>
                    <a:pt x="45" y="233"/>
                  </a:lnTo>
                  <a:lnTo>
                    <a:pt x="49" y="228"/>
                  </a:lnTo>
                  <a:lnTo>
                    <a:pt x="49" y="223"/>
                  </a:lnTo>
                  <a:lnTo>
                    <a:pt x="49" y="228"/>
                  </a:lnTo>
                  <a:lnTo>
                    <a:pt x="45" y="230"/>
                  </a:lnTo>
                  <a:lnTo>
                    <a:pt x="42" y="235"/>
                  </a:lnTo>
                  <a:lnTo>
                    <a:pt x="42" y="233"/>
                  </a:lnTo>
                  <a:lnTo>
                    <a:pt x="42" y="233"/>
                  </a:lnTo>
                  <a:lnTo>
                    <a:pt x="42" y="228"/>
                  </a:lnTo>
                  <a:lnTo>
                    <a:pt x="43" y="211"/>
                  </a:lnTo>
                  <a:lnTo>
                    <a:pt x="49" y="207"/>
                  </a:lnTo>
                  <a:lnTo>
                    <a:pt x="47" y="207"/>
                  </a:lnTo>
                  <a:lnTo>
                    <a:pt x="43" y="199"/>
                  </a:lnTo>
                  <a:lnTo>
                    <a:pt x="43" y="193"/>
                  </a:lnTo>
                  <a:lnTo>
                    <a:pt x="42" y="192"/>
                  </a:lnTo>
                  <a:lnTo>
                    <a:pt x="40" y="190"/>
                  </a:lnTo>
                  <a:lnTo>
                    <a:pt x="42" y="190"/>
                  </a:lnTo>
                  <a:lnTo>
                    <a:pt x="38" y="188"/>
                  </a:lnTo>
                  <a:lnTo>
                    <a:pt x="36" y="183"/>
                  </a:lnTo>
                  <a:lnTo>
                    <a:pt x="35" y="180"/>
                  </a:lnTo>
                  <a:lnTo>
                    <a:pt x="35" y="176"/>
                  </a:lnTo>
                  <a:lnTo>
                    <a:pt x="35" y="176"/>
                  </a:lnTo>
                  <a:lnTo>
                    <a:pt x="29" y="173"/>
                  </a:lnTo>
                  <a:lnTo>
                    <a:pt x="31" y="176"/>
                  </a:lnTo>
                  <a:lnTo>
                    <a:pt x="31" y="180"/>
                  </a:lnTo>
                  <a:lnTo>
                    <a:pt x="26" y="180"/>
                  </a:lnTo>
                  <a:lnTo>
                    <a:pt x="23" y="176"/>
                  </a:lnTo>
                  <a:lnTo>
                    <a:pt x="23" y="174"/>
                  </a:lnTo>
                  <a:lnTo>
                    <a:pt x="19" y="171"/>
                  </a:lnTo>
                  <a:lnTo>
                    <a:pt x="19" y="169"/>
                  </a:lnTo>
                  <a:lnTo>
                    <a:pt x="23" y="169"/>
                  </a:lnTo>
                  <a:lnTo>
                    <a:pt x="24" y="173"/>
                  </a:lnTo>
                  <a:lnTo>
                    <a:pt x="26" y="173"/>
                  </a:lnTo>
                  <a:lnTo>
                    <a:pt x="26" y="173"/>
                  </a:lnTo>
                  <a:lnTo>
                    <a:pt x="26" y="171"/>
                  </a:lnTo>
                  <a:lnTo>
                    <a:pt x="24" y="169"/>
                  </a:lnTo>
                  <a:lnTo>
                    <a:pt x="26" y="167"/>
                  </a:lnTo>
                  <a:lnTo>
                    <a:pt x="26" y="169"/>
                  </a:lnTo>
                  <a:lnTo>
                    <a:pt x="29" y="169"/>
                  </a:lnTo>
                  <a:lnTo>
                    <a:pt x="29" y="166"/>
                  </a:lnTo>
                  <a:lnTo>
                    <a:pt x="26" y="160"/>
                  </a:lnTo>
                  <a:lnTo>
                    <a:pt x="21" y="159"/>
                  </a:lnTo>
                  <a:lnTo>
                    <a:pt x="21" y="157"/>
                  </a:lnTo>
                  <a:lnTo>
                    <a:pt x="17" y="157"/>
                  </a:lnTo>
                  <a:lnTo>
                    <a:pt x="16" y="153"/>
                  </a:lnTo>
                  <a:lnTo>
                    <a:pt x="16" y="157"/>
                  </a:lnTo>
                  <a:lnTo>
                    <a:pt x="12" y="157"/>
                  </a:lnTo>
                  <a:lnTo>
                    <a:pt x="12" y="157"/>
                  </a:lnTo>
                  <a:lnTo>
                    <a:pt x="14" y="152"/>
                  </a:lnTo>
                  <a:lnTo>
                    <a:pt x="12" y="152"/>
                  </a:lnTo>
                  <a:lnTo>
                    <a:pt x="9" y="152"/>
                  </a:lnTo>
                  <a:lnTo>
                    <a:pt x="9" y="152"/>
                  </a:lnTo>
                  <a:lnTo>
                    <a:pt x="10" y="157"/>
                  </a:lnTo>
                  <a:lnTo>
                    <a:pt x="3" y="148"/>
                  </a:lnTo>
                  <a:lnTo>
                    <a:pt x="0" y="145"/>
                  </a:lnTo>
                  <a:lnTo>
                    <a:pt x="0" y="141"/>
                  </a:lnTo>
                  <a:lnTo>
                    <a:pt x="0" y="141"/>
                  </a:lnTo>
                  <a:lnTo>
                    <a:pt x="0" y="140"/>
                  </a:lnTo>
                  <a:lnTo>
                    <a:pt x="0" y="136"/>
                  </a:lnTo>
                  <a:lnTo>
                    <a:pt x="3" y="133"/>
                  </a:lnTo>
                  <a:lnTo>
                    <a:pt x="3" y="133"/>
                  </a:lnTo>
                  <a:lnTo>
                    <a:pt x="7" y="129"/>
                  </a:lnTo>
                  <a:lnTo>
                    <a:pt x="7" y="124"/>
                  </a:lnTo>
                  <a:lnTo>
                    <a:pt x="7" y="120"/>
                  </a:lnTo>
                  <a:lnTo>
                    <a:pt x="9" y="120"/>
                  </a:lnTo>
                  <a:lnTo>
                    <a:pt x="10" y="120"/>
                  </a:lnTo>
                  <a:lnTo>
                    <a:pt x="12" y="114"/>
                  </a:lnTo>
                  <a:lnTo>
                    <a:pt x="12" y="110"/>
                  </a:lnTo>
                  <a:lnTo>
                    <a:pt x="12" y="107"/>
                  </a:lnTo>
                  <a:lnTo>
                    <a:pt x="12" y="101"/>
                  </a:lnTo>
                  <a:lnTo>
                    <a:pt x="16" y="101"/>
                  </a:lnTo>
                  <a:lnTo>
                    <a:pt x="16" y="94"/>
                  </a:lnTo>
                  <a:lnTo>
                    <a:pt x="16" y="93"/>
                  </a:lnTo>
                  <a:lnTo>
                    <a:pt x="14" y="84"/>
                  </a:lnTo>
                  <a:lnTo>
                    <a:pt x="17" y="84"/>
                  </a:lnTo>
                  <a:lnTo>
                    <a:pt x="21" y="84"/>
                  </a:lnTo>
                  <a:lnTo>
                    <a:pt x="26" y="84"/>
                  </a:lnTo>
                  <a:lnTo>
                    <a:pt x="26" y="79"/>
                  </a:lnTo>
                  <a:lnTo>
                    <a:pt x="29" y="70"/>
                  </a:lnTo>
                  <a:lnTo>
                    <a:pt x="35" y="61"/>
                  </a:lnTo>
                  <a:lnTo>
                    <a:pt x="29" y="60"/>
                  </a:lnTo>
                  <a:lnTo>
                    <a:pt x="29" y="58"/>
                  </a:lnTo>
                  <a:lnTo>
                    <a:pt x="35" y="49"/>
                  </a:lnTo>
                  <a:lnTo>
                    <a:pt x="35" y="44"/>
                  </a:lnTo>
                  <a:lnTo>
                    <a:pt x="35" y="39"/>
                  </a:lnTo>
                  <a:lnTo>
                    <a:pt x="35" y="37"/>
                  </a:lnTo>
                  <a:lnTo>
                    <a:pt x="40" y="27"/>
                  </a:lnTo>
                  <a:lnTo>
                    <a:pt x="45" y="27"/>
                  </a:lnTo>
                  <a:lnTo>
                    <a:pt x="49" y="21"/>
                  </a:lnTo>
                  <a:lnTo>
                    <a:pt x="49" y="16"/>
                  </a:lnTo>
                  <a:lnTo>
                    <a:pt x="57" y="16"/>
                  </a:lnTo>
                  <a:lnTo>
                    <a:pt x="61" y="13"/>
                  </a:lnTo>
                  <a:lnTo>
                    <a:pt x="62" y="14"/>
                  </a:lnTo>
                  <a:lnTo>
                    <a:pt x="66" y="16"/>
                  </a:lnTo>
                  <a:lnTo>
                    <a:pt x="66" y="13"/>
                  </a:lnTo>
                  <a:lnTo>
                    <a:pt x="66" y="7"/>
                  </a:lnTo>
                  <a:lnTo>
                    <a:pt x="69" y="6"/>
                  </a:lnTo>
                  <a:lnTo>
                    <a:pt x="69" y="2"/>
                  </a:lnTo>
                  <a:lnTo>
                    <a:pt x="68" y="2"/>
                  </a:lnTo>
                  <a:lnTo>
                    <a:pt x="68" y="2"/>
                  </a:lnTo>
                  <a:lnTo>
                    <a:pt x="68" y="2"/>
                  </a:lnTo>
                  <a:lnTo>
                    <a:pt x="68" y="2"/>
                  </a:lnTo>
                  <a:close/>
                  <a:moveTo>
                    <a:pt x="23" y="181"/>
                  </a:moveTo>
                  <a:lnTo>
                    <a:pt x="23" y="185"/>
                  </a:lnTo>
                  <a:lnTo>
                    <a:pt x="26" y="188"/>
                  </a:lnTo>
                  <a:lnTo>
                    <a:pt x="26" y="183"/>
                  </a:lnTo>
                  <a:lnTo>
                    <a:pt x="24" y="180"/>
                  </a:lnTo>
                  <a:lnTo>
                    <a:pt x="23" y="181"/>
                  </a:lnTo>
                  <a:lnTo>
                    <a:pt x="23" y="181"/>
                  </a:lnTo>
                  <a:lnTo>
                    <a:pt x="23"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2" name="Freeform 188">
              <a:extLst>
                <a:ext uri="{FF2B5EF4-FFF2-40B4-BE49-F238E27FC236}">
                  <a16:creationId xmlns:a16="http://schemas.microsoft.com/office/drawing/2014/main" id="{BA3C7C7D-09BD-4952-8E95-EDA3928F0875}"/>
                </a:ext>
              </a:extLst>
            </p:cNvPr>
            <p:cNvSpPr>
              <a:spLocks noEditPoints="1"/>
            </p:cNvSpPr>
            <p:nvPr/>
          </p:nvSpPr>
          <p:spPr bwMode="auto">
            <a:xfrm>
              <a:off x="6757988" y="3490913"/>
              <a:ext cx="146050" cy="187325"/>
            </a:xfrm>
            <a:custGeom>
              <a:avLst/>
              <a:gdLst/>
              <a:ahLst/>
              <a:cxnLst>
                <a:cxn ang="0">
                  <a:pos x="89" y="104"/>
                </a:cxn>
                <a:cxn ang="0">
                  <a:pos x="83" y="113"/>
                </a:cxn>
                <a:cxn ang="0">
                  <a:pos x="78" y="104"/>
                </a:cxn>
                <a:cxn ang="0">
                  <a:pos x="78" y="101"/>
                </a:cxn>
                <a:cxn ang="0">
                  <a:pos x="75" y="96"/>
                </a:cxn>
                <a:cxn ang="0">
                  <a:pos x="68" y="77"/>
                </a:cxn>
                <a:cxn ang="0">
                  <a:pos x="61" y="78"/>
                </a:cxn>
                <a:cxn ang="0">
                  <a:pos x="50" y="73"/>
                </a:cxn>
                <a:cxn ang="0">
                  <a:pos x="50" y="77"/>
                </a:cxn>
                <a:cxn ang="0">
                  <a:pos x="50" y="89"/>
                </a:cxn>
                <a:cxn ang="0">
                  <a:pos x="45" y="90"/>
                </a:cxn>
                <a:cxn ang="0">
                  <a:pos x="40" y="92"/>
                </a:cxn>
                <a:cxn ang="0">
                  <a:pos x="40" y="80"/>
                </a:cxn>
                <a:cxn ang="0">
                  <a:pos x="36" y="89"/>
                </a:cxn>
                <a:cxn ang="0">
                  <a:pos x="36" y="96"/>
                </a:cxn>
                <a:cxn ang="0">
                  <a:pos x="31" y="97"/>
                </a:cxn>
                <a:cxn ang="0">
                  <a:pos x="26" y="89"/>
                </a:cxn>
                <a:cxn ang="0">
                  <a:pos x="17" y="68"/>
                </a:cxn>
                <a:cxn ang="0">
                  <a:pos x="12" y="49"/>
                </a:cxn>
                <a:cxn ang="0">
                  <a:pos x="7" y="35"/>
                </a:cxn>
                <a:cxn ang="0">
                  <a:pos x="17" y="28"/>
                </a:cxn>
                <a:cxn ang="0">
                  <a:pos x="7" y="23"/>
                </a:cxn>
                <a:cxn ang="0">
                  <a:pos x="5" y="7"/>
                </a:cxn>
                <a:cxn ang="0">
                  <a:pos x="7" y="0"/>
                </a:cxn>
                <a:cxn ang="0">
                  <a:pos x="12" y="10"/>
                </a:cxn>
                <a:cxn ang="0">
                  <a:pos x="17" y="7"/>
                </a:cxn>
                <a:cxn ang="0">
                  <a:pos x="26" y="10"/>
                </a:cxn>
                <a:cxn ang="0">
                  <a:pos x="31" y="19"/>
                </a:cxn>
                <a:cxn ang="0">
                  <a:pos x="36" y="28"/>
                </a:cxn>
                <a:cxn ang="0">
                  <a:pos x="54" y="30"/>
                </a:cxn>
                <a:cxn ang="0">
                  <a:pos x="69" y="30"/>
                </a:cxn>
                <a:cxn ang="0">
                  <a:pos x="75" y="37"/>
                </a:cxn>
                <a:cxn ang="0">
                  <a:pos x="69" y="50"/>
                </a:cxn>
                <a:cxn ang="0">
                  <a:pos x="64" y="52"/>
                </a:cxn>
                <a:cxn ang="0">
                  <a:pos x="64" y="63"/>
                </a:cxn>
                <a:cxn ang="0">
                  <a:pos x="69" y="73"/>
                </a:cxn>
                <a:cxn ang="0">
                  <a:pos x="73" y="64"/>
                </a:cxn>
                <a:cxn ang="0">
                  <a:pos x="75" y="61"/>
                </a:cxn>
                <a:cxn ang="0">
                  <a:pos x="82" y="64"/>
                </a:cxn>
                <a:cxn ang="0">
                  <a:pos x="87" y="84"/>
                </a:cxn>
                <a:cxn ang="0">
                  <a:pos x="92" y="94"/>
                </a:cxn>
                <a:cxn ang="0">
                  <a:pos x="92" y="96"/>
                </a:cxn>
                <a:cxn ang="0">
                  <a:pos x="64" y="82"/>
                </a:cxn>
                <a:cxn ang="0">
                  <a:pos x="68" y="82"/>
                </a:cxn>
                <a:cxn ang="0">
                  <a:pos x="59" y="84"/>
                </a:cxn>
                <a:cxn ang="0">
                  <a:pos x="64" y="82"/>
                </a:cxn>
                <a:cxn ang="0">
                  <a:pos x="59" y="80"/>
                </a:cxn>
                <a:cxn ang="0">
                  <a:pos x="50" y="80"/>
                </a:cxn>
                <a:cxn ang="0">
                  <a:pos x="56" y="82"/>
                </a:cxn>
              </a:cxnLst>
              <a:rect l="0" t="0" r="r" b="b"/>
              <a:pathLst>
                <a:path w="92" h="118">
                  <a:moveTo>
                    <a:pt x="92" y="96"/>
                  </a:moveTo>
                  <a:lnTo>
                    <a:pt x="92" y="101"/>
                  </a:lnTo>
                  <a:lnTo>
                    <a:pt x="89" y="104"/>
                  </a:lnTo>
                  <a:lnTo>
                    <a:pt x="89" y="104"/>
                  </a:lnTo>
                  <a:lnTo>
                    <a:pt x="85" y="106"/>
                  </a:lnTo>
                  <a:lnTo>
                    <a:pt x="83" y="110"/>
                  </a:lnTo>
                  <a:lnTo>
                    <a:pt x="83" y="113"/>
                  </a:lnTo>
                  <a:lnTo>
                    <a:pt x="83" y="113"/>
                  </a:lnTo>
                  <a:lnTo>
                    <a:pt x="85" y="118"/>
                  </a:lnTo>
                  <a:lnTo>
                    <a:pt x="83" y="118"/>
                  </a:lnTo>
                  <a:lnTo>
                    <a:pt x="82" y="110"/>
                  </a:lnTo>
                  <a:lnTo>
                    <a:pt x="78" y="104"/>
                  </a:lnTo>
                  <a:lnTo>
                    <a:pt x="78" y="104"/>
                  </a:lnTo>
                  <a:lnTo>
                    <a:pt x="78" y="101"/>
                  </a:lnTo>
                  <a:lnTo>
                    <a:pt x="78" y="99"/>
                  </a:lnTo>
                  <a:lnTo>
                    <a:pt x="78" y="101"/>
                  </a:lnTo>
                  <a:lnTo>
                    <a:pt x="75" y="101"/>
                  </a:lnTo>
                  <a:lnTo>
                    <a:pt x="75" y="101"/>
                  </a:lnTo>
                  <a:lnTo>
                    <a:pt x="75" y="97"/>
                  </a:lnTo>
                  <a:lnTo>
                    <a:pt x="75" y="96"/>
                  </a:lnTo>
                  <a:lnTo>
                    <a:pt x="75" y="92"/>
                  </a:lnTo>
                  <a:lnTo>
                    <a:pt x="75" y="89"/>
                  </a:lnTo>
                  <a:lnTo>
                    <a:pt x="73" y="87"/>
                  </a:lnTo>
                  <a:lnTo>
                    <a:pt x="68" y="77"/>
                  </a:lnTo>
                  <a:lnTo>
                    <a:pt x="68" y="77"/>
                  </a:lnTo>
                  <a:lnTo>
                    <a:pt x="68" y="77"/>
                  </a:lnTo>
                  <a:lnTo>
                    <a:pt x="64" y="77"/>
                  </a:lnTo>
                  <a:lnTo>
                    <a:pt x="61" y="78"/>
                  </a:lnTo>
                  <a:lnTo>
                    <a:pt x="54" y="77"/>
                  </a:lnTo>
                  <a:lnTo>
                    <a:pt x="54" y="73"/>
                  </a:lnTo>
                  <a:lnTo>
                    <a:pt x="54" y="73"/>
                  </a:lnTo>
                  <a:lnTo>
                    <a:pt x="50" y="73"/>
                  </a:lnTo>
                  <a:lnTo>
                    <a:pt x="49" y="68"/>
                  </a:lnTo>
                  <a:lnTo>
                    <a:pt x="49" y="73"/>
                  </a:lnTo>
                  <a:lnTo>
                    <a:pt x="50" y="77"/>
                  </a:lnTo>
                  <a:lnTo>
                    <a:pt x="50" y="77"/>
                  </a:lnTo>
                  <a:lnTo>
                    <a:pt x="45" y="78"/>
                  </a:lnTo>
                  <a:lnTo>
                    <a:pt x="50" y="80"/>
                  </a:lnTo>
                  <a:lnTo>
                    <a:pt x="50" y="84"/>
                  </a:lnTo>
                  <a:lnTo>
                    <a:pt x="50" y="89"/>
                  </a:lnTo>
                  <a:lnTo>
                    <a:pt x="49" y="90"/>
                  </a:lnTo>
                  <a:lnTo>
                    <a:pt x="45" y="96"/>
                  </a:lnTo>
                  <a:lnTo>
                    <a:pt x="43" y="94"/>
                  </a:lnTo>
                  <a:lnTo>
                    <a:pt x="45" y="90"/>
                  </a:lnTo>
                  <a:lnTo>
                    <a:pt x="45" y="90"/>
                  </a:lnTo>
                  <a:lnTo>
                    <a:pt x="45" y="89"/>
                  </a:lnTo>
                  <a:lnTo>
                    <a:pt x="43" y="89"/>
                  </a:lnTo>
                  <a:lnTo>
                    <a:pt x="40" y="92"/>
                  </a:lnTo>
                  <a:lnTo>
                    <a:pt x="40" y="89"/>
                  </a:lnTo>
                  <a:lnTo>
                    <a:pt x="40" y="84"/>
                  </a:lnTo>
                  <a:lnTo>
                    <a:pt x="40" y="82"/>
                  </a:lnTo>
                  <a:lnTo>
                    <a:pt x="40" y="80"/>
                  </a:lnTo>
                  <a:lnTo>
                    <a:pt x="40" y="82"/>
                  </a:lnTo>
                  <a:lnTo>
                    <a:pt x="40" y="85"/>
                  </a:lnTo>
                  <a:lnTo>
                    <a:pt x="36" y="89"/>
                  </a:lnTo>
                  <a:lnTo>
                    <a:pt x="36" y="89"/>
                  </a:lnTo>
                  <a:lnTo>
                    <a:pt x="40" y="92"/>
                  </a:lnTo>
                  <a:lnTo>
                    <a:pt x="40" y="96"/>
                  </a:lnTo>
                  <a:lnTo>
                    <a:pt x="36" y="97"/>
                  </a:lnTo>
                  <a:lnTo>
                    <a:pt x="36" y="96"/>
                  </a:lnTo>
                  <a:lnTo>
                    <a:pt x="35" y="96"/>
                  </a:lnTo>
                  <a:lnTo>
                    <a:pt x="31" y="96"/>
                  </a:lnTo>
                  <a:lnTo>
                    <a:pt x="31" y="97"/>
                  </a:lnTo>
                  <a:lnTo>
                    <a:pt x="31" y="97"/>
                  </a:lnTo>
                  <a:lnTo>
                    <a:pt x="30" y="96"/>
                  </a:lnTo>
                  <a:lnTo>
                    <a:pt x="26" y="92"/>
                  </a:lnTo>
                  <a:lnTo>
                    <a:pt x="26" y="94"/>
                  </a:lnTo>
                  <a:lnTo>
                    <a:pt x="26" y="89"/>
                  </a:lnTo>
                  <a:lnTo>
                    <a:pt x="24" y="85"/>
                  </a:lnTo>
                  <a:lnTo>
                    <a:pt x="24" y="80"/>
                  </a:lnTo>
                  <a:lnTo>
                    <a:pt x="17" y="73"/>
                  </a:lnTo>
                  <a:lnTo>
                    <a:pt x="17" y="68"/>
                  </a:lnTo>
                  <a:lnTo>
                    <a:pt x="17" y="64"/>
                  </a:lnTo>
                  <a:lnTo>
                    <a:pt x="17" y="61"/>
                  </a:lnTo>
                  <a:lnTo>
                    <a:pt x="17" y="54"/>
                  </a:lnTo>
                  <a:lnTo>
                    <a:pt x="12" y="49"/>
                  </a:lnTo>
                  <a:lnTo>
                    <a:pt x="7" y="49"/>
                  </a:lnTo>
                  <a:lnTo>
                    <a:pt x="5" y="42"/>
                  </a:lnTo>
                  <a:lnTo>
                    <a:pt x="5" y="35"/>
                  </a:lnTo>
                  <a:lnTo>
                    <a:pt x="7" y="35"/>
                  </a:lnTo>
                  <a:lnTo>
                    <a:pt x="7" y="31"/>
                  </a:lnTo>
                  <a:lnTo>
                    <a:pt x="12" y="30"/>
                  </a:lnTo>
                  <a:lnTo>
                    <a:pt x="12" y="31"/>
                  </a:lnTo>
                  <a:lnTo>
                    <a:pt x="17" y="28"/>
                  </a:lnTo>
                  <a:lnTo>
                    <a:pt x="16" y="24"/>
                  </a:lnTo>
                  <a:lnTo>
                    <a:pt x="16" y="21"/>
                  </a:lnTo>
                  <a:lnTo>
                    <a:pt x="12" y="21"/>
                  </a:lnTo>
                  <a:lnTo>
                    <a:pt x="7" y="23"/>
                  </a:lnTo>
                  <a:lnTo>
                    <a:pt x="0" y="19"/>
                  </a:lnTo>
                  <a:lnTo>
                    <a:pt x="0" y="16"/>
                  </a:lnTo>
                  <a:lnTo>
                    <a:pt x="3" y="10"/>
                  </a:lnTo>
                  <a:lnTo>
                    <a:pt x="5" y="7"/>
                  </a:lnTo>
                  <a:lnTo>
                    <a:pt x="3" y="7"/>
                  </a:lnTo>
                  <a:lnTo>
                    <a:pt x="3" y="4"/>
                  </a:lnTo>
                  <a:lnTo>
                    <a:pt x="5" y="4"/>
                  </a:lnTo>
                  <a:lnTo>
                    <a:pt x="7" y="0"/>
                  </a:lnTo>
                  <a:lnTo>
                    <a:pt x="7" y="4"/>
                  </a:lnTo>
                  <a:lnTo>
                    <a:pt x="10" y="7"/>
                  </a:lnTo>
                  <a:lnTo>
                    <a:pt x="10" y="7"/>
                  </a:lnTo>
                  <a:lnTo>
                    <a:pt x="12" y="10"/>
                  </a:lnTo>
                  <a:lnTo>
                    <a:pt x="17" y="10"/>
                  </a:lnTo>
                  <a:lnTo>
                    <a:pt x="17" y="9"/>
                  </a:lnTo>
                  <a:lnTo>
                    <a:pt x="16" y="9"/>
                  </a:lnTo>
                  <a:lnTo>
                    <a:pt x="17" y="7"/>
                  </a:lnTo>
                  <a:lnTo>
                    <a:pt x="17" y="7"/>
                  </a:lnTo>
                  <a:lnTo>
                    <a:pt x="21" y="9"/>
                  </a:lnTo>
                  <a:lnTo>
                    <a:pt x="21" y="10"/>
                  </a:lnTo>
                  <a:lnTo>
                    <a:pt x="26" y="10"/>
                  </a:lnTo>
                  <a:lnTo>
                    <a:pt x="26" y="10"/>
                  </a:lnTo>
                  <a:lnTo>
                    <a:pt x="26" y="9"/>
                  </a:lnTo>
                  <a:lnTo>
                    <a:pt x="31" y="14"/>
                  </a:lnTo>
                  <a:lnTo>
                    <a:pt x="31" y="19"/>
                  </a:lnTo>
                  <a:lnTo>
                    <a:pt x="31" y="21"/>
                  </a:lnTo>
                  <a:lnTo>
                    <a:pt x="31" y="24"/>
                  </a:lnTo>
                  <a:lnTo>
                    <a:pt x="31" y="28"/>
                  </a:lnTo>
                  <a:lnTo>
                    <a:pt x="36" y="28"/>
                  </a:lnTo>
                  <a:lnTo>
                    <a:pt x="40" y="28"/>
                  </a:lnTo>
                  <a:lnTo>
                    <a:pt x="43" y="30"/>
                  </a:lnTo>
                  <a:lnTo>
                    <a:pt x="49" y="30"/>
                  </a:lnTo>
                  <a:lnTo>
                    <a:pt x="54" y="30"/>
                  </a:lnTo>
                  <a:lnTo>
                    <a:pt x="59" y="30"/>
                  </a:lnTo>
                  <a:lnTo>
                    <a:pt x="68" y="30"/>
                  </a:lnTo>
                  <a:lnTo>
                    <a:pt x="69" y="30"/>
                  </a:lnTo>
                  <a:lnTo>
                    <a:pt x="69" y="30"/>
                  </a:lnTo>
                  <a:lnTo>
                    <a:pt x="73" y="30"/>
                  </a:lnTo>
                  <a:lnTo>
                    <a:pt x="75" y="31"/>
                  </a:lnTo>
                  <a:lnTo>
                    <a:pt x="78" y="31"/>
                  </a:lnTo>
                  <a:lnTo>
                    <a:pt x="75" y="37"/>
                  </a:lnTo>
                  <a:lnTo>
                    <a:pt x="75" y="40"/>
                  </a:lnTo>
                  <a:lnTo>
                    <a:pt x="73" y="49"/>
                  </a:lnTo>
                  <a:lnTo>
                    <a:pt x="69" y="49"/>
                  </a:lnTo>
                  <a:lnTo>
                    <a:pt x="69" y="50"/>
                  </a:lnTo>
                  <a:lnTo>
                    <a:pt x="69" y="52"/>
                  </a:lnTo>
                  <a:lnTo>
                    <a:pt x="68" y="52"/>
                  </a:lnTo>
                  <a:lnTo>
                    <a:pt x="68" y="50"/>
                  </a:lnTo>
                  <a:lnTo>
                    <a:pt x="64" y="52"/>
                  </a:lnTo>
                  <a:lnTo>
                    <a:pt x="61" y="56"/>
                  </a:lnTo>
                  <a:lnTo>
                    <a:pt x="59" y="56"/>
                  </a:lnTo>
                  <a:lnTo>
                    <a:pt x="59" y="59"/>
                  </a:lnTo>
                  <a:lnTo>
                    <a:pt x="64" y="63"/>
                  </a:lnTo>
                  <a:lnTo>
                    <a:pt x="64" y="64"/>
                  </a:lnTo>
                  <a:lnTo>
                    <a:pt x="64" y="64"/>
                  </a:lnTo>
                  <a:lnTo>
                    <a:pt x="68" y="68"/>
                  </a:lnTo>
                  <a:lnTo>
                    <a:pt x="69" y="73"/>
                  </a:lnTo>
                  <a:lnTo>
                    <a:pt x="73" y="73"/>
                  </a:lnTo>
                  <a:lnTo>
                    <a:pt x="73" y="68"/>
                  </a:lnTo>
                  <a:lnTo>
                    <a:pt x="73" y="68"/>
                  </a:lnTo>
                  <a:lnTo>
                    <a:pt x="73" y="64"/>
                  </a:lnTo>
                  <a:lnTo>
                    <a:pt x="73" y="64"/>
                  </a:lnTo>
                  <a:lnTo>
                    <a:pt x="75" y="63"/>
                  </a:lnTo>
                  <a:lnTo>
                    <a:pt x="73" y="61"/>
                  </a:lnTo>
                  <a:lnTo>
                    <a:pt x="75" y="61"/>
                  </a:lnTo>
                  <a:lnTo>
                    <a:pt x="78" y="61"/>
                  </a:lnTo>
                  <a:lnTo>
                    <a:pt x="80" y="61"/>
                  </a:lnTo>
                  <a:lnTo>
                    <a:pt x="82" y="63"/>
                  </a:lnTo>
                  <a:lnTo>
                    <a:pt x="82" y="64"/>
                  </a:lnTo>
                  <a:lnTo>
                    <a:pt x="83" y="71"/>
                  </a:lnTo>
                  <a:lnTo>
                    <a:pt x="83" y="73"/>
                  </a:lnTo>
                  <a:lnTo>
                    <a:pt x="85" y="77"/>
                  </a:lnTo>
                  <a:lnTo>
                    <a:pt x="87" y="84"/>
                  </a:lnTo>
                  <a:lnTo>
                    <a:pt x="87" y="87"/>
                  </a:lnTo>
                  <a:lnTo>
                    <a:pt x="89" y="90"/>
                  </a:lnTo>
                  <a:lnTo>
                    <a:pt x="92" y="92"/>
                  </a:lnTo>
                  <a:lnTo>
                    <a:pt x="92" y="94"/>
                  </a:lnTo>
                  <a:lnTo>
                    <a:pt x="92" y="96"/>
                  </a:lnTo>
                  <a:lnTo>
                    <a:pt x="92" y="96"/>
                  </a:lnTo>
                  <a:lnTo>
                    <a:pt x="92" y="96"/>
                  </a:lnTo>
                  <a:lnTo>
                    <a:pt x="92" y="96"/>
                  </a:lnTo>
                  <a:lnTo>
                    <a:pt x="92" y="96"/>
                  </a:lnTo>
                  <a:close/>
                  <a:moveTo>
                    <a:pt x="68" y="82"/>
                  </a:moveTo>
                  <a:lnTo>
                    <a:pt x="68" y="80"/>
                  </a:lnTo>
                  <a:lnTo>
                    <a:pt x="64" y="82"/>
                  </a:lnTo>
                  <a:lnTo>
                    <a:pt x="64" y="85"/>
                  </a:lnTo>
                  <a:lnTo>
                    <a:pt x="68" y="84"/>
                  </a:lnTo>
                  <a:lnTo>
                    <a:pt x="68" y="82"/>
                  </a:lnTo>
                  <a:lnTo>
                    <a:pt x="68" y="82"/>
                  </a:lnTo>
                  <a:lnTo>
                    <a:pt x="68" y="82"/>
                  </a:lnTo>
                  <a:lnTo>
                    <a:pt x="68" y="82"/>
                  </a:lnTo>
                  <a:close/>
                  <a:moveTo>
                    <a:pt x="59" y="80"/>
                  </a:moveTo>
                  <a:lnTo>
                    <a:pt x="59" y="84"/>
                  </a:lnTo>
                  <a:lnTo>
                    <a:pt x="59" y="87"/>
                  </a:lnTo>
                  <a:lnTo>
                    <a:pt x="61" y="89"/>
                  </a:lnTo>
                  <a:lnTo>
                    <a:pt x="64" y="85"/>
                  </a:lnTo>
                  <a:lnTo>
                    <a:pt x="64" y="82"/>
                  </a:lnTo>
                  <a:lnTo>
                    <a:pt x="59" y="78"/>
                  </a:lnTo>
                  <a:lnTo>
                    <a:pt x="59" y="78"/>
                  </a:lnTo>
                  <a:lnTo>
                    <a:pt x="59" y="80"/>
                  </a:lnTo>
                  <a:lnTo>
                    <a:pt x="59" y="80"/>
                  </a:lnTo>
                  <a:lnTo>
                    <a:pt x="59" y="80"/>
                  </a:lnTo>
                  <a:lnTo>
                    <a:pt x="59" y="80"/>
                  </a:lnTo>
                  <a:close/>
                  <a:moveTo>
                    <a:pt x="54" y="78"/>
                  </a:moveTo>
                  <a:lnTo>
                    <a:pt x="50" y="80"/>
                  </a:lnTo>
                  <a:lnTo>
                    <a:pt x="50" y="80"/>
                  </a:lnTo>
                  <a:lnTo>
                    <a:pt x="54" y="87"/>
                  </a:lnTo>
                  <a:lnTo>
                    <a:pt x="56" y="87"/>
                  </a:lnTo>
                  <a:lnTo>
                    <a:pt x="56" y="82"/>
                  </a:lnTo>
                  <a:lnTo>
                    <a:pt x="54" y="78"/>
                  </a:lnTo>
                  <a:lnTo>
                    <a:pt x="54" y="78"/>
                  </a:lnTo>
                  <a:lnTo>
                    <a:pt x="54" y="7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3" name="Freeform 189">
              <a:extLst>
                <a:ext uri="{FF2B5EF4-FFF2-40B4-BE49-F238E27FC236}">
                  <a16:creationId xmlns:a16="http://schemas.microsoft.com/office/drawing/2014/main" id="{028BFEDA-296F-465F-9C22-F880C4872AC9}"/>
                </a:ext>
              </a:extLst>
            </p:cNvPr>
            <p:cNvSpPr>
              <a:spLocks/>
            </p:cNvSpPr>
            <p:nvPr/>
          </p:nvSpPr>
          <p:spPr bwMode="auto">
            <a:xfrm>
              <a:off x="6780213" y="3452813"/>
              <a:ext cx="85725" cy="53975"/>
            </a:xfrm>
            <a:custGeom>
              <a:avLst/>
              <a:gdLst/>
              <a:ahLst/>
              <a:cxnLst>
                <a:cxn ang="0">
                  <a:pos x="3" y="15"/>
                </a:cxn>
                <a:cxn ang="0">
                  <a:pos x="5" y="14"/>
                </a:cxn>
                <a:cxn ang="0">
                  <a:pos x="9" y="7"/>
                </a:cxn>
                <a:cxn ang="0">
                  <a:pos x="19" y="1"/>
                </a:cxn>
                <a:cxn ang="0">
                  <a:pos x="24" y="0"/>
                </a:cxn>
                <a:cxn ang="0">
                  <a:pos x="26" y="3"/>
                </a:cxn>
                <a:cxn ang="0">
                  <a:pos x="35" y="5"/>
                </a:cxn>
                <a:cxn ang="0">
                  <a:pos x="38" y="7"/>
                </a:cxn>
                <a:cxn ang="0">
                  <a:pos x="42" y="3"/>
                </a:cxn>
                <a:cxn ang="0">
                  <a:pos x="45" y="5"/>
                </a:cxn>
                <a:cxn ang="0">
                  <a:pos x="50" y="7"/>
                </a:cxn>
                <a:cxn ang="0">
                  <a:pos x="50" y="7"/>
                </a:cxn>
                <a:cxn ang="0">
                  <a:pos x="50" y="12"/>
                </a:cxn>
                <a:cxn ang="0">
                  <a:pos x="50" y="15"/>
                </a:cxn>
                <a:cxn ang="0">
                  <a:pos x="54" y="19"/>
                </a:cxn>
                <a:cxn ang="0">
                  <a:pos x="54" y="24"/>
                </a:cxn>
                <a:cxn ang="0">
                  <a:pos x="54" y="26"/>
                </a:cxn>
                <a:cxn ang="0">
                  <a:pos x="47" y="29"/>
                </a:cxn>
                <a:cxn ang="0">
                  <a:pos x="42" y="29"/>
                </a:cxn>
                <a:cxn ang="0">
                  <a:pos x="38" y="31"/>
                </a:cxn>
                <a:cxn ang="0">
                  <a:pos x="33" y="29"/>
                </a:cxn>
                <a:cxn ang="0">
                  <a:pos x="29" y="29"/>
                </a:cxn>
                <a:cxn ang="0">
                  <a:pos x="26" y="34"/>
                </a:cxn>
                <a:cxn ang="0">
                  <a:pos x="21" y="34"/>
                </a:cxn>
                <a:cxn ang="0">
                  <a:pos x="14" y="29"/>
                </a:cxn>
                <a:cxn ang="0">
                  <a:pos x="10" y="31"/>
                </a:cxn>
                <a:cxn ang="0">
                  <a:pos x="5" y="29"/>
                </a:cxn>
                <a:cxn ang="0">
                  <a:pos x="0" y="24"/>
                </a:cxn>
                <a:cxn ang="0">
                  <a:pos x="3" y="21"/>
                </a:cxn>
                <a:cxn ang="0">
                  <a:pos x="3" y="15"/>
                </a:cxn>
                <a:cxn ang="0">
                  <a:pos x="3" y="15"/>
                </a:cxn>
                <a:cxn ang="0">
                  <a:pos x="3" y="15"/>
                </a:cxn>
              </a:cxnLst>
              <a:rect l="0" t="0" r="r" b="b"/>
              <a:pathLst>
                <a:path w="54" h="34">
                  <a:moveTo>
                    <a:pt x="3" y="15"/>
                  </a:moveTo>
                  <a:lnTo>
                    <a:pt x="5" y="14"/>
                  </a:lnTo>
                  <a:lnTo>
                    <a:pt x="9" y="7"/>
                  </a:lnTo>
                  <a:lnTo>
                    <a:pt x="19" y="1"/>
                  </a:lnTo>
                  <a:lnTo>
                    <a:pt x="24" y="0"/>
                  </a:lnTo>
                  <a:lnTo>
                    <a:pt x="26" y="3"/>
                  </a:lnTo>
                  <a:lnTo>
                    <a:pt x="35" y="5"/>
                  </a:lnTo>
                  <a:lnTo>
                    <a:pt x="38" y="7"/>
                  </a:lnTo>
                  <a:lnTo>
                    <a:pt x="42" y="3"/>
                  </a:lnTo>
                  <a:lnTo>
                    <a:pt x="45" y="5"/>
                  </a:lnTo>
                  <a:lnTo>
                    <a:pt x="50" y="7"/>
                  </a:lnTo>
                  <a:lnTo>
                    <a:pt x="50" y="7"/>
                  </a:lnTo>
                  <a:lnTo>
                    <a:pt x="50" y="12"/>
                  </a:lnTo>
                  <a:lnTo>
                    <a:pt x="50" y="15"/>
                  </a:lnTo>
                  <a:lnTo>
                    <a:pt x="54" y="19"/>
                  </a:lnTo>
                  <a:lnTo>
                    <a:pt x="54" y="24"/>
                  </a:lnTo>
                  <a:lnTo>
                    <a:pt x="54" y="26"/>
                  </a:lnTo>
                  <a:lnTo>
                    <a:pt x="47" y="29"/>
                  </a:lnTo>
                  <a:lnTo>
                    <a:pt x="42" y="29"/>
                  </a:lnTo>
                  <a:lnTo>
                    <a:pt x="38" y="31"/>
                  </a:lnTo>
                  <a:lnTo>
                    <a:pt x="33" y="29"/>
                  </a:lnTo>
                  <a:lnTo>
                    <a:pt x="29" y="29"/>
                  </a:lnTo>
                  <a:lnTo>
                    <a:pt x="26" y="34"/>
                  </a:lnTo>
                  <a:lnTo>
                    <a:pt x="21" y="34"/>
                  </a:lnTo>
                  <a:lnTo>
                    <a:pt x="14" y="29"/>
                  </a:lnTo>
                  <a:lnTo>
                    <a:pt x="10" y="31"/>
                  </a:lnTo>
                  <a:lnTo>
                    <a:pt x="5" y="29"/>
                  </a:lnTo>
                  <a:lnTo>
                    <a:pt x="0" y="24"/>
                  </a:lnTo>
                  <a:lnTo>
                    <a:pt x="3" y="21"/>
                  </a:lnTo>
                  <a:lnTo>
                    <a:pt x="3" y="15"/>
                  </a:lnTo>
                  <a:lnTo>
                    <a:pt x="3" y="15"/>
                  </a:lnTo>
                  <a:lnTo>
                    <a:pt x="3"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4" name="Freeform 190">
              <a:extLst>
                <a:ext uri="{FF2B5EF4-FFF2-40B4-BE49-F238E27FC236}">
                  <a16:creationId xmlns:a16="http://schemas.microsoft.com/office/drawing/2014/main" id="{FEDC8937-6642-4987-8836-7ECCA11D03DC}"/>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5" name="Freeform 191">
              <a:extLst>
                <a:ext uri="{FF2B5EF4-FFF2-40B4-BE49-F238E27FC236}">
                  <a16:creationId xmlns:a16="http://schemas.microsoft.com/office/drawing/2014/main" id="{54AB414F-B68C-47A9-958C-46ECBC3CDA15}"/>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6" name="Freeform 192">
              <a:extLst>
                <a:ext uri="{FF2B5EF4-FFF2-40B4-BE49-F238E27FC236}">
                  <a16:creationId xmlns:a16="http://schemas.microsoft.com/office/drawing/2014/main" id="{F86723CD-BB22-4E88-BFE5-98B46A01AAF1}"/>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7" name="Freeform 193">
              <a:extLst>
                <a:ext uri="{FF2B5EF4-FFF2-40B4-BE49-F238E27FC236}">
                  <a16:creationId xmlns:a16="http://schemas.microsoft.com/office/drawing/2014/main" id="{DD9E6B9C-542F-48A9-8781-DC1CBD23488E}"/>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8" name="Freeform 194">
              <a:extLst>
                <a:ext uri="{FF2B5EF4-FFF2-40B4-BE49-F238E27FC236}">
                  <a16:creationId xmlns:a16="http://schemas.microsoft.com/office/drawing/2014/main" id="{B6D0F420-993C-4E8F-878E-9A1ED6122ADF}"/>
                </a:ext>
              </a:extLst>
            </p:cNvPr>
            <p:cNvSpPr>
              <a:spLocks noEditPoints="1"/>
            </p:cNvSpPr>
            <p:nvPr/>
          </p:nvSpPr>
          <p:spPr bwMode="auto">
            <a:xfrm>
              <a:off x="8288338" y="4305301"/>
              <a:ext cx="407988" cy="295275"/>
            </a:xfrm>
            <a:custGeom>
              <a:avLst/>
              <a:gdLst/>
              <a:ahLst/>
              <a:cxnLst>
                <a:cxn ang="0">
                  <a:pos x="219" y="181"/>
                </a:cxn>
                <a:cxn ang="0">
                  <a:pos x="205" y="181"/>
                </a:cxn>
                <a:cxn ang="0">
                  <a:pos x="108" y="17"/>
                </a:cxn>
                <a:cxn ang="0">
                  <a:pos x="242" y="75"/>
                </a:cxn>
                <a:cxn ang="0">
                  <a:pos x="249" y="99"/>
                </a:cxn>
                <a:cxn ang="0">
                  <a:pos x="237" y="75"/>
                </a:cxn>
                <a:cxn ang="0">
                  <a:pos x="233" y="66"/>
                </a:cxn>
                <a:cxn ang="0">
                  <a:pos x="228" y="59"/>
                </a:cxn>
                <a:cxn ang="0">
                  <a:pos x="207" y="47"/>
                </a:cxn>
                <a:cxn ang="0">
                  <a:pos x="195" y="40"/>
                </a:cxn>
                <a:cxn ang="0">
                  <a:pos x="150" y="0"/>
                </a:cxn>
                <a:cxn ang="0">
                  <a:pos x="164" y="24"/>
                </a:cxn>
                <a:cxn ang="0">
                  <a:pos x="162" y="66"/>
                </a:cxn>
                <a:cxn ang="0">
                  <a:pos x="132" y="82"/>
                </a:cxn>
                <a:cxn ang="0">
                  <a:pos x="169" y="89"/>
                </a:cxn>
                <a:cxn ang="0">
                  <a:pos x="195" y="73"/>
                </a:cxn>
                <a:cxn ang="0">
                  <a:pos x="190" y="54"/>
                </a:cxn>
                <a:cxn ang="0">
                  <a:pos x="169" y="77"/>
                </a:cxn>
                <a:cxn ang="0">
                  <a:pos x="153" y="73"/>
                </a:cxn>
                <a:cxn ang="0">
                  <a:pos x="129" y="75"/>
                </a:cxn>
                <a:cxn ang="0">
                  <a:pos x="115" y="77"/>
                </a:cxn>
                <a:cxn ang="0">
                  <a:pos x="106" y="71"/>
                </a:cxn>
                <a:cxn ang="0">
                  <a:pos x="197" y="139"/>
                </a:cxn>
                <a:cxn ang="0">
                  <a:pos x="172" y="127"/>
                </a:cxn>
                <a:cxn ang="0">
                  <a:pos x="172" y="127"/>
                </a:cxn>
                <a:cxn ang="0">
                  <a:pos x="174" y="155"/>
                </a:cxn>
                <a:cxn ang="0">
                  <a:pos x="165" y="151"/>
                </a:cxn>
                <a:cxn ang="0">
                  <a:pos x="167" y="148"/>
                </a:cxn>
                <a:cxn ang="0">
                  <a:pos x="157" y="144"/>
                </a:cxn>
                <a:cxn ang="0">
                  <a:pos x="155" y="144"/>
                </a:cxn>
                <a:cxn ang="0">
                  <a:pos x="63" y="115"/>
                </a:cxn>
                <a:cxn ang="0">
                  <a:pos x="58" y="115"/>
                </a:cxn>
                <a:cxn ang="0">
                  <a:pos x="63" y="116"/>
                </a:cxn>
                <a:cxn ang="0">
                  <a:pos x="51" y="116"/>
                </a:cxn>
                <a:cxn ang="0">
                  <a:pos x="42" y="130"/>
                </a:cxn>
                <a:cxn ang="0">
                  <a:pos x="40" y="129"/>
                </a:cxn>
                <a:cxn ang="0">
                  <a:pos x="39" y="130"/>
                </a:cxn>
                <a:cxn ang="0">
                  <a:pos x="47" y="122"/>
                </a:cxn>
                <a:cxn ang="0">
                  <a:pos x="47" y="122"/>
                </a:cxn>
                <a:cxn ang="0">
                  <a:pos x="19" y="141"/>
                </a:cxn>
                <a:cxn ang="0">
                  <a:pos x="40" y="134"/>
                </a:cxn>
                <a:cxn ang="0">
                  <a:pos x="12" y="115"/>
                </a:cxn>
                <a:cxn ang="0">
                  <a:pos x="25" y="125"/>
                </a:cxn>
                <a:cxn ang="0">
                  <a:pos x="39" y="120"/>
                </a:cxn>
                <a:cxn ang="0">
                  <a:pos x="47" y="113"/>
                </a:cxn>
                <a:cxn ang="0">
                  <a:pos x="56" y="116"/>
                </a:cxn>
                <a:cxn ang="0">
                  <a:pos x="70" y="115"/>
                </a:cxn>
                <a:cxn ang="0">
                  <a:pos x="96" y="137"/>
                </a:cxn>
                <a:cxn ang="0">
                  <a:pos x="122" y="158"/>
                </a:cxn>
                <a:cxn ang="0">
                  <a:pos x="153" y="165"/>
                </a:cxn>
                <a:cxn ang="0">
                  <a:pos x="164" y="162"/>
                </a:cxn>
                <a:cxn ang="0">
                  <a:pos x="146" y="150"/>
                </a:cxn>
                <a:cxn ang="0">
                  <a:pos x="132" y="139"/>
                </a:cxn>
                <a:cxn ang="0">
                  <a:pos x="108" y="110"/>
                </a:cxn>
                <a:cxn ang="0">
                  <a:pos x="110" y="83"/>
                </a:cxn>
                <a:cxn ang="0">
                  <a:pos x="82" y="63"/>
                </a:cxn>
                <a:cxn ang="0">
                  <a:pos x="58" y="47"/>
                </a:cxn>
                <a:cxn ang="0">
                  <a:pos x="18" y="31"/>
                </a:cxn>
              </a:cxnLst>
              <a:rect l="0" t="0" r="r" b="b"/>
              <a:pathLst>
                <a:path w="257" h="186">
                  <a:moveTo>
                    <a:pt x="219" y="181"/>
                  </a:moveTo>
                  <a:lnTo>
                    <a:pt x="223" y="179"/>
                  </a:lnTo>
                  <a:lnTo>
                    <a:pt x="226" y="179"/>
                  </a:lnTo>
                  <a:lnTo>
                    <a:pt x="226" y="183"/>
                  </a:lnTo>
                  <a:lnTo>
                    <a:pt x="223" y="183"/>
                  </a:lnTo>
                  <a:lnTo>
                    <a:pt x="219" y="183"/>
                  </a:lnTo>
                  <a:lnTo>
                    <a:pt x="219" y="181"/>
                  </a:lnTo>
                  <a:lnTo>
                    <a:pt x="219" y="181"/>
                  </a:lnTo>
                  <a:lnTo>
                    <a:pt x="219" y="181"/>
                  </a:lnTo>
                  <a:lnTo>
                    <a:pt x="219" y="181"/>
                  </a:lnTo>
                  <a:close/>
                  <a:moveTo>
                    <a:pt x="205" y="181"/>
                  </a:moveTo>
                  <a:lnTo>
                    <a:pt x="211" y="186"/>
                  </a:lnTo>
                  <a:lnTo>
                    <a:pt x="212" y="186"/>
                  </a:lnTo>
                  <a:lnTo>
                    <a:pt x="214" y="186"/>
                  </a:lnTo>
                  <a:lnTo>
                    <a:pt x="214" y="186"/>
                  </a:lnTo>
                  <a:lnTo>
                    <a:pt x="214" y="184"/>
                  </a:lnTo>
                  <a:lnTo>
                    <a:pt x="212" y="184"/>
                  </a:lnTo>
                  <a:lnTo>
                    <a:pt x="209" y="181"/>
                  </a:lnTo>
                  <a:lnTo>
                    <a:pt x="205" y="181"/>
                  </a:lnTo>
                  <a:lnTo>
                    <a:pt x="205" y="181"/>
                  </a:lnTo>
                  <a:lnTo>
                    <a:pt x="205" y="181"/>
                  </a:lnTo>
                  <a:lnTo>
                    <a:pt x="205" y="181"/>
                  </a:lnTo>
                  <a:close/>
                  <a:moveTo>
                    <a:pt x="99" y="14"/>
                  </a:moveTo>
                  <a:lnTo>
                    <a:pt x="99" y="12"/>
                  </a:lnTo>
                  <a:lnTo>
                    <a:pt x="105" y="12"/>
                  </a:lnTo>
                  <a:lnTo>
                    <a:pt x="106" y="12"/>
                  </a:lnTo>
                  <a:lnTo>
                    <a:pt x="108" y="14"/>
                  </a:lnTo>
                  <a:lnTo>
                    <a:pt x="110" y="12"/>
                  </a:lnTo>
                  <a:lnTo>
                    <a:pt x="113" y="14"/>
                  </a:lnTo>
                  <a:lnTo>
                    <a:pt x="108" y="17"/>
                  </a:lnTo>
                  <a:lnTo>
                    <a:pt x="105" y="17"/>
                  </a:lnTo>
                  <a:lnTo>
                    <a:pt x="105" y="17"/>
                  </a:lnTo>
                  <a:lnTo>
                    <a:pt x="99" y="17"/>
                  </a:lnTo>
                  <a:lnTo>
                    <a:pt x="99" y="17"/>
                  </a:lnTo>
                  <a:lnTo>
                    <a:pt x="99" y="14"/>
                  </a:lnTo>
                  <a:lnTo>
                    <a:pt x="99" y="14"/>
                  </a:lnTo>
                  <a:lnTo>
                    <a:pt x="99" y="14"/>
                  </a:lnTo>
                  <a:lnTo>
                    <a:pt x="99" y="14"/>
                  </a:lnTo>
                  <a:close/>
                  <a:moveTo>
                    <a:pt x="237" y="75"/>
                  </a:moveTo>
                  <a:lnTo>
                    <a:pt x="242" y="75"/>
                  </a:lnTo>
                  <a:lnTo>
                    <a:pt x="242" y="77"/>
                  </a:lnTo>
                  <a:lnTo>
                    <a:pt x="245" y="82"/>
                  </a:lnTo>
                  <a:lnTo>
                    <a:pt x="249" y="82"/>
                  </a:lnTo>
                  <a:lnTo>
                    <a:pt x="254" y="87"/>
                  </a:lnTo>
                  <a:lnTo>
                    <a:pt x="257" y="92"/>
                  </a:lnTo>
                  <a:lnTo>
                    <a:pt x="257" y="97"/>
                  </a:lnTo>
                  <a:lnTo>
                    <a:pt x="254" y="97"/>
                  </a:lnTo>
                  <a:lnTo>
                    <a:pt x="254" y="99"/>
                  </a:lnTo>
                  <a:lnTo>
                    <a:pt x="249" y="99"/>
                  </a:lnTo>
                  <a:lnTo>
                    <a:pt x="249" y="99"/>
                  </a:lnTo>
                  <a:lnTo>
                    <a:pt x="245" y="99"/>
                  </a:lnTo>
                  <a:lnTo>
                    <a:pt x="242" y="96"/>
                  </a:lnTo>
                  <a:lnTo>
                    <a:pt x="245" y="94"/>
                  </a:lnTo>
                  <a:lnTo>
                    <a:pt x="242" y="87"/>
                  </a:lnTo>
                  <a:lnTo>
                    <a:pt x="237" y="85"/>
                  </a:lnTo>
                  <a:lnTo>
                    <a:pt x="237" y="80"/>
                  </a:lnTo>
                  <a:lnTo>
                    <a:pt x="237" y="77"/>
                  </a:lnTo>
                  <a:lnTo>
                    <a:pt x="237" y="75"/>
                  </a:lnTo>
                  <a:lnTo>
                    <a:pt x="237" y="75"/>
                  </a:lnTo>
                  <a:lnTo>
                    <a:pt x="237" y="75"/>
                  </a:lnTo>
                  <a:lnTo>
                    <a:pt x="237" y="75"/>
                  </a:lnTo>
                  <a:close/>
                  <a:moveTo>
                    <a:pt x="233" y="66"/>
                  </a:moveTo>
                  <a:lnTo>
                    <a:pt x="233" y="68"/>
                  </a:lnTo>
                  <a:lnTo>
                    <a:pt x="235" y="71"/>
                  </a:lnTo>
                  <a:lnTo>
                    <a:pt x="235" y="75"/>
                  </a:lnTo>
                  <a:lnTo>
                    <a:pt x="237" y="71"/>
                  </a:lnTo>
                  <a:lnTo>
                    <a:pt x="237" y="68"/>
                  </a:lnTo>
                  <a:lnTo>
                    <a:pt x="233" y="66"/>
                  </a:lnTo>
                  <a:lnTo>
                    <a:pt x="233" y="66"/>
                  </a:lnTo>
                  <a:lnTo>
                    <a:pt x="233" y="66"/>
                  </a:lnTo>
                  <a:lnTo>
                    <a:pt x="233" y="66"/>
                  </a:lnTo>
                  <a:close/>
                  <a:moveTo>
                    <a:pt x="228" y="59"/>
                  </a:moveTo>
                  <a:lnTo>
                    <a:pt x="230" y="57"/>
                  </a:lnTo>
                  <a:lnTo>
                    <a:pt x="231" y="57"/>
                  </a:lnTo>
                  <a:lnTo>
                    <a:pt x="233" y="57"/>
                  </a:lnTo>
                  <a:lnTo>
                    <a:pt x="231" y="63"/>
                  </a:lnTo>
                  <a:lnTo>
                    <a:pt x="228" y="63"/>
                  </a:lnTo>
                  <a:lnTo>
                    <a:pt x="228" y="59"/>
                  </a:lnTo>
                  <a:lnTo>
                    <a:pt x="228" y="59"/>
                  </a:lnTo>
                  <a:lnTo>
                    <a:pt x="228" y="59"/>
                  </a:lnTo>
                  <a:lnTo>
                    <a:pt x="228" y="59"/>
                  </a:lnTo>
                  <a:close/>
                  <a:moveTo>
                    <a:pt x="172" y="24"/>
                  </a:moveTo>
                  <a:lnTo>
                    <a:pt x="178" y="28"/>
                  </a:lnTo>
                  <a:lnTo>
                    <a:pt x="185" y="31"/>
                  </a:lnTo>
                  <a:lnTo>
                    <a:pt x="191" y="35"/>
                  </a:lnTo>
                  <a:lnTo>
                    <a:pt x="195" y="37"/>
                  </a:lnTo>
                  <a:lnTo>
                    <a:pt x="197" y="40"/>
                  </a:lnTo>
                  <a:lnTo>
                    <a:pt x="202" y="42"/>
                  </a:lnTo>
                  <a:lnTo>
                    <a:pt x="204" y="47"/>
                  </a:lnTo>
                  <a:lnTo>
                    <a:pt x="207" y="47"/>
                  </a:lnTo>
                  <a:lnTo>
                    <a:pt x="209" y="54"/>
                  </a:lnTo>
                  <a:lnTo>
                    <a:pt x="211" y="54"/>
                  </a:lnTo>
                  <a:lnTo>
                    <a:pt x="211" y="57"/>
                  </a:lnTo>
                  <a:lnTo>
                    <a:pt x="209" y="59"/>
                  </a:lnTo>
                  <a:lnTo>
                    <a:pt x="207" y="64"/>
                  </a:lnTo>
                  <a:lnTo>
                    <a:pt x="204" y="63"/>
                  </a:lnTo>
                  <a:lnTo>
                    <a:pt x="202" y="57"/>
                  </a:lnTo>
                  <a:lnTo>
                    <a:pt x="204" y="54"/>
                  </a:lnTo>
                  <a:lnTo>
                    <a:pt x="202" y="45"/>
                  </a:lnTo>
                  <a:lnTo>
                    <a:pt x="195" y="40"/>
                  </a:lnTo>
                  <a:lnTo>
                    <a:pt x="191" y="40"/>
                  </a:lnTo>
                  <a:lnTo>
                    <a:pt x="186" y="35"/>
                  </a:lnTo>
                  <a:lnTo>
                    <a:pt x="172" y="28"/>
                  </a:lnTo>
                  <a:lnTo>
                    <a:pt x="172" y="28"/>
                  </a:lnTo>
                  <a:lnTo>
                    <a:pt x="172" y="24"/>
                  </a:lnTo>
                  <a:lnTo>
                    <a:pt x="172" y="24"/>
                  </a:lnTo>
                  <a:lnTo>
                    <a:pt x="172" y="24"/>
                  </a:lnTo>
                  <a:lnTo>
                    <a:pt x="172" y="24"/>
                  </a:lnTo>
                  <a:close/>
                  <a:moveTo>
                    <a:pt x="146" y="0"/>
                  </a:moveTo>
                  <a:lnTo>
                    <a:pt x="150" y="0"/>
                  </a:lnTo>
                  <a:lnTo>
                    <a:pt x="153" y="3"/>
                  </a:lnTo>
                  <a:lnTo>
                    <a:pt x="151" y="5"/>
                  </a:lnTo>
                  <a:lnTo>
                    <a:pt x="150" y="2"/>
                  </a:lnTo>
                  <a:lnTo>
                    <a:pt x="146" y="0"/>
                  </a:lnTo>
                  <a:lnTo>
                    <a:pt x="146" y="0"/>
                  </a:lnTo>
                  <a:lnTo>
                    <a:pt x="146" y="0"/>
                  </a:lnTo>
                  <a:lnTo>
                    <a:pt x="146" y="0"/>
                  </a:lnTo>
                  <a:close/>
                  <a:moveTo>
                    <a:pt x="158" y="24"/>
                  </a:moveTo>
                  <a:lnTo>
                    <a:pt x="162" y="23"/>
                  </a:lnTo>
                  <a:lnTo>
                    <a:pt x="164" y="24"/>
                  </a:lnTo>
                  <a:lnTo>
                    <a:pt x="164" y="28"/>
                  </a:lnTo>
                  <a:lnTo>
                    <a:pt x="160" y="28"/>
                  </a:lnTo>
                  <a:lnTo>
                    <a:pt x="158" y="28"/>
                  </a:lnTo>
                  <a:lnTo>
                    <a:pt x="158" y="24"/>
                  </a:lnTo>
                  <a:lnTo>
                    <a:pt x="158" y="24"/>
                  </a:lnTo>
                  <a:lnTo>
                    <a:pt x="158" y="24"/>
                  </a:lnTo>
                  <a:lnTo>
                    <a:pt x="158" y="24"/>
                  </a:lnTo>
                  <a:close/>
                  <a:moveTo>
                    <a:pt x="157" y="66"/>
                  </a:moveTo>
                  <a:lnTo>
                    <a:pt x="160" y="70"/>
                  </a:lnTo>
                  <a:lnTo>
                    <a:pt x="162" y="66"/>
                  </a:lnTo>
                  <a:lnTo>
                    <a:pt x="158" y="63"/>
                  </a:lnTo>
                  <a:lnTo>
                    <a:pt x="157" y="64"/>
                  </a:lnTo>
                  <a:lnTo>
                    <a:pt x="157" y="66"/>
                  </a:lnTo>
                  <a:lnTo>
                    <a:pt x="157" y="66"/>
                  </a:lnTo>
                  <a:lnTo>
                    <a:pt x="157" y="66"/>
                  </a:lnTo>
                  <a:lnTo>
                    <a:pt x="157" y="66"/>
                  </a:lnTo>
                  <a:close/>
                  <a:moveTo>
                    <a:pt x="129" y="75"/>
                  </a:moveTo>
                  <a:lnTo>
                    <a:pt x="127" y="77"/>
                  </a:lnTo>
                  <a:lnTo>
                    <a:pt x="129" y="82"/>
                  </a:lnTo>
                  <a:lnTo>
                    <a:pt x="132" y="82"/>
                  </a:lnTo>
                  <a:lnTo>
                    <a:pt x="139" y="87"/>
                  </a:lnTo>
                  <a:lnTo>
                    <a:pt x="139" y="89"/>
                  </a:lnTo>
                  <a:lnTo>
                    <a:pt x="141" y="87"/>
                  </a:lnTo>
                  <a:lnTo>
                    <a:pt x="146" y="87"/>
                  </a:lnTo>
                  <a:lnTo>
                    <a:pt x="150" y="90"/>
                  </a:lnTo>
                  <a:lnTo>
                    <a:pt x="151" y="90"/>
                  </a:lnTo>
                  <a:lnTo>
                    <a:pt x="155" y="90"/>
                  </a:lnTo>
                  <a:lnTo>
                    <a:pt x="162" y="89"/>
                  </a:lnTo>
                  <a:lnTo>
                    <a:pt x="165" y="90"/>
                  </a:lnTo>
                  <a:lnTo>
                    <a:pt x="169" y="89"/>
                  </a:lnTo>
                  <a:lnTo>
                    <a:pt x="172" y="90"/>
                  </a:lnTo>
                  <a:lnTo>
                    <a:pt x="172" y="89"/>
                  </a:lnTo>
                  <a:lnTo>
                    <a:pt x="172" y="85"/>
                  </a:lnTo>
                  <a:lnTo>
                    <a:pt x="178" y="85"/>
                  </a:lnTo>
                  <a:lnTo>
                    <a:pt x="183" y="80"/>
                  </a:lnTo>
                  <a:lnTo>
                    <a:pt x="183" y="77"/>
                  </a:lnTo>
                  <a:lnTo>
                    <a:pt x="186" y="77"/>
                  </a:lnTo>
                  <a:lnTo>
                    <a:pt x="188" y="77"/>
                  </a:lnTo>
                  <a:lnTo>
                    <a:pt x="191" y="77"/>
                  </a:lnTo>
                  <a:lnTo>
                    <a:pt x="195" y="73"/>
                  </a:lnTo>
                  <a:lnTo>
                    <a:pt x="191" y="70"/>
                  </a:lnTo>
                  <a:lnTo>
                    <a:pt x="191" y="68"/>
                  </a:lnTo>
                  <a:lnTo>
                    <a:pt x="191" y="66"/>
                  </a:lnTo>
                  <a:lnTo>
                    <a:pt x="195" y="66"/>
                  </a:lnTo>
                  <a:lnTo>
                    <a:pt x="198" y="63"/>
                  </a:lnTo>
                  <a:lnTo>
                    <a:pt x="198" y="54"/>
                  </a:lnTo>
                  <a:lnTo>
                    <a:pt x="195" y="50"/>
                  </a:lnTo>
                  <a:lnTo>
                    <a:pt x="191" y="54"/>
                  </a:lnTo>
                  <a:lnTo>
                    <a:pt x="191" y="54"/>
                  </a:lnTo>
                  <a:lnTo>
                    <a:pt x="190" y="54"/>
                  </a:lnTo>
                  <a:lnTo>
                    <a:pt x="185" y="54"/>
                  </a:lnTo>
                  <a:lnTo>
                    <a:pt x="183" y="57"/>
                  </a:lnTo>
                  <a:lnTo>
                    <a:pt x="185" y="63"/>
                  </a:lnTo>
                  <a:lnTo>
                    <a:pt x="186" y="64"/>
                  </a:lnTo>
                  <a:lnTo>
                    <a:pt x="185" y="66"/>
                  </a:lnTo>
                  <a:lnTo>
                    <a:pt x="181" y="66"/>
                  </a:lnTo>
                  <a:lnTo>
                    <a:pt x="174" y="71"/>
                  </a:lnTo>
                  <a:lnTo>
                    <a:pt x="172" y="75"/>
                  </a:lnTo>
                  <a:lnTo>
                    <a:pt x="172" y="77"/>
                  </a:lnTo>
                  <a:lnTo>
                    <a:pt x="169" y="77"/>
                  </a:lnTo>
                  <a:lnTo>
                    <a:pt x="167" y="77"/>
                  </a:lnTo>
                  <a:lnTo>
                    <a:pt x="165" y="75"/>
                  </a:lnTo>
                  <a:lnTo>
                    <a:pt x="164" y="75"/>
                  </a:lnTo>
                  <a:lnTo>
                    <a:pt x="160" y="77"/>
                  </a:lnTo>
                  <a:lnTo>
                    <a:pt x="158" y="77"/>
                  </a:lnTo>
                  <a:lnTo>
                    <a:pt x="157" y="73"/>
                  </a:lnTo>
                  <a:lnTo>
                    <a:pt x="158" y="71"/>
                  </a:lnTo>
                  <a:lnTo>
                    <a:pt x="155" y="70"/>
                  </a:lnTo>
                  <a:lnTo>
                    <a:pt x="153" y="71"/>
                  </a:lnTo>
                  <a:lnTo>
                    <a:pt x="153" y="73"/>
                  </a:lnTo>
                  <a:lnTo>
                    <a:pt x="151" y="75"/>
                  </a:lnTo>
                  <a:lnTo>
                    <a:pt x="150" y="75"/>
                  </a:lnTo>
                  <a:lnTo>
                    <a:pt x="145" y="77"/>
                  </a:lnTo>
                  <a:lnTo>
                    <a:pt x="141" y="77"/>
                  </a:lnTo>
                  <a:lnTo>
                    <a:pt x="139" y="75"/>
                  </a:lnTo>
                  <a:lnTo>
                    <a:pt x="136" y="75"/>
                  </a:lnTo>
                  <a:lnTo>
                    <a:pt x="132" y="77"/>
                  </a:lnTo>
                  <a:lnTo>
                    <a:pt x="129" y="75"/>
                  </a:lnTo>
                  <a:lnTo>
                    <a:pt x="129" y="75"/>
                  </a:lnTo>
                  <a:lnTo>
                    <a:pt x="129" y="75"/>
                  </a:lnTo>
                  <a:lnTo>
                    <a:pt x="129" y="75"/>
                  </a:lnTo>
                  <a:close/>
                  <a:moveTo>
                    <a:pt x="115" y="77"/>
                  </a:moveTo>
                  <a:lnTo>
                    <a:pt x="118" y="75"/>
                  </a:lnTo>
                  <a:lnTo>
                    <a:pt x="122" y="77"/>
                  </a:lnTo>
                  <a:lnTo>
                    <a:pt x="122" y="80"/>
                  </a:lnTo>
                  <a:lnTo>
                    <a:pt x="122" y="82"/>
                  </a:lnTo>
                  <a:lnTo>
                    <a:pt x="118" y="80"/>
                  </a:lnTo>
                  <a:lnTo>
                    <a:pt x="115" y="77"/>
                  </a:lnTo>
                  <a:lnTo>
                    <a:pt x="115" y="77"/>
                  </a:lnTo>
                  <a:lnTo>
                    <a:pt x="115" y="77"/>
                  </a:lnTo>
                  <a:lnTo>
                    <a:pt x="115" y="77"/>
                  </a:lnTo>
                  <a:close/>
                  <a:moveTo>
                    <a:pt x="106" y="71"/>
                  </a:moveTo>
                  <a:lnTo>
                    <a:pt x="105" y="73"/>
                  </a:lnTo>
                  <a:lnTo>
                    <a:pt x="106" y="77"/>
                  </a:lnTo>
                  <a:lnTo>
                    <a:pt x="110" y="75"/>
                  </a:lnTo>
                  <a:lnTo>
                    <a:pt x="110" y="73"/>
                  </a:lnTo>
                  <a:lnTo>
                    <a:pt x="106" y="71"/>
                  </a:lnTo>
                  <a:lnTo>
                    <a:pt x="106" y="71"/>
                  </a:lnTo>
                  <a:lnTo>
                    <a:pt x="106" y="71"/>
                  </a:lnTo>
                  <a:lnTo>
                    <a:pt x="106" y="71"/>
                  </a:lnTo>
                  <a:close/>
                  <a:moveTo>
                    <a:pt x="91" y="59"/>
                  </a:moveTo>
                  <a:lnTo>
                    <a:pt x="87" y="63"/>
                  </a:lnTo>
                  <a:lnTo>
                    <a:pt x="87" y="63"/>
                  </a:lnTo>
                  <a:lnTo>
                    <a:pt x="91" y="63"/>
                  </a:lnTo>
                  <a:lnTo>
                    <a:pt x="91" y="59"/>
                  </a:lnTo>
                  <a:lnTo>
                    <a:pt x="91" y="59"/>
                  </a:lnTo>
                  <a:lnTo>
                    <a:pt x="91" y="59"/>
                  </a:lnTo>
                  <a:lnTo>
                    <a:pt x="91" y="59"/>
                  </a:lnTo>
                  <a:close/>
                  <a:moveTo>
                    <a:pt x="197" y="137"/>
                  </a:moveTo>
                  <a:lnTo>
                    <a:pt x="197" y="139"/>
                  </a:lnTo>
                  <a:lnTo>
                    <a:pt x="197" y="143"/>
                  </a:lnTo>
                  <a:lnTo>
                    <a:pt x="198" y="141"/>
                  </a:lnTo>
                  <a:lnTo>
                    <a:pt x="204" y="144"/>
                  </a:lnTo>
                  <a:lnTo>
                    <a:pt x="202" y="143"/>
                  </a:lnTo>
                  <a:lnTo>
                    <a:pt x="197" y="137"/>
                  </a:lnTo>
                  <a:lnTo>
                    <a:pt x="197" y="137"/>
                  </a:lnTo>
                  <a:lnTo>
                    <a:pt x="197" y="137"/>
                  </a:lnTo>
                  <a:lnTo>
                    <a:pt x="197" y="137"/>
                  </a:lnTo>
                  <a:close/>
                  <a:moveTo>
                    <a:pt x="172" y="127"/>
                  </a:moveTo>
                  <a:lnTo>
                    <a:pt x="172" y="127"/>
                  </a:lnTo>
                  <a:lnTo>
                    <a:pt x="172" y="130"/>
                  </a:lnTo>
                  <a:lnTo>
                    <a:pt x="174" y="130"/>
                  </a:lnTo>
                  <a:lnTo>
                    <a:pt x="174" y="132"/>
                  </a:lnTo>
                  <a:lnTo>
                    <a:pt x="174" y="134"/>
                  </a:lnTo>
                  <a:lnTo>
                    <a:pt x="174" y="134"/>
                  </a:lnTo>
                  <a:lnTo>
                    <a:pt x="174" y="130"/>
                  </a:lnTo>
                  <a:lnTo>
                    <a:pt x="174" y="125"/>
                  </a:lnTo>
                  <a:lnTo>
                    <a:pt x="172" y="127"/>
                  </a:lnTo>
                  <a:lnTo>
                    <a:pt x="172" y="127"/>
                  </a:lnTo>
                  <a:lnTo>
                    <a:pt x="172" y="127"/>
                  </a:lnTo>
                  <a:lnTo>
                    <a:pt x="172" y="127"/>
                  </a:lnTo>
                  <a:close/>
                  <a:moveTo>
                    <a:pt x="165" y="151"/>
                  </a:moveTo>
                  <a:lnTo>
                    <a:pt x="169" y="151"/>
                  </a:lnTo>
                  <a:lnTo>
                    <a:pt x="169" y="153"/>
                  </a:lnTo>
                  <a:lnTo>
                    <a:pt x="169" y="153"/>
                  </a:lnTo>
                  <a:lnTo>
                    <a:pt x="172" y="155"/>
                  </a:lnTo>
                  <a:lnTo>
                    <a:pt x="172" y="155"/>
                  </a:lnTo>
                  <a:lnTo>
                    <a:pt x="172" y="153"/>
                  </a:lnTo>
                  <a:lnTo>
                    <a:pt x="174" y="153"/>
                  </a:lnTo>
                  <a:lnTo>
                    <a:pt x="174" y="155"/>
                  </a:lnTo>
                  <a:lnTo>
                    <a:pt x="172" y="156"/>
                  </a:lnTo>
                  <a:lnTo>
                    <a:pt x="172" y="158"/>
                  </a:lnTo>
                  <a:lnTo>
                    <a:pt x="172" y="158"/>
                  </a:lnTo>
                  <a:lnTo>
                    <a:pt x="169" y="158"/>
                  </a:lnTo>
                  <a:lnTo>
                    <a:pt x="169" y="156"/>
                  </a:lnTo>
                  <a:lnTo>
                    <a:pt x="169" y="155"/>
                  </a:lnTo>
                  <a:lnTo>
                    <a:pt x="167" y="153"/>
                  </a:lnTo>
                  <a:lnTo>
                    <a:pt x="165" y="151"/>
                  </a:lnTo>
                  <a:lnTo>
                    <a:pt x="165" y="151"/>
                  </a:lnTo>
                  <a:lnTo>
                    <a:pt x="165" y="151"/>
                  </a:lnTo>
                  <a:lnTo>
                    <a:pt x="165" y="151"/>
                  </a:lnTo>
                  <a:lnTo>
                    <a:pt x="165" y="151"/>
                  </a:lnTo>
                  <a:close/>
                  <a:moveTo>
                    <a:pt x="162" y="144"/>
                  </a:moveTo>
                  <a:lnTo>
                    <a:pt x="164" y="148"/>
                  </a:lnTo>
                  <a:lnTo>
                    <a:pt x="165" y="150"/>
                  </a:lnTo>
                  <a:lnTo>
                    <a:pt x="167" y="150"/>
                  </a:lnTo>
                  <a:lnTo>
                    <a:pt x="169" y="150"/>
                  </a:lnTo>
                  <a:lnTo>
                    <a:pt x="169" y="150"/>
                  </a:lnTo>
                  <a:lnTo>
                    <a:pt x="169" y="148"/>
                  </a:lnTo>
                  <a:lnTo>
                    <a:pt x="167" y="148"/>
                  </a:lnTo>
                  <a:lnTo>
                    <a:pt x="167" y="148"/>
                  </a:lnTo>
                  <a:lnTo>
                    <a:pt x="167" y="144"/>
                  </a:lnTo>
                  <a:lnTo>
                    <a:pt x="165" y="144"/>
                  </a:lnTo>
                  <a:lnTo>
                    <a:pt x="164" y="144"/>
                  </a:lnTo>
                  <a:lnTo>
                    <a:pt x="162" y="144"/>
                  </a:lnTo>
                  <a:lnTo>
                    <a:pt x="162" y="144"/>
                  </a:lnTo>
                  <a:lnTo>
                    <a:pt x="162" y="144"/>
                  </a:lnTo>
                  <a:lnTo>
                    <a:pt x="162" y="144"/>
                  </a:lnTo>
                  <a:close/>
                  <a:moveTo>
                    <a:pt x="155" y="144"/>
                  </a:moveTo>
                  <a:lnTo>
                    <a:pt x="157" y="144"/>
                  </a:lnTo>
                  <a:lnTo>
                    <a:pt x="158" y="144"/>
                  </a:lnTo>
                  <a:lnTo>
                    <a:pt x="160" y="148"/>
                  </a:lnTo>
                  <a:lnTo>
                    <a:pt x="160" y="148"/>
                  </a:lnTo>
                  <a:lnTo>
                    <a:pt x="160" y="144"/>
                  </a:lnTo>
                  <a:lnTo>
                    <a:pt x="158" y="144"/>
                  </a:lnTo>
                  <a:lnTo>
                    <a:pt x="157" y="143"/>
                  </a:lnTo>
                  <a:lnTo>
                    <a:pt x="155" y="144"/>
                  </a:lnTo>
                  <a:lnTo>
                    <a:pt x="155" y="144"/>
                  </a:lnTo>
                  <a:lnTo>
                    <a:pt x="155" y="144"/>
                  </a:lnTo>
                  <a:lnTo>
                    <a:pt x="155" y="144"/>
                  </a:lnTo>
                  <a:close/>
                  <a:moveTo>
                    <a:pt x="70" y="115"/>
                  </a:moveTo>
                  <a:lnTo>
                    <a:pt x="70" y="116"/>
                  </a:lnTo>
                  <a:lnTo>
                    <a:pt x="70" y="118"/>
                  </a:lnTo>
                  <a:lnTo>
                    <a:pt x="70" y="118"/>
                  </a:lnTo>
                  <a:lnTo>
                    <a:pt x="70" y="115"/>
                  </a:lnTo>
                  <a:lnTo>
                    <a:pt x="70" y="115"/>
                  </a:lnTo>
                  <a:lnTo>
                    <a:pt x="70" y="115"/>
                  </a:lnTo>
                  <a:lnTo>
                    <a:pt x="70" y="115"/>
                  </a:lnTo>
                  <a:close/>
                  <a:moveTo>
                    <a:pt x="63" y="116"/>
                  </a:moveTo>
                  <a:lnTo>
                    <a:pt x="63" y="115"/>
                  </a:lnTo>
                  <a:lnTo>
                    <a:pt x="65" y="115"/>
                  </a:lnTo>
                  <a:lnTo>
                    <a:pt x="63" y="116"/>
                  </a:lnTo>
                  <a:lnTo>
                    <a:pt x="63" y="116"/>
                  </a:lnTo>
                  <a:lnTo>
                    <a:pt x="63" y="116"/>
                  </a:lnTo>
                  <a:lnTo>
                    <a:pt x="63" y="116"/>
                  </a:lnTo>
                  <a:close/>
                  <a:moveTo>
                    <a:pt x="58" y="115"/>
                  </a:moveTo>
                  <a:lnTo>
                    <a:pt x="58" y="116"/>
                  </a:lnTo>
                  <a:lnTo>
                    <a:pt x="59" y="116"/>
                  </a:lnTo>
                  <a:lnTo>
                    <a:pt x="59" y="116"/>
                  </a:lnTo>
                  <a:lnTo>
                    <a:pt x="58" y="115"/>
                  </a:lnTo>
                  <a:lnTo>
                    <a:pt x="58" y="115"/>
                  </a:lnTo>
                  <a:lnTo>
                    <a:pt x="58" y="115"/>
                  </a:lnTo>
                  <a:lnTo>
                    <a:pt x="58" y="115"/>
                  </a:lnTo>
                  <a:close/>
                  <a:moveTo>
                    <a:pt x="63" y="116"/>
                  </a:moveTo>
                  <a:lnTo>
                    <a:pt x="59" y="113"/>
                  </a:lnTo>
                  <a:lnTo>
                    <a:pt x="61" y="111"/>
                  </a:lnTo>
                  <a:lnTo>
                    <a:pt x="63" y="111"/>
                  </a:lnTo>
                  <a:lnTo>
                    <a:pt x="63" y="115"/>
                  </a:lnTo>
                  <a:lnTo>
                    <a:pt x="63" y="116"/>
                  </a:lnTo>
                  <a:lnTo>
                    <a:pt x="63" y="116"/>
                  </a:lnTo>
                  <a:lnTo>
                    <a:pt x="63" y="116"/>
                  </a:lnTo>
                  <a:lnTo>
                    <a:pt x="63" y="116"/>
                  </a:lnTo>
                  <a:close/>
                  <a:moveTo>
                    <a:pt x="51" y="116"/>
                  </a:moveTo>
                  <a:lnTo>
                    <a:pt x="51" y="118"/>
                  </a:lnTo>
                  <a:lnTo>
                    <a:pt x="52" y="118"/>
                  </a:lnTo>
                  <a:lnTo>
                    <a:pt x="51" y="116"/>
                  </a:lnTo>
                  <a:lnTo>
                    <a:pt x="51" y="116"/>
                  </a:lnTo>
                  <a:lnTo>
                    <a:pt x="51" y="116"/>
                  </a:lnTo>
                  <a:lnTo>
                    <a:pt x="51" y="116"/>
                  </a:lnTo>
                  <a:lnTo>
                    <a:pt x="51" y="116"/>
                  </a:lnTo>
                  <a:close/>
                  <a:moveTo>
                    <a:pt x="45" y="129"/>
                  </a:moveTo>
                  <a:lnTo>
                    <a:pt x="47" y="127"/>
                  </a:lnTo>
                  <a:lnTo>
                    <a:pt x="47" y="127"/>
                  </a:lnTo>
                  <a:lnTo>
                    <a:pt x="47" y="129"/>
                  </a:lnTo>
                  <a:lnTo>
                    <a:pt x="47" y="129"/>
                  </a:lnTo>
                  <a:lnTo>
                    <a:pt x="45" y="129"/>
                  </a:lnTo>
                  <a:lnTo>
                    <a:pt x="45" y="129"/>
                  </a:lnTo>
                  <a:lnTo>
                    <a:pt x="45" y="129"/>
                  </a:lnTo>
                  <a:lnTo>
                    <a:pt x="45" y="129"/>
                  </a:lnTo>
                  <a:close/>
                  <a:moveTo>
                    <a:pt x="42" y="130"/>
                  </a:moveTo>
                  <a:lnTo>
                    <a:pt x="45" y="132"/>
                  </a:lnTo>
                  <a:lnTo>
                    <a:pt x="45" y="130"/>
                  </a:lnTo>
                  <a:lnTo>
                    <a:pt x="42" y="130"/>
                  </a:lnTo>
                  <a:lnTo>
                    <a:pt x="42" y="130"/>
                  </a:lnTo>
                  <a:lnTo>
                    <a:pt x="42" y="130"/>
                  </a:lnTo>
                  <a:lnTo>
                    <a:pt x="42" y="130"/>
                  </a:lnTo>
                  <a:close/>
                  <a:moveTo>
                    <a:pt x="40" y="129"/>
                  </a:moveTo>
                  <a:lnTo>
                    <a:pt x="42" y="130"/>
                  </a:lnTo>
                  <a:lnTo>
                    <a:pt x="42" y="129"/>
                  </a:lnTo>
                  <a:lnTo>
                    <a:pt x="40" y="129"/>
                  </a:lnTo>
                  <a:lnTo>
                    <a:pt x="40" y="129"/>
                  </a:lnTo>
                  <a:lnTo>
                    <a:pt x="40" y="129"/>
                  </a:lnTo>
                  <a:lnTo>
                    <a:pt x="40" y="129"/>
                  </a:lnTo>
                  <a:close/>
                  <a:moveTo>
                    <a:pt x="39" y="130"/>
                  </a:moveTo>
                  <a:lnTo>
                    <a:pt x="39" y="130"/>
                  </a:lnTo>
                  <a:lnTo>
                    <a:pt x="42" y="132"/>
                  </a:lnTo>
                  <a:lnTo>
                    <a:pt x="47" y="136"/>
                  </a:lnTo>
                  <a:lnTo>
                    <a:pt x="39" y="130"/>
                  </a:lnTo>
                  <a:lnTo>
                    <a:pt x="39" y="130"/>
                  </a:lnTo>
                  <a:lnTo>
                    <a:pt x="39" y="130"/>
                  </a:lnTo>
                  <a:lnTo>
                    <a:pt x="39" y="130"/>
                  </a:lnTo>
                  <a:close/>
                  <a:moveTo>
                    <a:pt x="42" y="122"/>
                  </a:moveTo>
                  <a:lnTo>
                    <a:pt x="47" y="122"/>
                  </a:lnTo>
                  <a:lnTo>
                    <a:pt x="47" y="125"/>
                  </a:lnTo>
                  <a:lnTo>
                    <a:pt x="45" y="122"/>
                  </a:lnTo>
                  <a:lnTo>
                    <a:pt x="42" y="122"/>
                  </a:lnTo>
                  <a:lnTo>
                    <a:pt x="42" y="122"/>
                  </a:lnTo>
                  <a:lnTo>
                    <a:pt x="42" y="122"/>
                  </a:lnTo>
                  <a:lnTo>
                    <a:pt x="42" y="122"/>
                  </a:lnTo>
                  <a:close/>
                  <a:moveTo>
                    <a:pt x="47" y="122"/>
                  </a:moveTo>
                  <a:lnTo>
                    <a:pt x="47" y="120"/>
                  </a:lnTo>
                  <a:lnTo>
                    <a:pt x="47" y="118"/>
                  </a:lnTo>
                  <a:lnTo>
                    <a:pt x="47" y="116"/>
                  </a:lnTo>
                  <a:lnTo>
                    <a:pt x="51" y="120"/>
                  </a:lnTo>
                  <a:lnTo>
                    <a:pt x="51" y="122"/>
                  </a:lnTo>
                  <a:lnTo>
                    <a:pt x="51" y="122"/>
                  </a:lnTo>
                  <a:lnTo>
                    <a:pt x="47" y="122"/>
                  </a:lnTo>
                  <a:lnTo>
                    <a:pt x="47" y="122"/>
                  </a:lnTo>
                  <a:lnTo>
                    <a:pt x="47" y="122"/>
                  </a:lnTo>
                  <a:lnTo>
                    <a:pt x="47" y="122"/>
                  </a:lnTo>
                  <a:close/>
                  <a:moveTo>
                    <a:pt x="2" y="26"/>
                  </a:moveTo>
                  <a:lnTo>
                    <a:pt x="0" y="90"/>
                  </a:lnTo>
                  <a:lnTo>
                    <a:pt x="0" y="96"/>
                  </a:lnTo>
                  <a:lnTo>
                    <a:pt x="0" y="97"/>
                  </a:lnTo>
                  <a:lnTo>
                    <a:pt x="0" y="99"/>
                  </a:lnTo>
                  <a:lnTo>
                    <a:pt x="0" y="141"/>
                  </a:lnTo>
                  <a:lnTo>
                    <a:pt x="6" y="141"/>
                  </a:lnTo>
                  <a:lnTo>
                    <a:pt x="7" y="141"/>
                  </a:lnTo>
                  <a:lnTo>
                    <a:pt x="11" y="141"/>
                  </a:lnTo>
                  <a:lnTo>
                    <a:pt x="19" y="141"/>
                  </a:lnTo>
                  <a:lnTo>
                    <a:pt x="23" y="141"/>
                  </a:lnTo>
                  <a:lnTo>
                    <a:pt x="23" y="143"/>
                  </a:lnTo>
                  <a:lnTo>
                    <a:pt x="23" y="144"/>
                  </a:lnTo>
                  <a:lnTo>
                    <a:pt x="28" y="144"/>
                  </a:lnTo>
                  <a:lnTo>
                    <a:pt x="30" y="143"/>
                  </a:lnTo>
                  <a:lnTo>
                    <a:pt x="37" y="141"/>
                  </a:lnTo>
                  <a:lnTo>
                    <a:pt x="37" y="139"/>
                  </a:lnTo>
                  <a:lnTo>
                    <a:pt x="39" y="141"/>
                  </a:lnTo>
                  <a:lnTo>
                    <a:pt x="40" y="139"/>
                  </a:lnTo>
                  <a:lnTo>
                    <a:pt x="40" y="134"/>
                  </a:lnTo>
                  <a:lnTo>
                    <a:pt x="35" y="130"/>
                  </a:lnTo>
                  <a:lnTo>
                    <a:pt x="30" y="129"/>
                  </a:lnTo>
                  <a:lnTo>
                    <a:pt x="28" y="127"/>
                  </a:lnTo>
                  <a:lnTo>
                    <a:pt x="25" y="125"/>
                  </a:lnTo>
                  <a:lnTo>
                    <a:pt x="23" y="125"/>
                  </a:lnTo>
                  <a:lnTo>
                    <a:pt x="19" y="125"/>
                  </a:lnTo>
                  <a:lnTo>
                    <a:pt x="19" y="125"/>
                  </a:lnTo>
                  <a:lnTo>
                    <a:pt x="19" y="120"/>
                  </a:lnTo>
                  <a:lnTo>
                    <a:pt x="16" y="116"/>
                  </a:lnTo>
                  <a:lnTo>
                    <a:pt x="12" y="115"/>
                  </a:lnTo>
                  <a:lnTo>
                    <a:pt x="12" y="113"/>
                  </a:lnTo>
                  <a:lnTo>
                    <a:pt x="9" y="111"/>
                  </a:lnTo>
                  <a:lnTo>
                    <a:pt x="12" y="113"/>
                  </a:lnTo>
                  <a:lnTo>
                    <a:pt x="12" y="115"/>
                  </a:lnTo>
                  <a:lnTo>
                    <a:pt x="16" y="115"/>
                  </a:lnTo>
                  <a:lnTo>
                    <a:pt x="19" y="118"/>
                  </a:lnTo>
                  <a:lnTo>
                    <a:pt x="19" y="122"/>
                  </a:lnTo>
                  <a:lnTo>
                    <a:pt x="19" y="125"/>
                  </a:lnTo>
                  <a:lnTo>
                    <a:pt x="19" y="125"/>
                  </a:lnTo>
                  <a:lnTo>
                    <a:pt x="25" y="125"/>
                  </a:lnTo>
                  <a:lnTo>
                    <a:pt x="28" y="127"/>
                  </a:lnTo>
                  <a:lnTo>
                    <a:pt x="30" y="127"/>
                  </a:lnTo>
                  <a:lnTo>
                    <a:pt x="33" y="127"/>
                  </a:lnTo>
                  <a:lnTo>
                    <a:pt x="39" y="125"/>
                  </a:lnTo>
                  <a:lnTo>
                    <a:pt x="42" y="125"/>
                  </a:lnTo>
                  <a:lnTo>
                    <a:pt x="45" y="125"/>
                  </a:lnTo>
                  <a:lnTo>
                    <a:pt x="42" y="125"/>
                  </a:lnTo>
                  <a:lnTo>
                    <a:pt x="42" y="122"/>
                  </a:lnTo>
                  <a:lnTo>
                    <a:pt x="40" y="120"/>
                  </a:lnTo>
                  <a:lnTo>
                    <a:pt x="39" y="120"/>
                  </a:lnTo>
                  <a:lnTo>
                    <a:pt x="37" y="118"/>
                  </a:lnTo>
                  <a:lnTo>
                    <a:pt x="39" y="120"/>
                  </a:lnTo>
                  <a:lnTo>
                    <a:pt x="42" y="120"/>
                  </a:lnTo>
                  <a:lnTo>
                    <a:pt x="45" y="122"/>
                  </a:lnTo>
                  <a:lnTo>
                    <a:pt x="47" y="122"/>
                  </a:lnTo>
                  <a:lnTo>
                    <a:pt x="47" y="122"/>
                  </a:lnTo>
                  <a:lnTo>
                    <a:pt x="47" y="118"/>
                  </a:lnTo>
                  <a:lnTo>
                    <a:pt x="47" y="116"/>
                  </a:lnTo>
                  <a:lnTo>
                    <a:pt x="47" y="115"/>
                  </a:lnTo>
                  <a:lnTo>
                    <a:pt x="47" y="113"/>
                  </a:lnTo>
                  <a:lnTo>
                    <a:pt x="45" y="110"/>
                  </a:lnTo>
                  <a:lnTo>
                    <a:pt x="45" y="108"/>
                  </a:lnTo>
                  <a:lnTo>
                    <a:pt x="47" y="110"/>
                  </a:lnTo>
                  <a:lnTo>
                    <a:pt x="51" y="113"/>
                  </a:lnTo>
                  <a:lnTo>
                    <a:pt x="52" y="115"/>
                  </a:lnTo>
                  <a:lnTo>
                    <a:pt x="54" y="116"/>
                  </a:lnTo>
                  <a:lnTo>
                    <a:pt x="54" y="115"/>
                  </a:lnTo>
                  <a:lnTo>
                    <a:pt x="54" y="111"/>
                  </a:lnTo>
                  <a:lnTo>
                    <a:pt x="54" y="113"/>
                  </a:lnTo>
                  <a:lnTo>
                    <a:pt x="56" y="116"/>
                  </a:lnTo>
                  <a:lnTo>
                    <a:pt x="58" y="116"/>
                  </a:lnTo>
                  <a:lnTo>
                    <a:pt x="58" y="113"/>
                  </a:lnTo>
                  <a:lnTo>
                    <a:pt x="56" y="111"/>
                  </a:lnTo>
                  <a:lnTo>
                    <a:pt x="58" y="108"/>
                  </a:lnTo>
                  <a:lnTo>
                    <a:pt x="59" y="110"/>
                  </a:lnTo>
                  <a:lnTo>
                    <a:pt x="63" y="111"/>
                  </a:lnTo>
                  <a:lnTo>
                    <a:pt x="65" y="113"/>
                  </a:lnTo>
                  <a:lnTo>
                    <a:pt x="66" y="115"/>
                  </a:lnTo>
                  <a:lnTo>
                    <a:pt x="70" y="113"/>
                  </a:lnTo>
                  <a:lnTo>
                    <a:pt x="70" y="115"/>
                  </a:lnTo>
                  <a:lnTo>
                    <a:pt x="70" y="113"/>
                  </a:lnTo>
                  <a:lnTo>
                    <a:pt x="70" y="115"/>
                  </a:lnTo>
                  <a:lnTo>
                    <a:pt x="70" y="116"/>
                  </a:lnTo>
                  <a:lnTo>
                    <a:pt x="73" y="118"/>
                  </a:lnTo>
                  <a:lnTo>
                    <a:pt x="77" y="120"/>
                  </a:lnTo>
                  <a:lnTo>
                    <a:pt x="84" y="122"/>
                  </a:lnTo>
                  <a:lnTo>
                    <a:pt x="87" y="122"/>
                  </a:lnTo>
                  <a:lnTo>
                    <a:pt x="91" y="125"/>
                  </a:lnTo>
                  <a:lnTo>
                    <a:pt x="91" y="130"/>
                  </a:lnTo>
                  <a:lnTo>
                    <a:pt x="96" y="137"/>
                  </a:lnTo>
                  <a:lnTo>
                    <a:pt x="96" y="139"/>
                  </a:lnTo>
                  <a:lnTo>
                    <a:pt x="99" y="141"/>
                  </a:lnTo>
                  <a:lnTo>
                    <a:pt x="101" y="143"/>
                  </a:lnTo>
                  <a:lnTo>
                    <a:pt x="101" y="144"/>
                  </a:lnTo>
                  <a:lnTo>
                    <a:pt x="110" y="153"/>
                  </a:lnTo>
                  <a:lnTo>
                    <a:pt x="110" y="155"/>
                  </a:lnTo>
                  <a:lnTo>
                    <a:pt x="113" y="156"/>
                  </a:lnTo>
                  <a:lnTo>
                    <a:pt x="118" y="158"/>
                  </a:lnTo>
                  <a:lnTo>
                    <a:pt x="118" y="158"/>
                  </a:lnTo>
                  <a:lnTo>
                    <a:pt x="122" y="158"/>
                  </a:lnTo>
                  <a:lnTo>
                    <a:pt x="124" y="160"/>
                  </a:lnTo>
                  <a:lnTo>
                    <a:pt x="129" y="158"/>
                  </a:lnTo>
                  <a:lnTo>
                    <a:pt x="132" y="160"/>
                  </a:lnTo>
                  <a:lnTo>
                    <a:pt x="136" y="160"/>
                  </a:lnTo>
                  <a:lnTo>
                    <a:pt x="141" y="160"/>
                  </a:lnTo>
                  <a:lnTo>
                    <a:pt x="145" y="162"/>
                  </a:lnTo>
                  <a:lnTo>
                    <a:pt x="146" y="162"/>
                  </a:lnTo>
                  <a:lnTo>
                    <a:pt x="150" y="163"/>
                  </a:lnTo>
                  <a:lnTo>
                    <a:pt x="151" y="163"/>
                  </a:lnTo>
                  <a:lnTo>
                    <a:pt x="153" y="165"/>
                  </a:lnTo>
                  <a:lnTo>
                    <a:pt x="150" y="167"/>
                  </a:lnTo>
                  <a:lnTo>
                    <a:pt x="153" y="167"/>
                  </a:lnTo>
                  <a:lnTo>
                    <a:pt x="158" y="170"/>
                  </a:lnTo>
                  <a:lnTo>
                    <a:pt x="162" y="167"/>
                  </a:lnTo>
                  <a:lnTo>
                    <a:pt x="164" y="167"/>
                  </a:lnTo>
                  <a:lnTo>
                    <a:pt x="158" y="163"/>
                  </a:lnTo>
                  <a:lnTo>
                    <a:pt x="157" y="163"/>
                  </a:lnTo>
                  <a:lnTo>
                    <a:pt x="157" y="162"/>
                  </a:lnTo>
                  <a:lnTo>
                    <a:pt x="160" y="162"/>
                  </a:lnTo>
                  <a:lnTo>
                    <a:pt x="164" y="162"/>
                  </a:lnTo>
                  <a:lnTo>
                    <a:pt x="167" y="160"/>
                  </a:lnTo>
                  <a:lnTo>
                    <a:pt x="160" y="158"/>
                  </a:lnTo>
                  <a:lnTo>
                    <a:pt x="151" y="158"/>
                  </a:lnTo>
                  <a:lnTo>
                    <a:pt x="150" y="155"/>
                  </a:lnTo>
                  <a:lnTo>
                    <a:pt x="146" y="153"/>
                  </a:lnTo>
                  <a:lnTo>
                    <a:pt x="150" y="151"/>
                  </a:lnTo>
                  <a:lnTo>
                    <a:pt x="153" y="151"/>
                  </a:lnTo>
                  <a:lnTo>
                    <a:pt x="155" y="150"/>
                  </a:lnTo>
                  <a:lnTo>
                    <a:pt x="151" y="150"/>
                  </a:lnTo>
                  <a:lnTo>
                    <a:pt x="146" y="150"/>
                  </a:lnTo>
                  <a:lnTo>
                    <a:pt x="141" y="148"/>
                  </a:lnTo>
                  <a:lnTo>
                    <a:pt x="139" y="148"/>
                  </a:lnTo>
                  <a:lnTo>
                    <a:pt x="139" y="144"/>
                  </a:lnTo>
                  <a:lnTo>
                    <a:pt x="141" y="143"/>
                  </a:lnTo>
                  <a:lnTo>
                    <a:pt x="141" y="141"/>
                  </a:lnTo>
                  <a:lnTo>
                    <a:pt x="139" y="137"/>
                  </a:lnTo>
                  <a:lnTo>
                    <a:pt x="138" y="137"/>
                  </a:lnTo>
                  <a:lnTo>
                    <a:pt x="136" y="139"/>
                  </a:lnTo>
                  <a:lnTo>
                    <a:pt x="134" y="139"/>
                  </a:lnTo>
                  <a:lnTo>
                    <a:pt x="132" y="139"/>
                  </a:lnTo>
                  <a:lnTo>
                    <a:pt x="129" y="136"/>
                  </a:lnTo>
                  <a:lnTo>
                    <a:pt x="127" y="130"/>
                  </a:lnTo>
                  <a:lnTo>
                    <a:pt x="127" y="129"/>
                  </a:lnTo>
                  <a:lnTo>
                    <a:pt x="122" y="122"/>
                  </a:lnTo>
                  <a:lnTo>
                    <a:pt x="122" y="122"/>
                  </a:lnTo>
                  <a:lnTo>
                    <a:pt x="118" y="118"/>
                  </a:lnTo>
                  <a:lnTo>
                    <a:pt x="115" y="118"/>
                  </a:lnTo>
                  <a:lnTo>
                    <a:pt x="113" y="118"/>
                  </a:lnTo>
                  <a:lnTo>
                    <a:pt x="112" y="113"/>
                  </a:lnTo>
                  <a:lnTo>
                    <a:pt x="108" y="110"/>
                  </a:lnTo>
                  <a:lnTo>
                    <a:pt x="108" y="106"/>
                  </a:lnTo>
                  <a:lnTo>
                    <a:pt x="105" y="103"/>
                  </a:lnTo>
                  <a:lnTo>
                    <a:pt x="105" y="99"/>
                  </a:lnTo>
                  <a:lnTo>
                    <a:pt x="105" y="99"/>
                  </a:lnTo>
                  <a:lnTo>
                    <a:pt x="110" y="99"/>
                  </a:lnTo>
                  <a:lnTo>
                    <a:pt x="115" y="97"/>
                  </a:lnTo>
                  <a:lnTo>
                    <a:pt x="118" y="94"/>
                  </a:lnTo>
                  <a:lnTo>
                    <a:pt x="118" y="90"/>
                  </a:lnTo>
                  <a:lnTo>
                    <a:pt x="113" y="85"/>
                  </a:lnTo>
                  <a:lnTo>
                    <a:pt x="110" y="83"/>
                  </a:lnTo>
                  <a:lnTo>
                    <a:pt x="108" y="85"/>
                  </a:lnTo>
                  <a:lnTo>
                    <a:pt x="105" y="83"/>
                  </a:lnTo>
                  <a:lnTo>
                    <a:pt x="99" y="80"/>
                  </a:lnTo>
                  <a:lnTo>
                    <a:pt x="96" y="77"/>
                  </a:lnTo>
                  <a:lnTo>
                    <a:pt x="92" y="77"/>
                  </a:lnTo>
                  <a:lnTo>
                    <a:pt x="84" y="77"/>
                  </a:lnTo>
                  <a:lnTo>
                    <a:pt x="82" y="73"/>
                  </a:lnTo>
                  <a:lnTo>
                    <a:pt x="85" y="70"/>
                  </a:lnTo>
                  <a:lnTo>
                    <a:pt x="85" y="66"/>
                  </a:lnTo>
                  <a:lnTo>
                    <a:pt x="82" y="63"/>
                  </a:lnTo>
                  <a:lnTo>
                    <a:pt x="77" y="57"/>
                  </a:lnTo>
                  <a:lnTo>
                    <a:pt x="77" y="57"/>
                  </a:lnTo>
                  <a:lnTo>
                    <a:pt x="73" y="57"/>
                  </a:lnTo>
                  <a:lnTo>
                    <a:pt x="73" y="54"/>
                  </a:lnTo>
                  <a:lnTo>
                    <a:pt x="70" y="54"/>
                  </a:lnTo>
                  <a:lnTo>
                    <a:pt x="68" y="50"/>
                  </a:lnTo>
                  <a:lnTo>
                    <a:pt x="65" y="50"/>
                  </a:lnTo>
                  <a:lnTo>
                    <a:pt x="63" y="47"/>
                  </a:lnTo>
                  <a:lnTo>
                    <a:pt x="61" y="49"/>
                  </a:lnTo>
                  <a:lnTo>
                    <a:pt x="58" y="47"/>
                  </a:lnTo>
                  <a:lnTo>
                    <a:pt x="54" y="45"/>
                  </a:lnTo>
                  <a:lnTo>
                    <a:pt x="51" y="43"/>
                  </a:lnTo>
                  <a:lnTo>
                    <a:pt x="47" y="42"/>
                  </a:lnTo>
                  <a:lnTo>
                    <a:pt x="40" y="40"/>
                  </a:lnTo>
                  <a:lnTo>
                    <a:pt x="32" y="37"/>
                  </a:lnTo>
                  <a:lnTo>
                    <a:pt x="28" y="35"/>
                  </a:lnTo>
                  <a:lnTo>
                    <a:pt x="25" y="35"/>
                  </a:lnTo>
                  <a:lnTo>
                    <a:pt x="23" y="35"/>
                  </a:lnTo>
                  <a:lnTo>
                    <a:pt x="23" y="35"/>
                  </a:lnTo>
                  <a:lnTo>
                    <a:pt x="18" y="31"/>
                  </a:lnTo>
                  <a:lnTo>
                    <a:pt x="16" y="31"/>
                  </a:lnTo>
                  <a:lnTo>
                    <a:pt x="12" y="28"/>
                  </a:lnTo>
                  <a:lnTo>
                    <a:pt x="6" y="28"/>
                  </a:lnTo>
                  <a:lnTo>
                    <a:pt x="2" y="26"/>
                  </a:lnTo>
                  <a:lnTo>
                    <a:pt x="2" y="26"/>
                  </a:lnTo>
                  <a:lnTo>
                    <a:pt x="2"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9" name="Freeform 195">
              <a:extLst>
                <a:ext uri="{FF2B5EF4-FFF2-40B4-BE49-F238E27FC236}">
                  <a16:creationId xmlns:a16="http://schemas.microsoft.com/office/drawing/2014/main" id="{05A753BE-2FA6-436D-BDF9-B0CDADEB52F5}"/>
                </a:ext>
              </a:extLst>
            </p:cNvPr>
            <p:cNvSpPr>
              <a:spLocks noEditPoints="1"/>
            </p:cNvSpPr>
            <p:nvPr/>
          </p:nvSpPr>
          <p:spPr bwMode="auto">
            <a:xfrm>
              <a:off x="7045325" y="4087813"/>
              <a:ext cx="1243013" cy="487363"/>
            </a:xfrm>
            <a:custGeom>
              <a:avLst/>
              <a:gdLst/>
              <a:ahLst/>
              <a:cxnLst>
                <a:cxn ang="0">
                  <a:pos x="742" y="236"/>
                </a:cxn>
                <a:cxn ang="0">
                  <a:pos x="672" y="184"/>
                </a:cxn>
                <a:cxn ang="0">
                  <a:pos x="650" y="160"/>
                </a:cxn>
                <a:cxn ang="0">
                  <a:pos x="660" y="127"/>
                </a:cxn>
                <a:cxn ang="0">
                  <a:pos x="717" y="146"/>
                </a:cxn>
                <a:cxn ang="0">
                  <a:pos x="604" y="121"/>
                </a:cxn>
                <a:cxn ang="0">
                  <a:pos x="521" y="55"/>
                </a:cxn>
                <a:cxn ang="0">
                  <a:pos x="563" y="123"/>
                </a:cxn>
                <a:cxn ang="0">
                  <a:pos x="568" y="90"/>
                </a:cxn>
                <a:cxn ang="0">
                  <a:pos x="549" y="127"/>
                </a:cxn>
                <a:cxn ang="0">
                  <a:pos x="571" y="179"/>
                </a:cxn>
                <a:cxn ang="0">
                  <a:pos x="559" y="168"/>
                </a:cxn>
                <a:cxn ang="0">
                  <a:pos x="544" y="172"/>
                </a:cxn>
                <a:cxn ang="0">
                  <a:pos x="524" y="160"/>
                </a:cxn>
                <a:cxn ang="0">
                  <a:pos x="467" y="212"/>
                </a:cxn>
                <a:cxn ang="0">
                  <a:pos x="460" y="208"/>
                </a:cxn>
                <a:cxn ang="0">
                  <a:pos x="479" y="139"/>
                </a:cxn>
                <a:cxn ang="0">
                  <a:pos x="460" y="109"/>
                </a:cxn>
                <a:cxn ang="0">
                  <a:pos x="446" y="95"/>
                </a:cxn>
                <a:cxn ang="0">
                  <a:pos x="410" y="179"/>
                </a:cxn>
                <a:cxn ang="0">
                  <a:pos x="448" y="187"/>
                </a:cxn>
                <a:cxn ang="0">
                  <a:pos x="460" y="168"/>
                </a:cxn>
                <a:cxn ang="0">
                  <a:pos x="425" y="132"/>
                </a:cxn>
                <a:cxn ang="0">
                  <a:pos x="425" y="22"/>
                </a:cxn>
                <a:cxn ang="0">
                  <a:pos x="359" y="182"/>
                </a:cxn>
                <a:cxn ang="0">
                  <a:pos x="241" y="130"/>
                </a:cxn>
                <a:cxn ang="0">
                  <a:pos x="345" y="64"/>
                </a:cxn>
                <a:cxn ang="0">
                  <a:pos x="405" y="99"/>
                </a:cxn>
                <a:cxn ang="0">
                  <a:pos x="359" y="161"/>
                </a:cxn>
                <a:cxn ang="0">
                  <a:pos x="286" y="172"/>
                </a:cxn>
                <a:cxn ang="0">
                  <a:pos x="241" y="120"/>
                </a:cxn>
                <a:cxn ang="0">
                  <a:pos x="688" y="144"/>
                </a:cxn>
                <a:cxn ang="0">
                  <a:pos x="674" y="233"/>
                </a:cxn>
                <a:cxn ang="0">
                  <a:pos x="663" y="222"/>
                </a:cxn>
                <a:cxn ang="0">
                  <a:pos x="672" y="212"/>
                </a:cxn>
                <a:cxn ang="0">
                  <a:pos x="608" y="247"/>
                </a:cxn>
                <a:cxn ang="0">
                  <a:pos x="592" y="224"/>
                </a:cxn>
                <a:cxn ang="0">
                  <a:pos x="575" y="262"/>
                </a:cxn>
                <a:cxn ang="0">
                  <a:pos x="476" y="299"/>
                </a:cxn>
                <a:cxn ang="0">
                  <a:pos x="471" y="302"/>
                </a:cxn>
                <a:cxn ang="0">
                  <a:pos x="399" y="285"/>
                </a:cxn>
                <a:cxn ang="0">
                  <a:pos x="519" y="253"/>
                </a:cxn>
                <a:cxn ang="0">
                  <a:pos x="479" y="262"/>
                </a:cxn>
                <a:cxn ang="0">
                  <a:pos x="460" y="266"/>
                </a:cxn>
                <a:cxn ang="0">
                  <a:pos x="410" y="266"/>
                </a:cxn>
                <a:cxn ang="0">
                  <a:pos x="378" y="260"/>
                </a:cxn>
                <a:cxn ang="0">
                  <a:pos x="340" y="269"/>
                </a:cxn>
                <a:cxn ang="0">
                  <a:pos x="745" y="253"/>
                </a:cxn>
                <a:cxn ang="0">
                  <a:pos x="173" y="234"/>
                </a:cxn>
                <a:cxn ang="0">
                  <a:pos x="305" y="252"/>
                </a:cxn>
                <a:cxn ang="0">
                  <a:pos x="205" y="247"/>
                </a:cxn>
                <a:cxn ang="0">
                  <a:pos x="191" y="55"/>
                </a:cxn>
                <a:cxn ang="0">
                  <a:pos x="158" y="95"/>
                </a:cxn>
                <a:cxn ang="0">
                  <a:pos x="201" y="168"/>
                </a:cxn>
                <a:cxn ang="0">
                  <a:pos x="160" y="127"/>
                </a:cxn>
                <a:cxn ang="0">
                  <a:pos x="109" y="81"/>
                </a:cxn>
                <a:cxn ang="0">
                  <a:pos x="66" y="147"/>
                </a:cxn>
                <a:cxn ang="0">
                  <a:pos x="33" y="92"/>
                </a:cxn>
                <a:cxn ang="0">
                  <a:pos x="59" y="87"/>
                </a:cxn>
                <a:cxn ang="0">
                  <a:pos x="170" y="217"/>
                </a:cxn>
                <a:cxn ang="0">
                  <a:pos x="137" y="123"/>
                </a:cxn>
                <a:cxn ang="0">
                  <a:pos x="50" y="45"/>
                </a:cxn>
              </a:cxnLst>
              <a:rect l="0" t="0" r="r" b="b"/>
              <a:pathLst>
                <a:path w="783" h="307">
                  <a:moveTo>
                    <a:pt x="783" y="161"/>
                  </a:moveTo>
                  <a:lnTo>
                    <a:pt x="782" y="226"/>
                  </a:lnTo>
                  <a:lnTo>
                    <a:pt x="780" y="231"/>
                  </a:lnTo>
                  <a:lnTo>
                    <a:pt x="780" y="233"/>
                  </a:lnTo>
                  <a:lnTo>
                    <a:pt x="782" y="234"/>
                  </a:lnTo>
                  <a:lnTo>
                    <a:pt x="780" y="276"/>
                  </a:lnTo>
                  <a:lnTo>
                    <a:pt x="778" y="276"/>
                  </a:lnTo>
                  <a:lnTo>
                    <a:pt x="776" y="274"/>
                  </a:lnTo>
                  <a:lnTo>
                    <a:pt x="771" y="269"/>
                  </a:lnTo>
                  <a:lnTo>
                    <a:pt x="768" y="266"/>
                  </a:lnTo>
                  <a:lnTo>
                    <a:pt x="768" y="266"/>
                  </a:lnTo>
                  <a:lnTo>
                    <a:pt x="764" y="262"/>
                  </a:lnTo>
                  <a:lnTo>
                    <a:pt x="764" y="262"/>
                  </a:lnTo>
                  <a:lnTo>
                    <a:pt x="764" y="259"/>
                  </a:lnTo>
                  <a:lnTo>
                    <a:pt x="764" y="257"/>
                  </a:lnTo>
                  <a:lnTo>
                    <a:pt x="764" y="252"/>
                  </a:lnTo>
                  <a:lnTo>
                    <a:pt x="764" y="257"/>
                  </a:lnTo>
                  <a:lnTo>
                    <a:pt x="762" y="259"/>
                  </a:lnTo>
                  <a:lnTo>
                    <a:pt x="757" y="257"/>
                  </a:lnTo>
                  <a:lnTo>
                    <a:pt x="754" y="259"/>
                  </a:lnTo>
                  <a:lnTo>
                    <a:pt x="750" y="259"/>
                  </a:lnTo>
                  <a:lnTo>
                    <a:pt x="750" y="257"/>
                  </a:lnTo>
                  <a:lnTo>
                    <a:pt x="745" y="260"/>
                  </a:lnTo>
                  <a:lnTo>
                    <a:pt x="745" y="257"/>
                  </a:lnTo>
                  <a:lnTo>
                    <a:pt x="745" y="257"/>
                  </a:lnTo>
                  <a:lnTo>
                    <a:pt x="745" y="253"/>
                  </a:lnTo>
                  <a:lnTo>
                    <a:pt x="745" y="252"/>
                  </a:lnTo>
                  <a:lnTo>
                    <a:pt x="747" y="250"/>
                  </a:lnTo>
                  <a:lnTo>
                    <a:pt x="747" y="245"/>
                  </a:lnTo>
                  <a:lnTo>
                    <a:pt x="745" y="245"/>
                  </a:lnTo>
                  <a:lnTo>
                    <a:pt x="745" y="243"/>
                  </a:lnTo>
                  <a:lnTo>
                    <a:pt x="745" y="243"/>
                  </a:lnTo>
                  <a:lnTo>
                    <a:pt x="747" y="243"/>
                  </a:lnTo>
                  <a:lnTo>
                    <a:pt x="750" y="243"/>
                  </a:lnTo>
                  <a:lnTo>
                    <a:pt x="752" y="240"/>
                  </a:lnTo>
                  <a:lnTo>
                    <a:pt x="750" y="240"/>
                  </a:lnTo>
                  <a:lnTo>
                    <a:pt x="745" y="240"/>
                  </a:lnTo>
                  <a:lnTo>
                    <a:pt x="745" y="240"/>
                  </a:lnTo>
                  <a:lnTo>
                    <a:pt x="742" y="238"/>
                  </a:lnTo>
                  <a:lnTo>
                    <a:pt x="742" y="236"/>
                  </a:lnTo>
                  <a:lnTo>
                    <a:pt x="742" y="236"/>
                  </a:lnTo>
                  <a:lnTo>
                    <a:pt x="745" y="236"/>
                  </a:lnTo>
                  <a:lnTo>
                    <a:pt x="745" y="234"/>
                  </a:lnTo>
                  <a:lnTo>
                    <a:pt x="740" y="231"/>
                  </a:lnTo>
                  <a:lnTo>
                    <a:pt x="738" y="229"/>
                  </a:lnTo>
                  <a:lnTo>
                    <a:pt x="736" y="226"/>
                  </a:lnTo>
                  <a:lnTo>
                    <a:pt x="736" y="222"/>
                  </a:lnTo>
                  <a:lnTo>
                    <a:pt x="733" y="220"/>
                  </a:lnTo>
                  <a:lnTo>
                    <a:pt x="733" y="217"/>
                  </a:lnTo>
                  <a:lnTo>
                    <a:pt x="736" y="215"/>
                  </a:lnTo>
                  <a:lnTo>
                    <a:pt x="733" y="215"/>
                  </a:lnTo>
                  <a:lnTo>
                    <a:pt x="731" y="214"/>
                  </a:lnTo>
                  <a:lnTo>
                    <a:pt x="733" y="214"/>
                  </a:lnTo>
                  <a:lnTo>
                    <a:pt x="731" y="212"/>
                  </a:lnTo>
                  <a:lnTo>
                    <a:pt x="733" y="208"/>
                  </a:lnTo>
                  <a:lnTo>
                    <a:pt x="729" y="210"/>
                  </a:lnTo>
                  <a:lnTo>
                    <a:pt x="728" y="208"/>
                  </a:lnTo>
                  <a:lnTo>
                    <a:pt x="726" y="208"/>
                  </a:lnTo>
                  <a:lnTo>
                    <a:pt x="724" y="208"/>
                  </a:lnTo>
                  <a:lnTo>
                    <a:pt x="728" y="205"/>
                  </a:lnTo>
                  <a:lnTo>
                    <a:pt x="724" y="207"/>
                  </a:lnTo>
                  <a:lnTo>
                    <a:pt x="723" y="207"/>
                  </a:lnTo>
                  <a:lnTo>
                    <a:pt x="717" y="205"/>
                  </a:lnTo>
                  <a:lnTo>
                    <a:pt x="717" y="201"/>
                  </a:lnTo>
                  <a:lnTo>
                    <a:pt x="712" y="200"/>
                  </a:lnTo>
                  <a:lnTo>
                    <a:pt x="709" y="200"/>
                  </a:lnTo>
                  <a:lnTo>
                    <a:pt x="698" y="198"/>
                  </a:lnTo>
                  <a:lnTo>
                    <a:pt x="689" y="194"/>
                  </a:lnTo>
                  <a:lnTo>
                    <a:pt x="684" y="194"/>
                  </a:lnTo>
                  <a:lnTo>
                    <a:pt x="679" y="193"/>
                  </a:lnTo>
                  <a:lnTo>
                    <a:pt x="679" y="191"/>
                  </a:lnTo>
                  <a:lnTo>
                    <a:pt x="677" y="189"/>
                  </a:lnTo>
                  <a:lnTo>
                    <a:pt x="674" y="189"/>
                  </a:lnTo>
                  <a:lnTo>
                    <a:pt x="674" y="186"/>
                  </a:lnTo>
                  <a:lnTo>
                    <a:pt x="677" y="186"/>
                  </a:lnTo>
                  <a:lnTo>
                    <a:pt x="679" y="186"/>
                  </a:lnTo>
                  <a:lnTo>
                    <a:pt x="677" y="186"/>
                  </a:lnTo>
                  <a:lnTo>
                    <a:pt x="676" y="184"/>
                  </a:lnTo>
                  <a:lnTo>
                    <a:pt x="672" y="186"/>
                  </a:lnTo>
                  <a:lnTo>
                    <a:pt x="672" y="184"/>
                  </a:lnTo>
                  <a:lnTo>
                    <a:pt x="669" y="184"/>
                  </a:lnTo>
                  <a:lnTo>
                    <a:pt x="669" y="182"/>
                  </a:lnTo>
                  <a:lnTo>
                    <a:pt x="667" y="184"/>
                  </a:lnTo>
                  <a:lnTo>
                    <a:pt x="667" y="180"/>
                  </a:lnTo>
                  <a:lnTo>
                    <a:pt x="663" y="180"/>
                  </a:lnTo>
                  <a:lnTo>
                    <a:pt x="663" y="180"/>
                  </a:lnTo>
                  <a:lnTo>
                    <a:pt x="663" y="182"/>
                  </a:lnTo>
                  <a:lnTo>
                    <a:pt x="660" y="180"/>
                  </a:lnTo>
                  <a:lnTo>
                    <a:pt x="660" y="175"/>
                  </a:lnTo>
                  <a:lnTo>
                    <a:pt x="658" y="172"/>
                  </a:lnTo>
                  <a:lnTo>
                    <a:pt x="660" y="170"/>
                  </a:lnTo>
                  <a:lnTo>
                    <a:pt x="660" y="167"/>
                  </a:lnTo>
                  <a:lnTo>
                    <a:pt x="658" y="170"/>
                  </a:lnTo>
                  <a:lnTo>
                    <a:pt x="658" y="172"/>
                  </a:lnTo>
                  <a:lnTo>
                    <a:pt x="656" y="175"/>
                  </a:lnTo>
                  <a:lnTo>
                    <a:pt x="655" y="175"/>
                  </a:lnTo>
                  <a:lnTo>
                    <a:pt x="653" y="180"/>
                  </a:lnTo>
                  <a:lnTo>
                    <a:pt x="653" y="184"/>
                  </a:lnTo>
                  <a:lnTo>
                    <a:pt x="650" y="187"/>
                  </a:lnTo>
                  <a:lnTo>
                    <a:pt x="646" y="189"/>
                  </a:lnTo>
                  <a:lnTo>
                    <a:pt x="644" y="187"/>
                  </a:lnTo>
                  <a:lnTo>
                    <a:pt x="641" y="182"/>
                  </a:lnTo>
                  <a:lnTo>
                    <a:pt x="641" y="179"/>
                  </a:lnTo>
                  <a:lnTo>
                    <a:pt x="641" y="179"/>
                  </a:lnTo>
                  <a:lnTo>
                    <a:pt x="644" y="177"/>
                  </a:lnTo>
                  <a:lnTo>
                    <a:pt x="641" y="175"/>
                  </a:lnTo>
                  <a:lnTo>
                    <a:pt x="641" y="175"/>
                  </a:lnTo>
                  <a:lnTo>
                    <a:pt x="637" y="175"/>
                  </a:lnTo>
                  <a:lnTo>
                    <a:pt x="637" y="170"/>
                  </a:lnTo>
                  <a:lnTo>
                    <a:pt x="634" y="168"/>
                  </a:lnTo>
                  <a:lnTo>
                    <a:pt x="630" y="168"/>
                  </a:lnTo>
                  <a:lnTo>
                    <a:pt x="629" y="167"/>
                  </a:lnTo>
                  <a:lnTo>
                    <a:pt x="630" y="163"/>
                  </a:lnTo>
                  <a:lnTo>
                    <a:pt x="636" y="163"/>
                  </a:lnTo>
                  <a:lnTo>
                    <a:pt x="637" y="165"/>
                  </a:lnTo>
                  <a:lnTo>
                    <a:pt x="641" y="165"/>
                  </a:lnTo>
                  <a:lnTo>
                    <a:pt x="641" y="167"/>
                  </a:lnTo>
                  <a:lnTo>
                    <a:pt x="646" y="165"/>
                  </a:lnTo>
                  <a:lnTo>
                    <a:pt x="646" y="160"/>
                  </a:lnTo>
                  <a:lnTo>
                    <a:pt x="650" y="160"/>
                  </a:lnTo>
                  <a:lnTo>
                    <a:pt x="655" y="161"/>
                  </a:lnTo>
                  <a:lnTo>
                    <a:pt x="656" y="165"/>
                  </a:lnTo>
                  <a:lnTo>
                    <a:pt x="658" y="161"/>
                  </a:lnTo>
                  <a:lnTo>
                    <a:pt x="660" y="160"/>
                  </a:lnTo>
                  <a:lnTo>
                    <a:pt x="660" y="160"/>
                  </a:lnTo>
                  <a:lnTo>
                    <a:pt x="663" y="156"/>
                  </a:lnTo>
                  <a:lnTo>
                    <a:pt x="660" y="153"/>
                  </a:lnTo>
                  <a:lnTo>
                    <a:pt x="653" y="153"/>
                  </a:lnTo>
                  <a:lnTo>
                    <a:pt x="655" y="154"/>
                  </a:lnTo>
                  <a:lnTo>
                    <a:pt x="651" y="154"/>
                  </a:lnTo>
                  <a:lnTo>
                    <a:pt x="650" y="154"/>
                  </a:lnTo>
                  <a:lnTo>
                    <a:pt x="644" y="156"/>
                  </a:lnTo>
                  <a:lnTo>
                    <a:pt x="644" y="154"/>
                  </a:lnTo>
                  <a:lnTo>
                    <a:pt x="641" y="156"/>
                  </a:lnTo>
                  <a:lnTo>
                    <a:pt x="637" y="154"/>
                  </a:lnTo>
                  <a:lnTo>
                    <a:pt x="636" y="154"/>
                  </a:lnTo>
                  <a:lnTo>
                    <a:pt x="632" y="154"/>
                  </a:lnTo>
                  <a:lnTo>
                    <a:pt x="629" y="153"/>
                  </a:lnTo>
                  <a:lnTo>
                    <a:pt x="629" y="149"/>
                  </a:lnTo>
                  <a:lnTo>
                    <a:pt x="629" y="147"/>
                  </a:lnTo>
                  <a:lnTo>
                    <a:pt x="627" y="144"/>
                  </a:lnTo>
                  <a:lnTo>
                    <a:pt x="622" y="142"/>
                  </a:lnTo>
                  <a:lnTo>
                    <a:pt x="622" y="139"/>
                  </a:lnTo>
                  <a:lnTo>
                    <a:pt x="618" y="140"/>
                  </a:lnTo>
                  <a:lnTo>
                    <a:pt x="618" y="142"/>
                  </a:lnTo>
                  <a:lnTo>
                    <a:pt x="613" y="142"/>
                  </a:lnTo>
                  <a:lnTo>
                    <a:pt x="613" y="140"/>
                  </a:lnTo>
                  <a:lnTo>
                    <a:pt x="618" y="137"/>
                  </a:lnTo>
                  <a:lnTo>
                    <a:pt x="618" y="134"/>
                  </a:lnTo>
                  <a:lnTo>
                    <a:pt x="618" y="132"/>
                  </a:lnTo>
                  <a:lnTo>
                    <a:pt x="618" y="130"/>
                  </a:lnTo>
                  <a:lnTo>
                    <a:pt x="623" y="130"/>
                  </a:lnTo>
                  <a:lnTo>
                    <a:pt x="625" y="127"/>
                  </a:lnTo>
                  <a:lnTo>
                    <a:pt x="629" y="127"/>
                  </a:lnTo>
                  <a:lnTo>
                    <a:pt x="634" y="123"/>
                  </a:lnTo>
                  <a:lnTo>
                    <a:pt x="636" y="123"/>
                  </a:lnTo>
                  <a:lnTo>
                    <a:pt x="641" y="121"/>
                  </a:lnTo>
                  <a:lnTo>
                    <a:pt x="648" y="123"/>
                  </a:lnTo>
                  <a:lnTo>
                    <a:pt x="655" y="130"/>
                  </a:lnTo>
                  <a:lnTo>
                    <a:pt x="660" y="127"/>
                  </a:lnTo>
                  <a:lnTo>
                    <a:pt x="663" y="130"/>
                  </a:lnTo>
                  <a:lnTo>
                    <a:pt x="667" y="130"/>
                  </a:lnTo>
                  <a:lnTo>
                    <a:pt x="667" y="132"/>
                  </a:lnTo>
                  <a:lnTo>
                    <a:pt x="667" y="135"/>
                  </a:lnTo>
                  <a:lnTo>
                    <a:pt x="669" y="139"/>
                  </a:lnTo>
                  <a:lnTo>
                    <a:pt x="669" y="142"/>
                  </a:lnTo>
                  <a:lnTo>
                    <a:pt x="669" y="146"/>
                  </a:lnTo>
                  <a:lnTo>
                    <a:pt x="667" y="149"/>
                  </a:lnTo>
                  <a:lnTo>
                    <a:pt x="667" y="153"/>
                  </a:lnTo>
                  <a:lnTo>
                    <a:pt x="669" y="160"/>
                  </a:lnTo>
                  <a:lnTo>
                    <a:pt x="669" y="165"/>
                  </a:lnTo>
                  <a:lnTo>
                    <a:pt x="672" y="167"/>
                  </a:lnTo>
                  <a:lnTo>
                    <a:pt x="672" y="167"/>
                  </a:lnTo>
                  <a:lnTo>
                    <a:pt x="672" y="161"/>
                  </a:lnTo>
                  <a:lnTo>
                    <a:pt x="674" y="160"/>
                  </a:lnTo>
                  <a:lnTo>
                    <a:pt x="676" y="161"/>
                  </a:lnTo>
                  <a:lnTo>
                    <a:pt x="676" y="165"/>
                  </a:lnTo>
                  <a:lnTo>
                    <a:pt x="677" y="168"/>
                  </a:lnTo>
                  <a:lnTo>
                    <a:pt x="677" y="168"/>
                  </a:lnTo>
                  <a:lnTo>
                    <a:pt x="679" y="172"/>
                  </a:lnTo>
                  <a:lnTo>
                    <a:pt x="683" y="175"/>
                  </a:lnTo>
                  <a:lnTo>
                    <a:pt x="684" y="175"/>
                  </a:lnTo>
                  <a:lnTo>
                    <a:pt x="688" y="175"/>
                  </a:lnTo>
                  <a:lnTo>
                    <a:pt x="691" y="175"/>
                  </a:lnTo>
                  <a:lnTo>
                    <a:pt x="691" y="172"/>
                  </a:lnTo>
                  <a:lnTo>
                    <a:pt x="695" y="170"/>
                  </a:lnTo>
                  <a:lnTo>
                    <a:pt x="695" y="170"/>
                  </a:lnTo>
                  <a:lnTo>
                    <a:pt x="695" y="165"/>
                  </a:lnTo>
                  <a:lnTo>
                    <a:pt x="696" y="161"/>
                  </a:lnTo>
                  <a:lnTo>
                    <a:pt x="700" y="161"/>
                  </a:lnTo>
                  <a:lnTo>
                    <a:pt x="703" y="160"/>
                  </a:lnTo>
                  <a:lnTo>
                    <a:pt x="705" y="156"/>
                  </a:lnTo>
                  <a:lnTo>
                    <a:pt x="705" y="154"/>
                  </a:lnTo>
                  <a:lnTo>
                    <a:pt x="707" y="154"/>
                  </a:lnTo>
                  <a:lnTo>
                    <a:pt x="710" y="154"/>
                  </a:lnTo>
                  <a:lnTo>
                    <a:pt x="714" y="153"/>
                  </a:lnTo>
                  <a:lnTo>
                    <a:pt x="717" y="153"/>
                  </a:lnTo>
                  <a:lnTo>
                    <a:pt x="717" y="149"/>
                  </a:lnTo>
                  <a:lnTo>
                    <a:pt x="717" y="147"/>
                  </a:lnTo>
                  <a:lnTo>
                    <a:pt x="717" y="146"/>
                  </a:lnTo>
                  <a:lnTo>
                    <a:pt x="726" y="140"/>
                  </a:lnTo>
                  <a:lnTo>
                    <a:pt x="729" y="142"/>
                  </a:lnTo>
                  <a:lnTo>
                    <a:pt x="733" y="144"/>
                  </a:lnTo>
                  <a:lnTo>
                    <a:pt x="738" y="147"/>
                  </a:lnTo>
                  <a:lnTo>
                    <a:pt x="745" y="147"/>
                  </a:lnTo>
                  <a:lnTo>
                    <a:pt x="747" y="149"/>
                  </a:lnTo>
                  <a:lnTo>
                    <a:pt x="750" y="149"/>
                  </a:lnTo>
                  <a:lnTo>
                    <a:pt x="754" y="153"/>
                  </a:lnTo>
                  <a:lnTo>
                    <a:pt x="764" y="156"/>
                  </a:lnTo>
                  <a:lnTo>
                    <a:pt x="768" y="156"/>
                  </a:lnTo>
                  <a:lnTo>
                    <a:pt x="768" y="156"/>
                  </a:lnTo>
                  <a:lnTo>
                    <a:pt x="773" y="156"/>
                  </a:lnTo>
                  <a:lnTo>
                    <a:pt x="776" y="156"/>
                  </a:lnTo>
                  <a:lnTo>
                    <a:pt x="778" y="158"/>
                  </a:lnTo>
                  <a:lnTo>
                    <a:pt x="778" y="160"/>
                  </a:lnTo>
                  <a:lnTo>
                    <a:pt x="778" y="161"/>
                  </a:lnTo>
                  <a:lnTo>
                    <a:pt x="782" y="163"/>
                  </a:lnTo>
                  <a:lnTo>
                    <a:pt x="783" y="161"/>
                  </a:lnTo>
                  <a:lnTo>
                    <a:pt x="783" y="161"/>
                  </a:lnTo>
                  <a:lnTo>
                    <a:pt x="783" y="161"/>
                  </a:lnTo>
                  <a:lnTo>
                    <a:pt x="783" y="161"/>
                  </a:lnTo>
                  <a:lnTo>
                    <a:pt x="783" y="161"/>
                  </a:lnTo>
                  <a:close/>
                  <a:moveTo>
                    <a:pt x="582" y="114"/>
                  </a:moveTo>
                  <a:lnTo>
                    <a:pt x="587" y="118"/>
                  </a:lnTo>
                  <a:lnTo>
                    <a:pt x="587" y="120"/>
                  </a:lnTo>
                  <a:lnTo>
                    <a:pt x="584" y="118"/>
                  </a:lnTo>
                  <a:lnTo>
                    <a:pt x="582" y="114"/>
                  </a:lnTo>
                  <a:lnTo>
                    <a:pt x="582" y="114"/>
                  </a:lnTo>
                  <a:lnTo>
                    <a:pt x="582" y="114"/>
                  </a:lnTo>
                  <a:lnTo>
                    <a:pt x="582" y="114"/>
                  </a:lnTo>
                  <a:close/>
                  <a:moveTo>
                    <a:pt x="615" y="123"/>
                  </a:moveTo>
                  <a:lnTo>
                    <a:pt x="618" y="123"/>
                  </a:lnTo>
                  <a:lnTo>
                    <a:pt x="622" y="121"/>
                  </a:lnTo>
                  <a:lnTo>
                    <a:pt x="618" y="120"/>
                  </a:lnTo>
                  <a:lnTo>
                    <a:pt x="615" y="116"/>
                  </a:lnTo>
                  <a:lnTo>
                    <a:pt x="610" y="116"/>
                  </a:lnTo>
                  <a:lnTo>
                    <a:pt x="608" y="120"/>
                  </a:lnTo>
                  <a:lnTo>
                    <a:pt x="604" y="120"/>
                  </a:lnTo>
                  <a:lnTo>
                    <a:pt x="603" y="120"/>
                  </a:lnTo>
                  <a:lnTo>
                    <a:pt x="604" y="121"/>
                  </a:lnTo>
                  <a:lnTo>
                    <a:pt x="601" y="121"/>
                  </a:lnTo>
                  <a:lnTo>
                    <a:pt x="606" y="123"/>
                  </a:lnTo>
                  <a:lnTo>
                    <a:pt x="610" y="123"/>
                  </a:lnTo>
                  <a:lnTo>
                    <a:pt x="613" y="123"/>
                  </a:lnTo>
                  <a:lnTo>
                    <a:pt x="613" y="121"/>
                  </a:lnTo>
                  <a:lnTo>
                    <a:pt x="610" y="121"/>
                  </a:lnTo>
                  <a:lnTo>
                    <a:pt x="610" y="120"/>
                  </a:lnTo>
                  <a:lnTo>
                    <a:pt x="610" y="120"/>
                  </a:lnTo>
                  <a:lnTo>
                    <a:pt x="615" y="123"/>
                  </a:lnTo>
                  <a:lnTo>
                    <a:pt x="615" y="123"/>
                  </a:lnTo>
                  <a:lnTo>
                    <a:pt x="615" y="123"/>
                  </a:lnTo>
                  <a:lnTo>
                    <a:pt x="615" y="123"/>
                  </a:lnTo>
                  <a:close/>
                  <a:moveTo>
                    <a:pt x="610" y="132"/>
                  </a:moveTo>
                  <a:lnTo>
                    <a:pt x="606" y="130"/>
                  </a:lnTo>
                  <a:lnTo>
                    <a:pt x="603" y="130"/>
                  </a:lnTo>
                  <a:lnTo>
                    <a:pt x="606" y="132"/>
                  </a:lnTo>
                  <a:lnTo>
                    <a:pt x="610" y="132"/>
                  </a:lnTo>
                  <a:lnTo>
                    <a:pt x="610" y="132"/>
                  </a:lnTo>
                  <a:lnTo>
                    <a:pt x="610" y="132"/>
                  </a:lnTo>
                  <a:lnTo>
                    <a:pt x="610" y="132"/>
                  </a:lnTo>
                  <a:close/>
                  <a:moveTo>
                    <a:pt x="613" y="130"/>
                  </a:moveTo>
                  <a:lnTo>
                    <a:pt x="610" y="132"/>
                  </a:lnTo>
                  <a:lnTo>
                    <a:pt x="610" y="130"/>
                  </a:lnTo>
                  <a:lnTo>
                    <a:pt x="613" y="130"/>
                  </a:lnTo>
                  <a:lnTo>
                    <a:pt x="613" y="130"/>
                  </a:lnTo>
                  <a:lnTo>
                    <a:pt x="613" y="130"/>
                  </a:lnTo>
                  <a:lnTo>
                    <a:pt x="613" y="130"/>
                  </a:lnTo>
                  <a:close/>
                  <a:moveTo>
                    <a:pt x="610" y="132"/>
                  </a:moveTo>
                  <a:lnTo>
                    <a:pt x="608" y="134"/>
                  </a:lnTo>
                  <a:lnTo>
                    <a:pt x="608" y="139"/>
                  </a:lnTo>
                  <a:lnTo>
                    <a:pt x="610" y="140"/>
                  </a:lnTo>
                  <a:lnTo>
                    <a:pt x="613" y="139"/>
                  </a:lnTo>
                  <a:lnTo>
                    <a:pt x="613" y="132"/>
                  </a:lnTo>
                  <a:lnTo>
                    <a:pt x="610" y="132"/>
                  </a:lnTo>
                  <a:lnTo>
                    <a:pt x="610" y="132"/>
                  </a:lnTo>
                  <a:lnTo>
                    <a:pt x="610" y="132"/>
                  </a:lnTo>
                  <a:lnTo>
                    <a:pt x="610" y="132"/>
                  </a:lnTo>
                  <a:close/>
                  <a:moveTo>
                    <a:pt x="517" y="50"/>
                  </a:moveTo>
                  <a:lnTo>
                    <a:pt x="519" y="54"/>
                  </a:lnTo>
                  <a:lnTo>
                    <a:pt x="521" y="55"/>
                  </a:lnTo>
                  <a:lnTo>
                    <a:pt x="519" y="59"/>
                  </a:lnTo>
                  <a:lnTo>
                    <a:pt x="517" y="55"/>
                  </a:lnTo>
                  <a:lnTo>
                    <a:pt x="517" y="52"/>
                  </a:lnTo>
                  <a:lnTo>
                    <a:pt x="517" y="50"/>
                  </a:lnTo>
                  <a:lnTo>
                    <a:pt x="517" y="50"/>
                  </a:lnTo>
                  <a:lnTo>
                    <a:pt x="517" y="50"/>
                  </a:lnTo>
                  <a:lnTo>
                    <a:pt x="517" y="50"/>
                  </a:lnTo>
                  <a:close/>
                  <a:moveTo>
                    <a:pt x="537" y="36"/>
                  </a:moveTo>
                  <a:lnTo>
                    <a:pt x="537" y="41"/>
                  </a:lnTo>
                  <a:lnTo>
                    <a:pt x="540" y="45"/>
                  </a:lnTo>
                  <a:lnTo>
                    <a:pt x="540" y="45"/>
                  </a:lnTo>
                  <a:lnTo>
                    <a:pt x="542" y="41"/>
                  </a:lnTo>
                  <a:lnTo>
                    <a:pt x="540" y="36"/>
                  </a:lnTo>
                  <a:lnTo>
                    <a:pt x="540" y="36"/>
                  </a:lnTo>
                  <a:lnTo>
                    <a:pt x="537" y="36"/>
                  </a:lnTo>
                  <a:lnTo>
                    <a:pt x="537" y="36"/>
                  </a:lnTo>
                  <a:lnTo>
                    <a:pt x="537" y="36"/>
                  </a:lnTo>
                  <a:lnTo>
                    <a:pt x="537" y="36"/>
                  </a:lnTo>
                  <a:close/>
                  <a:moveTo>
                    <a:pt x="537" y="45"/>
                  </a:moveTo>
                  <a:lnTo>
                    <a:pt x="540" y="47"/>
                  </a:lnTo>
                  <a:lnTo>
                    <a:pt x="540" y="50"/>
                  </a:lnTo>
                  <a:lnTo>
                    <a:pt x="540" y="50"/>
                  </a:lnTo>
                  <a:lnTo>
                    <a:pt x="540" y="50"/>
                  </a:lnTo>
                  <a:lnTo>
                    <a:pt x="537" y="45"/>
                  </a:lnTo>
                  <a:lnTo>
                    <a:pt x="537" y="45"/>
                  </a:lnTo>
                  <a:lnTo>
                    <a:pt x="537" y="45"/>
                  </a:lnTo>
                  <a:lnTo>
                    <a:pt x="537" y="45"/>
                  </a:lnTo>
                  <a:close/>
                  <a:moveTo>
                    <a:pt x="564" y="78"/>
                  </a:moveTo>
                  <a:lnTo>
                    <a:pt x="564" y="81"/>
                  </a:lnTo>
                  <a:lnTo>
                    <a:pt x="568" y="81"/>
                  </a:lnTo>
                  <a:lnTo>
                    <a:pt x="570" y="81"/>
                  </a:lnTo>
                  <a:lnTo>
                    <a:pt x="571" y="78"/>
                  </a:lnTo>
                  <a:lnTo>
                    <a:pt x="571" y="76"/>
                  </a:lnTo>
                  <a:lnTo>
                    <a:pt x="568" y="74"/>
                  </a:lnTo>
                  <a:lnTo>
                    <a:pt x="568" y="76"/>
                  </a:lnTo>
                  <a:lnTo>
                    <a:pt x="564" y="78"/>
                  </a:lnTo>
                  <a:lnTo>
                    <a:pt x="564" y="78"/>
                  </a:lnTo>
                  <a:lnTo>
                    <a:pt x="564" y="78"/>
                  </a:lnTo>
                  <a:lnTo>
                    <a:pt x="564" y="78"/>
                  </a:lnTo>
                  <a:close/>
                  <a:moveTo>
                    <a:pt x="563" y="123"/>
                  </a:moveTo>
                  <a:lnTo>
                    <a:pt x="563" y="127"/>
                  </a:lnTo>
                  <a:lnTo>
                    <a:pt x="568" y="130"/>
                  </a:lnTo>
                  <a:lnTo>
                    <a:pt x="568" y="132"/>
                  </a:lnTo>
                  <a:lnTo>
                    <a:pt x="568" y="132"/>
                  </a:lnTo>
                  <a:lnTo>
                    <a:pt x="568" y="135"/>
                  </a:lnTo>
                  <a:lnTo>
                    <a:pt x="564" y="132"/>
                  </a:lnTo>
                  <a:lnTo>
                    <a:pt x="563" y="130"/>
                  </a:lnTo>
                  <a:lnTo>
                    <a:pt x="559" y="127"/>
                  </a:lnTo>
                  <a:lnTo>
                    <a:pt x="557" y="123"/>
                  </a:lnTo>
                  <a:lnTo>
                    <a:pt x="554" y="120"/>
                  </a:lnTo>
                  <a:lnTo>
                    <a:pt x="556" y="116"/>
                  </a:lnTo>
                  <a:lnTo>
                    <a:pt x="556" y="114"/>
                  </a:lnTo>
                  <a:lnTo>
                    <a:pt x="556" y="113"/>
                  </a:lnTo>
                  <a:lnTo>
                    <a:pt x="552" y="109"/>
                  </a:lnTo>
                  <a:lnTo>
                    <a:pt x="552" y="107"/>
                  </a:lnTo>
                  <a:lnTo>
                    <a:pt x="554" y="104"/>
                  </a:lnTo>
                  <a:lnTo>
                    <a:pt x="552" y="100"/>
                  </a:lnTo>
                  <a:lnTo>
                    <a:pt x="550" y="99"/>
                  </a:lnTo>
                  <a:lnTo>
                    <a:pt x="552" y="94"/>
                  </a:lnTo>
                  <a:lnTo>
                    <a:pt x="554" y="92"/>
                  </a:lnTo>
                  <a:lnTo>
                    <a:pt x="554" y="90"/>
                  </a:lnTo>
                  <a:lnTo>
                    <a:pt x="554" y="85"/>
                  </a:lnTo>
                  <a:lnTo>
                    <a:pt x="559" y="78"/>
                  </a:lnTo>
                  <a:lnTo>
                    <a:pt x="563" y="78"/>
                  </a:lnTo>
                  <a:lnTo>
                    <a:pt x="559" y="81"/>
                  </a:lnTo>
                  <a:lnTo>
                    <a:pt x="559" y="85"/>
                  </a:lnTo>
                  <a:lnTo>
                    <a:pt x="559" y="85"/>
                  </a:lnTo>
                  <a:lnTo>
                    <a:pt x="563" y="85"/>
                  </a:lnTo>
                  <a:lnTo>
                    <a:pt x="563" y="92"/>
                  </a:lnTo>
                  <a:lnTo>
                    <a:pt x="559" y="95"/>
                  </a:lnTo>
                  <a:lnTo>
                    <a:pt x="557" y="95"/>
                  </a:lnTo>
                  <a:lnTo>
                    <a:pt x="556" y="99"/>
                  </a:lnTo>
                  <a:lnTo>
                    <a:pt x="557" y="100"/>
                  </a:lnTo>
                  <a:lnTo>
                    <a:pt x="559" y="100"/>
                  </a:lnTo>
                  <a:lnTo>
                    <a:pt x="559" y="99"/>
                  </a:lnTo>
                  <a:lnTo>
                    <a:pt x="564" y="97"/>
                  </a:lnTo>
                  <a:lnTo>
                    <a:pt x="564" y="95"/>
                  </a:lnTo>
                  <a:lnTo>
                    <a:pt x="563" y="95"/>
                  </a:lnTo>
                  <a:lnTo>
                    <a:pt x="564" y="92"/>
                  </a:lnTo>
                  <a:lnTo>
                    <a:pt x="568" y="90"/>
                  </a:lnTo>
                  <a:lnTo>
                    <a:pt x="573" y="90"/>
                  </a:lnTo>
                  <a:lnTo>
                    <a:pt x="575" y="90"/>
                  </a:lnTo>
                  <a:lnTo>
                    <a:pt x="575" y="92"/>
                  </a:lnTo>
                  <a:lnTo>
                    <a:pt x="573" y="99"/>
                  </a:lnTo>
                  <a:lnTo>
                    <a:pt x="568" y="100"/>
                  </a:lnTo>
                  <a:lnTo>
                    <a:pt x="564" y="104"/>
                  </a:lnTo>
                  <a:lnTo>
                    <a:pt x="568" y="104"/>
                  </a:lnTo>
                  <a:lnTo>
                    <a:pt x="568" y="104"/>
                  </a:lnTo>
                  <a:lnTo>
                    <a:pt x="573" y="107"/>
                  </a:lnTo>
                  <a:lnTo>
                    <a:pt x="573" y="113"/>
                  </a:lnTo>
                  <a:lnTo>
                    <a:pt x="575" y="113"/>
                  </a:lnTo>
                  <a:lnTo>
                    <a:pt x="571" y="113"/>
                  </a:lnTo>
                  <a:lnTo>
                    <a:pt x="568" y="113"/>
                  </a:lnTo>
                  <a:lnTo>
                    <a:pt x="564" y="113"/>
                  </a:lnTo>
                  <a:lnTo>
                    <a:pt x="559" y="109"/>
                  </a:lnTo>
                  <a:lnTo>
                    <a:pt x="559" y="109"/>
                  </a:lnTo>
                  <a:lnTo>
                    <a:pt x="559" y="116"/>
                  </a:lnTo>
                  <a:lnTo>
                    <a:pt x="563" y="123"/>
                  </a:lnTo>
                  <a:lnTo>
                    <a:pt x="563" y="123"/>
                  </a:lnTo>
                  <a:lnTo>
                    <a:pt x="563" y="123"/>
                  </a:lnTo>
                  <a:lnTo>
                    <a:pt x="563" y="123"/>
                  </a:lnTo>
                  <a:close/>
                  <a:moveTo>
                    <a:pt x="547" y="130"/>
                  </a:moveTo>
                  <a:lnTo>
                    <a:pt x="549" y="132"/>
                  </a:lnTo>
                  <a:lnTo>
                    <a:pt x="545" y="130"/>
                  </a:lnTo>
                  <a:lnTo>
                    <a:pt x="547" y="130"/>
                  </a:lnTo>
                  <a:lnTo>
                    <a:pt x="547" y="130"/>
                  </a:lnTo>
                  <a:lnTo>
                    <a:pt x="547" y="130"/>
                  </a:lnTo>
                  <a:lnTo>
                    <a:pt x="547" y="130"/>
                  </a:lnTo>
                  <a:lnTo>
                    <a:pt x="547" y="130"/>
                  </a:lnTo>
                  <a:close/>
                  <a:moveTo>
                    <a:pt x="547" y="123"/>
                  </a:moveTo>
                  <a:lnTo>
                    <a:pt x="545" y="123"/>
                  </a:lnTo>
                  <a:lnTo>
                    <a:pt x="544" y="127"/>
                  </a:lnTo>
                  <a:lnTo>
                    <a:pt x="547" y="127"/>
                  </a:lnTo>
                  <a:lnTo>
                    <a:pt x="547" y="123"/>
                  </a:lnTo>
                  <a:lnTo>
                    <a:pt x="547" y="123"/>
                  </a:lnTo>
                  <a:lnTo>
                    <a:pt x="547" y="123"/>
                  </a:lnTo>
                  <a:lnTo>
                    <a:pt x="547" y="123"/>
                  </a:lnTo>
                  <a:lnTo>
                    <a:pt x="547" y="123"/>
                  </a:lnTo>
                  <a:close/>
                  <a:moveTo>
                    <a:pt x="550" y="123"/>
                  </a:moveTo>
                  <a:lnTo>
                    <a:pt x="549" y="127"/>
                  </a:lnTo>
                  <a:lnTo>
                    <a:pt x="549" y="127"/>
                  </a:lnTo>
                  <a:lnTo>
                    <a:pt x="550" y="130"/>
                  </a:lnTo>
                  <a:lnTo>
                    <a:pt x="554" y="130"/>
                  </a:lnTo>
                  <a:lnTo>
                    <a:pt x="556" y="132"/>
                  </a:lnTo>
                  <a:lnTo>
                    <a:pt x="557" y="130"/>
                  </a:lnTo>
                  <a:lnTo>
                    <a:pt x="557" y="130"/>
                  </a:lnTo>
                  <a:lnTo>
                    <a:pt x="554" y="130"/>
                  </a:lnTo>
                  <a:lnTo>
                    <a:pt x="554" y="127"/>
                  </a:lnTo>
                  <a:lnTo>
                    <a:pt x="552" y="123"/>
                  </a:lnTo>
                  <a:lnTo>
                    <a:pt x="550" y="123"/>
                  </a:lnTo>
                  <a:lnTo>
                    <a:pt x="550" y="123"/>
                  </a:lnTo>
                  <a:lnTo>
                    <a:pt x="550" y="123"/>
                  </a:lnTo>
                  <a:lnTo>
                    <a:pt x="550" y="123"/>
                  </a:lnTo>
                  <a:close/>
                  <a:moveTo>
                    <a:pt x="549" y="146"/>
                  </a:moveTo>
                  <a:lnTo>
                    <a:pt x="554" y="140"/>
                  </a:lnTo>
                  <a:lnTo>
                    <a:pt x="559" y="140"/>
                  </a:lnTo>
                  <a:lnTo>
                    <a:pt x="564" y="146"/>
                  </a:lnTo>
                  <a:lnTo>
                    <a:pt x="563" y="147"/>
                  </a:lnTo>
                  <a:lnTo>
                    <a:pt x="559" y="147"/>
                  </a:lnTo>
                  <a:lnTo>
                    <a:pt x="557" y="147"/>
                  </a:lnTo>
                  <a:lnTo>
                    <a:pt x="554" y="149"/>
                  </a:lnTo>
                  <a:lnTo>
                    <a:pt x="552" y="147"/>
                  </a:lnTo>
                  <a:lnTo>
                    <a:pt x="549" y="146"/>
                  </a:lnTo>
                  <a:lnTo>
                    <a:pt x="549" y="146"/>
                  </a:lnTo>
                  <a:lnTo>
                    <a:pt x="549" y="146"/>
                  </a:lnTo>
                  <a:lnTo>
                    <a:pt x="549" y="146"/>
                  </a:lnTo>
                  <a:close/>
                  <a:moveTo>
                    <a:pt x="599" y="147"/>
                  </a:moveTo>
                  <a:lnTo>
                    <a:pt x="592" y="147"/>
                  </a:lnTo>
                  <a:lnTo>
                    <a:pt x="590" y="149"/>
                  </a:lnTo>
                  <a:lnTo>
                    <a:pt x="590" y="149"/>
                  </a:lnTo>
                  <a:lnTo>
                    <a:pt x="599" y="153"/>
                  </a:lnTo>
                  <a:lnTo>
                    <a:pt x="603" y="149"/>
                  </a:lnTo>
                  <a:lnTo>
                    <a:pt x="601" y="149"/>
                  </a:lnTo>
                  <a:lnTo>
                    <a:pt x="601" y="147"/>
                  </a:lnTo>
                  <a:lnTo>
                    <a:pt x="599" y="147"/>
                  </a:lnTo>
                  <a:lnTo>
                    <a:pt x="599" y="147"/>
                  </a:lnTo>
                  <a:lnTo>
                    <a:pt x="599" y="147"/>
                  </a:lnTo>
                  <a:lnTo>
                    <a:pt x="599" y="147"/>
                  </a:lnTo>
                  <a:close/>
                  <a:moveTo>
                    <a:pt x="570" y="179"/>
                  </a:moveTo>
                  <a:lnTo>
                    <a:pt x="571" y="179"/>
                  </a:lnTo>
                  <a:lnTo>
                    <a:pt x="571" y="180"/>
                  </a:lnTo>
                  <a:lnTo>
                    <a:pt x="570" y="180"/>
                  </a:lnTo>
                  <a:lnTo>
                    <a:pt x="570" y="179"/>
                  </a:lnTo>
                  <a:lnTo>
                    <a:pt x="570" y="179"/>
                  </a:lnTo>
                  <a:lnTo>
                    <a:pt x="570" y="179"/>
                  </a:lnTo>
                  <a:lnTo>
                    <a:pt x="570" y="179"/>
                  </a:lnTo>
                  <a:close/>
                  <a:moveTo>
                    <a:pt x="568" y="179"/>
                  </a:moveTo>
                  <a:lnTo>
                    <a:pt x="568" y="179"/>
                  </a:lnTo>
                  <a:lnTo>
                    <a:pt x="568" y="180"/>
                  </a:lnTo>
                  <a:lnTo>
                    <a:pt x="568" y="180"/>
                  </a:lnTo>
                  <a:lnTo>
                    <a:pt x="568" y="179"/>
                  </a:lnTo>
                  <a:lnTo>
                    <a:pt x="568" y="179"/>
                  </a:lnTo>
                  <a:lnTo>
                    <a:pt x="568" y="179"/>
                  </a:lnTo>
                  <a:lnTo>
                    <a:pt x="568" y="179"/>
                  </a:lnTo>
                  <a:close/>
                  <a:moveTo>
                    <a:pt x="557" y="180"/>
                  </a:moveTo>
                  <a:lnTo>
                    <a:pt x="563" y="179"/>
                  </a:lnTo>
                  <a:lnTo>
                    <a:pt x="564" y="179"/>
                  </a:lnTo>
                  <a:lnTo>
                    <a:pt x="564" y="179"/>
                  </a:lnTo>
                  <a:lnTo>
                    <a:pt x="564" y="182"/>
                  </a:lnTo>
                  <a:lnTo>
                    <a:pt x="563" y="180"/>
                  </a:lnTo>
                  <a:lnTo>
                    <a:pt x="559" y="182"/>
                  </a:lnTo>
                  <a:lnTo>
                    <a:pt x="557" y="180"/>
                  </a:lnTo>
                  <a:lnTo>
                    <a:pt x="557" y="180"/>
                  </a:lnTo>
                  <a:lnTo>
                    <a:pt x="557" y="180"/>
                  </a:lnTo>
                  <a:lnTo>
                    <a:pt x="557" y="180"/>
                  </a:lnTo>
                  <a:close/>
                  <a:moveTo>
                    <a:pt x="557" y="172"/>
                  </a:moveTo>
                  <a:lnTo>
                    <a:pt x="554" y="172"/>
                  </a:lnTo>
                  <a:lnTo>
                    <a:pt x="557" y="172"/>
                  </a:lnTo>
                  <a:lnTo>
                    <a:pt x="557" y="172"/>
                  </a:lnTo>
                  <a:lnTo>
                    <a:pt x="557" y="172"/>
                  </a:lnTo>
                  <a:lnTo>
                    <a:pt x="557" y="172"/>
                  </a:lnTo>
                  <a:lnTo>
                    <a:pt x="557" y="172"/>
                  </a:lnTo>
                  <a:close/>
                  <a:moveTo>
                    <a:pt x="559" y="168"/>
                  </a:moveTo>
                  <a:lnTo>
                    <a:pt x="557" y="168"/>
                  </a:lnTo>
                  <a:lnTo>
                    <a:pt x="557" y="170"/>
                  </a:lnTo>
                  <a:lnTo>
                    <a:pt x="559" y="170"/>
                  </a:lnTo>
                  <a:lnTo>
                    <a:pt x="559" y="168"/>
                  </a:lnTo>
                  <a:lnTo>
                    <a:pt x="559" y="168"/>
                  </a:lnTo>
                  <a:lnTo>
                    <a:pt x="559" y="168"/>
                  </a:lnTo>
                  <a:lnTo>
                    <a:pt x="559" y="168"/>
                  </a:lnTo>
                  <a:close/>
                  <a:moveTo>
                    <a:pt x="559" y="177"/>
                  </a:moveTo>
                  <a:lnTo>
                    <a:pt x="564" y="172"/>
                  </a:lnTo>
                  <a:lnTo>
                    <a:pt x="568" y="175"/>
                  </a:lnTo>
                  <a:lnTo>
                    <a:pt x="568" y="177"/>
                  </a:lnTo>
                  <a:lnTo>
                    <a:pt x="571" y="175"/>
                  </a:lnTo>
                  <a:lnTo>
                    <a:pt x="575" y="172"/>
                  </a:lnTo>
                  <a:lnTo>
                    <a:pt x="577" y="172"/>
                  </a:lnTo>
                  <a:lnTo>
                    <a:pt x="578" y="175"/>
                  </a:lnTo>
                  <a:lnTo>
                    <a:pt x="587" y="177"/>
                  </a:lnTo>
                  <a:lnTo>
                    <a:pt x="587" y="175"/>
                  </a:lnTo>
                  <a:lnTo>
                    <a:pt x="590" y="175"/>
                  </a:lnTo>
                  <a:lnTo>
                    <a:pt x="599" y="179"/>
                  </a:lnTo>
                  <a:lnTo>
                    <a:pt x="601" y="179"/>
                  </a:lnTo>
                  <a:lnTo>
                    <a:pt x="604" y="184"/>
                  </a:lnTo>
                  <a:lnTo>
                    <a:pt x="608" y="184"/>
                  </a:lnTo>
                  <a:lnTo>
                    <a:pt x="610" y="180"/>
                  </a:lnTo>
                  <a:lnTo>
                    <a:pt x="608" y="175"/>
                  </a:lnTo>
                  <a:lnTo>
                    <a:pt x="599" y="170"/>
                  </a:lnTo>
                  <a:lnTo>
                    <a:pt x="590" y="168"/>
                  </a:lnTo>
                  <a:lnTo>
                    <a:pt x="587" y="167"/>
                  </a:lnTo>
                  <a:lnTo>
                    <a:pt x="585" y="165"/>
                  </a:lnTo>
                  <a:lnTo>
                    <a:pt x="582" y="168"/>
                  </a:lnTo>
                  <a:lnTo>
                    <a:pt x="578" y="168"/>
                  </a:lnTo>
                  <a:lnTo>
                    <a:pt x="575" y="167"/>
                  </a:lnTo>
                  <a:lnTo>
                    <a:pt x="570" y="167"/>
                  </a:lnTo>
                  <a:lnTo>
                    <a:pt x="564" y="167"/>
                  </a:lnTo>
                  <a:lnTo>
                    <a:pt x="563" y="170"/>
                  </a:lnTo>
                  <a:lnTo>
                    <a:pt x="563" y="172"/>
                  </a:lnTo>
                  <a:lnTo>
                    <a:pt x="559" y="172"/>
                  </a:lnTo>
                  <a:lnTo>
                    <a:pt x="559" y="175"/>
                  </a:lnTo>
                  <a:lnTo>
                    <a:pt x="559" y="177"/>
                  </a:lnTo>
                  <a:lnTo>
                    <a:pt x="559" y="177"/>
                  </a:lnTo>
                  <a:lnTo>
                    <a:pt x="559" y="177"/>
                  </a:lnTo>
                  <a:lnTo>
                    <a:pt x="559" y="177"/>
                  </a:lnTo>
                  <a:lnTo>
                    <a:pt x="559" y="177"/>
                  </a:lnTo>
                  <a:close/>
                  <a:moveTo>
                    <a:pt x="528" y="172"/>
                  </a:moveTo>
                  <a:lnTo>
                    <a:pt x="531" y="172"/>
                  </a:lnTo>
                  <a:lnTo>
                    <a:pt x="533" y="172"/>
                  </a:lnTo>
                  <a:lnTo>
                    <a:pt x="540" y="172"/>
                  </a:lnTo>
                  <a:lnTo>
                    <a:pt x="544" y="172"/>
                  </a:lnTo>
                  <a:lnTo>
                    <a:pt x="544" y="175"/>
                  </a:lnTo>
                  <a:lnTo>
                    <a:pt x="547" y="177"/>
                  </a:lnTo>
                  <a:lnTo>
                    <a:pt x="547" y="180"/>
                  </a:lnTo>
                  <a:lnTo>
                    <a:pt x="544" y="180"/>
                  </a:lnTo>
                  <a:lnTo>
                    <a:pt x="540" y="184"/>
                  </a:lnTo>
                  <a:lnTo>
                    <a:pt x="537" y="184"/>
                  </a:lnTo>
                  <a:lnTo>
                    <a:pt x="533" y="184"/>
                  </a:lnTo>
                  <a:lnTo>
                    <a:pt x="531" y="182"/>
                  </a:lnTo>
                  <a:lnTo>
                    <a:pt x="526" y="180"/>
                  </a:lnTo>
                  <a:lnTo>
                    <a:pt x="524" y="177"/>
                  </a:lnTo>
                  <a:lnTo>
                    <a:pt x="524" y="172"/>
                  </a:lnTo>
                  <a:lnTo>
                    <a:pt x="528" y="172"/>
                  </a:lnTo>
                  <a:lnTo>
                    <a:pt x="528" y="172"/>
                  </a:lnTo>
                  <a:lnTo>
                    <a:pt x="528" y="172"/>
                  </a:lnTo>
                  <a:lnTo>
                    <a:pt x="528" y="172"/>
                  </a:lnTo>
                  <a:close/>
                  <a:moveTo>
                    <a:pt x="432" y="240"/>
                  </a:moveTo>
                  <a:lnTo>
                    <a:pt x="431" y="240"/>
                  </a:lnTo>
                  <a:lnTo>
                    <a:pt x="431" y="240"/>
                  </a:lnTo>
                  <a:lnTo>
                    <a:pt x="432" y="243"/>
                  </a:lnTo>
                  <a:lnTo>
                    <a:pt x="432" y="240"/>
                  </a:lnTo>
                  <a:lnTo>
                    <a:pt x="432" y="240"/>
                  </a:lnTo>
                  <a:lnTo>
                    <a:pt x="432" y="240"/>
                  </a:lnTo>
                  <a:lnTo>
                    <a:pt x="432" y="240"/>
                  </a:lnTo>
                  <a:close/>
                  <a:moveTo>
                    <a:pt x="431" y="217"/>
                  </a:moveTo>
                  <a:lnTo>
                    <a:pt x="432" y="222"/>
                  </a:lnTo>
                  <a:lnTo>
                    <a:pt x="431" y="226"/>
                  </a:lnTo>
                  <a:lnTo>
                    <a:pt x="431" y="229"/>
                  </a:lnTo>
                  <a:lnTo>
                    <a:pt x="429" y="226"/>
                  </a:lnTo>
                  <a:lnTo>
                    <a:pt x="427" y="224"/>
                  </a:lnTo>
                  <a:lnTo>
                    <a:pt x="429" y="222"/>
                  </a:lnTo>
                  <a:lnTo>
                    <a:pt x="429" y="220"/>
                  </a:lnTo>
                  <a:lnTo>
                    <a:pt x="431" y="217"/>
                  </a:lnTo>
                  <a:lnTo>
                    <a:pt x="431" y="217"/>
                  </a:lnTo>
                  <a:lnTo>
                    <a:pt x="431" y="217"/>
                  </a:lnTo>
                  <a:lnTo>
                    <a:pt x="431" y="217"/>
                  </a:lnTo>
                  <a:close/>
                  <a:moveTo>
                    <a:pt x="524" y="153"/>
                  </a:moveTo>
                  <a:lnTo>
                    <a:pt x="524" y="154"/>
                  </a:lnTo>
                  <a:lnTo>
                    <a:pt x="526" y="158"/>
                  </a:lnTo>
                  <a:lnTo>
                    <a:pt x="526" y="160"/>
                  </a:lnTo>
                  <a:lnTo>
                    <a:pt x="524" y="160"/>
                  </a:lnTo>
                  <a:lnTo>
                    <a:pt x="523" y="156"/>
                  </a:lnTo>
                  <a:lnTo>
                    <a:pt x="523" y="153"/>
                  </a:lnTo>
                  <a:lnTo>
                    <a:pt x="524" y="153"/>
                  </a:lnTo>
                  <a:lnTo>
                    <a:pt x="524" y="153"/>
                  </a:lnTo>
                  <a:lnTo>
                    <a:pt x="524" y="153"/>
                  </a:lnTo>
                  <a:lnTo>
                    <a:pt x="524" y="153"/>
                  </a:lnTo>
                  <a:close/>
                  <a:moveTo>
                    <a:pt x="514" y="149"/>
                  </a:moveTo>
                  <a:lnTo>
                    <a:pt x="517" y="147"/>
                  </a:lnTo>
                  <a:lnTo>
                    <a:pt x="519" y="149"/>
                  </a:lnTo>
                  <a:lnTo>
                    <a:pt x="521" y="147"/>
                  </a:lnTo>
                  <a:lnTo>
                    <a:pt x="528" y="149"/>
                  </a:lnTo>
                  <a:lnTo>
                    <a:pt x="531" y="149"/>
                  </a:lnTo>
                  <a:lnTo>
                    <a:pt x="528" y="149"/>
                  </a:lnTo>
                  <a:lnTo>
                    <a:pt x="519" y="153"/>
                  </a:lnTo>
                  <a:lnTo>
                    <a:pt x="517" y="149"/>
                  </a:lnTo>
                  <a:lnTo>
                    <a:pt x="517" y="149"/>
                  </a:lnTo>
                  <a:lnTo>
                    <a:pt x="514" y="149"/>
                  </a:lnTo>
                  <a:lnTo>
                    <a:pt x="514" y="149"/>
                  </a:lnTo>
                  <a:lnTo>
                    <a:pt x="514" y="149"/>
                  </a:lnTo>
                  <a:lnTo>
                    <a:pt x="514" y="149"/>
                  </a:lnTo>
                  <a:close/>
                  <a:moveTo>
                    <a:pt x="498" y="149"/>
                  </a:moveTo>
                  <a:lnTo>
                    <a:pt x="500" y="147"/>
                  </a:lnTo>
                  <a:lnTo>
                    <a:pt x="502" y="147"/>
                  </a:lnTo>
                  <a:lnTo>
                    <a:pt x="504" y="146"/>
                  </a:lnTo>
                  <a:lnTo>
                    <a:pt x="505" y="147"/>
                  </a:lnTo>
                  <a:lnTo>
                    <a:pt x="509" y="149"/>
                  </a:lnTo>
                  <a:lnTo>
                    <a:pt x="511" y="147"/>
                  </a:lnTo>
                  <a:lnTo>
                    <a:pt x="514" y="147"/>
                  </a:lnTo>
                  <a:lnTo>
                    <a:pt x="514" y="149"/>
                  </a:lnTo>
                  <a:lnTo>
                    <a:pt x="511" y="149"/>
                  </a:lnTo>
                  <a:lnTo>
                    <a:pt x="509" y="153"/>
                  </a:lnTo>
                  <a:lnTo>
                    <a:pt x="505" y="149"/>
                  </a:lnTo>
                  <a:lnTo>
                    <a:pt x="502" y="153"/>
                  </a:lnTo>
                  <a:lnTo>
                    <a:pt x="498" y="153"/>
                  </a:lnTo>
                  <a:lnTo>
                    <a:pt x="497" y="149"/>
                  </a:lnTo>
                  <a:lnTo>
                    <a:pt x="498" y="149"/>
                  </a:lnTo>
                  <a:lnTo>
                    <a:pt x="498" y="149"/>
                  </a:lnTo>
                  <a:lnTo>
                    <a:pt x="498" y="149"/>
                  </a:lnTo>
                  <a:lnTo>
                    <a:pt x="498" y="149"/>
                  </a:lnTo>
                  <a:close/>
                  <a:moveTo>
                    <a:pt x="467" y="212"/>
                  </a:moveTo>
                  <a:lnTo>
                    <a:pt x="471" y="207"/>
                  </a:lnTo>
                  <a:lnTo>
                    <a:pt x="472" y="200"/>
                  </a:lnTo>
                  <a:lnTo>
                    <a:pt x="472" y="194"/>
                  </a:lnTo>
                  <a:lnTo>
                    <a:pt x="474" y="194"/>
                  </a:lnTo>
                  <a:lnTo>
                    <a:pt x="476" y="194"/>
                  </a:lnTo>
                  <a:lnTo>
                    <a:pt x="476" y="198"/>
                  </a:lnTo>
                  <a:lnTo>
                    <a:pt x="478" y="198"/>
                  </a:lnTo>
                  <a:lnTo>
                    <a:pt x="478" y="200"/>
                  </a:lnTo>
                  <a:lnTo>
                    <a:pt x="476" y="198"/>
                  </a:lnTo>
                  <a:lnTo>
                    <a:pt x="476" y="200"/>
                  </a:lnTo>
                  <a:lnTo>
                    <a:pt x="474" y="201"/>
                  </a:lnTo>
                  <a:lnTo>
                    <a:pt x="472" y="203"/>
                  </a:lnTo>
                  <a:lnTo>
                    <a:pt x="474" y="207"/>
                  </a:lnTo>
                  <a:lnTo>
                    <a:pt x="476" y="207"/>
                  </a:lnTo>
                  <a:lnTo>
                    <a:pt x="478" y="208"/>
                  </a:lnTo>
                  <a:lnTo>
                    <a:pt x="476" y="210"/>
                  </a:lnTo>
                  <a:lnTo>
                    <a:pt x="474" y="210"/>
                  </a:lnTo>
                  <a:lnTo>
                    <a:pt x="472" y="214"/>
                  </a:lnTo>
                  <a:lnTo>
                    <a:pt x="469" y="215"/>
                  </a:lnTo>
                  <a:lnTo>
                    <a:pt x="467" y="214"/>
                  </a:lnTo>
                  <a:lnTo>
                    <a:pt x="467" y="212"/>
                  </a:lnTo>
                  <a:lnTo>
                    <a:pt x="467" y="212"/>
                  </a:lnTo>
                  <a:lnTo>
                    <a:pt x="467" y="212"/>
                  </a:lnTo>
                  <a:lnTo>
                    <a:pt x="467" y="212"/>
                  </a:lnTo>
                  <a:close/>
                  <a:moveTo>
                    <a:pt x="460" y="208"/>
                  </a:moveTo>
                  <a:lnTo>
                    <a:pt x="460" y="208"/>
                  </a:lnTo>
                  <a:lnTo>
                    <a:pt x="460" y="208"/>
                  </a:lnTo>
                  <a:lnTo>
                    <a:pt x="460" y="210"/>
                  </a:lnTo>
                  <a:lnTo>
                    <a:pt x="464" y="210"/>
                  </a:lnTo>
                  <a:lnTo>
                    <a:pt x="464" y="208"/>
                  </a:lnTo>
                  <a:lnTo>
                    <a:pt x="465" y="208"/>
                  </a:lnTo>
                  <a:lnTo>
                    <a:pt x="465" y="205"/>
                  </a:lnTo>
                  <a:lnTo>
                    <a:pt x="469" y="203"/>
                  </a:lnTo>
                  <a:lnTo>
                    <a:pt x="469" y="201"/>
                  </a:lnTo>
                  <a:lnTo>
                    <a:pt x="467" y="198"/>
                  </a:lnTo>
                  <a:lnTo>
                    <a:pt x="464" y="200"/>
                  </a:lnTo>
                  <a:lnTo>
                    <a:pt x="464" y="201"/>
                  </a:lnTo>
                  <a:lnTo>
                    <a:pt x="464" y="203"/>
                  </a:lnTo>
                  <a:lnTo>
                    <a:pt x="460" y="208"/>
                  </a:lnTo>
                  <a:lnTo>
                    <a:pt x="460" y="208"/>
                  </a:lnTo>
                  <a:lnTo>
                    <a:pt x="460" y="208"/>
                  </a:lnTo>
                  <a:lnTo>
                    <a:pt x="460" y="208"/>
                  </a:lnTo>
                  <a:close/>
                  <a:moveTo>
                    <a:pt x="453" y="205"/>
                  </a:moveTo>
                  <a:lnTo>
                    <a:pt x="453" y="207"/>
                  </a:lnTo>
                  <a:lnTo>
                    <a:pt x="451" y="208"/>
                  </a:lnTo>
                  <a:lnTo>
                    <a:pt x="453" y="212"/>
                  </a:lnTo>
                  <a:lnTo>
                    <a:pt x="455" y="214"/>
                  </a:lnTo>
                  <a:lnTo>
                    <a:pt x="455" y="212"/>
                  </a:lnTo>
                  <a:lnTo>
                    <a:pt x="455" y="208"/>
                  </a:lnTo>
                  <a:lnTo>
                    <a:pt x="455" y="205"/>
                  </a:lnTo>
                  <a:lnTo>
                    <a:pt x="455" y="205"/>
                  </a:lnTo>
                  <a:lnTo>
                    <a:pt x="453" y="205"/>
                  </a:lnTo>
                  <a:lnTo>
                    <a:pt x="453" y="205"/>
                  </a:lnTo>
                  <a:lnTo>
                    <a:pt x="453" y="205"/>
                  </a:lnTo>
                  <a:lnTo>
                    <a:pt x="453" y="205"/>
                  </a:lnTo>
                  <a:close/>
                  <a:moveTo>
                    <a:pt x="478" y="149"/>
                  </a:moveTo>
                  <a:lnTo>
                    <a:pt x="474" y="149"/>
                  </a:lnTo>
                  <a:lnTo>
                    <a:pt x="478" y="153"/>
                  </a:lnTo>
                  <a:lnTo>
                    <a:pt x="478" y="153"/>
                  </a:lnTo>
                  <a:lnTo>
                    <a:pt x="478" y="149"/>
                  </a:lnTo>
                  <a:lnTo>
                    <a:pt x="478" y="149"/>
                  </a:lnTo>
                  <a:lnTo>
                    <a:pt x="478" y="149"/>
                  </a:lnTo>
                  <a:lnTo>
                    <a:pt x="478" y="149"/>
                  </a:lnTo>
                  <a:close/>
                  <a:moveTo>
                    <a:pt x="481" y="147"/>
                  </a:moveTo>
                  <a:lnTo>
                    <a:pt x="479" y="149"/>
                  </a:lnTo>
                  <a:lnTo>
                    <a:pt x="483" y="149"/>
                  </a:lnTo>
                  <a:lnTo>
                    <a:pt x="481" y="147"/>
                  </a:lnTo>
                  <a:lnTo>
                    <a:pt x="481" y="147"/>
                  </a:lnTo>
                  <a:lnTo>
                    <a:pt x="481" y="147"/>
                  </a:lnTo>
                  <a:lnTo>
                    <a:pt x="481" y="147"/>
                  </a:lnTo>
                  <a:close/>
                  <a:moveTo>
                    <a:pt x="486" y="144"/>
                  </a:moveTo>
                  <a:lnTo>
                    <a:pt x="483" y="146"/>
                  </a:lnTo>
                  <a:lnTo>
                    <a:pt x="486" y="147"/>
                  </a:lnTo>
                  <a:lnTo>
                    <a:pt x="486" y="144"/>
                  </a:lnTo>
                  <a:lnTo>
                    <a:pt x="486" y="144"/>
                  </a:lnTo>
                  <a:lnTo>
                    <a:pt x="486" y="144"/>
                  </a:lnTo>
                  <a:lnTo>
                    <a:pt x="486" y="144"/>
                  </a:lnTo>
                  <a:close/>
                  <a:moveTo>
                    <a:pt x="471" y="140"/>
                  </a:moveTo>
                  <a:lnTo>
                    <a:pt x="476" y="139"/>
                  </a:lnTo>
                  <a:lnTo>
                    <a:pt x="479" y="139"/>
                  </a:lnTo>
                  <a:lnTo>
                    <a:pt x="481" y="140"/>
                  </a:lnTo>
                  <a:lnTo>
                    <a:pt x="479" y="142"/>
                  </a:lnTo>
                  <a:lnTo>
                    <a:pt x="483" y="140"/>
                  </a:lnTo>
                  <a:lnTo>
                    <a:pt x="483" y="139"/>
                  </a:lnTo>
                  <a:lnTo>
                    <a:pt x="486" y="140"/>
                  </a:lnTo>
                  <a:lnTo>
                    <a:pt x="483" y="144"/>
                  </a:lnTo>
                  <a:lnTo>
                    <a:pt x="483" y="144"/>
                  </a:lnTo>
                  <a:lnTo>
                    <a:pt x="481" y="144"/>
                  </a:lnTo>
                  <a:lnTo>
                    <a:pt x="479" y="146"/>
                  </a:lnTo>
                  <a:lnTo>
                    <a:pt x="476" y="144"/>
                  </a:lnTo>
                  <a:lnTo>
                    <a:pt x="474" y="146"/>
                  </a:lnTo>
                  <a:lnTo>
                    <a:pt x="471" y="144"/>
                  </a:lnTo>
                  <a:lnTo>
                    <a:pt x="471" y="140"/>
                  </a:lnTo>
                  <a:lnTo>
                    <a:pt x="471" y="140"/>
                  </a:lnTo>
                  <a:lnTo>
                    <a:pt x="471" y="140"/>
                  </a:lnTo>
                  <a:lnTo>
                    <a:pt x="471" y="140"/>
                  </a:lnTo>
                  <a:close/>
                  <a:moveTo>
                    <a:pt x="453" y="123"/>
                  </a:moveTo>
                  <a:lnTo>
                    <a:pt x="455" y="123"/>
                  </a:lnTo>
                  <a:lnTo>
                    <a:pt x="455" y="123"/>
                  </a:lnTo>
                  <a:lnTo>
                    <a:pt x="455" y="123"/>
                  </a:lnTo>
                  <a:lnTo>
                    <a:pt x="453" y="123"/>
                  </a:lnTo>
                  <a:lnTo>
                    <a:pt x="453" y="123"/>
                  </a:lnTo>
                  <a:lnTo>
                    <a:pt x="453" y="123"/>
                  </a:lnTo>
                  <a:lnTo>
                    <a:pt x="453" y="123"/>
                  </a:lnTo>
                  <a:close/>
                  <a:moveTo>
                    <a:pt x="451" y="123"/>
                  </a:moveTo>
                  <a:lnTo>
                    <a:pt x="453" y="123"/>
                  </a:lnTo>
                  <a:lnTo>
                    <a:pt x="455" y="127"/>
                  </a:lnTo>
                  <a:lnTo>
                    <a:pt x="453" y="127"/>
                  </a:lnTo>
                  <a:lnTo>
                    <a:pt x="451" y="123"/>
                  </a:lnTo>
                  <a:lnTo>
                    <a:pt x="451" y="123"/>
                  </a:lnTo>
                  <a:lnTo>
                    <a:pt x="451" y="123"/>
                  </a:lnTo>
                  <a:lnTo>
                    <a:pt x="451" y="123"/>
                  </a:lnTo>
                  <a:close/>
                  <a:moveTo>
                    <a:pt x="431" y="109"/>
                  </a:moveTo>
                  <a:lnTo>
                    <a:pt x="432" y="107"/>
                  </a:lnTo>
                  <a:lnTo>
                    <a:pt x="438" y="109"/>
                  </a:lnTo>
                  <a:lnTo>
                    <a:pt x="443" y="113"/>
                  </a:lnTo>
                  <a:lnTo>
                    <a:pt x="450" y="107"/>
                  </a:lnTo>
                  <a:lnTo>
                    <a:pt x="455" y="107"/>
                  </a:lnTo>
                  <a:lnTo>
                    <a:pt x="455" y="109"/>
                  </a:lnTo>
                  <a:lnTo>
                    <a:pt x="460" y="109"/>
                  </a:lnTo>
                  <a:lnTo>
                    <a:pt x="460" y="109"/>
                  </a:lnTo>
                  <a:lnTo>
                    <a:pt x="467" y="109"/>
                  </a:lnTo>
                  <a:lnTo>
                    <a:pt x="472" y="109"/>
                  </a:lnTo>
                  <a:lnTo>
                    <a:pt x="472" y="107"/>
                  </a:lnTo>
                  <a:lnTo>
                    <a:pt x="478" y="107"/>
                  </a:lnTo>
                  <a:lnTo>
                    <a:pt x="479" y="109"/>
                  </a:lnTo>
                  <a:lnTo>
                    <a:pt x="481" y="113"/>
                  </a:lnTo>
                  <a:lnTo>
                    <a:pt x="483" y="113"/>
                  </a:lnTo>
                  <a:lnTo>
                    <a:pt x="497" y="109"/>
                  </a:lnTo>
                  <a:lnTo>
                    <a:pt x="502" y="107"/>
                  </a:lnTo>
                  <a:lnTo>
                    <a:pt x="504" y="104"/>
                  </a:lnTo>
                  <a:lnTo>
                    <a:pt x="505" y="104"/>
                  </a:lnTo>
                  <a:lnTo>
                    <a:pt x="509" y="100"/>
                  </a:lnTo>
                  <a:lnTo>
                    <a:pt x="509" y="100"/>
                  </a:lnTo>
                  <a:lnTo>
                    <a:pt x="511" y="97"/>
                  </a:lnTo>
                  <a:lnTo>
                    <a:pt x="514" y="94"/>
                  </a:lnTo>
                  <a:lnTo>
                    <a:pt x="514" y="94"/>
                  </a:lnTo>
                  <a:lnTo>
                    <a:pt x="514" y="92"/>
                  </a:lnTo>
                  <a:lnTo>
                    <a:pt x="511" y="90"/>
                  </a:lnTo>
                  <a:lnTo>
                    <a:pt x="505" y="90"/>
                  </a:lnTo>
                  <a:lnTo>
                    <a:pt x="504" y="90"/>
                  </a:lnTo>
                  <a:lnTo>
                    <a:pt x="504" y="92"/>
                  </a:lnTo>
                  <a:lnTo>
                    <a:pt x="500" y="95"/>
                  </a:lnTo>
                  <a:lnTo>
                    <a:pt x="500" y="97"/>
                  </a:lnTo>
                  <a:lnTo>
                    <a:pt x="497" y="99"/>
                  </a:lnTo>
                  <a:lnTo>
                    <a:pt x="495" y="99"/>
                  </a:lnTo>
                  <a:lnTo>
                    <a:pt x="491" y="100"/>
                  </a:lnTo>
                  <a:lnTo>
                    <a:pt x="488" y="104"/>
                  </a:lnTo>
                  <a:lnTo>
                    <a:pt x="481" y="100"/>
                  </a:lnTo>
                  <a:lnTo>
                    <a:pt x="474" y="100"/>
                  </a:lnTo>
                  <a:lnTo>
                    <a:pt x="472" y="100"/>
                  </a:lnTo>
                  <a:lnTo>
                    <a:pt x="471" y="104"/>
                  </a:lnTo>
                  <a:lnTo>
                    <a:pt x="467" y="100"/>
                  </a:lnTo>
                  <a:lnTo>
                    <a:pt x="464" y="100"/>
                  </a:lnTo>
                  <a:lnTo>
                    <a:pt x="460" y="100"/>
                  </a:lnTo>
                  <a:lnTo>
                    <a:pt x="460" y="99"/>
                  </a:lnTo>
                  <a:lnTo>
                    <a:pt x="455" y="99"/>
                  </a:lnTo>
                  <a:lnTo>
                    <a:pt x="451" y="100"/>
                  </a:lnTo>
                  <a:lnTo>
                    <a:pt x="450" y="99"/>
                  </a:lnTo>
                  <a:lnTo>
                    <a:pt x="446" y="95"/>
                  </a:lnTo>
                  <a:lnTo>
                    <a:pt x="441" y="94"/>
                  </a:lnTo>
                  <a:lnTo>
                    <a:pt x="438" y="94"/>
                  </a:lnTo>
                  <a:lnTo>
                    <a:pt x="438" y="99"/>
                  </a:lnTo>
                  <a:lnTo>
                    <a:pt x="436" y="100"/>
                  </a:lnTo>
                  <a:lnTo>
                    <a:pt x="432" y="104"/>
                  </a:lnTo>
                  <a:lnTo>
                    <a:pt x="432" y="104"/>
                  </a:lnTo>
                  <a:lnTo>
                    <a:pt x="427" y="104"/>
                  </a:lnTo>
                  <a:lnTo>
                    <a:pt x="424" y="104"/>
                  </a:lnTo>
                  <a:lnTo>
                    <a:pt x="422" y="107"/>
                  </a:lnTo>
                  <a:lnTo>
                    <a:pt x="422" y="107"/>
                  </a:lnTo>
                  <a:lnTo>
                    <a:pt x="417" y="113"/>
                  </a:lnTo>
                  <a:lnTo>
                    <a:pt x="417" y="116"/>
                  </a:lnTo>
                  <a:lnTo>
                    <a:pt x="418" y="120"/>
                  </a:lnTo>
                  <a:lnTo>
                    <a:pt x="418" y="123"/>
                  </a:lnTo>
                  <a:lnTo>
                    <a:pt x="417" y="127"/>
                  </a:lnTo>
                  <a:lnTo>
                    <a:pt x="418" y="130"/>
                  </a:lnTo>
                  <a:lnTo>
                    <a:pt x="420" y="134"/>
                  </a:lnTo>
                  <a:lnTo>
                    <a:pt x="418" y="132"/>
                  </a:lnTo>
                  <a:lnTo>
                    <a:pt x="417" y="130"/>
                  </a:lnTo>
                  <a:lnTo>
                    <a:pt x="415" y="130"/>
                  </a:lnTo>
                  <a:lnTo>
                    <a:pt x="413" y="132"/>
                  </a:lnTo>
                  <a:lnTo>
                    <a:pt x="410" y="134"/>
                  </a:lnTo>
                  <a:lnTo>
                    <a:pt x="410" y="137"/>
                  </a:lnTo>
                  <a:lnTo>
                    <a:pt x="410" y="140"/>
                  </a:lnTo>
                  <a:lnTo>
                    <a:pt x="410" y="144"/>
                  </a:lnTo>
                  <a:lnTo>
                    <a:pt x="410" y="149"/>
                  </a:lnTo>
                  <a:lnTo>
                    <a:pt x="410" y="153"/>
                  </a:lnTo>
                  <a:lnTo>
                    <a:pt x="410" y="154"/>
                  </a:lnTo>
                  <a:lnTo>
                    <a:pt x="405" y="156"/>
                  </a:lnTo>
                  <a:lnTo>
                    <a:pt x="405" y="160"/>
                  </a:lnTo>
                  <a:lnTo>
                    <a:pt x="401" y="163"/>
                  </a:lnTo>
                  <a:lnTo>
                    <a:pt x="401" y="168"/>
                  </a:lnTo>
                  <a:lnTo>
                    <a:pt x="401" y="170"/>
                  </a:lnTo>
                  <a:lnTo>
                    <a:pt x="401" y="172"/>
                  </a:lnTo>
                  <a:lnTo>
                    <a:pt x="401" y="177"/>
                  </a:lnTo>
                  <a:lnTo>
                    <a:pt x="405" y="179"/>
                  </a:lnTo>
                  <a:lnTo>
                    <a:pt x="405" y="179"/>
                  </a:lnTo>
                  <a:lnTo>
                    <a:pt x="408" y="179"/>
                  </a:lnTo>
                  <a:lnTo>
                    <a:pt x="410" y="177"/>
                  </a:lnTo>
                  <a:lnTo>
                    <a:pt x="410" y="179"/>
                  </a:lnTo>
                  <a:lnTo>
                    <a:pt x="413" y="182"/>
                  </a:lnTo>
                  <a:lnTo>
                    <a:pt x="415" y="191"/>
                  </a:lnTo>
                  <a:lnTo>
                    <a:pt x="413" y="193"/>
                  </a:lnTo>
                  <a:lnTo>
                    <a:pt x="413" y="198"/>
                  </a:lnTo>
                  <a:lnTo>
                    <a:pt x="410" y="200"/>
                  </a:lnTo>
                  <a:lnTo>
                    <a:pt x="410" y="208"/>
                  </a:lnTo>
                  <a:lnTo>
                    <a:pt x="410" y="214"/>
                  </a:lnTo>
                  <a:lnTo>
                    <a:pt x="413" y="214"/>
                  </a:lnTo>
                  <a:lnTo>
                    <a:pt x="415" y="215"/>
                  </a:lnTo>
                  <a:lnTo>
                    <a:pt x="418" y="215"/>
                  </a:lnTo>
                  <a:lnTo>
                    <a:pt x="420" y="214"/>
                  </a:lnTo>
                  <a:lnTo>
                    <a:pt x="424" y="214"/>
                  </a:lnTo>
                  <a:lnTo>
                    <a:pt x="427" y="214"/>
                  </a:lnTo>
                  <a:lnTo>
                    <a:pt x="429" y="215"/>
                  </a:lnTo>
                  <a:lnTo>
                    <a:pt x="429" y="212"/>
                  </a:lnTo>
                  <a:lnTo>
                    <a:pt x="429" y="208"/>
                  </a:lnTo>
                  <a:lnTo>
                    <a:pt x="427" y="207"/>
                  </a:lnTo>
                  <a:lnTo>
                    <a:pt x="425" y="203"/>
                  </a:lnTo>
                  <a:lnTo>
                    <a:pt x="427" y="200"/>
                  </a:lnTo>
                  <a:lnTo>
                    <a:pt x="429" y="194"/>
                  </a:lnTo>
                  <a:lnTo>
                    <a:pt x="429" y="189"/>
                  </a:lnTo>
                  <a:lnTo>
                    <a:pt x="427" y="187"/>
                  </a:lnTo>
                  <a:lnTo>
                    <a:pt x="431" y="182"/>
                  </a:lnTo>
                  <a:lnTo>
                    <a:pt x="431" y="177"/>
                  </a:lnTo>
                  <a:lnTo>
                    <a:pt x="431" y="172"/>
                  </a:lnTo>
                  <a:lnTo>
                    <a:pt x="427" y="172"/>
                  </a:lnTo>
                  <a:lnTo>
                    <a:pt x="427" y="170"/>
                  </a:lnTo>
                  <a:lnTo>
                    <a:pt x="432" y="167"/>
                  </a:lnTo>
                  <a:lnTo>
                    <a:pt x="432" y="165"/>
                  </a:lnTo>
                  <a:lnTo>
                    <a:pt x="436" y="165"/>
                  </a:lnTo>
                  <a:lnTo>
                    <a:pt x="439" y="165"/>
                  </a:lnTo>
                  <a:lnTo>
                    <a:pt x="439" y="167"/>
                  </a:lnTo>
                  <a:lnTo>
                    <a:pt x="441" y="170"/>
                  </a:lnTo>
                  <a:lnTo>
                    <a:pt x="441" y="172"/>
                  </a:lnTo>
                  <a:lnTo>
                    <a:pt x="438" y="175"/>
                  </a:lnTo>
                  <a:lnTo>
                    <a:pt x="436" y="179"/>
                  </a:lnTo>
                  <a:lnTo>
                    <a:pt x="439" y="182"/>
                  </a:lnTo>
                  <a:lnTo>
                    <a:pt x="441" y="182"/>
                  </a:lnTo>
                  <a:lnTo>
                    <a:pt x="443" y="186"/>
                  </a:lnTo>
                  <a:lnTo>
                    <a:pt x="448" y="187"/>
                  </a:lnTo>
                  <a:lnTo>
                    <a:pt x="448" y="191"/>
                  </a:lnTo>
                  <a:lnTo>
                    <a:pt x="446" y="191"/>
                  </a:lnTo>
                  <a:lnTo>
                    <a:pt x="446" y="198"/>
                  </a:lnTo>
                  <a:lnTo>
                    <a:pt x="448" y="200"/>
                  </a:lnTo>
                  <a:lnTo>
                    <a:pt x="450" y="201"/>
                  </a:lnTo>
                  <a:lnTo>
                    <a:pt x="451" y="200"/>
                  </a:lnTo>
                  <a:lnTo>
                    <a:pt x="455" y="201"/>
                  </a:lnTo>
                  <a:lnTo>
                    <a:pt x="458" y="201"/>
                  </a:lnTo>
                  <a:lnTo>
                    <a:pt x="458" y="200"/>
                  </a:lnTo>
                  <a:lnTo>
                    <a:pt x="455" y="198"/>
                  </a:lnTo>
                  <a:lnTo>
                    <a:pt x="460" y="194"/>
                  </a:lnTo>
                  <a:lnTo>
                    <a:pt x="464" y="194"/>
                  </a:lnTo>
                  <a:lnTo>
                    <a:pt x="467" y="193"/>
                  </a:lnTo>
                  <a:lnTo>
                    <a:pt x="472" y="193"/>
                  </a:lnTo>
                  <a:lnTo>
                    <a:pt x="474" y="191"/>
                  </a:lnTo>
                  <a:lnTo>
                    <a:pt x="476" y="193"/>
                  </a:lnTo>
                  <a:lnTo>
                    <a:pt x="478" y="193"/>
                  </a:lnTo>
                  <a:lnTo>
                    <a:pt x="479" y="189"/>
                  </a:lnTo>
                  <a:lnTo>
                    <a:pt x="479" y="187"/>
                  </a:lnTo>
                  <a:lnTo>
                    <a:pt x="474" y="187"/>
                  </a:lnTo>
                  <a:lnTo>
                    <a:pt x="472" y="187"/>
                  </a:lnTo>
                  <a:lnTo>
                    <a:pt x="471" y="187"/>
                  </a:lnTo>
                  <a:lnTo>
                    <a:pt x="467" y="187"/>
                  </a:lnTo>
                  <a:lnTo>
                    <a:pt x="467" y="186"/>
                  </a:lnTo>
                  <a:lnTo>
                    <a:pt x="465" y="186"/>
                  </a:lnTo>
                  <a:lnTo>
                    <a:pt x="465" y="184"/>
                  </a:lnTo>
                  <a:lnTo>
                    <a:pt x="464" y="182"/>
                  </a:lnTo>
                  <a:lnTo>
                    <a:pt x="464" y="184"/>
                  </a:lnTo>
                  <a:lnTo>
                    <a:pt x="464" y="182"/>
                  </a:lnTo>
                  <a:lnTo>
                    <a:pt x="460" y="180"/>
                  </a:lnTo>
                  <a:lnTo>
                    <a:pt x="460" y="179"/>
                  </a:lnTo>
                  <a:lnTo>
                    <a:pt x="460" y="177"/>
                  </a:lnTo>
                  <a:lnTo>
                    <a:pt x="464" y="175"/>
                  </a:lnTo>
                  <a:lnTo>
                    <a:pt x="464" y="175"/>
                  </a:lnTo>
                  <a:lnTo>
                    <a:pt x="464" y="175"/>
                  </a:lnTo>
                  <a:lnTo>
                    <a:pt x="464" y="175"/>
                  </a:lnTo>
                  <a:lnTo>
                    <a:pt x="464" y="172"/>
                  </a:lnTo>
                  <a:lnTo>
                    <a:pt x="464" y="172"/>
                  </a:lnTo>
                  <a:lnTo>
                    <a:pt x="460" y="170"/>
                  </a:lnTo>
                  <a:lnTo>
                    <a:pt x="460" y="168"/>
                  </a:lnTo>
                  <a:lnTo>
                    <a:pt x="460" y="167"/>
                  </a:lnTo>
                  <a:lnTo>
                    <a:pt x="458" y="165"/>
                  </a:lnTo>
                  <a:lnTo>
                    <a:pt x="455" y="165"/>
                  </a:lnTo>
                  <a:lnTo>
                    <a:pt x="455" y="161"/>
                  </a:lnTo>
                  <a:lnTo>
                    <a:pt x="451" y="156"/>
                  </a:lnTo>
                  <a:lnTo>
                    <a:pt x="448" y="153"/>
                  </a:lnTo>
                  <a:lnTo>
                    <a:pt x="446" y="153"/>
                  </a:lnTo>
                  <a:lnTo>
                    <a:pt x="446" y="149"/>
                  </a:lnTo>
                  <a:lnTo>
                    <a:pt x="448" y="149"/>
                  </a:lnTo>
                  <a:lnTo>
                    <a:pt x="448" y="153"/>
                  </a:lnTo>
                  <a:lnTo>
                    <a:pt x="451" y="153"/>
                  </a:lnTo>
                  <a:lnTo>
                    <a:pt x="455" y="149"/>
                  </a:lnTo>
                  <a:lnTo>
                    <a:pt x="455" y="147"/>
                  </a:lnTo>
                  <a:lnTo>
                    <a:pt x="464" y="146"/>
                  </a:lnTo>
                  <a:lnTo>
                    <a:pt x="467" y="140"/>
                  </a:lnTo>
                  <a:lnTo>
                    <a:pt x="469" y="137"/>
                  </a:lnTo>
                  <a:lnTo>
                    <a:pt x="472" y="135"/>
                  </a:lnTo>
                  <a:lnTo>
                    <a:pt x="472" y="134"/>
                  </a:lnTo>
                  <a:lnTo>
                    <a:pt x="476" y="132"/>
                  </a:lnTo>
                  <a:lnTo>
                    <a:pt x="479" y="134"/>
                  </a:lnTo>
                  <a:lnTo>
                    <a:pt x="483" y="134"/>
                  </a:lnTo>
                  <a:lnTo>
                    <a:pt x="483" y="130"/>
                  </a:lnTo>
                  <a:lnTo>
                    <a:pt x="483" y="127"/>
                  </a:lnTo>
                  <a:lnTo>
                    <a:pt x="481" y="127"/>
                  </a:lnTo>
                  <a:lnTo>
                    <a:pt x="474" y="127"/>
                  </a:lnTo>
                  <a:lnTo>
                    <a:pt x="471" y="130"/>
                  </a:lnTo>
                  <a:lnTo>
                    <a:pt x="464" y="130"/>
                  </a:lnTo>
                  <a:lnTo>
                    <a:pt x="464" y="130"/>
                  </a:lnTo>
                  <a:lnTo>
                    <a:pt x="460" y="134"/>
                  </a:lnTo>
                  <a:lnTo>
                    <a:pt x="455" y="132"/>
                  </a:lnTo>
                  <a:lnTo>
                    <a:pt x="455" y="134"/>
                  </a:lnTo>
                  <a:lnTo>
                    <a:pt x="451" y="132"/>
                  </a:lnTo>
                  <a:lnTo>
                    <a:pt x="448" y="130"/>
                  </a:lnTo>
                  <a:lnTo>
                    <a:pt x="444" y="135"/>
                  </a:lnTo>
                  <a:lnTo>
                    <a:pt x="441" y="140"/>
                  </a:lnTo>
                  <a:lnTo>
                    <a:pt x="438" y="142"/>
                  </a:lnTo>
                  <a:lnTo>
                    <a:pt x="436" y="142"/>
                  </a:lnTo>
                  <a:lnTo>
                    <a:pt x="436" y="140"/>
                  </a:lnTo>
                  <a:lnTo>
                    <a:pt x="431" y="135"/>
                  </a:lnTo>
                  <a:lnTo>
                    <a:pt x="425" y="132"/>
                  </a:lnTo>
                  <a:lnTo>
                    <a:pt x="424" y="127"/>
                  </a:lnTo>
                  <a:lnTo>
                    <a:pt x="424" y="120"/>
                  </a:lnTo>
                  <a:lnTo>
                    <a:pt x="427" y="113"/>
                  </a:lnTo>
                  <a:lnTo>
                    <a:pt x="431" y="109"/>
                  </a:lnTo>
                  <a:lnTo>
                    <a:pt x="431" y="109"/>
                  </a:lnTo>
                  <a:lnTo>
                    <a:pt x="431" y="109"/>
                  </a:lnTo>
                  <a:lnTo>
                    <a:pt x="431" y="109"/>
                  </a:lnTo>
                  <a:close/>
                  <a:moveTo>
                    <a:pt x="432" y="0"/>
                  </a:moveTo>
                  <a:lnTo>
                    <a:pt x="431" y="3"/>
                  </a:lnTo>
                  <a:lnTo>
                    <a:pt x="432" y="3"/>
                  </a:lnTo>
                  <a:lnTo>
                    <a:pt x="432" y="1"/>
                  </a:lnTo>
                  <a:lnTo>
                    <a:pt x="432" y="0"/>
                  </a:lnTo>
                  <a:lnTo>
                    <a:pt x="432" y="0"/>
                  </a:lnTo>
                  <a:lnTo>
                    <a:pt x="432" y="0"/>
                  </a:lnTo>
                  <a:lnTo>
                    <a:pt x="432" y="0"/>
                  </a:lnTo>
                  <a:close/>
                  <a:moveTo>
                    <a:pt x="436" y="10"/>
                  </a:moveTo>
                  <a:lnTo>
                    <a:pt x="439" y="10"/>
                  </a:lnTo>
                  <a:lnTo>
                    <a:pt x="441" y="10"/>
                  </a:lnTo>
                  <a:lnTo>
                    <a:pt x="443" y="10"/>
                  </a:lnTo>
                  <a:lnTo>
                    <a:pt x="444" y="10"/>
                  </a:lnTo>
                  <a:lnTo>
                    <a:pt x="444" y="10"/>
                  </a:lnTo>
                  <a:lnTo>
                    <a:pt x="441" y="8"/>
                  </a:lnTo>
                  <a:lnTo>
                    <a:pt x="436" y="10"/>
                  </a:lnTo>
                  <a:lnTo>
                    <a:pt x="436" y="10"/>
                  </a:lnTo>
                  <a:lnTo>
                    <a:pt x="436" y="10"/>
                  </a:lnTo>
                  <a:lnTo>
                    <a:pt x="436" y="10"/>
                  </a:lnTo>
                  <a:lnTo>
                    <a:pt x="436" y="10"/>
                  </a:lnTo>
                  <a:lnTo>
                    <a:pt x="436" y="10"/>
                  </a:lnTo>
                  <a:close/>
                  <a:moveTo>
                    <a:pt x="410" y="29"/>
                  </a:moveTo>
                  <a:lnTo>
                    <a:pt x="410" y="31"/>
                  </a:lnTo>
                  <a:lnTo>
                    <a:pt x="413" y="33"/>
                  </a:lnTo>
                  <a:lnTo>
                    <a:pt x="413" y="33"/>
                  </a:lnTo>
                  <a:lnTo>
                    <a:pt x="410" y="29"/>
                  </a:lnTo>
                  <a:lnTo>
                    <a:pt x="410" y="29"/>
                  </a:lnTo>
                  <a:lnTo>
                    <a:pt x="410" y="29"/>
                  </a:lnTo>
                  <a:lnTo>
                    <a:pt x="410" y="29"/>
                  </a:lnTo>
                  <a:close/>
                  <a:moveTo>
                    <a:pt x="417" y="26"/>
                  </a:moveTo>
                  <a:lnTo>
                    <a:pt x="422" y="22"/>
                  </a:lnTo>
                  <a:lnTo>
                    <a:pt x="425" y="22"/>
                  </a:lnTo>
                  <a:lnTo>
                    <a:pt x="425" y="22"/>
                  </a:lnTo>
                  <a:lnTo>
                    <a:pt x="422" y="26"/>
                  </a:lnTo>
                  <a:lnTo>
                    <a:pt x="418" y="26"/>
                  </a:lnTo>
                  <a:lnTo>
                    <a:pt x="417" y="26"/>
                  </a:lnTo>
                  <a:lnTo>
                    <a:pt x="417" y="26"/>
                  </a:lnTo>
                  <a:lnTo>
                    <a:pt x="417" y="26"/>
                  </a:lnTo>
                  <a:lnTo>
                    <a:pt x="417" y="26"/>
                  </a:lnTo>
                  <a:close/>
                  <a:moveTo>
                    <a:pt x="382" y="45"/>
                  </a:moveTo>
                  <a:lnTo>
                    <a:pt x="382" y="45"/>
                  </a:lnTo>
                  <a:lnTo>
                    <a:pt x="382" y="45"/>
                  </a:lnTo>
                  <a:lnTo>
                    <a:pt x="382" y="45"/>
                  </a:lnTo>
                  <a:lnTo>
                    <a:pt x="382" y="45"/>
                  </a:lnTo>
                  <a:lnTo>
                    <a:pt x="382" y="45"/>
                  </a:lnTo>
                  <a:lnTo>
                    <a:pt x="382" y="45"/>
                  </a:lnTo>
                  <a:close/>
                  <a:moveTo>
                    <a:pt x="382" y="41"/>
                  </a:moveTo>
                  <a:lnTo>
                    <a:pt x="382" y="45"/>
                  </a:lnTo>
                  <a:lnTo>
                    <a:pt x="382" y="45"/>
                  </a:lnTo>
                  <a:lnTo>
                    <a:pt x="385" y="45"/>
                  </a:lnTo>
                  <a:lnTo>
                    <a:pt x="385" y="45"/>
                  </a:lnTo>
                  <a:lnTo>
                    <a:pt x="382" y="41"/>
                  </a:lnTo>
                  <a:lnTo>
                    <a:pt x="382" y="41"/>
                  </a:lnTo>
                  <a:lnTo>
                    <a:pt x="382" y="41"/>
                  </a:lnTo>
                  <a:lnTo>
                    <a:pt x="382" y="41"/>
                  </a:lnTo>
                  <a:close/>
                  <a:moveTo>
                    <a:pt x="385" y="52"/>
                  </a:moveTo>
                  <a:lnTo>
                    <a:pt x="382" y="52"/>
                  </a:lnTo>
                  <a:lnTo>
                    <a:pt x="382" y="54"/>
                  </a:lnTo>
                  <a:lnTo>
                    <a:pt x="385" y="52"/>
                  </a:lnTo>
                  <a:lnTo>
                    <a:pt x="385" y="52"/>
                  </a:lnTo>
                  <a:lnTo>
                    <a:pt x="385" y="52"/>
                  </a:lnTo>
                  <a:lnTo>
                    <a:pt x="385" y="52"/>
                  </a:lnTo>
                  <a:close/>
                  <a:moveTo>
                    <a:pt x="378" y="55"/>
                  </a:moveTo>
                  <a:lnTo>
                    <a:pt x="382" y="55"/>
                  </a:lnTo>
                  <a:lnTo>
                    <a:pt x="382" y="59"/>
                  </a:lnTo>
                  <a:lnTo>
                    <a:pt x="382" y="59"/>
                  </a:lnTo>
                  <a:lnTo>
                    <a:pt x="378" y="55"/>
                  </a:lnTo>
                  <a:lnTo>
                    <a:pt x="378" y="55"/>
                  </a:lnTo>
                  <a:lnTo>
                    <a:pt x="378" y="55"/>
                  </a:lnTo>
                  <a:lnTo>
                    <a:pt x="378" y="55"/>
                  </a:lnTo>
                  <a:close/>
                  <a:moveTo>
                    <a:pt x="359" y="177"/>
                  </a:moveTo>
                  <a:lnTo>
                    <a:pt x="359" y="177"/>
                  </a:lnTo>
                  <a:lnTo>
                    <a:pt x="359" y="182"/>
                  </a:lnTo>
                  <a:lnTo>
                    <a:pt x="359" y="182"/>
                  </a:lnTo>
                  <a:lnTo>
                    <a:pt x="359" y="177"/>
                  </a:lnTo>
                  <a:lnTo>
                    <a:pt x="359" y="177"/>
                  </a:lnTo>
                  <a:lnTo>
                    <a:pt x="359" y="177"/>
                  </a:lnTo>
                  <a:lnTo>
                    <a:pt x="359" y="177"/>
                  </a:lnTo>
                  <a:lnTo>
                    <a:pt x="359" y="177"/>
                  </a:lnTo>
                  <a:close/>
                  <a:moveTo>
                    <a:pt x="356" y="177"/>
                  </a:moveTo>
                  <a:lnTo>
                    <a:pt x="359" y="182"/>
                  </a:lnTo>
                  <a:lnTo>
                    <a:pt x="356" y="186"/>
                  </a:lnTo>
                  <a:lnTo>
                    <a:pt x="354" y="189"/>
                  </a:lnTo>
                  <a:lnTo>
                    <a:pt x="354" y="187"/>
                  </a:lnTo>
                  <a:lnTo>
                    <a:pt x="354" y="182"/>
                  </a:lnTo>
                  <a:lnTo>
                    <a:pt x="356" y="175"/>
                  </a:lnTo>
                  <a:lnTo>
                    <a:pt x="356" y="175"/>
                  </a:lnTo>
                  <a:lnTo>
                    <a:pt x="356" y="177"/>
                  </a:lnTo>
                  <a:lnTo>
                    <a:pt x="356" y="177"/>
                  </a:lnTo>
                  <a:lnTo>
                    <a:pt x="356" y="177"/>
                  </a:lnTo>
                  <a:lnTo>
                    <a:pt x="356" y="177"/>
                  </a:lnTo>
                  <a:close/>
                  <a:moveTo>
                    <a:pt x="239" y="123"/>
                  </a:moveTo>
                  <a:lnTo>
                    <a:pt x="245" y="123"/>
                  </a:lnTo>
                  <a:lnTo>
                    <a:pt x="245" y="127"/>
                  </a:lnTo>
                  <a:lnTo>
                    <a:pt x="243" y="127"/>
                  </a:lnTo>
                  <a:lnTo>
                    <a:pt x="239" y="127"/>
                  </a:lnTo>
                  <a:lnTo>
                    <a:pt x="239" y="123"/>
                  </a:lnTo>
                  <a:lnTo>
                    <a:pt x="239" y="123"/>
                  </a:lnTo>
                  <a:lnTo>
                    <a:pt x="239" y="123"/>
                  </a:lnTo>
                  <a:lnTo>
                    <a:pt x="239" y="123"/>
                  </a:lnTo>
                  <a:lnTo>
                    <a:pt x="239" y="123"/>
                  </a:lnTo>
                  <a:close/>
                  <a:moveTo>
                    <a:pt x="241" y="130"/>
                  </a:moveTo>
                  <a:lnTo>
                    <a:pt x="246" y="132"/>
                  </a:lnTo>
                  <a:lnTo>
                    <a:pt x="246" y="134"/>
                  </a:lnTo>
                  <a:lnTo>
                    <a:pt x="250" y="134"/>
                  </a:lnTo>
                  <a:lnTo>
                    <a:pt x="250" y="135"/>
                  </a:lnTo>
                  <a:lnTo>
                    <a:pt x="245" y="135"/>
                  </a:lnTo>
                  <a:lnTo>
                    <a:pt x="243" y="135"/>
                  </a:lnTo>
                  <a:lnTo>
                    <a:pt x="241" y="132"/>
                  </a:lnTo>
                  <a:lnTo>
                    <a:pt x="241" y="130"/>
                  </a:lnTo>
                  <a:lnTo>
                    <a:pt x="241" y="130"/>
                  </a:lnTo>
                  <a:lnTo>
                    <a:pt x="241" y="130"/>
                  </a:lnTo>
                  <a:lnTo>
                    <a:pt x="241" y="130"/>
                  </a:lnTo>
                  <a:close/>
                  <a:moveTo>
                    <a:pt x="245" y="135"/>
                  </a:moveTo>
                  <a:lnTo>
                    <a:pt x="250" y="137"/>
                  </a:lnTo>
                  <a:lnTo>
                    <a:pt x="252" y="139"/>
                  </a:lnTo>
                  <a:lnTo>
                    <a:pt x="246" y="142"/>
                  </a:lnTo>
                  <a:lnTo>
                    <a:pt x="246" y="142"/>
                  </a:lnTo>
                  <a:lnTo>
                    <a:pt x="245" y="140"/>
                  </a:lnTo>
                  <a:lnTo>
                    <a:pt x="245" y="139"/>
                  </a:lnTo>
                  <a:lnTo>
                    <a:pt x="245" y="139"/>
                  </a:lnTo>
                  <a:lnTo>
                    <a:pt x="245" y="135"/>
                  </a:lnTo>
                  <a:lnTo>
                    <a:pt x="245" y="135"/>
                  </a:lnTo>
                  <a:lnTo>
                    <a:pt x="245" y="135"/>
                  </a:lnTo>
                  <a:lnTo>
                    <a:pt x="245" y="135"/>
                  </a:lnTo>
                  <a:close/>
                  <a:moveTo>
                    <a:pt x="236" y="95"/>
                  </a:moveTo>
                  <a:lnTo>
                    <a:pt x="239" y="92"/>
                  </a:lnTo>
                  <a:lnTo>
                    <a:pt x="243" y="85"/>
                  </a:lnTo>
                  <a:lnTo>
                    <a:pt x="245" y="85"/>
                  </a:lnTo>
                  <a:lnTo>
                    <a:pt x="246" y="81"/>
                  </a:lnTo>
                  <a:lnTo>
                    <a:pt x="252" y="90"/>
                  </a:lnTo>
                  <a:lnTo>
                    <a:pt x="259" y="92"/>
                  </a:lnTo>
                  <a:lnTo>
                    <a:pt x="259" y="94"/>
                  </a:lnTo>
                  <a:lnTo>
                    <a:pt x="260" y="97"/>
                  </a:lnTo>
                  <a:lnTo>
                    <a:pt x="262" y="100"/>
                  </a:lnTo>
                  <a:lnTo>
                    <a:pt x="266" y="100"/>
                  </a:lnTo>
                  <a:lnTo>
                    <a:pt x="271" y="100"/>
                  </a:lnTo>
                  <a:lnTo>
                    <a:pt x="271" y="97"/>
                  </a:lnTo>
                  <a:lnTo>
                    <a:pt x="276" y="99"/>
                  </a:lnTo>
                  <a:lnTo>
                    <a:pt x="278" y="97"/>
                  </a:lnTo>
                  <a:lnTo>
                    <a:pt x="286" y="97"/>
                  </a:lnTo>
                  <a:lnTo>
                    <a:pt x="297" y="94"/>
                  </a:lnTo>
                  <a:lnTo>
                    <a:pt x="299" y="90"/>
                  </a:lnTo>
                  <a:lnTo>
                    <a:pt x="305" y="90"/>
                  </a:lnTo>
                  <a:lnTo>
                    <a:pt x="311" y="94"/>
                  </a:lnTo>
                  <a:lnTo>
                    <a:pt x="312" y="95"/>
                  </a:lnTo>
                  <a:lnTo>
                    <a:pt x="316" y="95"/>
                  </a:lnTo>
                  <a:lnTo>
                    <a:pt x="325" y="90"/>
                  </a:lnTo>
                  <a:lnTo>
                    <a:pt x="332" y="90"/>
                  </a:lnTo>
                  <a:lnTo>
                    <a:pt x="332" y="87"/>
                  </a:lnTo>
                  <a:lnTo>
                    <a:pt x="337" y="78"/>
                  </a:lnTo>
                  <a:lnTo>
                    <a:pt x="340" y="69"/>
                  </a:lnTo>
                  <a:lnTo>
                    <a:pt x="345" y="64"/>
                  </a:lnTo>
                  <a:lnTo>
                    <a:pt x="349" y="48"/>
                  </a:lnTo>
                  <a:lnTo>
                    <a:pt x="349" y="47"/>
                  </a:lnTo>
                  <a:lnTo>
                    <a:pt x="351" y="45"/>
                  </a:lnTo>
                  <a:lnTo>
                    <a:pt x="351" y="41"/>
                  </a:lnTo>
                  <a:lnTo>
                    <a:pt x="356" y="36"/>
                  </a:lnTo>
                  <a:lnTo>
                    <a:pt x="356" y="38"/>
                  </a:lnTo>
                  <a:lnTo>
                    <a:pt x="363" y="38"/>
                  </a:lnTo>
                  <a:lnTo>
                    <a:pt x="370" y="38"/>
                  </a:lnTo>
                  <a:lnTo>
                    <a:pt x="372" y="38"/>
                  </a:lnTo>
                  <a:lnTo>
                    <a:pt x="377" y="38"/>
                  </a:lnTo>
                  <a:lnTo>
                    <a:pt x="382" y="41"/>
                  </a:lnTo>
                  <a:lnTo>
                    <a:pt x="378" y="41"/>
                  </a:lnTo>
                  <a:lnTo>
                    <a:pt x="378" y="41"/>
                  </a:lnTo>
                  <a:lnTo>
                    <a:pt x="378" y="45"/>
                  </a:lnTo>
                  <a:lnTo>
                    <a:pt x="378" y="45"/>
                  </a:lnTo>
                  <a:lnTo>
                    <a:pt x="382" y="47"/>
                  </a:lnTo>
                  <a:lnTo>
                    <a:pt x="385" y="50"/>
                  </a:lnTo>
                  <a:lnTo>
                    <a:pt x="382" y="52"/>
                  </a:lnTo>
                  <a:lnTo>
                    <a:pt x="377" y="50"/>
                  </a:lnTo>
                  <a:lnTo>
                    <a:pt x="375" y="52"/>
                  </a:lnTo>
                  <a:lnTo>
                    <a:pt x="378" y="55"/>
                  </a:lnTo>
                  <a:lnTo>
                    <a:pt x="378" y="55"/>
                  </a:lnTo>
                  <a:lnTo>
                    <a:pt x="378" y="59"/>
                  </a:lnTo>
                  <a:lnTo>
                    <a:pt x="378" y="59"/>
                  </a:lnTo>
                  <a:lnTo>
                    <a:pt x="378" y="59"/>
                  </a:lnTo>
                  <a:lnTo>
                    <a:pt x="378" y="64"/>
                  </a:lnTo>
                  <a:lnTo>
                    <a:pt x="382" y="67"/>
                  </a:lnTo>
                  <a:lnTo>
                    <a:pt x="385" y="73"/>
                  </a:lnTo>
                  <a:lnTo>
                    <a:pt x="391" y="74"/>
                  </a:lnTo>
                  <a:lnTo>
                    <a:pt x="387" y="78"/>
                  </a:lnTo>
                  <a:lnTo>
                    <a:pt x="382" y="78"/>
                  </a:lnTo>
                  <a:lnTo>
                    <a:pt x="382" y="81"/>
                  </a:lnTo>
                  <a:lnTo>
                    <a:pt x="385" y="81"/>
                  </a:lnTo>
                  <a:lnTo>
                    <a:pt x="385" y="85"/>
                  </a:lnTo>
                  <a:lnTo>
                    <a:pt x="387" y="85"/>
                  </a:lnTo>
                  <a:lnTo>
                    <a:pt x="394" y="94"/>
                  </a:lnTo>
                  <a:lnTo>
                    <a:pt x="398" y="94"/>
                  </a:lnTo>
                  <a:lnTo>
                    <a:pt x="399" y="97"/>
                  </a:lnTo>
                  <a:lnTo>
                    <a:pt x="401" y="99"/>
                  </a:lnTo>
                  <a:lnTo>
                    <a:pt x="405" y="99"/>
                  </a:lnTo>
                  <a:lnTo>
                    <a:pt x="401" y="100"/>
                  </a:lnTo>
                  <a:lnTo>
                    <a:pt x="401" y="104"/>
                  </a:lnTo>
                  <a:lnTo>
                    <a:pt x="399" y="100"/>
                  </a:lnTo>
                  <a:lnTo>
                    <a:pt x="396" y="104"/>
                  </a:lnTo>
                  <a:lnTo>
                    <a:pt x="392" y="104"/>
                  </a:lnTo>
                  <a:lnTo>
                    <a:pt x="385" y="99"/>
                  </a:lnTo>
                  <a:lnTo>
                    <a:pt x="387" y="100"/>
                  </a:lnTo>
                  <a:lnTo>
                    <a:pt x="385" y="104"/>
                  </a:lnTo>
                  <a:lnTo>
                    <a:pt x="385" y="100"/>
                  </a:lnTo>
                  <a:lnTo>
                    <a:pt x="382" y="104"/>
                  </a:lnTo>
                  <a:lnTo>
                    <a:pt x="382" y="107"/>
                  </a:lnTo>
                  <a:lnTo>
                    <a:pt x="378" y="109"/>
                  </a:lnTo>
                  <a:lnTo>
                    <a:pt x="378" y="116"/>
                  </a:lnTo>
                  <a:lnTo>
                    <a:pt x="378" y="118"/>
                  </a:lnTo>
                  <a:lnTo>
                    <a:pt x="377" y="123"/>
                  </a:lnTo>
                  <a:lnTo>
                    <a:pt x="372" y="127"/>
                  </a:lnTo>
                  <a:lnTo>
                    <a:pt x="373" y="132"/>
                  </a:lnTo>
                  <a:lnTo>
                    <a:pt x="372" y="135"/>
                  </a:lnTo>
                  <a:lnTo>
                    <a:pt x="368" y="139"/>
                  </a:lnTo>
                  <a:lnTo>
                    <a:pt x="366" y="135"/>
                  </a:lnTo>
                  <a:lnTo>
                    <a:pt x="365" y="134"/>
                  </a:lnTo>
                  <a:lnTo>
                    <a:pt x="366" y="137"/>
                  </a:lnTo>
                  <a:lnTo>
                    <a:pt x="366" y="140"/>
                  </a:lnTo>
                  <a:lnTo>
                    <a:pt x="363" y="144"/>
                  </a:lnTo>
                  <a:lnTo>
                    <a:pt x="363" y="147"/>
                  </a:lnTo>
                  <a:lnTo>
                    <a:pt x="359" y="147"/>
                  </a:lnTo>
                  <a:lnTo>
                    <a:pt x="356" y="147"/>
                  </a:lnTo>
                  <a:lnTo>
                    <a:pt x="359" y="149"/>
                  </a:lnTo>
                  <a:lnTo>
                    <a:pt x="356" y="149"/>
                  </a:lnTo>
                  <a:lnTo>
                    <a:pt x="359" y="149"/>
                  </a:lnTo>
                  <a:lnTo>
                    <a:pt x="363" y="153"/>
                  </a:lnTo>
                  <a:lnTo>
                    <a:pt x="363" y="154"/>
                  </a:lnTo>
                  <a:lnTo>
                    <a:pt x="359" y="154"/>
                  </a:lnTo>
                  <a:lnTo>
                    <a:pt x="359" y="156"/>
                  </a:lnTo>
                  <a:lnTo>
                    <a:pt x="363" y="156"/>
                  </a:lnTo>
                  <a:lnTo>
                    <a:pt x="363" y="158"/>
                  </a:lnTo>
                  <a:lnTo>
                    <a:pt x="363" y="161"/>
                  </a:lnTo>
                  <a:lnTo>
                    <a:pt x="359" y="160"/>
                  </a:lnTo>
                  <a:lnTo>
                    <a:pt x="359" y="160"/>
                  </a:lnTo>
                  <a:lnTo>
                    <a:pt x="359" y="161"/>
                  </a:lnTo>
                  <a:lnTo>
                    <a:pt x="359" y="163"/>
                  </a:lnTo>
                  <a:lnTo>
                    <a:pt x="359" y="163"/>
                  </a:lnTo>
                  <a:lnTo>
                    <a:pt x="359" y="170"/>
                  </a:lnTo>
                  <a:lnTo>
                    <a:pt x="356" y="170"/>
                  </a:lnTo>
                  <a:lnTo>
                    <a:pt x="356" y="168"/>
                  </a:lnTo>
                  <a:lnTo>
                    <a:pt x="356" y="172"/>
                  </a:lnTo>
                  <a:lnTo>
                    <a:pt x="356" y="175"/>
                  </a:lnTo>
                  <a:lnTo>
                    <a:pt x="351" y="180"/>
                  </a:lnTo>
                  <a:lnTo>
                    <a:pt x="345" y="184"/>
                  </a:lnTo>
                  <a:lnTo>
                    <a:pt x="340" y="186"/>
                  </a:lnTo>
                  <a:lnTo>
                    <a:pt x="333" y="189"/>
                  </a:lnTo>
                  <a:lnTo>
                    <a:pt x="328" y="189"/>
                  </a:lnTo>
                  <a:lnTo>
                    <a:pt x="328" y="184"/>
                  </a:lnTo>
                  <a:lnTo>
                    <a:pt x="328" y="182"/>
                  </a:lnTo>
                  <a:lnTo>
                    <a:pt x="328" y="179"/>
                  </a:lnTo>
                  <a:lnTo>
                    <a:pt x="328" y="177"/>
                  </a:lnTo>
                  <a:lnTo>
                    <a:pt x="326" y="179"/>
                  </a:lnTo>
                  <a:lnTo>
                    <a:pt x="325" y="175"/>
                  </a:lnTo>
                  <a:lnTo>
                    <a:pt x="323" y="177"/>
                  </a:lnTo>
                  <a:lnTo>
                    <a:pt x="319" y="175"/>
                  </a:lnTo>
                  <a:lnTo>
                    <a:pt x="318" y="175"/>
                  </a:lnTo>
                  <a:lnTo>
                    <a:pt x="316" y="175"/>
                  </a:lnTo>
                  <a:lnTo>
                    <a:pt x="318" y="179"/>
                  </a:lnTo>
                  <a:lnTo>
                    <a:pt x="314" y="177"/>
                  </a:lnTo>
                  <a:lnTo>
                    <a:pt x="312" y="175"/>
                  </a:lnTo>
                  <a:lnTo>
                    <a:pt x="312" y="172"/>
                  </a:lnTo>
                  <a:lnTo>
                    <a:pt x="311" y="172"/>
                  </a:lnTo>
                  <a:lnTo>
                    <a:pt x="309" y="172"/>
                  </a:lnTo>
                  <a:lnTo>
                    <a:pt x="305" y="172"/>
                  </a:lnTo>
                  <a:lnTo>
                    <a:pt x="305" y="172"/>
                  </a:lnTo>
                  <a:lnTo>
                    <a:pt x="302" y="175"/>
                  </a:lnTo>
                  <a:lnTo>
                    <a:pt x="299" y="175"/>
                  </a:lnTo>
                  <a:lnTo>
                    <a:pt x="297" y="175"/>
                  </a:lnTo>
                  <a:lnTo>
                    <a:pt x="295" y="177"/>
                  </a:lnTo>
                  <a:lnTo>
                    <a:pt x="293" y="175"/>
                  </a:lnTo>
                  <a:lnTo>
                    <a:pt x="292" y="175"/>
                  </a:lnTo>
                  <a:lnTo>
                    <a:pt x="286" y="180"/>
                  </a:lnTo>
                  <a:lnTo>
                    <a:pt x="286" y="180"/>
                  </a:lnTo>
                  <a:lnTo>
                    <a:pt x="286" y="177"/>
                  </a:lnTo>
                  <a:lnTo>
                    <a:pt x="286" y="172"/>
                  </a:lnTo>
                  <a:lnTo>
                    <a:pt x="283" y="168"/>
                  </a:lnTo>
                  <a:lnTo>
                    <a:pt x="283" y="165"/>
                  </a:lnTo>
                  <a:lnTo>
                    <a:pt x="281" y="163"/>
                  </a:lnTo>
                  <a:lnTo>
                    <a:pt x="283" y="165"/>
                  </a:lnTo>
                  <a:lnTo>
                    <a:pt x="281" y="168"/>
                  </a:lnTo>
                  <a:lnTo>
                    <a:pt x="278" y="170"/>
                  </a:lnTo>
                  <a:lnTo>
                    <a:pt x="278" y="168"/>
                  </a:lnTo>
                  <a:lnTo>
                    <a:pt x="274" y="170"/>
                  </a:lnTo>
                  <a:lnTo>
                    <a:pt x="271" y="172"/>
                  </a:lnTo>
                  <a:lnTo>
                    <a:pt x="267" y="170"/>
                  </a:lnTo>
                  <a:lnTo>
                    <a:pt x="264" y="170"/>
                  </a:lnTo>
                  <a:lnTo>
                    <a:pt x="262" y="167"/>
                  </a:lnTo>
                  <a:lnTo>
                    <a:pt x="260" y="170"/>
                  </a:lnTo>
                  <a:lnTo>
                    <a:pt x="259" y="170"/>
                  </a:lnTo>
                  <a:lnTo>
                    <a:pt x="255" y="165"/>
                  </a:lnTo>
                  <a:lnTo>
                    <a:pt x="255" y="160"/>
                  </a:lnTo>
                  <a:lnTo>
                    <a:pt x="255" y="153"/>
                  </a:lnTo>
                  <a:lnTo>
                    <a:pt x="252" y="153"/>
                  </a:lnTo>
                  <a:lnTo>
                    <a:pt x="252" y="149"/>
                  </a:lnTo>
                  <a:lnTo>
                    <a:pt x="252" y="147"/>
                  </a:lnTo>
                  <a:lnTo>
                    <a:pt x="255" y="144"/>
                  </a:lnTo>
                  <a:lnTo>
                    <a:pt x="255" y="140"/>
                  </a:lnTo>
                  <a:lnTo>
                    <a:pt x="255" y="137"/>
                  </a:lnTo>
                  <a:lnTo>
                    <a:pt x="250" y="132"/>
                  </a:lnTo>
                  <a:lnTo>
                    <a:pt x="245" y="130"/>
                  </a:lnTo>
                  <a:lnTo>
                    <a:pt x="241" y="130"/>
                  </a:lnTo>
                  <a:lnTo>
                    <a:pt x="241" y="127"/>
                  </a:lnTo>
                  <a:lnTo>
                    <a:pt x="243" y="127"/>
                  </a:lnTo>
                  <a:lnTo>
                    <a:pt x="246" y="127"/>
                  </a:lnTo>
                  <a:lnTo>
                    <a:pt x="252" y="123"/>
                  </a:lnTo>
                  <a:lnTo>
                    <a:pt x="255" y="121"/>
                  </a:lnTo>
                  <a:lnTo>
                    <a:pt x="259" y="121"/>
                  </a:lnTo>
                  <a:lnTo>
                    <a:pt x="255" y="120"/>
                  </a:lnTo>
                  <a:lnTo>
                    <a:pt x="252" y="123"/>
                  </a:lnTo>
                  <a:lnTo>
                    <a:pt x="246" y="123"/>
                  </a:lnTo>
                  <a:lnTo>
                    <a:pt x="245" y="123"/>
                  </a:lnTo>
                  <a:lnTo>
                    <a:pt x="241" y="123"/>
                  </a:lnTo>
                  <a:lnTo>
                    <a:pt x="238" y="120"/>
                  </a:lnTo>
                  <a:lnTo>
                    <a:pt x="239" y="118"/>
                  </a:lnTo>
                  <a:lnTo>
                    <a:pt x="241" y="120"/>
                  </a:lnTo>
                  <a:lnTo>
                    <a:pt x="239" y="116"/>
                  </a:lnTo>
                  <a:lnTo>
                    <a:pt x="236" y="109"/>
                  </a:lnTo>
                  <a:lnTo>
                    <a:pt x="236" y="104"/>
                  </a:lnTo>
                  <a:lnTo>
                    <a:pt x="236" y="104"/>
                  </a:lnTo>
                  <a:lnTo>
                    <a:pt x="238" y="100"/>
                  </a:lnTo>
                  <a:lnTo>
                    <a:pt x="236" y="99"/>
                  </a:lnTo>
                  <a:lnTo>
                    <a:pt x="236" y="95"/>
                  </a:lnTo>
                  <a:lnTo>
                    <a:pt x="236" y="95"/>
                  </a:lnTo>
                  <a:lnTo>
                    <a:pt x="236" y="95"/>
                  </a:lnTo>
                  <a:lnTo>
                    <a:pt x="236" y="95"/>
                  </a:lnTo>
                  <a:close/>
                  <a:moveTo>
                    <a:pt x="677" y="132"/>
                  </a:moveTo>
                  <a:lnTo>
                    <a:pt x="676" y="132"/>
                  </a:lnTo>
                  <a:lnTo>
                    <a:pt x="677" y="135"/>
                  </a:lnTo>
                  <a:lnTo>
                    <a:pt x="681" y="134"/>
                  </a:lnTo>
                  <a:lnTo>
                    <a:pt x="677" y="132"/>
                  </a:lnTo>
                  <a:lnTo>
                    <a:pt x="677" y="132"/>
                  </a:lnTo>
                  <a:lnTo>
                    <a:pt x="677" y="132"/>
                  </a:lnTo>
                  <a:lnTo>
                    <a:pt x="677" y="132"/>
                  </a:lnTo>
                  <a:close/>
                  <a:moveTo>
                    <a:pt x="686" y="144"/>
                  </a:moveTo>
                  <a:lnTo>
                    <a:pt x="681" y="144"/>
                  </a:lnTo>
                  <a:lnTo>
                    <a:pt x="684" y="144"/>
                  </a:lnTo>
                  <a:lnTo>
                    <a:pt x="686" y="144"/>
                  </a:lnTo>
                  <a:lnTo>
                    <a:pt x="686" y="144"/>
                  </a:lnTo>
                  <a:lnTo>
                    <a:pt x="686" y="144"/>
                  </a:lnTo>
                  <a:lnTo>
                    <a:pt x="686" y="144"/>
                  </a:lnTo>
                  <a:close/>
                  <a:moveTo>
                    <a:pt x="688" y="144"/>
                  </a:moveTo>
                  <a:lnTo>
                    <a:pt x="688" y="144"/>
                  </a:lnTo>
                  <a:lnTo>
                    <a:pt x="689" y="146"/>
                  </a:lnTo>
                  <a:lnTo>
                    <a:pt x="695" y="147"/>
                  </a:lnTo>
                  <a:lnTo>
                    <a:pt x="702" y="149"/>
                  </a:lnTo>
                  <a:lnTo>
                    <a:pt x="710" y="147"/>
                  </a:lnTo>
                  <a:lnTo>
                    <a:pt x="712" y="147"/>
                  </a:lnTo>
                  <a:lnTo>
                    <a:pt x="705" y="146"/>
                  </a:lnTo>
                  <a:lnTo>
                    <a:pt x="703" y="146"/>
                  </a:lnTo>
                  <a:lnTo>
                    <a:pt x="696" y="146"/>
                  </a:lnTo>
                  <a:lnTo>
                    <a:pt x="695" y="147"/>
                  </a:lnTo>
                  <a:lnTo>
                    <a:pt x="688" y="144"/>
                  </a:lnTo>
                  <a:lnTo>
                    <a:pt x="688" y="144"/>
                  </a:lnTo>
                  <a:lnTo>
                    <a:pt x="688" y="144"/>
                  </a:lnTo>
                  <a:lnTo>
                    <a:pt x="688" y="144"/>
                  </a:lnTo>
                  <a:close/>
                  <a:moveTo>
                    <a:pt x="688" y="127"/>
                  </a:moveTo>
                  <a:lnTo>
                    <a:pt x="691" y="130"/>
                  </a:lnTo>
                  <a:lnTo>
                    <a:pt x="691" y="130"/>
                  </a:lnTo>
                  <a:lnTo>
                    <a:pt x="691" y="130"/>
                  </a:lnTo>
                  <a:lnTo>
                    <a:pt x="695" y="132"/>
                  </a:lnTo>
                  <a:lnTo>
                    <a:pt x="695" y="135"/>
                  </a:lnTo>
                  <a:lnTo>
                    <a:pt x="696" y="135"/>
                  </a:lnTo>
                  <a:lnTo>
                    <a:pt x="698" y="135"/>
                  </a:lnTo>
                  <a:lnTo>
                    <a:pt x="700" y="135"/>
                  </a:lnTo>
                  <a:lnTo>
                    <a:pt x="703" y="135"/>
                  </a:lnTo>
                  <a:lnTo>
                    <a:pt x="702" y="134"/>
                  </a:lnTo>
                  <a:lnTo>
                    <a:pt x="700" y="132"/>
                  </a:lnTo>
                  <a:lnTo>
                    <a:pt x="696" y="130"/>
                  </a:lnTo>
                  <a:lnTo>
                    <a:pt x="695" y="127"/>
                  </a:lnTo>
                  <a:lnTo>
                    <a:pt x="691" y="127"/>
                  </a:lnTo>
                  <a:lnTo>
                    <a:pt x="688" y="127"/>
                  </a:lnTo>
                  <a:lnTo>
                    <a:pt x="688" y="127"/>
                  </a:lnTo>
                  <a:lnTo>
                    <a:pt x="688" y="127"/>
                  </a:lnTo>
                  <a:lnTo>
                    <a:pt x="688" y="127"/>
                  </a:lnTo>
                  <a:lnTo>
                    <a:pt x="688" y="127"/>
                  </a:lnTo>
                  <a:close/>
                  <a:moveTo>
                    <a:pt x="637" y="214"/>
                  </a:moveTo>
                  <a:lnTo>
                    <a:pt x="641" y="217"/>
                  </a:lnTo>
                  <a:lnTo>
                    <a:pt x="641" y="217"/>
                  </a:lnTo>
                  <a:lnTo>
                    <a:pt x="641" y="220"/>
                  </a:lnTo>
                  <a:lnTo>
                    <a:pt x="641" y="217"/>
                  </a:lnTo>
                  <a:lnTo>
                    <a:pt x="637" y="214"/>
                  </a:lnTo>
                  <a:lnTo>
                    <a:pt x="637" y="214"/>
                  </a:lnTo>
                  <a:lnTo>
                    <a:pt x="637" y="214"/>
                  </a:lnTo>
                  <a:lnTo>
                    <a:pt x="637" y="214"/>
                  </a:lnTo>
                  <a:close/>
                  <a:moveTo>
                    <a:pt x="648" y="210"/>
                  </a:moveTo>
                  <a:lnTo>
                    <a:pt x="644" y="212"/>
                  </a:lnTo>
                  <a:lnTo>
                    <a:pt x="644" y="217"/>
                  </a:lnTo>
                  <a:lnTo>
                    <a:pt x="641" y="220"/>
                  </a:lnTo>
                  <a:lnTo>
                    <a:pt x="644" y="220"/>
                  </a:lnTo>
                  <a:lnTo>
                    <a:pt x="646" y="212"/>
                  </a:lnTo>
                  <a:lnTo>
                    <a:pt x="648" y="210"/>
                  </a:lnTo>
                  <a:lnTo>
                    <a:pt x="648" y="210"/>
                  </a:lnTo>
                  <a:lnTo>
                    <a:pt x="648" y="210"/>
                  </a:lnTo>
                  <a:lnTo>
                    <a:pt x="648" y="210"/>
                  </a:lnTo>
                  <a:close/>
                  <a:moveTo>
                    <a:pt x="674" y="233"/>
                  </a:moveTo>
                  <a:lnTo>
                    <a:pt x="672" y="234"/>
                  </a:lnTo>
                  <a:lnTo>
                    <a:pt x="674" y="234"/>
                  </a:lnTo>
                  <a:lnTo>
                    <a:pt x="674" y="233"/>
                  </a:lnTo>
                  <a:lnTo>
                    <a:pt x="674" y="233"/>
                  </a:lnTo>
                  <a:lnTo>
                    <a:pt x="674" y="233"/>
                  </a:lnTo>
                  <a:lnTo>
                    <a:pt x="674" y="233"/>
                  </a:lnTo>
                  <a:lnTo>
                    <a:pt x="674" y="233"/>
                  </a:lnTo>
                  <a:close/>
                  <a:moveTo>
                    <a:pt x="663" y="226"/>
                  </a:moveTo>
                  <a:lnTo>
                    <a:pt x="663" y="224"/>
                  </a:lnTo>
                  <a:lnTo>
                    <a:pt x="663" y="226"/>
                  </a:lnTo>
                  <a:lnTo>
                    <a:pt x="663" y="229"/>
                  </a:lnTo>
                  <a:lnTo>
                    <a:pt x="663" y="231"/>
                  </a:lnTo>
                  <a:lnTo>
                    <a:pt x="667" y="233"/>
                  </a:lnTo>
                  <a:lnTo>
                    <a:pt x="663" y="233"/>
                  </a:lnTo>
                  <a:lnTo>
                    <a:pt x="663" y="231"/>
                  </a:lnTo>
                  <a:lnTo>
                    <a:pt x="663" y="234"/>
                  </a:lnTo>
                  <a:lnTo>
                    <a:pt x="663" y="236"/>
                  </a:lnTo>
                  <a:lnTo>
                    <a:pt x="667" y="236"/>
                  </a:lnTo>
                  <a:lnTo>
                    <a:pt x="669" y="233"/>
                  </a:lnTo>
                  <a:lnTo>
                    <a:pt x="672" y="233"/>
                  </a:lnTo>
                  <a:lnTo>
                    <a:pt x="669" y="231"/>
                  </a:lnTo>
                  <a:lnTo>
                    <a:pt x="669" y="227"/>
                  </a:lnTo>
                  <a:lnTo>
                    <a:pt x="663" y="226"/>
                  </a:lnTo>
                  <a:lnTo>
                    <a:pt x="663" y="226"/>
                  </a:lnTo>
                  <a:lnTo>
                    <a:pt x="663" y="226"/>
                  </a:lnTo>
                  <a:lnTo>
                    <a:pt x="663" y="226"/>
                  </a:lnTo>
                  <a:close/>
                  <a:moveTo>
                    <a:pt x="672" y="227"/>
                  </a:moveTo>
                  <a:lnTo>
                    <a:pt x="672" y="227"/>
                  </a:lnTo>
                  <a:lnTo>
                    <a:pt x="669" y="227"/>
                  </a:lnTo>
                  <a:lnTo>
                    <a:pt x="669" y="229"/>
                  </a:lnTo>
                  <a:lnTo>
                    <a:pt x="672" y="231"/>
                  </a:lnTo>
                  <a:lnTo>
                    <a:pt x="672" y="231"/>
                  </a:lnTo>
                  <a:lnTo>
                    <a:pt x="672" y="227"/>
                  </a:lnTo>
                  <a:lnTo>
                    <a:pt x="672" y="227"/>
                  </a:lnTo>
                  <a:lnTo>
                    <a:pt x="672" y="227"/>
                  </a:lnTo>
                  <a:lnTo>
                    <a:pt x="672" y="227"/>
                  </a:lnTo>
                  <a:lnTo>
                    <a:pt x="672" y="227"/>
                  </a:lnTo>
                  <a:close/>
                  <a:moveTo>
                    <a:pt x="667" y="220"/>
                  </a:moveTo>
                  <a:lnTo>
                    <a:pt x="663" y="220"/>
                  </a:lnTo>
                  <a:lnTo>
                    <a:pt x="663" y="222"/>
                  </a:lnTo>
                  <a:lnTo>
                    <a:pt x="667" y="226"/>
                  </a:lnTo>
                  <a:lnTo>
                    <a:pt x="669" y="227"/>
                  </a:lnTo>
                  <a:lnTo>
                    <a:pt x="669" y="226"/>
                  </a:lnTo>
                  <a:lnTo>
                    <a:pt x="667" y="224"/>
                  </a:lnTo>
                  <a:lnTo>
                    <a:pt x="667" y="220"/>
                  </a:lnTo>
                  <a:lnTo>
                    <a:pt x="667" y="220"/>
                  </a:lnTo>
                  <a:lnTo>
                    <a:pt x="667" y="220"/>
                  </a:lnTo>
                  <a:lnTo>
                    <a:pt x="667" y="220"/>
                  </a:lnTo>
                  <a:close/>
                  <a:moveTo>
                    <a:pt x="672" y="220"/>
                  </a:moveTo>
                  <a:lnTo>
                    <a:pt x="669" y="220"/>
                  </a:lnTo>
                  <a:lnTo>
                    <a:pt x="669" y="222"/>
                  </a:lnTo>
                  <a:lnTo>
                    <a:pt x="669" y="222"/>
                  </a:lnTo>
                  <a:lnTo>
                    <a:pt x="672" y="226"/>
                  </a:lnTo>
                  <a:lnTo>
                    <a:pt x="672" y="226"/>
                  </a:lnTo>
                  <a:lnTo>
                    <a:pt x="674" y="224"/>
                  </a:lnTo>
                  <a:lnTo>
                    <a:pt x="674" y="222"/>
                  </a:lnTo>
                  <a:lnTo>
                    <a:pt x="674" y="222"/>
                  </a:lnTo>
                  <a:lnTo>
                    <a:pt x="674" y="220"/>
                  </a:lnTo>
                  <a:lnTo>
                    <a:pt x="672" y="220"/>
                  </a:lnTo>
                  <a:lnTo>
                    <a:pt x="672" y="220"/>
                  </a:lnTo>
                  <a:lnTo>
                    <a:pt x="672" y="220"/>
                  </a:lnTo>
                  <a:lnTo>
                    <a:pt x="672" y="220"/>
                  </a:lnTo>
                  <a:lnTo>
                    <a:pt x="672" y="220"/>
                  </a:lnTo>
                  <a:close/>
                  <a:moveTo>
                    <a:pt x="667" y="217"/>
                  </a:moveTo>
                  <a:lnTo>
                    <a:pt x="663" y="217"/>
                  </a:lnTo>
                  <a:lnTo>
                    <a:pt x="663" y="217"/>
                  </a:lnTo>
                  <a:lnTo>
                    <a:pt x="667" y="217"/>
                  </a:lnTo>
                  <a:lnTo>
                    <a:pt x="667" y="217"/>
                  </a:lnTo>
                  <a:lnTo>
                    <a:pt x="667" y="217"/>
                  </a:lnTo>
                  <a:lnTo>
                    <a:pt x="667" y="217"/>
                  </a:lnTo>
                  <a:lnTo>
                    <a:pt x="667" y="217"/>
                  </a:lnTo>
                  <a:close/>
                  <a:moveTo>
                    <a:pt x="672" y="212"/>
                  </a:moveTo>
                  <a:lnTo>
                    <a:pt x="672" y="214"/>
                  </a:lnTo>
                  <a:lnTo>
                    <a:pt x="674" y="214"/>
                  </a:lnTo>
                  <a:lnTo>
                    <a:pt x="672" y="212"/>
                  </a:lnTo>
                  <a:lnTo>
                    <a:pt x="672" y="212"/>
                  </a:lnTo>
                  <a:lnTo>
                    <a:pt x="672" y="212"/>
                  </a:lnTo>
                  <a:lnTo>
                    <a:pt x="672" y="212"/>
                  </a:lnTo>
                  <a:lnTo>
                    <a:pt x="672" y="212"/>
                  </a:lnTo>
                  <a:close/>
                  <a:moveTo>
                    <a:pt x="672" y="212"/>
                  </a:moveTo>
                  <a:lnTo>
                    <a:pt x="669" y="212"/>
                  </a:lnTo>
                  <a:lnTo>
                    <a:pt x="669" y="215"/>
                  </a:lnTo>
                  <a:lnTo>
                    <a:pt x="667" y="215"/>
                  </a:lnTo>
                  <a:lnTo>
                    <a:pt x="669" y="215"/>
                  </a:lnTo>
                  <a:lnTo>
                    <a:pt x="669" y="217"/>
                  </a:lnTo>
                  <a:lnTo>
                    <a:pt x="669" y="217"/>
                  </a:lnTo>
                  <a:lnTo>
                    <a:pt x="669" y="217"/>
                  </a:lnTo>
                  <a:lnTo>
                    <a:pt x="669" y="220"/>
                  </a:lnTo>
                  <a:lnTo>
                    <a:pt x="669" y="220"/>
                  </a:lnTo>
                  <a:lnTo>
                    <a:pt x="672" y="217"/>
                  </a:lnTo>
                  <a:lnTo>
                    <a:pt x="672" y="217"/>
                  </a:lnTo>
                  <a:lnTo>
                    <a:pt x="674" y="217"/>
                  </a:lnTo>
                  <a:lnTo>
                    <a:pt x="674" y="214"/>
                  </a:lnTo>
                  <a:lnTo>
                    <a:pt x="672" y="214"/>
                  </a:lnTo>
                  <a:lnTo>
                    <a:pt x="672" y="212"/>
                  </a:lnTo>
                  <a:lnTo>
                    <a:pt x="672" y="212"/>
                  </a:lnTo>
                  <a:lnTo>
                    <a:pt x="672" y="212"/>
                  </a:lnTo>
                  <a:lnTo>
                    <a:pt x="672" y="212"/>
                  </a:lnTo>
                  <a:close/>
                  <a:moveTo>
                    <a:pt x="625" y="240"/>
                  </a:moveTo>
                  <a:lnTo>
                    <a:pt x="629" y="238"/>
                  </a:lnTo>
                  <a:lnTo>
                    <a:pt x="627" y="238"/>
                  </a:lnTo>
                  <a:lnTo>
                    <a:pt x="625" y="240"/>
                  </a:lnTo>
                  <a:lnTo>
                    <a:pt x="625" y="240"/>
                  </a:lnTo>
                  <a:lnTo>
                    <a:pt x="625" y="240"/>
                  </a:lnTo>
                  <a:lnTo>
                    <a:pt x="625" y="240"/>
                  </a:lnTo>
                  <a:close/>
                  <a:moveTo>
                    <a:pt x="622" y="240"/>
                  </a:moveTo>
                  <a:lnTo>
                    <a:pt x="627" y="243"/>
                  </a:lnTo>
                  <a:lnTo>
                    <a:pt x="625" y="240"/>
                  </a:lnTo>
                  <a:lnTo>
                    <a:pt x="622" y="240"/>
                  </a:lnTo>
                  <a:lnTo>
                    <a:pt x="622" y="240"/>
                  </a:lnTo>
                  <a:lnTo>
                    <a:pt x="622" y="240"/>
                  </a:lnTo>
                  <a:lnTo>
                    <a:pt x="622" y="240"/>
                  </a:lnTo>
                  <a:close/>
                  <a:moveTo>
                    <a:pt x="608" y="247"/>
                  </a:moveTo>
                  <a:lnTo>
                    <a:pt x="606" y="248"/>
                  </a:lnTo>
                  <a:lnTo>
                    <a:pt x="608" y="248"/>
                  </a:lnTo>
                  <a:lnTo>
                    <a:pt x="608" y="248"/>
                  </a:lnTo>
                  <a:lnTo>
                    <a:pt x="608" y="247"/>
                  </a:lnTo>
                  <a:lnTo>
                    <a:pt x="608" y="247"/>
                  </a:lnTo>
                  <a:lnTo>
                    <a:pt x="608" y="247"/>
                  </a:lnTo>
                  <a:lnTo>
                    <a:pt x="608" y="247"/>
                  </a:lnTo>
                  <a:close/>
                  <a:moveTo>
                    <a:pt x="613" y="245"/>
                  </a:moveTo>
                  <a:lnTo>
                    <a:pt x="608" y="245"/>
                  </a:lnTo>
                  <a:lnTo>
                    <a:pt x="610" y="247"/>
                  </a:lnTo>
                  <a:lnTo>
                    <a:pt x="613" y="245"/>
                  </a:lnTo>
                  <a:lnTo>
                    <a:pt x="613" y="245"/>
                  </a:lnTo>
                  <a:lnTo>
                    <a:pt x="613" y="245"/>
                  </a:lnTo>
                  <a:lnTo>
                    <a:pt x="613" y="245"/>
                  </a:lnTo>
                  <a:lnTo>
                    <a:pt x="613" y="245"/>
                  </a:lnTo>
                  <a:close/>
                  <a:moveTo>
                    <a:pt x="613" y="257"/>
                  </a:moveTo>
                  <a:lnTo>
                    <a:pt x="610" y="257"/>
                  </a:lnTo>
                  <a:lnTo>
                    <a:pt x="608" y="260"/>
                  </a:lnTo>
                  <a:lnTo>
                    <a:pt x="608" y="260"/>
                  </a:lnTo>
                  <a:lnTo>
                    <a:pt x="610" y="260"/>
                  </a:lnTo>
                  <a:lnTo>
                    <a:pt x="613" y="259"/>
                  </a:lnTo>
                  <a:lnTo>
                    <a:pt x="613" y="257"/>
                  </a:lnTo>
                  <a:lnTo>
                    <a:pt x="613" y="257"/>
                  </a:lnTo>
                  <a:lnTo>
                    <a:pt x="613" y="257"/>
                  </a:lnTo>
                  <a:lnTo>
                    <a:pt x="613" y="257"/>
                  </a:lnTo>
                  <a:close/>
                  <a:moveTo>
                    <a:pt x="618" y="243"/>
                  </a:moveTo>
                  <a:lnTo>
                    <a:pt x="613" y="247"/>
                  </a:lnTo>
                  <a:lnTo>
                    <a:pt x="613" y="248"/>
                  </a:lnTo>
                  <a:lnTo>
                    <a:pt x="613" y="250"/>
                  </a:lnTo>
                  <a:lnTo>
                    <a:pt x="613" y="252"/>
                  </a:lnTo>
                  <a:lnTo>
                    <a:pt x="613" y="255"/>
                  </a:lnTo>
                  <a:lnTo>
                    <a:pt x="613" y="257"/>
                  </a:lnTo>
                  <a:lnTo>
                    <a:pt x="618" y="257"/>
                  </a:lnTo>
                  <a:lnTo>
                    <a:pt x="622" y="252"/>
                  </a:lnTo>
                  <a:lnTo>
                    <a:pt x="622" y="247"/>
                  </a:lnTo>
                  <a:lnTo>
                    <a:pt x="622" y="243"/>
                  </a:lnTo>
                  <a:lnTo>
                    <a:pt x="622" y="243"/>
                  </a:lnTo>
                  <a:lnTo>
                    <a:pt x="622" y="243"/>
                  </a:lnTo>
                  <a:lnTo>
                    <a:pt x="622" y="240"/>
                  </a:lnTo>
                  <a:lnTo>
                    <a:pt x="618" y="243"/>
                  </a:lnTo>
                  <a:lnTo>
                    <a:pt x="618" y="243"/>
                  </a:lnTo>
                  <a:lnTo>
                    <a:pt x="618" y="243"/>
                  </a:lnTo>
                  <a:lnTo>
                    <a:pt x="618" y="243"/>
                  </a:lnTo>
                  <a:lnTo>
                    <a:pt x="618" y="243"/>
                  </a:lnTo>
                  <a:close/>
                  <a:moveTo>
                    <a:pt x="592" y="227"/>
                  </a:moveTo>
                  <a:lnTo>
                    <a:pt x="594" y="226"/>
                  </a:lnTo>
                  <a:lnTo>
                    <a:pt x="592" y="224"/>
                  </a:lnTo>
                  <a:lnTo>
                    <a:pt x="592" y="227"/>
                  </a:lnTo>
                  <a:lnTo>
                    <a:pt x="592" y="227"/>
                  </a:lnTo>
                  <a:lnTo>
                    <a:pt x="592" y="227"/>
                  </a:lnTo>
                  <a:lnTo>
                    <a:pt x="592" y="227"/>
                  </a:lnTo>
                  <a:close/>
                  <a:moveTo>
                    <a:pt x="585" y="233"/>
                  </a:moveTo>
                  <a:lnTo>
                    <a:pt x="584" y="234"/>
                  </a:lnTo>
                  <a:lnTo>
                    <a:pt x="585" y="234"/>
                  </a:lnTo>
                  <a:lnTo>
                    <a:pt x="585" y="233"/>
                  </a:lnTo>
                  <a:lnTo>
                    <a:pt x="585" y="233"/>
                  </a:lnTo>
                  <a:lnTo>
                    <a:pt x="585" y="233"/>
                  </a:lnTo>
                  <a:lnTo>
                    <a:pt x="585" y="233"/>
                  </a:lnTo>
                  <a:close/>
                  <a:moveTo>
                    <a:pt x="590" y="259"/>
                  </a:moveTo>
                  <a:lnTo>
                    <a:pt x="587" y="260"/>
                  </a:lnTo>
                  <a:lnTo>
                    <a:pt x="590" y="260"/>
                  </a:lnTo>
                  <a:lnTo>
                    <a:pt x="590" y="259"/>
                  </a:lnTo>
                  <a:lnTo>
                    <a:pt x="590" y="259"/>
                  </a:lnTo>
                  <a:lnTo>
                    <a:pt x="590" y="259"/>
                  </a:lnTo>
                  <a:lnTo>
                    <a:pt x="590" y="259"/>
                  </a:lnTo>
                  <a:close/>
                  <a:moveTo>
                    <a:pt x="585" y="253"/>
                  </a:moveTo>
                  <a:lnTo>
                    <a:pt x="587" y="252"/>
                  </a:lnTo>
                  <a:lnTo>
                    <a:pt x="590" y="253"/>
                  </a:lnTo>
                  <a:lnTo>
                    <a:pt x="590" y="255"/>
                  </a:lnTo>
                  <a:lnTo>
                    <a:pt x="587" y="257"/>
                  </a:lnTo>
                  <a:lnTo>
                    <a:pt x="585" y="255"/>
                  </a:lnTo>
                  <a:lnTo>
                    <a:pt x="585" y="253"/>
                  </a:lnTo>
                  <a:lnTo>
                    <a:pt x="585" y="253"/>
                  </a:lnTo>
                  <a:lnTo>
                    <a:pt x="585" y="253"/>
                  </a:lnTo>
                  <a:lnTo>
                    <a:pt x="585" y="253"/>
                  </a:lnTo>
                  <a:close/>
                  <a:moveTo>
                    <a:pt x="568" y="240"/>
                  </a:moveTo>
                  <a:lnTo>
                    <a:pt x="568" y="240"/>
                  </a:lnTo>
                  <a:lnTo>
                    <a:pt x="570" y="240"/>
                  </a:lnTo>
                  <a:lnTo>
                    <a:pt x="568" y="243"/>
                  </a:lnTo>
                  <a:lnTo>
                    <a:pt x="568" y="243"/>
                  </a:lnTo>
                  <a:lnTo>
                    <a:pt x="568" y="240"/>
                  </a:lnTo>
                  <a:lnTo>
                    <a:pt x="568" y="240"/>
                  </a:lnTo>
                  <a:lnTo>
                    <a:pt x="568" y="240"/>
                  </a:lnTo>
                  <a:lnTo>
                    <a:pt x="568" y="240"/>
                  </a:lnTo>
                  <a:close/>
                  <a:moveTo>
                    <a:pt x="570" y="262"/>
                  </a:moveTo>
                  <a:lnTo>
                    <a:pt x="573" y="260"/>
                  </a:lnTo>
                  <a:lnTo>
                    <a:pt x="575" y="262"/>
                  </a:lnTo>
                  <a:lnTo>
                    <a:pt x="571" y="262"/>
                  </a:lnTo>
                  <a:lnTo>
                    <a:pt x="570" y="262"/>
                  </a:lnTo>
                  <a:lnTo>
                    <a:pt x="570" y="262"/>
                  </a:lnTo>
                  <a:lnTo>
                    <a:pt x="570" y="262"/>
                  </a:lnTo>
                  <a:lnTo>
                    <a:pt x="570" y="262"/>
                  </a:lnTo>
                  <a:close/>
                  <a:moveTo>
                    <a:pt x="544" y="248"/>
                  </a:moveTo>
                  <a:lnTo>
                    <a:pt x="547" y="247"/>
                  </a:lnTo>
                  <a:lnTo>
                    <a:pt x="545" y="245"/>
                  </a:lnTo>
                  <a:lnTo>
                    <a:pt x="544" y="247"/>
                  </a:lnTo>
                  <a:lnTo>
                    <a:pt x="544" y="248"/>
                  </a:lnTo>
                  <a:lnTo>
                    <a:pt x="544" y="248"/>
                  </a:lnTo>
                  <a:lnTo>
                    <a:pt x="544" y="248"/>
                  </a:lnTo>
                  <a:lnTo>
                    <a:pt x="544" y="248"/>
                  </a:lnTo>
                  <a:close/>
                  <a:moveTo>
                    <a:pt x="554" y="259"/>
                  </a:moveTo>
                  <a:lnTo>
                    <a:pt x="559" y="260"/>
                  </a:lnTo>
                  <a:lnTo>
                    <a:pt x="563" y="259"/>
                  </a:lnTo>
                  <a:lnTo>
                    <a:pt x="563" y="260"/>
                  </a:lnTo>
                  <a:lnTo>
                    <a:pt x="557" y="262"/>
                  </a:lnTo>
                  <a:lnTo>
                    <a:pt x="554" y="260"/>
                  </a:lnTo>
                  <a:lnTo>
                    <a:pt x="554" y="259"/>
                  </a:lnTo>
                  <a:lnTo>
                    <a:pt x="554" y="259"/>
                  </a:lnTo>
                  <a:lnTo>
                    <a:pt x="554" y="259"/>
                  </a:lnTo>
                  <a:lnTo>
                    <a:pt x="554" y="259"/>
                  </a:lnTo>
                  <a:close/>
                  <a:moveTo>
                    <a:pt x="549" y="260"/>
                  </a:moveTo>
                  <a:lnTo>
                    <a:pt x="550" y="260"/>
                  </a:lnTo>
                  <a:lnTo>
                    <a:pt x="550" y="262"/>
                  </a:lnTo>
                  <a:lnTo>
                    <a:pt x="549" y="260"/>
                  </a:lnTo>
                  <a:lnTo>
                    <a:pt x="549" y="260"/>
                  </a:lnTo>
                  <a:lnTo>
                    <a:pt x="549" y="260"/>
                  </a:lnTo>
                  <a:lnTo>
                    <a:pt x="549" y="260"/>
                  </a:lnTo>
                  <a:close/>
                  <a:moveTo>
                    <a:pt x="540" y="260"/>
                  </a:moveTo>
                  <a:lnTo>
                    <a:pt x="542" y="259"/>
                  </a:lnTo>
                  <a:lnTo>
                    <a:pt x="544" y="260"/>
                  </a:lnTo>
                  <a:lnTo>
                    <a:pt x="542" y="260"/>
                  </a:lnTo>
                  <a:lnTo>
                    <a:pt x="540" y="260"/>
                  </a:lnTo>
                  <a:lnTo>
                    <a:pt x="540" y="260"/>
                  </a:lnTo>
                  <a:lnTo>
                    <a:pt x="540" y="260"/>
                  </a:lnTo>
                  <a:lnTo>
                    <a:pt x="540" y="260"/>
                  </a:lnTo>
                  <a:close/>
                  <a:moveTo>
                    <a:pt x="478" y="295"/>
                  </a:moveTo>
                  <a:lnTo>
                    <a:pt x="476" y="299"/>
                  </a:lnTo>
                  <a:lnTo>
                    <a:pt x="478" y="300"/>
                  </a:lnTo>
                  <a:lnTo>
                    <a:pt x="483" y="299"/>
                  </a:lnTo>
                  <a:lnTo>
                    <a:pt x="488" y="295"/>
                  </a:lnTo>
                  <a:lnTo>
                    <a:pt x="491" y="295"/>
                  </a:lnTo>
                  <a:lnTo>
                    <a:pt x="495" y="295"/>
                  </a:lnTo>
                  <a:lnTo>
                    <a:pt x="497" y="293"/>
                  </a:lnTo>
                  <a:lnTo>
                    <a:pt x="500" y="290"/>
                  </a:lnTo>
                  <a:lnTo>
                    <a:pt x="505" y="285"/>
                  </a:lnTo>
                  <a:lnTo>
                    <a:pt x="509" y="283"/>
                  </a:lnTo>
                  <a:lnTo>
                    <a:pt x="509" y="283"/>
                  </a:lnTo>
                  <a:lnTo>
                    <a:pt x="505" y="280"/>
                  </a:lnTo>
                  <a:lnTo>
                    <a:pt x="502" y="274"/>
                  </a:lnTo>
                  <a:lnTo>
                    <a:pt x="500" y="276"/>
                  </a:lnTo>
                  <a:lnTo>
                    <a:pt x="497" y="276"/>
                  </a:lnTo>
                  <a:lnTo>
                    <a:pt x="497" y="281"/>
                  </a:lnTo>
                  <a:lnTo>
                    <a:pt x="495" y="281"/>
                  </a:lnTo>
                  <a:lnTo>
                    <a:pt x="490" y="283"/>
                  </a:lnTo>
                  <a:lnTo>
                    <a:pt x="486" y="280"/>
                  </a:lnTo>
                  <a:lnTo>
                    <a:pt x="486" y="281"/>
                  </a:lnTo>
                  <a:lnTo>
                    <a:pt x="483" y="283"/>
                  </a:lnTo>
                  <a:lnTo>
                    <a:pt x="483" y="285"/>
                  </a:lnTo>
                  <a:lnTo>
                    <a:pt x="479" y="292"/>
                  </a:lnTo>
                  <a:lnTo>
                    <a:pt x="479" y="292"/>
                  </a:lnTo>
                  <a:lnTo>
                    <a:pt x="481" y="293"/>
                  </a:lnTo>
                  <a:lnTo>
                    <a:pt x="481" y="295"/>
                  </a:lnTo>
                  <a:lnTo>
                    <a:pt x="479" y="295"/>
                  </a:lnTo>
                  <a:lnTo>
                    <a:pt x="478" y="295"/>
                  </a:lnTo>
                  <a:lnTo>
                    <a:pt x="478" y="295"/>
                  </a:lnTo>
                  <a:lnTo>
                    <a:pt x="478" y="295"/>
                  </a:lnTo>
                  <a:lnTo>
                    <a:pt x="478" y="295"/>
                  </a:lnTo>
                  <a:close/>
                  <a:moveTo>
                    <a:pt x="474" y="299"/>
                  </a:moveTo>
                  <a:lnTo>
                    <a:pt x="476" y="295"/>
                  </a:lnTo>
                  <a:lnTo>
                    <a:pt x="474" y="295"/>
                  </a:lnTo>
                  <a:lnTo>
                    <a:pt x="472" y="297"/>
                  </a:lnTo>
                  <a:lnTo>
                    <a:pt x="474" y="299"/>
                  </a:lnTo>
                  <a:lnTo>
                    <a:pt x="474" y="299"/>
                  </a:lnTo>
                  <a:lnTo>
                    <a:pt x="474" y="299"/>
                  </a:lnTo>
                  <a:lnTo>
                    <a:pt x="474" y="299"/>
                  </a:lnTo>
                  <a:close/>
                  <a:moveTo>
                    <a:pt x="474" y="300"/>
                  </a:moveTo>
                  <a:lnTo>
                    <a:pt x="471" y="302"/>
                  </a:lnTo>
                  <a:lnTo>
                    <a:pt x="472" y="302"/>
                  </a:lnTo>
                  <a:lnTo>
                    <a:pt x="465" y="306"/>
                  </a:lnTo>
                  <a:lnTo>
                    <a:pt x="464" y="307"/>
                  </a:lnTo>
                  <a:lnTo>
                    <a:pt x="465" y="307"/>
                  </a:lnTo>
                  <a:lnTo>
                    <a:pt x="474" y="306"/>
                  </a:lnTo>
                  <a:lnTo>
                    <a:pt x="476" y="302"/>
                  </a:lnTo>
                  <a:lnTo>
                    <a:pt x="474" y="300"/>
                  </a:lnTo>
                  <a:lnTo>
                    <a:pt x="474" y="300"/>
                  </a:lnTo>
                  <a:lnTo>
                    <a:pt x="474" y="300"/>
                  </a:lnTo>
                  <a:lnTo>
                    <a:pt x="474" y="300"/>
                  </a:lnTo>
                  <a:close/>
                  <a:moveTo>
                    <a:pt x="450" y="300"/>
                  </a:moveTo>
                  <a:lnTo>
                    <a:pt x="451" y="302"/>
                  </a:lnTo>
                  <a:lnTo>
                    <a:pt x="451" y="302"/>
                  </a:lnTo>
                  <a:lnTo>
                    <a:pt x="450" y="302"/>
                  </a:lnTo>
                  <a:lnTo>
                    <a:pt x="446" y="302"/>
                  </a:lnTo>
                  <a:lnTo>
                    <a:pt x="448" y="302"/>
                  </a:lnTo>
                  <a:lnTo>
                    <a:pt x="450" y="300"/>
                  </a:lnTo>
                  <a:lnTo>
                    <a:pt x="450" y="300"/>
                  </a:lnTo>
                  <a:lnTo>
                    <a:pt x="450" y="300"/>
                  </a:lnTo>
                  <a:lnTo>
                    <a:pt x="450" y="300"/>
                  </a:lnTo>
                  <a:close/>
                  <a:moveTo>
                    <a:pt x="399" y="283"/>
                  </a:moveTo>
                  <a:lnTo>
                    <a:pt x="408" y="278"/>
                  </a:lnTo>
                  <a:lnTo>
                    <a:pt x="413" y="283"/>
                  </a:lnTo>
                  <a:lnTo>
                    <a:pt x="415" y="283"/>
                  </a:lnTo>
                  <a:lnTo>
                    <a:pt x="417" y="281"/>
                  </a:lnTo>
                  <a:lnTo>
                    <a:pt x="422" y="283"/>
                  </a:lnTo>
                  <a:lnTo>
                    <a:pt x="424" y="285"/>
                  </a:lnTo>
                  <a:lnTo>
                    <a:pt x="427" y="285"/>
                  </a:lnTo>
                  <a:lnTo>
                    <a:pt x="429" y="288"/>
                  </a:lnTo>
                  <a:lnTo>
                    <a:pt x="432" y="292"/>
                  </a:lnTo>
                  <a:lnTo>
                    <a:pt x="432" y="293"/>
                  </a:lnTo>
                  <a:lnTo>
                    <a:pt x="429" y="297"/>
                  </a:lnTo>
                  <a:lnTo>
                    <a:pt x="424" y="297"/>
                  </a:lnTo>
                  <a:lnTo>
                    <a:pt x="418" y="295"/>
                  </a:lnTo>
                  <a:lnTo>
                    <a:pt x="415" y="290"/>
                  </a:lnTo>
                  <a:lnTo>
                    <a:pt x="413" y="290"/>
                  </a:lnTo>
                  <a:lnTo>
                    <a:pt x="410" y="288"/>
                  </a:lnTo>
                  <a:lnTo>
                    <a:pt x="408" y="288"/>
                  </a:lnTo>
                  <a:lnTo>
                    <a:pt x="401" y="288"/>
                  </a:lnTo>
                  <a:lnTo>
                    <a:pt x="399" y="285"/>
                  </a:lnTo>
                  <a:lnTo>
                    <a:pt x="399" y="283"/>
                  </a:lnTo>
                  <a:lnTo>
                    <a:pt x="399" y="283"/>
                  </a:lnTo>
                  <a:lnTo>
                    <a:pt x="399" y="283"/>
                  </a:lnTo>
                  <a:lnTo>
                    <a:pt x="399" y="283"/>
                  </a:lnTo>
                  <a:close/>
                  <a:moveTo>
                    <a:pt x="347" y="243"/>
                  </a:moveTo>
                  <a:lnTo>
                    <a:pt x="349" y="243"/>
                  </a:lnTo>
                  <a:lnTo>
                    <a:pt x="351" y="243"/>
                  </a:lnTo>
                  <a:lnTo>
                    <a:pt x="351" y="243"/>
                  </a:lnTo>
                  <a:lnTo>
                    <a:pt x="347" y="243"/>
                  </a:lnTo>
                  <a:lnTo>
                    <a:pt x="347" y="243"/>
                  </a:lnTo>
                  <a:lnTo>
                    <a:pt x="347" y="243"/>
                  </a:lnTo>
                  <a:lnTo>
                    <a:pt x="347" y="243"/>
                  </a:lnTo>
                  <a:lnTo>
                    <a:pt x="347" y="243"/>
                  </a:lnTo>
                  <a:close/>
                  <a:moveTo>
                    <a:pt x="337" y="240"/>
                  </a:moveTo>
                  <a:lnTo>
                    <a:pt x="339" y="240"/>
                  </a:lnTo>
                  <a:lnTo>
                    <a:pt x="342" y="238"/>
                  </a:lnTo>
                  <a:lnTo>
                    <a:pt x="344" y="240"/>
                  </a:lnTo>
                  <a:lnTo>
                    <a:pt x="344" y="240"/>
                  </a:lnTo>
                  <a:lnTo>
                    <a:pt x="344" y="238"/>
                  </a:lnTo>
                  <a:lnTo>
                    <a:pt x="342" y="236"/>
                  </a:lnTo>
                  <a:lnTo>
                    <a:pt x="339" y="236"/>
                  </a:lnTo>
                  <a:lnTo>
                    <a:pt x="337" y="238"/>
                  </a:lnTo>
                  <a:lnTo>
                    <a:pt x="337" y="240"/>
                  </a:lnTo>
                  <a:lnTo>
                    <a:pt x="337" y="240"/>
                  </a:lnTo>
                  <a:lnTo>
                    <a:pt x="337" y="240"/>
                  </a:lnTo>
                  <a:lnTo>
                    <a:pt x="337" y="240"/>
                  </a:lnTo>
                  <a:close/>
                  <a:moveTo>
                    <a:pt x="519" y="255"/>
                  </a:moveTo>
                  <a:lnTo>
                    <a:pt x="524" y="253"/>
                  </a:lnTo>
                  <a:lnTo>
                    <a:pt x="530" y="255"/>
                  </a:lnTo>
                  <a:lnTo>
                    <a:pt x="531" y="255"/>
                  </a:lnTo>
                  <a:lnTo>
                    <a:pt x="533" y="253"/>
                  </a:lnTo>
                  <a:lnTo>
                    <a:pt x="535" y="252"/>
                  </a:lnTo>
                  <a:lnTo>
                    <a:pt x="537" y="250"/>
                  </a:lnTo>
                  <a:lnTo>
                    <a:pt x="537" y="248"/>
                  </a:lnTo>
                  <a:lnTo>
                    <a:pt x="535" y="248"/>
                  </a:lnTo>
                  <a:lnTo>
                    <a:pt x="531" y="250"/>
                  </a:lnTo>
                  <a:lnTo>
                    <a:pt x="524" y="250"/>
                  </a:lnTo>
                  <a:lnTo>
                    <a:pt x="523" y="248"/>
                  </a:lnTo>
                  <a:lnTo>
                    <a:pt x="521" y="250"/>
                  </a:lnTo>
                  <a:lnTo>
                    <a:pt x="519" y="253"/>
                  </a:lnTo>
                  <a:lnTo>
                    <a:pt x="519" y="255"/>
                  </a:lnTo>
                  <a:lnTo>
                    <a:pt x="519" y="255"/>
                  </a:lnTo>
                  <a:lnTo>
                    <a:pt x="519" y="255"/>
                  </a:lnTo>
                  <a:lnTo>
                    <a:pt x="519" y="255"/>
                  </a:lnTo>
                  <a:close/>
                  <a:moveTo>
                    <a:pt x="514" y="260"/>
                  </a:moveTo>
                  <a:lnTo>
                    <a:pt x="514" y="262"/>
                  </a:lnTo>
                  <a:lnTo>
                    <a:pt x="514" y="262"/>
                  </a:lnTo>
                  <a:lnTo>
                    <a:pt x="517" y="262"/>
                  </a:lnTo>
                  <a:lnTo>
                    <a:pt x="514" y="260"/>
                  </a:lnTo>
                  <a:lnTo>
                    <a:pt x="514" y="260"/>
                  </a:lnTo>
                  <a:lnTo>
                    <a:pt x="514" y="260"/>
                  </a:lnTo>
                  <a:lnTo>
                    <a:pt x="514" y="260"/>
                  </a:lnTo>
                  <a:close/>
                  <a:moveTo>
                    <a:pt x="498" y="260"/>
                  </a:moveTo>
                  <a:lnTo>
                    <a:pt x="495" y="262"/>
                  </a:lnTo>
                  <a:lnTo>
                    <a:pt x="497" y="262"/>
                  </a:lnTo>
                  <a:lnTo>
                    <a:pt x="497" y="262"/>
                  </a:lnTo>
                  <a:lnTo>
                    <a:pt x="497" y="266"/>
                  </a:lnTo>
                  <a:lnTo>
                    <a:pt x="500" y="266"/>
                  </a:lnTo>
                  <a:lnTo>
                    <a:pt x="505" y="262"/>
                  </a:lnTo>
                  <a:lnTo>
                    <a:pt x="505" y="262"/>
                  </a:lnTo>
                  <a:lnTo>
                    <a:pt x="505" y="260"/>
                  </a:lnTo>
                  <a:lnTo>
                    <a:pt x="500" y="260"/>
                  </a:lnTo>
                  <a:lnTo>
                    <a:pt x="498" y="260"/>
                  </a:lnTo>
                  <a:lnTo>
                    <a:pt x="498" y="260"/>
                  </a:lnTo>
                  <a:lnTo>
                    <a:pt x="498" y="260"/>
                  </a:lnTo>
                  <a:lnTo>
                    <a:pt x="498" y="260"/>
                  </a:lnTo>
                  <a:close/>
                  <a:moveTo>
                    <a:pt x="486" y="266"/>
                  </a:moveTo>
                  <a:lnTo>
                    <a:pt x="488" y="266"/>
                  </a:lnTo>
                  <a:lnTo>
                    <a:pt x="490" y="267"/>
                  </a:lnTo>
                  <a:lnTo>
                    <a:pt x="495" y="266"/>
                  </a:lnTo>
                  <a:lnTo>
                    <a:pt x="495" y="262"/>
                  </a:lnTo>
                  <a:lnTo>
                    <a:pt x="491" y="266"/>
                  </a:lnTo>
                  <a:lnTo>
                    <a:pt x="488" y="266"/>
                  </a:lnTo>
                  <a:lnTo>
                    <a:pt x="486" y="266"/>
                  </a:lnTo>
                  <a:lnTo>
                    <a:pt x="486" y="266"/>
                  </a:lnTo>
                  <a:lnTo>
                    <a:pt x="486" y="266"/>
                  </a:lnTo>
                  <a:lnTo>
                    <a:pt x="486" y="266"/>
                  </a:lnTo>
                  <a:close/>
                  <a:moveTo>
                    <a:pt x="476" y="266"/>
                  </a:moveTo>
                  <a:lnTo>
                    <a:pt x="481" y="266"/>
                  </a:lnTo>
                  <a:lnTo>
                    <a:pt x="479" y="262"/>
                  </a:lnTo>
                  <a:lnTo>
                    <a:pt x="481" y="262"/>
                  </a:lnTo>
                  <a:lnTo>
                    <a:pt x="483" y="262"/>
                  </a:lnTo>
                  <a:lnTo>
                    <a:pt x="486" y="262"/>
                  </a:lnTo>
                  <a:lnTo>
                    <a:pt x="486" y="262"/>
                  </a:lnTo>
                  <a:lnTo>
                    <a:pt x="483" y="266"/>
                  </a:lnTo>
                  <a:lnTo>
                    <a:pt x="483" y="267"/>
                  </a:lnTo>
                  <a:lnTo>
                    <a:pt x="478" y="267"/>
                  </a:lnTo>
                  <a:lnTo>
                    <a:pt x="476" y="266"/>
                  </a:lnTo>
                  <a:lnTo>
                    <a:pt x="476" y="266"/>
                  </a:lnTo>
                  <a:lnTo>
                    <a:pt x="476" y="266"/>
                  </a:lnTo>
                  <a:lnTo>
                    <a:pt x="476" y="266"/>
                  </a:lnTo>
                  <a:close/>
                  <a:moveTo>
                    <a:pt x="474" y="266"/>
                  </a:moveTo>
                  <a:lnTo>
                    <a:pt x="471" y="266"/>
                  </a:lnTo>
                  <a:lnTo>
                    <a:pt x="469" y="269"/>
                  </a:lnTo>
                  <a:lnTo>
                    <a:pt x="471" y="266"/>
                  </a:lnTo>
                  <a:lnTo>
                    <a:pt x="474" y="266"/>
                  </a:lnTo>
                  <a:lnTo>
                    <a:pt x="474" y="266"/>
                  </a:lnTo>
                  <a:lnTo>
                    <a:pt x="474" y="266"/>
                  </a:lnTo>
                  <a:lnTo>
                    <a:pt x="474" y="266"/>
                  </a:lnTo>
                  <a:close/>
                  <a:moveTo>
                    <a:pt x="476" y="262"/>
                  </a:moveTo>
                  <a:lnTo>
                    <a:pt x="472" y="262"/>
                  </a:lnTo>
                  <a:lnTo>
                    <a:pt x="474" y="262"/>
                  </a:lnTo>
                  <a:lnTo>
                    <a:pt x="476" y="262"/>
                  </a:lnTo>
                  <a:lnTo>
                    <a:pt x="476" y="262"/>
                  </a:lnTo>
                  <a:lnTo>
                    <a:pt x="476" y="262"/>
                  </a:lnTo>
                  <a:lnTo>
                    <a:pt x="476" y="262"/>
                  </a:lnTo>
                  <a:lnTo>
                    <a:pt x="476" y="262"/>
                  </a:lnTo>
                  <a:close/>
                  <a:moveTo>
                    <a:pt x="415" y="267"/>
                  </a:moveTo>
                  <a:lnTo>
                    <a:pt x="415" y="267"/>
                  </a:lnTo>
                  <a:lnTo>
                    <a:pt x="415" y="266"/>
                  </a:lnTo>
                  <a:lnTo>
                    <a:pt x="420" y="262"/>
                  </a:lnTo>
                  <a:lnTo>
                    <a:pt x="429" y="260"/>
                  </a:lnTo>
                  <a:lnTo>
                    <a:pt x="432" y="262"/>
                  </a:lnTo>
                  <a:lnTo>
                    <a:pt x="436" y="262"/>
                  </a:lnTo>
                  <a:lnTo>
                    <a:pt x="439" y="262"/>
                  </a:lnTo>
                  <a:lnTo>
                    <a:pt x="444" y="266"/>
                  </a:lnTo>
                  <a:lnTo>
                    <a:pt x="448" y="266"/>
                  </a:lnTo>
                  <a:lnTo>
                    <a:pt x="453" y="266"/>
                  </a:lnTo>
                  <a:lnTo>
                    <a:pt x="455" y="266"/>
                  </a:lnTo>
                  <a:lnTo>
                    <a:pt x="460" y="266"/>
                  </a:lnTo>
                  <a:lnTo>
                    <a:pt x="460" y="262"/>
                  </a:lnTo>
                  <a:lnTo>
                    <a:pt x="464" y="262"/>
                  </a:lnTo>
                  <a:lnTo>
                    <a:pt x="465" y="260"/>
                  </a:lnTo>
                  <a:lnTo>
                    <a:pt x="464" y="259"/>
                  </a:lnTo>
                  <a:lnTo>
                    <a:pt x="467" y="257"/>
                  </a:lnTo>
                  <a:lnTo>
                    <a:pt x="471" y="259"/>
                  </a:lnTo>
                  <a:lnTo>
                    <a:pt x="472" y="262"/>
                  </a:lnTo>
                  <a:lnTo>
                    <a:pt x="471" y="266"/>
                  </a:lnTo>
                  <a:lnTo>
                    <a:pt x="467" y="266"/>
                  </a:lnTo>
                  <a:lnTo>
                    <a:pt x="465" y="267"/>
                  </a:lnTo>
                  <a:lnTo>
                    <a:pt x="460" y="269"/>
                  </a:lnTo>
                  <a:lnTo>
                    <a:pt x="460" y="271"/>
                  </a:lnTo>
                  <a:lnTo>
                    <a:pt x="458" y="269"/>
                  </a:lnTo>
                  <a:lnTo>
                    <a:pt x="453" y="269"/>
                  </a:lnTo>
                  <a:lnTo>
                    <a:pt x="448" y="271"/>
                  </a:lnTo>
                  <a:lnTo>
                    <a:pt x="443" y="271"/>
                  </a:lnTo>
                  <a:lnTo>
                    <a:pt x="438" y="273"/>
                  </a:lnTo>
                  <a:lnTo>
                    <a:pt x="438" y="273"/>
                  </a:lnTo>
                  <a:lnTo>
                    <a:pt x="436" y="273"/>
                  </a:lnTo>
                  <a:lnTo>
                    <a:pt x="432" y="273"/>
                  </a:lnTo>
                  <a:lnTo>
                    <a:pt x="431" y="273"/>
                  </a:lnTo>
                  <a:lnTo>
                    <a:pt x="429" y="271"/>
                  </a:lnTo>
                  <a:lnTo>
                    <a:pt x="425" y="271"/>
                  </a:lnTo>
                  <a:lnTo>
                    <a:pt x="424" y="271"/>
                  </a:lnTo>
                  <a:lnTo>
                    <a:pt x="420" y="271"/>
                  </a:lnTo>
                  <a:lnTo>
                    <a:pt x="418" y="271"/>
                  </a:lnTo>
                  <a:lnTo>
                    <a:pt x="415" y="271"/>
                  </a:lnTo>
                  <a:lnTo>
                    <a:pt x="415" y="267"/>
                  </a:lnTo>
                  <a:lnTo>
                    <a:pt x="415" y="267"/>
                  </a:lnTo>
                  <a:lnTo>
                    <a:pt x="415" y="267"/>
                  </a:lnTo>
                  <a:lnTo>
                    <a:pt x="415" y="267"/>
                  </a:lnTo>
                  <a:close/>
                  <a:moveTo>
                    <a:pt x="413" y="267"/>
                  </a:moveTo>
                  <a:lnTo>
                    <a:pt x="410" y="271"/>
                  </a:lnTo>
                  <a:lnTo>
                    <a:pt x="413" y="271"/>
                  </a:lnTo>
                  <a:lnTo>
                    <a:pt x="413" y="267"/>
                  </a:lnTo>
                  <a:lnTo>
                    <a:pt x="413" y="267"/>
                  </a:lnTo>
                  <a:lnTo>
                    <a:pt x="413" y="267"/>
                  </a:lnTo>
                  <a:lnTo>
                    <a:pt x="413" y="267"/>
                  </a:lnTo>
                  <a:lnTo>
                    <a:pt x="413" y="267"/>
                  </a:lnTo>
                  <a:close/>
                  <a:moveTo>
                    <a:pt x="410" y="266"/>
                  </a:moveTo>
                  <a:lnTo>
                    <a:pt x="408" y="266"/>
                  </a:lnTo>
                  <a:lnTo>
                    <a:pt x="408" y="267"/>
                  </a:lnTo>
                  <a:lnTo>
                    <a:pt x="410" y="271"/>
                  </a:lnTo>
                  <a:lnTo>
                    <a:pt x="410" y="266"/>
                  </a:lnTo>
                  <a:lnTo>
                    <a:pt x="410" y="266"/>
                  </a:lnTo>
                  <a:lnTo>
                    <a:pt x="410" y="266"/>
                  </a:lnTo>
                  <a:lnTo>
                    <a:pt x="410" y="266"/>
                  </a:lnTo>
                  <a:lnTo>
                    <a:pt x="410" y="266"/>
                  </a:lnTo>
                  <a:close/>
                  <a:moveTo>
                    <a:pt x="363" y="267"/>
                  </a:moveTo>
                  <a:lnTo>
                    <a:pt x="363" y="269"/>
                  </a:lnTo>
                  <a:lnTo>
                    <a:pt x="363" y="271"/>
                  </a:lnTo>
                  <a:lnTo>
                    <a:pt x="363" y="273"/>
                  </a:lnTo>
                  <a:lnTo>
                    <a:pt x="363" y="274"/>
                  </a:lnTo>
                  <a:lnTo>
                    <a:pt x="366" y="276"/>
                  </a:lnTo>
                  <a:lnTo>
                    <a:pt x="372" y="274"/>
                  </a:lnTo>
                  <a:lnTo>
                    <a:pt x="373" y="276"/>
                  </a:lnTo>
                  <a:lnTo>
                    <a:pt x="377" y="274"/>
                  </a:lnTo>
                  <a:lnTo>
                    <a:pt x="378" y="273"/>
                  </a:lnTo>
                  <a:lnTo>
                    <a:pt x="382" y="274"/>
                  </a:lnTo>
                  <a:lnTo>
                    <a:pt x="385" y="273"/>
                  </a:lnTo>
                  <a:lnTo>
                    <a:pt x="391" y="273"/>
                  </a:lnTo>
                  <a:lnTo>
                    <a:pt x="392" y="269"/>
                  </a:lnTo>
                  <a:lnTo>
                    <a:pt x="394" y="273"/>
                  </a:lnTo>
                  <a:lnTo>
                    <a:pt x="398" y="271"/>
                  </a:lnTo>
                  <a:lnTo>
                    <a:pt x="401" y="273"/>
                  </a:lnTo>
                  <a:lnTo>
                    <a:pt x="399" y="269"/>
                  </a:lnTo>
                  <a:lnTo>
                    <a:pt x="405" y="269"/>
                  </a:lnTo>
                  <a:lnTo>
                    <a:pt x="405" y="266"/>
                  </a:lnTo>
                  <a:lnTo>
                    <a:pt x="401" y="267"/>
                  </a:lnTo>
                  <a:lnTo>
                    <a:pt x="401" y="266"/>
                  </a:lnTo>
                  <a:lnTo>
                    <a:pt x="401" y="262"/>
                  </a:lnTo>
                  <a:lnTo>
                    <a:pt x="399" y="262"/>
                  </a:lnTo>
                  <a:lnTo>
                    <a:pt x="399" y="266"/>
                  </a:lnTo>
                  <a:lnTo>
                    <a:pt x="398" y="266"/>
                  </a:lnTo>
                  <a:lnTo>
                    <a:pt x="398" y="262"/>
                  </a:lnTo>
                  <a:lnTo>
                    <a:pt x="394" y="260"/>
                  </a:lnTo>
                  <a:lnTo>
                    <a:pt x="391" y="262"/>
                  </a:lnTo>
                  <a:lnTo>
                    <a:pt x="387" y="260"/>
                  </a:lnTo>
                  <a:lnTo>
                    <a:pt x="385" y="259"/>
                  </a:lnTo>
                  <a:lnTo>
                    <a:pt x="378" y="260"/>
                  </a:lnTo>
                  <a:lnTo>
                    <a:pt x="378" y="262"/>
                  </a:lnTo>
                  <a:lnTo>
                    <a:pt x="387" y="266"/>
                  </a:lnTo>
                  <a:lnTo>
                    <a:pt x="391" y="267"/>
                  </a:lnTo>
                  <a:lnTo>
                    <a:pt x="385" y="267"/>
                  </a:lnTo>
                  <a:lnTo>
                    <a:pt x="382" y="269"/>
                  </a:lnTo>
                  <a:lnTo>
                    <a:pt x="378" y="266"/>
                  </a:lnTo>
                  <a:lnTo>
                    <a:pt x="378" y="266"/>
                  </a:lnTo>
                  <a:lnTo>
                    <a:pt x="375" y="262"/>
                  </a:lnTo>
                  <a:lnTo>
                    <a:pt x="373" y="266"/>
                  </a:lnTo>
                  <a:lnTo>
                    <a:pt x="370" y="262"/>
                  </a:lnTo>
                  <a:lnTo>
                    <a:pt x="365" y="266"/>
                  </a:lnTo>
                  <a:lnTo>
                    <a:pt x="365" y="266"/>
                  </a:lnTo>
                  <a:lnTo>
                    <a:pt x="363" y="267"/>
                  </a:lnTo>
                  <a:lnTo>
                    <a:pt x="363" y="267"/>
                  </a:lnTo>
                  <a:lnTo>
                    <a:pt x="363" y="267"/>
                  </a:lnTo>
                  <a:lnTo>
                    <a:pt x="363" y="267"/>
                  </a:lnTo>
                  <a:close/>
                  <a:moveTo>
                    <a:pt x="351" y="262"/>
                  </a:moveTo>
                  <a:lnTo>
                    <a:pt x="356" y="262"/>
                  </a:lnTo>
                  <a:lnTo>
                    <a:pt x="363" y="262"/>
                  </a:lnTo>
                  <a:lnTo>
                    <a:pt x="359" y="266"/>
                  </a:lnTo>
                  <a:lnTo>
                    <a:pt x="359" y="269"/>
                  </a:lnTo>
                  <a:lnTo>
                    <a:pt x="359" y="273"/>
                  </a:lnTo>
                  <a:lnTo>
                    <a:pt x="356" y="271"/>
                  </a:lnTo>
                  <a:lnTo>
                    <a:pt x="354" y="273"/>
                  </a:lnTo>
                  <a:lnTo>
                    <a:pt x="349" y="271"/>
                  </a:lnTo>
                  <a:lnTo>
                    <a:pt x="347" y="269"/>
                  </a:lnTo>
                  <a:lnTo>
                    <a:pt x="349" y="267"/>
                  </a:lnTo>
                  <a:lnTo>
                    <a:pt x="351" y="267"/>
                  </a:lnTo>
                  <a:lnTo>
                    <a:pt x="351" y="262"/>
                  </a:lnTo>
                  <a:lnTo>
                    <a:pt x="351" y="262"/>
                  </a:lnTo>
                  <a:lnTo>
                    <a:pt x="351" y="262"/>
                  </a:lnTo>
                  <a:lnTo>
                    <a:pt x="351" y="262"/>
                  </a:lnTo>
                  <a:close/>
                  <a:moveTo>
                    <a:pt x="340" y="269"/>
                  </a:moveTo>
                  <a:lnTo>
                    <a:pt x="342" y="267"/>
                  </a:lnTo>
                  <a:lnTo>
                    <a:pt x="344" y="269"/>
                  </a:lnTo>
                  <a:lnTo>
                    <a:pt x="342" y="269"/>
                  </a:lnTo>
                  <a:lnTo>
                    <a:pt x="340" y="269"/>
                  </a:lnTo>
                  <a:lnTo>
                    <a:pt x="340" y="269"/>
                  </a:lnTo>
                  <a:lnTo>
                    <a:pt x="340" y="269"/>
                  </a:lnTo>
                  <a:lnTo>
                    <a:pt x="340" y="269"/>
                  </a:lnTo>
                  <a:close/>
                  <a:moveTo>
                    <a:pt x="325" y="259"/>
                  </a:moveTo>
                  <a:lnTo>
                    <a:pt x="325" y="262"/>
                  </a:lnTo>
                  <a:lnTo>
                    <a:pt x="326" y="262"/>
                  </a:lnTo>
                  <a:lnTo>
                    <a:pt x="332" y="266"/>
                  </a:lnTo>
                  <a:lnTo>
                    <a:pt x="337" y="267"/>
                  </a:lnTo>
                  <a:lnTo>
                    <a:pt x="337" y="269"/>
                  </a:lnTo>
                  <a:lnTo>
                    <a:pt x="337" y="267"/>
                  </a:lnTo>
                  <a:lnTo>
                    <a:pt x="340" y="266"/>
                  </a:lnTo>
                  <a:lnTo>
                    <a:pt x="342" y="266"/>
                  </a:lnTo>
                  <a:lnTo>
                    <a:pt x="345" y="266"/>
                  </a:lnTo>
                  <a:lnTo>
                    <a:pt x="345" y="262"/>
                  </a:lnTo>
                  <a:lnTo>
                    <a:pt x="342" y="259"/>
                  </a:lnTo>
                  <a:lnTo>
                    <a:pt x="337" y="257"/>
                  </a:lnTo>
                  <a:lnTo>
                    <a:pt x="332" y="259"/>
                  </a:lnTo>
                  <a:lnTo>
                    <a:pt x="328" y="259"/>
                  </a:lnTo>
                  <a:lnTo>
                    <a:pt x="325" y="259"/>
                  </a:lnTo>
                  <a:lnTo>
                    <a:pt x="325" y="259"/>
                  </a:lnTo>
                  <a:lnTo>
                    <a:pt x="325" y="259"/>
                  </a:lnTo>
                  <a:lnTo>
                    <a:pt x="325" y="259"/>
                  </a:lnTo>
                  <a:close/>
                  <a:moveTo>
                    <a:pt x="740" y="262"/>
                  </a:moveTo>
                  <a:lnTo>
                    <a:pt x="742" y="262"/>
                  </a:lnTo>
                  <a:lnTo>
                    <a:pt x="745" y="262"/>
                  </a:lnTo>
                  <a:lnTo>
                    <a:pt x="745" y="262"/>
                  </a:lnTo>
                  <a:lnTo>
                    <a:pt x="742" y="259"/>
                  </a:lnTo>
                  <a:lnTo>
                    <a:pt x="742" y="259"/>
                  </a:lnTo>
                  <a:lnTo>
                    <a:pt x="742" y="259"/>
                  </a:lnTo>
                  <a:lnTo>
                    <a:pt x="740" y="262"/>
                  </a:lnTo>
                  <a:lnTo>
                    <a:pt x="740" y="262"/>
                  </a:lnTo>
                  <a:lnTo>
                    <a:pt x="740" y="262"/>
                  </a:lnTo>
                  <a:lnTo>
                    <a:pt x="740" y="262"/>
                  </a:lnTo>
                  <a:close/>
                  <a:moveTo>
                    <a:pt x="723" y="262"/>
                  </a:moveTo>
                  <a:lnTo>
                    <a:pt x="723" y="262"/>
                  </a:lnTo>
                  <a:lnTo>
                    <a:pt x="728" y="262"/>
                  </a:lnTo>
                  <a:lnTo>
                    <a:pt x="729" y="262"/>
                  </a:lnTo>
                  <a:lnTo>
                    <a:pt x="735" y="262"/>
                  </a:lnTo>
                  <a:lnTo>
                    <a:pt x="738" y="260"/>
                  </a:lnTo>
                  <a:lnTo>
                    <a:pt x="740" y="257"/>
                  </a:lnTo>
                  <a:lnTo>
                    <a:pt x="742" y="257"/>
                  </a:lnTo>
                  <a:lnTo>
                    <a:pt x="745" y="255"/>
                  </a:lnTo>
                  <a:lnTo>
                    <a:pt x="745" y="253"/>
                  </a:lnTo>
                  <a:lnTo>
                    <a:pt x="745" y="252"/>
                  </a:lnTo>
                  <a:lnTo>
                    <a:pt x="745" y="250"/>
                  </a:lnTo>
                  <a:lnTo>
                    <a:pt x="745" y="248"/>
                  </a:lnTo>
                  <a:lnTo>
                    <a:pt x="745" y="247"/>
                  </a:lnTo>
                  <a:lnTo>
                    <a:pt x="742" y="245"/>
                  </a:lnTo>
                  <a:lnTo>
                    <a:pt x="736" y="245"/>
                  </a:lnTo>
                  <a:lnTo>
                    <a:pt x="733" y="247"/>
                  </a:lnTo>
                  <a:lnTo>
                    <a:pt x="731" y="252"/>
                  </a:lnTo>
                  <a:lnTo>
                    <a:pt x="729" y="255"/>
                  </a:lnTo>
                  <a:lnTo>
                    <a:pt x="723" y="262"/>
                  </a:lnTo>
                  <a:lnTo>
                    <a:pt x="723" y="262"/>
                  </a:lnTo>
                  <a:lnTo>
                    <a:pt x="723" y="262"/>
                  </a:lnTo>
                  <a:lnTo>
                    <a:pt x="723" y="262"/>
                  </a:lnTo>
                  <a:close/>
                  <a:moveTo>
                    <a:pt x="300" y="236"/>
                  </a:moveTo>
                  <a:lnTo>
                    <a:pt x="297" y="240"/>
                  </a:lnTo>
                  <a:lnTo>
                    <a:pt x="300" y="243"/>
                  </a:lnTo>
                  <a:lnTo>
                    <a:pt x="304" y="243"/>
                  </a:lnTo>
                  <a:lnTo>
                    <a:pt x="305" y="243"/>
                  </a:lnTo>
                  <a:lnTo>
                    <a:pt x="311" y="243"/>
                  </a:lnTo>
                  <a:lnTo>
                    <a:pt x="312" y="240"/>
                  </a:lnTo>
                  <a:lnTo>
                    <a:pt x="318" y="240"/>
                  </a:lnTo>
                  <a:lnTo>
                    <a:pt x="319" y="240"/>
                  </a:lnTo>
                  <a:lnTo>
                    <a:pt x="318" y="238"/>
                  </a:lnTo>
                  <a:lnTo>
                    <a:pt x="312" y="240"/>
                  </a:lnTo>
                  <a:lnTo>
                    <a:pt x="309" y="238"/>
                  </a:lnTo>
                  <a:lnTo>
                    <a:pt x="302" y="238"/>
                  </a:lnTo>
                  <a:lnTo>
                    <a:pt x="300" y="236"/>
                  </a:lnTo>
                  <a:lnTo>
                    <a:pt x="300" y="236"/>
                  </a:lnTo>
                  <a:lnTo>
                    <a:pt x="300" y="236"/>
                  </a:lnTo>
                  <a:lnTo>
                    <a:pt x="300" y="236"/>
                  </a:lnTo>
                  <a:close/>
                  <a:moveTo>
                    <a:pt x="172" y="231"/>
                  </a:moveTo>
                  <a:lnTo>
                    <a:pt x="172" y="233"/>
                  </a:lnTo>
                  <a:lnTo>
                    <a:pt x="173" y="233"/>
                  </a:lnTo>
                  <a:lnTo>
                    <a:pt x="173" y="231"/>
                  </a:lnTo>
                  <a:lnTo>
                    <a:pt x="172" y="231"/>
                  </a:lnTo>
                  <a:lnTo>
                    <a:pt x="172" y="231"/>
                  </a:lnTo>
                  <a:lnTo>
                    <a:pt x="172" y="231"/>
                  </a:lnTo>
                  <a:lnTo>
                    <a:pt x="172" y="231"/>
                  </a:lnTo>
                  <a:close/>
                  <a:moveTo>
                    <a:pt x="173" y="233"/>
                  </a:moveTo>
                  <a:lnTo>
                    <a:pt x="173" y="234"/>
                  </a:lnTo>
                  <a:lnTo>
                    <a:pt x="177" y="234"/>
                  </a:lnTo>
                  <a:lnTo>
                    <a:pt x="177" y="231"/>
                  </a:lnTo>
                  <a:lnTo>
                    <a:pt x="182" y="229"/>
                  </a:lnTo>
                  <a:lnTo>
                    <a:pt x="182" y="226"/>
                  </a:lnTo>
                  <a:lnTo>
                    <a:pt x="182" y="222"/>
                  </a:lnTo>
                  <a:lnTo>
                    <a:pt x="186" y="217"/>
                  </a:lnTo>
                  <a:lnTo>
                    <a:pt x="187" y="220"/>
                  </a:lnTo>
                  <a:lnTo>
                    <a:pt x="191" y="220"/>
                  </a:lnTo>
                  <a:lnTo>
                    <a:pt x="198" y="220"/>
                  </a:lnTo>
                  <a:lnTo>
                    <a:pt x="199" y="222"/>
                  </a:lnTo>
                  <a:lnTo>
                    <a:pt x="201" y="220"/>
                  </a:lnTo>
                  <a:lnTo>
                    <a:pt x="201" y="220"/>
                  </a:lnTo>
                  <a:lnTo>
                    <a:pt x="206" y="220"/>
                  </a:lnTo>
                  <a:lnTo>
                    <a:pt x="210" y="222"/>
                  </a:lnTo>
                  <a:lnTo>
                    <a:pt x="217" y="224"/>
                  </a:lnTo>
                  <a:lnTo>
                    <a:pt x="224" y="226"/>
                  </a:lnTo>
                  <a:lnTo>
                    <a:pt x="227" y="229"/>
                  </a:lnTo>
                  <a:lnTo>
                    <a:pt x="227" y="233"/>
                  </a:lnTo>
                  <a:lnTo>
                    <a:pt x="227" y="234"/>
                  </a:lnTo>
                  <a:lnTo>
                    <a:pt x="233" y="236"/>
                  </a:lnTo>
                  <a:lnTo>
                    <a:pt x="243" y="236"/>
                  </a:lnTo>
                  <a:lnTo>
                    <a:pt x="252" y="238"/>
                  </a:lnTo>
                  <a:lnTo>
                    <a:pt x="260" y="236"/>
                  </a:lnTo>
                  <a:lnTo>
                    <a:pt x="262" y="234"/>
                  </a:lnTo>
                  <a:lnTo>
                    <a:pt x="262" y="226"/>
                  </a:lnTo>
                  <a:lnTo>
                    <a:pt x="266" y="226"/>
                  </a:lnTo>
                  <a:lnTo>
                    <a:pt x="271" y="231"/>
                  </a:lnTo>
                  <a:lnTo>
                    <a:pt x="274" y="231"/>
                  </a:lnTo>
                  <a:lnTo>
                    <a:pt x="278" y="231"/>
                  </a:lnTo>
                  <a:lnTo>
                    <a:pt x="278" y="233"/>
                  </a:lnTo>
                  <a:lnTo>
                    <a:pt x="281" y="236"/>
                  </a:lnTo>
                  <a:lnTo>
                    <a:pt x="286" y="234"/>
                  </a:lnTo>
                  <a:lnTo>
                    <a:pt x="286" y="238"/>
                  </a:lnTo>
                  <a:lnTo>
                    <a:pt x="290" y="236"/>
                  </a:lnTo>
                  <a:lnTo>
                    <a:pt x="295" y="236"/>
                  </a:lnTo>
                  <a:lnTo>
                    <a:pt x="295" y="240"/>
                  </a:lnTo>
                  <a:lnTo>
                    <a:pt x="299" y="245"/>
                  </a:lnTo>
                  <a:lnTo>
                    <a:pt x="299" y="247"/>
                  </a:lnTo>
                  <a:lnTo>
                    <a:pt x="300" y="250"/>
                  </a:lnTo>
                  <a:lnTo>
                    <a:pt x="305" y="252"/>
                  </a:lnTo>
                  <a:lnTo>
                    <a:pt x="309" y="250"/>
                  </a:lnTo>
                  <a:lnTo>
                    <a:pt x="311" y="252"/>
                  </a:lnTo>
                  <a:lnTo>
                    <a:pt x="312" y="252"/>
                  </a:lnTo>
                  <a:lnTo>
                    <a:pt x="316" y="250"/>
                  </a:lnTo>
                  <a:lnTo>
                    <a:pt x="318" y="250"/>
                  </a:lnTo>
                  <a:lnTo>
                    <a:pt x="319" y="252"/>
                  </a:lnTo>
                  <a:lnTo>
                    <a:pt x="323" y="252"/>
                  </a:lnTo>
                  <a:lnTo>
                    <a:pt x="325" y="255"/>
                  </a:lnTo>
                  <a:lnTo>
                    <a:pt x="323" y="262"/>
                  </a:lnTo>
                  <a:lnTo>
                    <a:pt x="321" y="262"/>
                  </a:lnTo>
                  <a:lnTo>
                    <a:pt x="323" y="266"/>
                  </a:lnTo>
                  <a:lnTo>
                    <a:pt x="325" y="269"/>
                  </a:lnTo>
                  <a:lnTo>
                    <a:pt x="323" y="271"/>
                  </a:lnTo>
                  <a:lnTo>
                    <a:pt x="319" y="267"/>
                  </a:lnTo>
                  <a:lnTo>
                    <a:pt x="316" y="267"/>
                  </a:lnTo>
                  <a:lnTo>
                    <a:pt x="311" y="266"/>
                  </a:lnTo>
                  <a:lnTo>
                    <a:pt x="309" y="266"/>
                  </a:lnTo>
                  <a:lnTo>
                    <a:pt x="305" y="262"/>
                  </a:lnTo>
                  <a:lnTo>
                    <a:pt x="302" y="260"/>
                  </a:lnTo>
                  <a:lnTo>
                    <a:pt x="297" y="262"/>
                  </a:lnTo>
                  <a:lnTo>
                    <a:pt x="292" y="262"/>
                  </a:lnTo>
                  <a:lnTo>
                    <a:pt x="288" y="262"/>
                  </a:lnTo>
                  <a:lnTo>
                    <a:pt x="283" y="260"/>
                  </a:lnTo>
                  <a:lnTo>
                    <a:pt x="278" y="262"/>
                  </a:lnTo>
                  <a:lnTo>
                    <a:pt x="276" y="260"/>
                  </a:lnTo>
                  <a:lnTo>
                    <a:pt x="269" y="260"/>
                  </a:lnTo>
                  <a:lnTo>
                    <a:pt x="266" y="262"/>
                  </a:lnTo>
                  <a:lnTo>
                    <a:pt x="255" y="259"/>
                  </a:lnTo>
                  <a:lnTo>
                    <a:pt x="246" y="253"/>
                  </a:lnTo>
                  <a:lnTo>
                    <a:pt x="243" y="253"/>
                  </a:lnTo>
                  <a:lnTo>
                    <a:pt x="238" y="250"/>
                  </a:lnTo>
                  <a:lnTo>
                    <a:pt x="236" y="250"/>
                  </a:lnTo>
                  <a:lnTo>
                    <a:pt x="236" y="253"/>
                  </a:lnTo>
                  <a:lnTo>
                    <a:pt x="233" y="252"/>
                  </a:lnTo>
                  <a:lnTo>
                    <a:pt x="227" y="250"/>
                  </a:lnTo>
                  <a:lnTo>
                    <a:pt x="227" y="250"/>
                  </a:lnTo>
                  <a:lnTo>
                    <a:pt x="224" y="253"/>
                  </a:lnTo>
                  <a:lnTo>
                    <a:pt x="215" y="252"/>
                  </a:lnTo>
                  <a:lnTo>
                    <a:pt x="210" y="247"/>
                  </a:lnTo>
                  <a:lnTo>
                    <a:pt x="205" y="247"/>
                  </a:lnTo>
                  <a:lnTo>
                    <a:pt x="201" y="245"/>
                  </a:lnTo>
                  <a:lnTo>
                    <a:pt x="199" y="247"/>
                  </a:lnTo>
                  <a:lnTo>
                    <a:pt x="196" y="247"/>
                  </a:lnTo>
                  <a:lnTo>
                    <a:pt x="191" y="245"/>
                  </a:lnTo>
                  <a:lnTo>
                    <a:pt x="189" y="243"/>
                  </a:lnTo>
                  <a:lnTo>
                    <a:pt x="193" y="240"/>
                  </a:lnTo>
                  <a:lnTo>
                    <a:pt x="193" y="240"/>
                  </a:lnTo>
                  <a:lnTo>
                    <a:pt x="191" y="240"/>
                  </a:lnTo>
                  <a:lnTo>
                    <a:pt x="189" y="240"/>
                  </a:lnTo>
                  <a:lnTo>
                    <a:pt x="186" y="238"/>
                  </a:lnTo>
                  <a:lnTo>
                    <a:pt x="184" y="236"/>
                  </a:lnTo>
                  <a:lnTo>
                    <a:pt x="182" y="238"/>
                  </a:lnTo>
                  <a:lnTo>
                    <a:pt x="173" y="236"/>
                  </a:lnTo>
                  <a:lnTo>
                    <a:pt x="173" y="236"/>
                  </a:lnTo>
                  <a:lnTo>
                    <a:pt x="172" y="233"/>
                  </a:lnTo>
                  <a:lnTo>
                    <a:pt x="173" y="233"/>
                  </a:lnTo>
                  <a:lnTo>
                    <a:pt x="173" y="233"/>
                  </a:lnTo>
                  <a:lnTo>
                    <a:pt x="173" y="233"/>
                  </a:lnTo>
                  <a:lnTo>
                    <a:pt x="173" y="233"/>
                  </a:lnTo>
                  <a:close/>
                  <a:moveTo>
                    <a:pt x="217" y="45"/>
                  </a:moveTo>
                  <a:lnTo>
                    <a:pt x="220" y="47"/>
                  </a:lnTo>
                  <a:lnTo>
                    <a:pt x="224" y="47"/>
                  </a:lnTo>
                  <a:lnTo>
                    <a:pt x="222" y="48"/>
                  </a:lnTo>
                  <a:lnTo>
                    <a:pt x="224" y="48"/>
                  </a:lnTo>
                  <a:lnTo>
                    <a:pt x="227" y="45"/>
                  </a:lnTo>
                  <a:lnTo>
                    <a:pt x="222" y="38"/>
                  </a:lnTo>
                  <a:lnTo>
                    <a:pt x="219" y="41"/>
                  </a:lnTo>
                  <a:lnTo>
                    <a:pt x="217" y="45"/>
                  </a:lnTo>
                  <a:lnTo>
                    <a:pt x="217" y="45"/>
                  </a:lnTo>
                  <a:lnTo>
                    <a:pt x="217" y="45"/>
                  </a:lnTo>
                  <a:lnTo>
                    <a:pt x="217" y="45"/>
                  </a:lnTo>
                  <a:close/>
                  <a:moveTo>
                    <a:pt x="189" y="64"/>
                  </a:moveTo>
                  <a:lnTo>
                    <a:pt x="189" y="67"/>
                  </a:lnTo>
                  <a:lnTo>
                    <a:pt x="191" y="67"/>
                  </a:lnTo>
                  <a:lnTo>
                    <a:pt x="189" y="64"/>
                  </a:lnTo>
                  <a:lnTo>
                    <a:pt x="189" y="64"/>
                  </a:lnTo>
                  <a:lnTo>
                    <a:pt x="189" y="64"/>
                  </a:lnTo>
                  <a:lnTo>
                    <a:pt x="189" y="64"/>
                  </a:lnTo>
                  <a:close/>
                  <a:moveTo>
                    <a:pt x="189" y="55"/>
                  </a:moveTo>
                  <a:lnTo>
                    <a:pt x="191" y="55"/>
                  </a:lnTo>
                  <a:lnTo>
                    <a:pt x="189" y="54"/>
                  </a:lnTo>
                  <a:lnTo>
                    <a:pt x="189" y="55"/>
                  </a:lnTo>
                  <a:lnTo>
                    <a:pt x="189" y="55"/>
                  </a:lnTo>
                  <a:lnTo>
                    <a:pt x="189" y="55"/>
                  </a:lnTo>
                  <a:lnTo>
                    <a:pt x="189" y="55"/>
                  </a:lnTo>
                  <a:close/>
                  <a:moveTo>
                    <a:pt x="189" y="59"/>
                  </a:moveTo>
                  <a:lnTo>
                    <a:pt x="189" y="59"/>
                  </a:lnTo>
                  <a:lnTo>
                    <a:pt x="191" y="59"/>
                  </a:lnTo>
                  <a:lnTo>
                    <a:pt x="189" y="59"/>
                  </a:lnTo>
                  <a:lnTo>
                    <a:pt x="189" y="59"/>
                  </a:lnTo>
                  <a:lnTo>
                    <a:pt x="189" y="59"/>
                  </a:lnTo>
                  <a:lnTo>
                    <a:pt x="189" y="59"/>
                  </a:lnTo>
                  <a:close/>
                  <a:moveTo>
                    <a:pt x="179" y="62"/>
                  </a:moveTo>
                  <a:lnTo>
                    <a:pt x="177" y="64"/>
                  </a:lnTo>
                  <a:lnTo>
                    <a:pt x="182" y="67"/>
                  </a:lnTo>
                  <a:lnTo>
                    <a:pt x="184" y="62"/>
                  </a:lnTo>
                  <a:lnTo>
                    <a:pt x="182" y="62"/>
                  </a:lnTo>
                  <a:lnTo>
                    <a:pt x="179" y="62"/>
                  </a:lnTo>
                  <a:lnTo>
                    <a:pt x="179" y="62"/>
                  </a:lnTo>
                  <a:lnTo>
                    <a:pt x="179" y="62"/>
                  </a:lnTo>
                  <a:lnTo>
                    <a:pt x="179" y="62"/>
                  </a:lnTo>
                  <a:close/>
                  <a:moveTo>
                    <a:pt x="151" y="99"/>
                  </a:moveTo>
                  <a:lnTo>
                    <a:pt x="154" y="100"/>
                  </a:lnTo>
                  <a:lnTo>
                    <a:pt x="154" y="97"/>
                  </a:lnTo>
                  <a:lnTo>
                    <a:pt x="154" y="94"/>
                  </a:lnTo>
                  <a:lnTo>
                    <a:pt x="151" y="99"/>
                  </a:lnTo>
                  <a:lnTo>
                    <a:pt x="151" y="99"/>
                  </a:lnTo>
                  <a:lnTo>
                    <a:pt x="151" y="99"/>
                  </a:lnTo>
                  <a:lnTo>
                    <a:pt x="151" y="99"/>
                  </a:lnTo>
                  <a:close/>
                  <a:moveTo>
                    <a:pt x="158" y="95"/>
                  </a:moveTo>
                  <a:lnTo>
                    <a:pt x="156" y="99"/>
                  </a:lnTo>
                  <a:lnTo>
                    <a:pt x="160" y="100"/>
                  </a:lnTo>
                  <a:lnTo>
                    <a:pt x="161" y="104"/>
                  </a:lnTo>
                  <a:lnTo>
                    <a:pt x="163" y="104"/>
                  </a:lnTo>
                  <a:lnTo>
                    <a:pt x="165" y="99"/>
                  </a:lnTo>
                  <a:lnTo>
                    <a:pt x="163" y="97"/>
                  </a:lnTo>
                  <a:lnTo>
                    <a:pt x="165" y="94"/>
                  </a:lnTo>
                  <a:lnTo>
                    <a:pt x="161" y="94"/>
                  </a:lnTo>
                  <a:lnTo>
                    <a:pt x="160" y="95"/>
                  </a:lnTo>
                  <a:lnTo>
                    <a:pt x="158" y="95"/>
                  </a:lnTo>
                  <a:lnTo>
                    <a:pt x="158" y="95"/>
                  </a:lnTo>
                  <a:lnTo>
                    <a:pt x="158" y="95"/>
                  </a:lnTo>
                  <a:lnTo>
                    <a:pt x="158" y="95"/>
                  </a:lnTo>
                  <a:close/>
                  <a:moveTo>
                    <a:pt x="233" y="146"/>
                  </a:moveTo>
                  <a:lnTo>
                    <a:pt x="233" y="147"/>
                  </a:lnTo>
                  <a:lnTo>
                    <a:pt x="236" y="149"/>
                  </a:lnTo>
                  <a:lnTo>
                    <a:pt x="238" y="147"/>
                  </a:lnTo>
                  <a:lnTo>
                    <a:pt x="236" y="146"/>
                  </a:lnTo>
                  <a:lnTo>
                    <a:pt x="233" y="146"/>
                  </a:lnTo>
                  <a:lnTo>
                    <a:pt x="233" y="146"/>
                  </a:lnTo>
                  <a:lnTo>
                    <a:pt x="233" y="146"/>
                  </a:lnTo>
                  <a:lnTo>
                    <a:pt x="233" y="146"/>
                  </a:lnTo>
                  <a:close/>
                  <a:moveTo>
                    <a:pt x="210" y="161"/>
                  </a:moveTo>
                  <a:lnTo>
                    <a:pt x="212" y="165"/>
                  </a:lnTo>
                  <a:lnTo>
                    <a:pt x="212" y="167"/>
                  </a:lnTo>
                  <a:lnTo>
                    <a:pt x="208" y="168"/>
                  </a:lnTo>
                  <a:lnTo>
                    <a:pt x="206" y="170"/>
                  </a:lnTo>
                  <a:lnTo>
                    <a:pt x="210" y="170"/>
                  </a:lnTo>
                  <a:lnTo>
                    <a:pt x="210" y="168"/>
                  </a:lnTo>
                  <a:lnTo>
                    <a:pt x="212" y="167"/>
                  </a:lnTo>
                  <a:lnTo>
                    <a:pt x="212" y="172"/>
                  </a:lnTo>
                  <a:lnTo>
                    <a:pt x="215" y="175"/>
                  </a:lnTo>
                  <a:lnTo>
                    <a:pt x="219" y="170"/>
                  </a:lnTo>
                  <a:lnTo>
                    <a:pt x="220" y="172"/>
                  </a:lnTo>
                  <a:lnTo>
                    <a:pt x="222" y="172"/>
                  </a:lnTo>
                  <a:lnTo>
                    <a:pt x="224" y="172"/>
                  </a:lnTo>
                  <a:lnTo>
                    <a:pt x="227" y="170"/>
                  </a:lnTo>
                  <a:lnTo>
                    <a:pt x="224" y="167"/>
                  </a:lnTo>
                  <a:lnTo>
                    <a:pt x="219" y="163"/>
                  </a:lnTo>
                  <a:lnTo>
                    <a:pt x="213" y="161"/>
                  </a:lnTo>
                  <a:lnTo>
                    <a:pt x="210" y="161"/>
                  </a:lnTo>
                  <a:lnTo>
                    <a:pt x="210" y="161"/>
                  </a:lnTo>
                  <a:lnTo>
                    <a:pt x="210" y="161"/>
                  </a:lnTo>
                  <a:lnTo>
                    <a:pt x="210" y="161"/>
                  </a:lnTo>
                  <a:close/>
                  <a:moveTo>
                    <a:pt x="201" y="168"/>
                  </a:moveTo>
                  <a:lnTo>
                    <a:pt x="199" y="172"/>
                  </a:lnTo>
                  <a:lnTo>
                    <a:pt x="201" y="170"/>
                  </a:lnTo>
                  <a:lnTo>
                    <a:pt x="201" y="168"/>
                  </a:lnTo>
                  <a:lnTo>
                    <a:pt x="201" y="168"/>
                  </a:lnTo>
                  <a:lnTo>
                    <a:pt x="201" y="168"/>
                  </a:lnTo>
                  <a:lnTo>
                    <a:pt x="201" y="168"/>
                  </a:lnTo>
                  <a:close/>
                  <a:moveTo>
                    <a:pt x="177" y="147"/>
                  </a:moveTo>
                  <a:lnTo>
                    <a:pt x="177" y="149"/>
                  </a:lnTo>
                  <a:lnTo>
                    <a:pt x="173" y="153"/>
                  </a:lnTo>
                  <a:lnTo>
                    <a:pt x="173" y="154"/>
                  </a:lnTo>
                  <a:lnTo>
                    <a:pt x="182" y="154"/>
                  </a:lnTo>
                  <a:lnTo>
                    <a:pt x="182" y="156"/>
                  </a:lnTo>
                  <a:lnTo>
                    <a:pt x="182" y="160"/>
                  </a:lnTo>
                  <a:lnTo>
                    <a:pt x="184" y="161"/>
                  </a:lnTo>
                  <a:lnTo>
                    <a:pt x="186" y="167"/>
                  </a:lnTo>
                  <a:lnTo>
                    <a:pt x="189" y="168"/>
                  </a:lnTo>
                  <a:lnTo>
                    <a:pt x="193" y="168"/>
                  </a:lnTo>
                  <a:lnTo>
                    <a:pt x="194" y="172"/>
                  </a:lnTo>
                  <a:lnTo>
                    <a:pt x="196" y="172"/>
                  </a:lnTo>
                  <a:lnTo>
                    <a:pt x="198" y="170"/>
                  </a:lnTo>
                  <a:lnTo>
                    <a:pt x="196" y="167"/>
                  </a:lnTo>
                  <a:lnTo>
                    <a:pt x="198" y="161"/>
                  </a:lnTo>
                  <a:lnTo>
                    <a:pt x="193" y="161"/>
                  </a:lnTo>
                  <a:lnTo>
                    <a:pt x="189" y="156"/>
                  </a:lnTo>
                  <a:lnTo>
                    <a:pt x="187" y="149"/>
                  </a:lnTo>
                  <a:lnTo>
                    <a:pt x="186" y="149"/>
                  </a:lnTo>
                  <a:lnTo>
                    <a:pt x="186" y="146"/>
                  </a:lnTo>
                  <a:lnTo>
                    <a:pt x="182" y="144"/>
                  </a:lnTo>
                  <a:lnTo>
                    <a:pt x="182" y="144"/>
                  </a:lnTo>
                  <a:lnTo>
                    <a:pt x="182" y="147"/>
                  </a:lnTo>
                  <a:lnTo>
                    <a:pt x="182" y="149"/>
                  </a:lnTo>
                  <a:lnTo>
                    <a:pt x="179" y="149"/>
                  </a:lnTo>
                  <a:lnTo>
                    <a:pt x="177" y="146"/>
                  </a:lnTo>
                  <a:lnTo>
                    <a:pt x="177" y="147"/>
                  </a:lnTo>
                  <a:lnTo>
                    <a:pt x="177" y="147"/>
                  </a:lnTo>
                  <a:lnTo>
                    <a:pt x="177" y="147"/>
                  </a:lnTo>
                  <a:lnTo>
                    <a:pt x="177" y="147"/>
                  </a:lnTo>
                  <a:close/>
                  <a:moveTo>
                    <a:pt x="160" y="127"/>
                  </a:moveTo>
                  <a:lnTo>
                    <a:pt x="158" y="127"/>
                  </a:lnTo>
                  <a:lnTo>
                    <a:pt x="160" y="130"/>
                  </a:lnTo>
                  <a:lnTo>
                    <a:pt x="163" y="130"/>
                  </a:lnTo>
                  <a:lnTo>
                    <a:pt x="161" y="127"/>
                  </a:lnTo>
                  <a:lnTo>
                    <a:pt x="160" y="127"/>
                  </a:lnTo>
                  <a:lnTo>
                    <a:pt x="160" y="127"/>
                  </a:lnTo>
                  <a:lnTo>
                    <a:pt x="160" y="127"/>
                  </a:lnTo>
                  <a:lnTo>
                    <a:pt x="160" y="127"/>
                  </a:lnTo>
                  <a:close/>
                  <a:moveTo>
                    <a:pt x="161" y="118"/>
                  </a:moveTo>
                  <a:lnTo>
                    <a:pt x="160" y="121"/>
                  </a:lnTo>
                  <a:lnTo>
                    <a:pt x="161" y="123"/>
                  </a:lnTo>
                  <a:lnTo>
                    <a:pt x="165" y="123"/>
                  </a:lnTo>
                  <a:lnTo>
                    <a:pt x="168" y="123"/>
                  </a:lnTo>
                  <a:lnTo>
                    <a:pt x="170" y="123"/>
                  </a:lnTo>
                  <a:lnTo>
                    <a:pt x="165" y="120"/>
                  </a:lnTo>
                  <a:lnTo>
                    <a:pt x="161" y="118"/>
                  </a:lnTo>
                  <a:lnTo>
                    <a:pt x="161" y="118"/>
                  </a:lnTo>
                  <a:lnTo>
                    <a:pt x="161" y="118"/>
                  </a:lnTo>
                  <a:lnTo>
                    <a:pt x="161" y="118"/>
                  </a:lnTo>
                  <a:close/>
                  <a:moveTo>
                    <a:pt x="128" y="95"/>
                  </a:moveTo>
                  <a:lnTo>
                    <a:pt x="127" y="100"/>
                  </a:lnTo>
                  <a:lnTo>
                    <a:pt x="127" y="104"/>
                  </a:lnTo>
                  <a:lnTo>
                    <a:pt x="132" y="104"/>
                  </a:lnTo>
                  <a:lnTo>
                    <a:pt x="135" y="107"/>
                  </a:lnTo>
                  <a:lnTo>
                    <a:pt x="137" y="104"/>
                  </a:lnTo>
                  <a:lnTo>
                    <a:pt x="135" y="100"/>
                  </a:lnTo>
                  <a:lnTo>
                    <a:pt x="132" y="97"/>
                  </a:lnTo>
                  <a:lnTo>
                    <a:pt x="128" y="95"/>
                  </a:lnTo>
                  <a:lnTo>
                    <a:pt x="128" y="95"/>
                  </a:lnTo>
                  <a:lnTo>
                    <a:pt x="128" y="95"/>
                  </a:lnTo>
                  <a:lnTo>
                    <a:pt x="128" y="95"/>
                  </a:lnTo>
                  <a:close/>
                  <a:moveTo>
                    <a:pt x="118" y="90"/>
                  </a:moveTo>
                  <a:lnTo>
                    <a:pt x="120" y="90"/>
                  </a:lnTo>
                  <a:lnTo>
                    <a:pt x="123" y="92"/>
                  </a:lnTo>
                  <a:lnTo>
                    <a:pt x="127" y="95"/>
                  </a:lnTo>
                  <a:lnTo>
                    <a:pt x="123" y="99"/>
                  </a:lnTo>
                  <a:lnTo>
                    <a:pt x="123" y="97"/>
                  </a:lnTo>
                  <a:lnTo>
                    <a:pt x="118" y="90"/>
                  </a:lnTo>
                  <a:lnTo>
                    <a:pt x="118" y="90"/>
                  </a:lnTo>
                  <a:lnTo>
                    <a:pt x="118" y="90"/>
                  </a:lnTo>
                  <a:lnTo>
                    <a:pt x="118" y="90"/>
                  </a:lnTo>
                  <a:close/>
                  <a:moveTo>
                    <a:pt x="106" y="81"/>
                  </a:moveTo>
                  <a:lnTo>
                    <a:pt x="107" y="87"/>
                  </a:lnTo>
                  <a:lnTo>
                    <a:pt x="111" y="87"/>
                  </a:lnTo>
                  <a:lnTo>
                    <a:pt x="114" y="85"/>
                  </a:lnTo>
                  <a:lnTo>
                    <a:pt x="111" y="81"/>
                  </a:lnTo>
                  <a:lnTo>
                    <a:pt x="109" y="81"/>
                  </a:lnTo>
                  <a:lnTo>
                    <a:pt x="106" y="81"/>
                  </a:lnTo>
                  <a:lnTo>
                    <a:pt x="106" y="81"/>
                  </a:lnTo>
                  <a:lnTo>
                    <a:pt x="106" y="81"/>
                  </a:lnTo>
                  <a:lnTo>
                    <a:pt x="106" y="81"/>
                  </a:lnTo>
                  <a:close/>
                  <a:moveTo>
                    <a:pt x="118" y="208"/>
                  </a:moveTo>
                  <a:lnTo>
                    <a:pt x="123" y="212"/>
                  </a:lnTo>
                  <a:lnTo>
                    <a:pt x="123" y="210"/>
                  </a:lnTo>
                  <a:lnTo>
                    <a:pt x="120" y="208"/>
                  </a:lnTo>
                  <a:lnTo>
                    <a:pt x="118" y="208"/>
                  </a:lnTo>
                  <a:lnTo>
                    <a:pt x="118" y="208"/>
                  </a:lnTo>
                  <a:lnTo>
                    <a:pt x="118" y="208"/>
                  </a:lnTo>
                  <a:lnTo>
                    <a:pt x="118" y="208"/>
                  </a:lnTo>
                  <a:close/>
                  <a:moveTo>
                    <a:pt x="87" y="167"/>
                  </a:moveTo>
                  <a:lnTo>
                    <a:pt x="85" y="170"/>
                  </a:lnTo>
                  <a:lnTo>
                    <a:pt x="92" y="175"/>
                  </a:lnTo>
                  <a:lnTo>
                    <a:pt x="90" y="172"/>
                  </a:lnTo>
                  <a:lnTo>
                    <a:pt x="90" y="170"/>
                  </a:lnTo>
                  <a:lnTo>
                    <a:pt x="87" y="167"/>
                  </a:lnTo>
                  <a:lnTo>
                    <a:pt x="87" y="167"/>
                  </a:lnTo>
                  <a:lnTo>
                    <a:pt x="87" y="167"/>
                  </a:lnTo>
                  <a:lnTo>
                    <a:pt x="87" y="167"/>
                  </a:lnTo>
                  <a:close/>
                  <a:moveTo>
                    <a:pt x="81" y="163"/>
                  </a:moveTo>
                  <a:lnTo>
                    <a:pt x="85" y="165"/>
                  </a:lnTo>
                  <a:lnTo>
                    <a:pt x="81" y="167"/>
                  </a:lnTo>
                  <a:lnTo>
                    <a:pt x="81" y="163"/>
                  </a:lnTo>
                  <a:lnTo>
                    <a:pt x="81" y="163"/>
                  </a:lnTo>
                  <a:lnTo>
                    <a:pt x="81" y="163"/>
                  </a:lnTo>
                  <a:lnTo>
                    <a:pt x="81" y="163"/>
                  </a:lnTo>
                  <a:close/>
                  <a:moveTo>
                    <a:pt x="74" y="153"/>
                  </a:moveTo>
                  <a:lnTo>
                    <a:pt x="73" y="154"/>
                  </a:lnTo>
                  <a:lnTo>
                    <a:pt x="74" y="156"/>
                  </a:lnTo>
                  <a:lnTo>
                    <a:pt x="80" y="158"/>
                  </a:lnTo>
                  <a:lnTo>
                    <a:pt x="74" y="153"/>
                  </a:lnTo>
                  <a:lnTo>
                    <a:pt x="74" y="153"/>
                  </a:lnTo>
                  <a:lnTo>
                    <a:pt x="74" y="153"/>
                  </a:lnTo>
                  <a:lnTo>
                    <a:pt x="74" y="153"/>
                  </a:lnTo>
                  <a:close/>
                  <a:moveTo>
                    <a:pt x="57" y="137"/>
                  </a:moveTo>
                  <a:lnTo>
                    <a:pt x="57" y="140"/>
                  </a:lnTo>
                  <a:lnTo>
                    <a:pt x="60" y="140"/>
                  </a:lnTo>
                  <a:lnTo>
                    <a:pt x="66" y="147"/>
                  </a:lnTo>
                  <a:lnTo>
                    <a:pt x="69" y="149"/>
                  </a:lnTo>
                  <a:lnTo>
                    <a:pt x="69" y="142"/>
                  </a:lnTo>
                  <a:lnTo>
                    <a:pt x="64" y="135"/>
                  </a:lnTo>
                  <a:lnTo>
                    <a:pt x="60" y="134"/>
                  </a:lnTo>
                  <a:lnTo>
                    <a:pt x="57" y="137"/>
                  </a:lnTo>
                  <a:lnTo>
                    <a:pt x="57" y="137"/>
                  </a:lnTo>
                  <a:lnTo>
                    <a:pt x="57" y="137"/>
                  </a:lnTo>
                  <a:lnTo>
                    <a:pt x="57" y="137"/>
                  </a:lnTo>
                  <a:close/>
                  <a:moveTo>
                    <a:pt x="54" y="123"/>
                  </a:moveTo>
                  <a:lnTo>
                    <a:pt x="52" y="127"/>
                  </a:lnTo>
                  <a:lnTo>
                    <a:pt x="55" y="130"/>
                  </a:lnTo>
                  <a:lnTo>
                    <a:pt x="57" y="127"/>
                  </a:lnTo>
                  <a:lnTo>
                    <a:pt x="57" y="127"/>
                  </a:lnTo>
                  <a:lnTo>
                    <a:pt x="54" y="123"/>
                  </a:lnTo>
                  <a:lnTo>
                    <a:pt x="54" y="123"/>
                  </a:lnTo>
                  <a:lnTo>
                    <a:pt x="54" y="123"/>
                  </a:lnTo>
                  <a:lnTo>
                    <a:pt x="54" y="123"/>
                  </a:lnTo>
                  <a:close/>
                  <a:moveTo>
                    <a:pt x="57" y="114"/>
                  </a:moveTo>
                  <a:lnTo>
                    <a:pt x="60" y="114"/>
                  </a:lnTo>
                  <a:lnTo>
                    <a:pt x="62" y="116"/>
                  </a:lnTo>
                  <a:lnTo>
                    <a:pt x="62" y="114"/>
                  </a:lnTo>
                  <a:lnTo>
                    <a:pt x="59" y="113"/>
                  </a:lnTo>
                  <a:lnTo>
                    <a:pt x="57" y="114"/>
                  </a:lnTo>
                  <a:lnTo>
                    <a:pt x="57" y="114"/>
                  </a:lnTo>
                  <a:lnTo>
                    <a:pt x="57" y="114"/>
                  </a:lnTo>
                  <a:lnTo>
                    <a:pt x="57" y="114"/>
                  </a:lnTo>
                  <a:close/>
                  <a:moveTo>
                    <a:pt x="33" y="92"/>
                  </a:moveTo>
                  <a:lnTo>
                    <a:pt x="36" y="92"/>
                  </a:lnTo>
                  <a:lnTo>
                    <a:pt x="38" y="90"/>
                  </a:lnTo>
                  <a:lnTo>
                    <a:pt x="40" y="92"/>
                  </a:lnTo>
                  <a:lnTo>
                    <a:pt x="43" y="97"/>
                  </a:lnTo>
                  <a:lnTo>
                    <a:pt x="47" y="99"/>
                  </a:lnTo>
                  <a:lnTo>
                    <a:pt x="47" y="100"/>
                  </a:lnTo>
                  <a:lnTo>
                    <a:pt x="45" y="107"/>
                  </a:lnTo>
                  <a:lnTo>
                    <a:pt x="43" y="107"/>
                  </a:lnTo>
                  <a:lnTo>
                    <a:pt x="40" y="100"/>
                  </a:lnTo>
                  <a:lnTo>
                    <a:pt x="38" y="100"/>
                  </a:lnTo>
                  <a:lnTo>
                    <a:pt x="36" y="97"/>
                  </a:lnTo>
                  <a:lnTo>
                    <a:pt x="33" y="92"/>
                  </a:lnTo>
                  <a:lnTo>
                    <a:pt x="33" y="92"/>
                  </a:lnTo>
                  <a:lnTo>
                    <a:pt x="33" y="92"/>
                  </a:lnTo>
                  <a:lnTo>
                    <a:pt x="33" y="92"/>
                  </a:lnTo>
                  <a:close/>
                  <a:moveTo>
                    <a:pt x="33" y="78"/>
                  </a:moveTo>
                  <a:lnTo>
                    <a:pt x="36" y="81"/>
                  </a:lnTo>
                  <a:lnTo>
                    <a:pt x="34" y="78"/>
                  </a:lnTo>
                  <a:lnTo>
                    <a:pt x="33" y="78"/>
                  </a:lnTo>
                  <a:lnTo>
                    <a:pt x="33" y="78"/>
                  </a:lnTo>
                  <a:lnTo>
                    <a:pt x="33" y="78"/>
                  </a:lnTo>
                  <a:lnTo>
                    <a:pt x="33" y="78"/>
                  </a:lnTo>
                  <a:close/>
                  <a:moveTo>
                    <a:pt x="8" y="64"/>
                  </a:moveTo>
                  <a:lnTo>
                    <a:pt x="8" y="67"/>
                  </a:lnTo>
                  <a:lnTo>
                    <a:pt x="7" y="67"/>
                  </a:lnTo>
                  <a:lnTo>
                    <a:pt x="10" y="71"/>
                  </a:lnTo>
                  <a:lnTo>
                    <a:pt x="15" y="69"/>
                  </a:lnTo>
                  <a:lnTo>
                    <a:pt x="12" y="67"/>
                  </a:lnTo>
                  <a:lnTo>
                    <a:pt x="8" y="64"/>
                  </a:lnTo>
                  <a:lnTo>
                    <a:pt x="8" y="64"/>
                  </a:lnTo>
                  <a:lnTo>
                    <a:pt x="8" y="64"/>
                  </a:lnTo>
                  <a:lnTo>
                    <a:pt x="8" y="64"/>
                  </a:lnTo>
                  <a:close/>
                  <a:moveTo>
                    <a:pt x="0" y="19"/>
                  </a:moveTo>
                  <a:lnTo>
                    <a:pt x="0" y="19"/>
                  </a:lnTo>
                  <a:lnTo>
                    <a:pt x="0" y="24"/>
                  </a:lnTo>
                  <a:lnTo>
                    <a:pt x="3" y="33"/>
                  </a:lnTo>
                  <a:lnTo>
                    <a:pt x="7" y="33"/>
                  </a:lnTo>
                  <a:lnTo>
                    <a:pt x="14" y="41"/>
                  </a:lnTo>
                  <a:lnTo>
                    <a:pt x="15" y="41"/>
                  </a:lnTo>
                  <a:lnTo>
                    <a:pt x="22" y="48"/>
                  </a:lnTo>
                  <a:lnTo>
                    <a:pt x="24" y="48"/>
                  </a:lnTo>
                  <a:lnTo>
                    <a:pt x="24" y="48"/>
                  </a:lnTo>
                  <a:lnTo>
                    <a:pt x="31" y="54"/>
                  </a:lnTo>
                  <a:lnTo>
                    <a:pt x="38" y="64"/>
                  </a:lnTo>
                  <a:lnTo>
                    <a:pt x="43" y="67"/>
                  </a:lnTo>
                  <a:lnTo>
                    <a:pt x="45" y="67"/>
                  </a:lnTo>
                  <a:lnTo>
                    <a:pt x="45" y="73"/>
                  </a:lnTo>
                  <a:lnTo>
                    <a:pt x="47" y="74"/>
                  </a:lnTo>
                  <a:lnTo>
                    <a:pt x="47" y="78"/>
                  </a:lnTo>
                  <a:lnTo>
                    <a:pt x="50" y="81"/>
                  </a:lnTo>
                  <a:lnTo>
                    <a:pt x="52" y="81"/>
                  </a:lnTo>
                  <a:lnTo>
                    <a:pt x="57" y="85"/>
                  </a:lnTo>
                  <a:lnTo>
                    <a:pt x="59" y="87"/>
                  </a:lnTo>
                  <a:lnTo>
                    <a:pt x="62" y="87"/>
                  </a:lnTo>
                  <a:lnTo>
                    <a:pt x="62" y="90"/>
                  </a:lnTo>
                  <a:lnTo>
                    <a:pt x="60" y="90"/>
                  </a:lnTo>
                  <a:lnTo>
                    <a:pt x="64" y="94"/>
                  </a:lnTo>
                  <a:lnTo>
                    <a:pt x="66" y="97"/>
                  </a:lnTo>
                  <a:lnTo>
                    <a:pt x="64" y="99"/>
                  </a:lnTo>
                  <a:lnTo>
                    <a:pt x="69" y="107"/>
                  </a:lnTo>
                  <a:lnTo>
                    <a:pt x="69" y="113"/>
                  </a:lnTo>
                  <a:lnTo>
                    <a:pt x="73" y="114"/>
                  </a:lnTo>
                  <a:lnTo>
                    <a:pt x="78" y="118"/>
                  </a:lnTo>
                  <a:lnTo>
                    <a:pt x="78" y="120"/>
                  </a:lnTo>
                  <a:lnTo>
                    <a:pt x="83" y="127"/>
                  </a:lnTo>
                  <a:lnTo>
                    <a:pt x="87" y="130"/>
                  </a:lnTo>
                  <a:lnTo>
                    <a:pt x="88" y="139"/>
                  </a:lnTo>
                  <a:lnTo>
                    <a:pt x="95" y="149"/>
                  </a:lnTo>
                  <a:lnTo>
                    <a:pt x="94" y="154"/>
                  </a:lnTo>
                  <a:lnTo>
                    <a:pt x="95" y="160"/>
                  </a:lnTo>
                  <a:lnTo>
                    <a:pt x="100" y="165"/>
                  </a:lnTo>
                  <a:lnTo>
                    <a:pt x="107" y="172"/>
                  </a:lnTo>
                  <a:lnTo>
                    <a:pt x="109" y="175"/>
                  </a:lnTo>
                  <a:lnTo>
                    <a:pt x="114" y="177"/>
                  </a:lnTo>
                  <a:lnTo>
                    <a:pt x="116" y="179"/>
                  </a:lnTo>
                  <a:lnTo>
                    <a:pt x="120" y="180"/>
                  </a:lnTo>
                  <a:lnTo>
                    <a:pt x="120" y="186"/>
                  </a:lnTo>
                  <a:lnTo>
                    <a:pt x="123" y="189"/>
                  </a:lnTo>
                  <a:lnTo>
                    <a:pt x="128" y="194"/>
                  </a:lnTo>
                  <a:lnTo>
                    <a:pt x="137" y="198"/>
                  </a:lnTo>
                  <a:lnTo>
                    <a:pt x="139" y="201"/>
                  </a:lnTo>
                  <a:lnTo>
                    <a:pt x="142" y="203"/>
                  </a:lnTo>
                  <a:lnTo>
                    <a:pt x="154" y="212"/>
                  </a:lnTo>
                  <a:lnTo>
                    <a:pt x="154" y="217"/>
                  </a:lnTo>
                  <a:lnTo>
                    <a:pt x="156" y="217"/>
                  </a:lnTo>
                  <a:lnTo>
                    <a:pt x="158" y="220"/>
                  </a:lnTo>
                  <a:lnTo>
                    <a:pt x="160" y="220"/>
                  </a:lnTo>
                  <a:lnTo>
                    <a:pt x="160" y="217"/>
                  </a:lnTo>
                  <a:lnTo>
                    <a:pt x="158" y="215"/>
                  </a:lnTo>
                  <a:lnTo>
                    <a:pt x="158" y="212"/>
                  </a:lnTo>
                  <a:lnTo>
                    <a:pt x="161" y="214"/>
                  </a:lnTo>
                  <a:lnTo>
                    <a:pt x="168" y="220"/>
                  </a:lnTo>
                  <a:lnTo>
                    <a:pt x="170" y="217"/>
                  </a:lnTo>
                  <a:lnTo>
                    <a:pt x="170" y="214"/>
                  </a:lnTo>
                  <a:lnTo>
                    <a:pt x="172" y="212"/>
                  </a:lnTo>
                  <a:lnTo>
                    <a:pt x="173" y="212"/>
                  </a:lnTo>
                  <a:lnTo>
                    <a:pt x="177" y="217"/>
                  </a:lnTo>
                  <a:lnTo>
                    <a:pt x="179" y="217"/>
                  </a:lnTo>
                  <a:lnTo>
                    <a:pt x="182" y="215"/>
                  </a:lnTo>
                  <a:lnTo>
                    <a:pt x="182" y="207"/>
                  </a:lnTo>
                  <a:lnTo>
                    <a:pt x="182" y="198"/>
                  </a:lnTo>
                  <a:lnTo>
                    <a:pt x="182" y="193"/>
                  </a:lnTo>
                  <a:lnTo>
                    <a:pt x="184" y="186"/>
                  </a:lnTo>
                  <a:lnTo>
                    <a:pt x="182" y="182"/>
                  </a:lnTo>
                  <a:lnTo>
                    <a:pt x="182" y="177"/>
                  </a:lnTo>
                  <a:lnTo>
                    <a:pt x="186" y="175"/>
                  </a:lnTo>
                  <a:lnTo>
                    <a:pt x="187" y="175"/>
                  </a:lnTo>
                  <a:lnTo>
                    <a:pt x="187" y="172"/>
                  </a:lnTo>
                  <a:lnTo>
                    <a:pt x="184" y="170"/>
                  </a:lnTo>
                  <a:lnTo>
                    <a:pt x="182" y="167"/>
                  </a:lnTo>
                  <a:lnTo>
                    <a:pt x="179" y="163"/>
                  </a:lnTo>
                  <a:lnTo>
                    <a:pt x="177" y="161"/>
                  </a:lnTo>
                  <a:lnTo>
                    <a:pt x="177" y="160"/>
                  </a:lnTo>
                  <a:lnTo>
                    <a:pt x="173" y="158"/>
                  </a:lnTo>
                  <a:lnTo>
                    <a:pt x="168" y="158"/>
                  </a:lnTo>
                  <a:lnTo>
                    <a:pt x="165" y="158"/>
                  </a:lnTo>
                  <a:lnTo>
                    <a:pt x="165" y="153"/>
                  </a:lnTo>
                  <a:lnTo>
                    <a:pt x="161" y="149"/>
                  </a:lnTo>
                  <a:lnTo>
                    <a:pt x="160" y="149"/>
                  </a:lnTo>
                  <a:lnTo>
                    <a:pt x="161" y="147"/>
                  </a:lnTo>
                  <a:lnTo>
                    <a:pt x="160" y="144"/>
                  </a:lnTo>
                  <a:lnTo>
                    <a:pt x="160" y="135"/>
                  </a:lnTo>
                  <a:lnTo>
                    <a:pt x="154" y="137"/>
                  </a:lnTo>
                  <a:lnTo>
                    <a:pt x="154" y="135"/>
                  </a:lnTo>
                  <a:lnTo>
                    <a:pt x="147" y="135"/>
                  </a:lnTo>
                  <a:lnTo>
                    <a:pt x="142" y="132"/>
                  </a:lnTo>
                  <a:lnTo>
                    <a:pt x="142" y="130"/>
                  </a:lnTo>
                  <a:lnTo>
                    <a:pt x="146" y="127"/>
                  </a:lnTo>
                  <a:lnTo>
                    <a:pt x="149" y="123"/>
                  </a:lnTo>
                  <a:lnTo>
                    <a:pt x="147" y="123"/>
                  </a:lnTo>
                  <a:lnTo>
                    <a:pt x="142" y="123"/>
                  </a:lnTo>
                  <a:lnTo>
                    <a:pt x="140" y="123"/>
                  </a:lnTo>
                  <a:lnTo>
                    <a:pt x="137" y="123"/>
                  </a:lnTo>
                  <a:lnTo>
                    <a:pt x="140" y="123"/>
                  </a:lnTo>
                  <a:lnTo>
                    <a:pt x="142" y="120"/>
                  </a:lnTo>
                  <a:lnTo>
                    <a:pt x="149" y="120"/>
                  </a:lnTo>
                  <a:lnTo>
                    <a:pt x="149" y="114"/>
                  </a:lnTo>
                  <a:lnTo>
                    <a:pt x="142" y="109"/>
                  </a:lnTo>
                  <a:lnTo>
                    <a:pt x="139" y="109"/>
                  </a:lnTo>
                  <a:lnTo>
                    <a:pt x="135" y="113"/>
                  </a:lnTo>
                  <a:lnTo>
                    <a:pt x="132" y="114"/>
                  </a:lnTo>
                  <a:lnTo>
                    <a:pt x="128" y="114"/>
                  </a:lnTo>
                  <a:lnTo>
                    <a:pt x="132" y="113"/>
                  </a:lnTo>
                  <a:lnTo>
                    <a:pt x="132" y="113"/>
                  </a:lnTo>
                  <a:lnTo>
                    <a:pt x="133" y="113"/>
                  </a:lnTo>
                  <a:lnTo>
                    <a:pt x="135" y="109"/>
                  </a:lnTo>
                  <a:lnTo>
                    <a:pt x="133" y="107"/>
                  </a:lnTo>
                  <a:lnTo>
                    <a:pt x="132" y="104"/>
                  </a:lnTo>
                  <a:lnTo>
                    <a:pt x="123" y="104"/>
                  </a:lnTo>
                  <a:lnTo>
                    <a:pt x="120" y="100"/>
                  </a:lnTo>
                  <a:lnTo>
                    <a:pt x="120" y="100"/>
                  </a:lnTo>
                  <a:lnTo>
                    <a:pt x="120" y="95"/>
                  </a:lnTo>
                  <a:lnTo>
                    <a:pt x="113" y="90"/>
                  </a:lnTo>
                  <a:lnTo>
                    <a:pt x="109" y="90"/>
                  </a:lnTo>
                  <a:lnTo>
                    <a:pt x="107" y="90"/>
                  </a:lnTo>
                  <a:lnTo>
                    <a:pt x="104" y="87"/>
                  </a:lnTo>
                  <a:lnTo>
                    <a:pt x="104" y="81"/>
                  </a:lnTo>
                  <a:lnTo>
                    <a:pt x="100" y="76"/>
                  </a:lnTo>
                  <a:lnTo>
                    <a:pt x="94" y="73"/>
                  </a:lnTo>
                  <a:lnTo>
                    <a:pt x="88" y="71"/>
                  </a:lnTo>
                  <a:lnTo>
                    <a:pt x="88" y="73"/>
                  </a:lnTo>
                  <a:lnTo>
                    <a:pt x="87" y="73"/>
                  </a:lnTo>
                  <a:lnTo>
                    <a:pt x="85" y="67"/>
                  </a:lnTo>
                  <a:lnTo>
                    <a:pt x="83" y="69"/>
                  </a:lnTo>
                  <a:lnTo>
                    <a:pt x="81" y="67"/>
                  </a:lnTo>
                  <a:lnTo>
                    <a:pt x="81" y="64"/>
                  </a:lnTo>
                  <a:lnTo>
                    <a:pt x="78" y="59"/>
                  </a:lnTo>
                  <a:lnTo>
                    <a:pt x="73" y="59"/>
                  </a:lnTo>
                  <a:lnTo>
                    <a:pt x="73" y="55"/>
                  </a:lnTo>
                  <a:lnTo>
                    <a:pt x="62" y="48"/>
                  </a:lnTo>
                  <a:lnTo>
                    <a:pt x="59" y="48"/>
                  </a:lnTo>
                  <a:lnTo>
                    <a:pt x="55" y="45"/>
                  </a:lnTo>
                  <a:lnTo>
                    <a:pt x="50" y="45"/>
                  </a:lnTo>
                  <a:lnTo>
                    <a:pt x="50" y="41"/>
                  </a:lnTo>
                  <a:lnTo>
                    <a:pt x="50" y="36"/>
                  </a:lnTo>
                  <a:lnTo>
                    <a:pt x="47" y="33"/>
                  </a:lnTo>
                  <a:lnTo>
                    <a:pt x="45" y="29"/>
                  </a:lnTo>
                  <a:lnTo>
                    <a:pt x="43" y="29"/>
                  </a:lnTo>
                  <a:lnTo>
                    <a:pt x="41" y="24"/>
                  </a:lnTo>
                  <a:lnTo>
                    <a:pt x="36" y="22"/>
                  </a:lnTo>
                  <a:lnTo>
                    <a:pt x="33" y="22"/>
                  </a:lnTo>
                  <a:lnTo>
                    <a:pt x="31" y="24"/>
                  </a:lnTo>
                  <a:lnTo>
                    <a:pt x="27" y="22"/>
                  </a:lnTo>
                  <a:lnTo>
                    <a:pt x="24" y="22"/>
                  </a:lnTo>
                  <a:lnTo>
                    <a:pt x="19" y="24"/>
                  </a:lnTo>
                  <a:lnTo>
                    <a:pt x="15" y="22"/>
                  </a:lnTo>
                  <a:lnTo>
                    <a:pt x="8" y="19"/>
                  </a:lnTo>
                  <a:lnTo>
                    <a:pt x="1" y="15"/>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0" name="Freeform 196">
              <a:extLst>
                <a:ext uri="{FF2B5EF4-FFF2-40B4-BE49-F238E27FC236}">
                  <a16:creationId xmlns:a16="http://schemas.microsoft.com/office/drawing/2014/main" id="{A7569811-0CD4-45C5-8913-6FAD00E35D83}"/>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1" name="Freeform 197">
              <a:extLst>
                <a:ext uri="{FF2B5EF4-FFF2-40B4-BE49-F238E27FC236}">
                  <a16:creationId xmlns:a16="http://schemas.microsoft.com/office/drawing/2014/main" id="{D9A30C23-EC94-4E96-8963-A48FD2F4BB34}"/>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23" name="Groupe 216">
            <a:extLst>
              <a:ext uri="{FF2B5EF4-FFF2-40B4-BE49-F238E27FC236}">
                <a16:creationId xmlns:a16="http://schemas.microsoft.com/office/drawing/2014/main" id="{CCBF9550-4BCC-4A85-9689-CF13F60B8BBE}"/>
              </a:ext>
            </a:extLst>
          </p:cNvPr>
          <p:cNvGrpSpPr/>
          <p:nvPr/>
        </p:nvGrpSpPr>
        <p:grpSpPr>
          <a:xfrm>
            <a:off x="6353175" y="3011488"/>
            <a:ext cx="2936875" cy="3240088"/>
            <a:chOff x="6200775" y="2732088"/>
            <a:chExt cx="2936875" cy="3240088"/>
          </a:xfrm>
          <a:solidFill>
            <a:schemeClr val="accent1"/>
          </a:solidFill>
        </p:grpSpPr>
        <p:sp>
          <p:nvSpPr>
            <p:cNvPr id="824" name="Freeform 198">
              <a:extLst>
                <a:ext uri="{FF2B5EF4-FFF2-40B4-BE49-F238E27FC236}">
                  <a16:creationId xmlns:a16="http://schemas.microsoft.com/office/drawing/2014/main" id="{B7BE577A-B541-4C21-B4F3-07B8F5214558}"/>
                </a:ext>
              </a:extLst>
            </p:cNvPr>
            <p:cNvSpPr>
              <a:spLocks noEditPoints="1"/>
            </p:cNvSpPr>
            <p:nvPr/>
          </p:nvSpPr>
          <p:spPr bwMode="auto">
            <a:xfrm>
              <a:off x="7778750" y="2732088"/>
              <a:ext cx="423863" cy="828675"/>
            </a:xfrm>
            <a:custGeom>
              <a:avLst/>
              <a:gdLst/>
              <a:ahLst/>
              <a:cxnLst>
                <a:cxn ang="0">
                  <a:pos x="111" y="247"/>
                </a:cxn>
                <a:cxn ang="0">
                  <a:pos x="3" y="522"/>
                </a:cxn>
                <a:cxn ang="0">
                  <a:pos x="5" y="518"/>
                </a:cxn>
                <a:cxn ang="0">
                  <a:pos x="59" y="468"/>
                </a:cxn>
                <a:cxn ang="0">
                  <a:pos x="59" y="476"/>
                </a:cxn>
                <a:cxn ang="0">
                  <a:pos x="80" y="435"/>
                </a:cxn>
                <a:cxn ang="0">
                  <a:pos x="82" y="431"/>
                </a:cxn>
                <a:cxn ang="0">
                  <a:pos x="170" y="92"/>
                </a:cxn>
                <a:cxn ang="0">
                  <a:pos x="177" y="89"/>
                </a:cxn>
                <a:cxn ang="0">
                  <a:pos x="177" y="62"/>
                </a:cxn>
                <a:cxn ang="0">
                  <a:pos x="191" y="50"/>
                </a:cxn>
                <a:cxn ang="0">
                  <a:pos x="181" y="7"/>
                </a:cxn>
                <a:cxn ang="0">
                  <a:pos x="214" y="22"/>
                </a:cxn>
                <a:cxn ang="0">
                  <a:pos x="252" y="24"/>
                </a:cxn>
                <a:cxn ang="0">
                  <a:pos x="262" y="47"/>
                </a:cxn>
                <a:cxn ang="0">
                  <a:pos x="252" y="59"/>
                </a:cxn>
                <a:cxn ang="0">
                  <a:pos x="231" y="87"/>
                </a:cxn>
                <a:cxn ang="0">
                  <a:pos x="189" y="76"/>
                </a:cxn>
                <a:cxn ang="0">
                  <a:pos x="203" y="101"/>
                </a:cxn>
                <a:cxn ang="0">
                  <a:pos x="184" y="200"/>
                </a:cxn>
                <a:cxn ang="0">
                  <a:pos x="184" y="205"/>
                </a:cxn>
                <a:cxn ang="0">
                  <a:pos x="59" y="322"/>
                </a:cxn>
                <a:cxn ang="0">
                  <a:pos x="54" y="325"/>
                </a:cxn>
                <a:cxn ang="0">
                  <a:pos x="50" y="330"/>
                </a:cxn>
                <a:cxn ang="0">
                  <a:pos x="78" y="335"/>
                </a:cxn>
                <a:cxn ang="0">
                  <a:pos x="73" y="342"/>
                </a:cxn>
                <a:cxn ang="0">
                  <a:pos x="73" y="335"/>
                </a:cxn>
                <a:cxn ang="0">
                  <a:pos x="146" y="292"/>
                </a:cxn>
                <a:cxn ang="0">
                  <a:pos x="132" y="292"/>
                </a:cxn>
                <a:cxn ang="0">
                  <a:pos x="132" y="308"/>
                </a:cxn>
                <a:cxn ang="0">
                  <a:pos x="130" y="292"/>
                </a:cxn>
                <a:cxn ang="0">
                  <a:pos x="108" y="311"/>
                </a:cxn>
                <a:cxn ang="0">
                  <a:pos x="94" y="382"/>
                </a:cxn>
                <a:cxn ang="0">
                  <a:pos x="97" y="372"/>
                </a:cxn>
                <a:cxn ang="0">
                  <a:pos x="95" y="360"/>
                </a:cxn>
                <a:cxn ang="0">
                  <a:pos x="104" y="325"/>
                </a:cxn>
                <a:cxn ang="0">
                  <a:pos x="90" y="311"/>
                </a:cxn>
                <a:cxn ang="0">
                  <a:pos x="104" y="292"/>
                </a:cxn>
                <a:cxn ang="0">
                  <a:pos x="135" y="283"/>
                </a:cxn>
                <a:cxn ang="0">
                  <a:pos x="149" y="299"/>
                </a:cxn>
                <a:cxn ang="0">
                  <a:pos x="175" y="292"/>
                </a:cxn>
                <a:cxn ang="0">
                  <a:pos x="177" y="280"/>
                </a:cxn>
                <a:cxn ang="0">
                  <a:pos x="189" y="280"/>
                </a:cxn>
                <a:cxn ang="0">
                  <a:pos x="214" y="275"/>
                </a:cxn>
                <a:cxn ang="0">
                  <a:pos x="222" y="261"/>
                </a:cxn>
                <a:cxn ang="0">
                  <a:pos x="231" y="243"/>
                </a:cxn>
                <a:cxn ang="0">
                  <a:pos x="234" y="186"/>
                </a:cxn>
                <a:cxn ang="0">
                  <a:pos x="234" y="156"/>
                </a:cxn>
                <a:cxn ang="0">
                  <a:pos x="212" y="106"/>
                </a:cxn>
                <a:cxn ang="0">
                  <a:pos x="208" y="116"/>
                </a:cxn>
                <a:cxn ang="0">
                  <a:pos x="193" y="115"/>
                </a:cxn>
                <a:cxn ang="0">
                  <a:pos x="189" y="146"/>
                </a:cxn>
                <a:cxn ang="0">
                  <a:pos x="191" y="205"/>
                </a:cxn>
                <a:cxn ang="0">
                  <a:pos x="167" y="215"/>
                </a:cxn>
                <a:cxn ang="0">
                  <a:pos x="155" y="242"/>
                </a:cxn>
                <a:cxn ang="0">
                  <a:pos x="148" y="261"/>
                </a:cxn>
                <a:cxn ang="0">
                  <a:pos x="113" y="264"/>
                </a:cxn>
                <a:cxn ang="0">
                  <a:pos x="82" y="294"/>
                </a:cxn>
                <a:cxn ang="0">
                  <a:pos x="62" y="320"/>
                </a:cxn>
                <a:cxn ang="0">
                  <a:pos x="66" y="334"/>
                </a:cxn>
                <a:cxn ang="0">
                  <a:pos x="73" y="325"/>
                </a:cxn>
                <a:cxn ang="0">
                  <a:pos x="80" y="356"/>
                </a:cxn>
                <a:cxn ang="0">
                  <a:pos x="90" y="355"/>
                </a:cxn>
              </a:cxnLst>
              <a:rect l="0" t="0" r="r" b="b"/>
              <a:pathLst>
                <a:path w="267" h="522">
                  <a:moveTo>
                    <a:pt x="108" y="250"/>
                  </a:moveTo>
                  <a:lnTo>
                    <a:pt x="108" y="252"/>
                  </a:lnTo>
                  <a:lnTo>
                    <a:pt x="108" y="252"/>
                  </a:lnTo>
                  <a:lnTo>
                    <a:pt x="104" y="252"/>
                  </a:lnTo>
                  <a:lnTo>
                    <a:pt x="108" y="250"/>
                  </a:lnTo>
                  <a:lnTo>
                    <a:pt x="108" y="250"/>
                  </a:lnTo>
                  <a:lnTo>
                    <a:pt x="108" y="250"/>
                  </a:lnTo>
                  <a:lnTo>
                    <a:pt x="108" y="250"/>
                  </a:lnTo>
                  <a:close/>
                  <a:moveTo>
                    <a:pt x="108" y="250"/>
                  </a:moveTo>
                  <a:lnTo>
                    <a:pt x="108" y="249"/>
                  </a:lnTo>
                  <a:lnTo>
                    <a:pt x="109" y="247"/>
                  </a:lnTo>
                  <a:lnTo>
                    <a:pt x="111" y="247"/>
                  </a:lnTo>
                  <a:lnTo>
                    <a:pt x="111" y="250"/>
                  </a:lnTo>
                  <a:lnTo>
                    <a:pt x="109" y="250"/>
                  </a:lnTo>
                  <a:lnTo>
                    <a:pt x="108" y="250"/>
                  </a:lnTo>
                  <a:lnTo>
                    <a:pt x="108" y="250"/>
                  </a:lnTo>
                  <a:lnTo>
                    <a:pt x="108" y="250"/>
                  </a:lnTo>
                  <a:lnTo>
                    <a:pt x="108" y="250"/>
                  </a:lnTo>
                  <a:close/>
                  <a:moveTo>
                    <a:pt x="3" y="522"/>
                  </a:moveTo>
                  <a:lnTo>
                    <a:pt x="2" y="518"/>
                  </a:lnTo>
                  <a:lnTo>
                    <a:pt x="0" y="518"/>
                  </a:lnTo>
                  <a:lnTo>
                    <a:pt x="0" y="522"/>
                  </a:lnTo>
                  <a:lnTo>
                    <a:pt x="2" y="522"/>
                  </a:lnTo>
                  <a:lnTo>
                    <a:pt x="3" y="522"/>
                  </a:lnTo>
                  <a:lnTo>
                    <a:pt x="3" y="522"/>
                  </a:lnTo>
                  <a:lnTo>
                    <a:pt x="3" y="522"/>
                  </a:lnTo>
                  <a:lnTo>
                    <a:pt x="3" y="522"/>
                  </a:lnTo>
                  <a:close/>
                  <a:moveTo>
                    <a:pt x="5" y="518"/>
                  </a:moveTo>
                  <a:lnTo>
                    <a:pt x="5" y="516"/>
                  </a:lnTo>
                  <a:lnTo>
                    <a:pt x="9" y="518"/>
                  </a:lnTo>
                  <a:lnTo>
                    <a:pt x="9" y="522"/>
                  </a:lnTo>
                  <a:lnTo>
                    <a:pt x="5" y="518"/>
                  </a:lnTo>
                  <a:lnTo>
                    <a:pt x="5" y="518"/>
                  </a:lnTo>
                  <a:lnTo>
                    <a:pt x="5" y="518"/>
                  </a:lnTo>
                  <a:lnTo>
                    <a:pt x="5" y="518"/>
                  </a:lnTo>
                  <a:lnTo>
                    <a:pt x="5" y="518"/>
                  </a:lnTo>
                  <a:close/>
                  <a:moveTo>
                    <a:pt x="21" y="506"/>
                  </a:moveTo>
                  <a:lnTo>
                    <a:pt x="21" y="509"/>
                  </a:lnTo>
                  <a:lnTo>
                    <a:pt x="21" y="511"/>
                  </a:lnTo>
                  <a:lnTo>
                    <a:pt x="24" y="511"/>
                  </a:lnTo>
                  <a:lnTo>
                    <a:pt x="24" y="508"/>
                  </a:lnTo>
                  <a:lnTo>
                    <a:pt x="21" y="506"/>
                  </a:lnTo>
                  <a:lnTo>
                    <a:pt x="21" y="506"/>
                  </a:lnTo>
                  <a:lnTo>
                    <a:pt x="21" y="506"/>
                  </a:lnTo>
                  <a:lnTo>
                    <a:pt x="21" y="506"/>
                  </a:lnTo>
                  <a:close/>
                  <a:moveTo>
                    <a:pt x="59" y="476"/>
                  </a:moveTo>
                  <a:lnTo>
                    <a:pt x="57" y="471"/>
                  </a:lnTo>
                  <a:lnTo>
                    <a:pt x="59" y="468"/>
                  </a:lnTo>
                  <a:lnTo>
                    <a:pt x="59" y="466"/>
                  </a:lnTo>
                  <a:lnTo>
                    <a:pt x="59" y="466"/>
                  </a:lnTo>
                  <a:lnTo>
                    <a:pt x="62" y="466"/>
                  </a:lnTo>
                  <a:lnTo>
                    <a:pt x="62" y="462"/>
                  </a:lnTo>
                  <a:lnTo>
                    <a:pt x="64" y="466"/>
                  </a:lnTo>
                  <a:lnTo>
                    <a:pt x="62" y="466"/>
                  </a:lnTo>
                  <a:lnTo>
                    <a:pt x="62" y="469"/>
                  </a:lnTo>
                  <a:lnTo>
                    <a:pt x="59" y="471"/>
                  </a:lnTo>
                  <a:lnTo>
                    <a:pt x="59" y="475"/>
                  </a:lnTo>
                  <a:lnTo>
                    <a:pt x="59" y="476"/>
                  </a:lnTo>
                  <a:lnTo>
                    <a:pt x="59" y="476"/>
                  </a:lnTo>
                  <a:lnTo>
                    <a:pt x="59" y="476"/>
                  </a:lnTo>
                  <a:lnTo>
                    <a:pt x="59" y="476"/>
                  </a:lnTo>
                  <a:close/>
                  <a:moveTo>
                    <a:pt x="73" y="440"/>
                  </a:moveTo>
                  <a:lnTo>
                    <a:pt x="76" y="443"/>
                  </a:lnTo>
                  <a:lnTo>
                    <a:pt x="76" y="445"/>
                  </a:lnTo>
                  <a:lnTo>
                    <a:pt x="75" y="447"/>
                  </a:lnTo>
                  <a:lnTo>
                    <a:pt x="73" y="443"/>
                  </a:lnTo>
                  <a:lnTo>
                    <a:pt x="73" y="443"/>
                  </a:lnTo>
                  <a:lnTo>
                    <a:pt x="73" y="440"/>
                  </a:lnTo>
                  <a:lnTo>
                    <a:pt x="73" y="440"/>
                  </a:lnTo>
                  <a:lnTo>
                    <a:pt x="73" y="440"/>
                  </a:lnTo>
                  <a:lnTo>
                    <a:pt x="73" y="440"/>
                  </a:lnTo>
                  <a:close/>
                  <a:moveTo>
                    <a:pt x="80" y="435"/>
                  </a:moveTo>
                  <a:lnTo>
                    <a:pt x="80" y="435"/>
                  </a:lnTo>
                  <a:lnTo>
                    <a:pt x="76" y="435"/>
                  </a:lnTo>
                  <a:lnTo>
                    <a:pt x="75" y="431"/>
                  </a:lnTo>
                  <a:lnTo>
                    <a:pt x="76" y="431"/>
                  </a:lnTo>
                  <a:lnTo>
                    <a:pt x="80" y="429"/>
                  </a:lnTo>
                  <a:lnTo>
                    <a:pt x="80" y="429"/>
                  </a:lnTo>
                  <a:lnTo>
                    <a:pt x="82" y="426"/>
                  </a:lnTo>
                  <a:lnTo>
                    <a:pt x="82" y="426"/>
                  </a:lnTo>
                  <a:lnTo>
                    <a:pt x="85" y="426"/>
                  </a:lnTo>
                  <a:lnTo>
                    <a:pt x="85" y="426"/>
                  </a:lnTo>
                  <a:lnTo>
                    <a:pt x="85" y="429"/>
                  </a:lnTo>
                  <a:lnTo>
                    <a:pt x="82" y="431"/>
                  </a:lnTo>
                  <a:lnTo>
                    <a:pt x="82" y="435"/>
                  </a:lnTo>
                  <a:lnTo>
                    <a:pt x="80" y="435"/>
                  </a:lnTo>
                  <a:lnTo>
                    <a:pt x="80" y="435"/>
                  </a:lnTo>
                  <a:lnTo>
                    <a:pt x="80" y="435"/>
                  </a:lnTo>
                  <a:lnTo>
                    <a:pt x="80" y="435"/>
                  </a:lnTo>
                  <a:close/>
                  <a:moveTo>
                    <a:pt x="168" y="94"/>
                  </a:moveTo>
                  <a:lnTo>
                    <a:pt x="167" y="92"/>
                  </a:lnTo>
                  <a:lnTo>
                    <a:pt x="167" y="89"/>
                  </a:lnTo>
                  <a:lnTo>
                    <a:pt x="168" y="85"/>
                  </a:lnTo>
                  <a:lnTo>
                    <a:pt x="170" y="85"/>
                  </a:lnTo>
                  <a:lnTo>
                    <a:pt x="170" y="89"/>
                  </a:lnTo>
                  <a:lnTo>
                    <a:pt x="170" y="92"/>
                  </a:lnTo>
                  <a:lnTo>
                    <a:pt x="168" y="94"/>
                  </a:lnTo>
                  <a:lnTo>
                    <a:pt x="168" y="94"/>
                  </a:lnTo>
                  <a:lnTo>
                    <a:pt x="168" y="94"/>
                  </a:lnTo>
                  <a:lnTo>
                    <a:pt x="168" y="94"/>
                  </a:lnTo>
                  <a:close/>
                  <a:moveTo>
                    <a:pt x="189" y="109"/>
                  </a:moveTo>
                  <a:lnTo>
                    <a:pt x="186" y="109"/>
                  </a:lnTo>
                  <a:lnTo>
                    <a:pt x="184" y="104"/>
                  </a:lnTo>
                  <a:lnTo>
                    <a:pt x="184" y="104"/>
                  </a:lnTo>
                  <a:lnTo>
                    <a:pt x="184" y="99"/>
                  </a:lnTo>
                  <a:lnTo>
                    <a:pt x="181" y="92"/>
                  </a:lnTo>
                  <a:lnTo>
                    <a:pt x="181" y="90"/>
                  </a:lnTo>
                  <a:lnTo>
                    <a:pt x="177" y="89"/>
                  </a:lnTo>
                  <a:lnTo>
                    <a:pt x="175" y="89"/>
                  </a:lnTo>
                  <a:lnTo>
                    <a:pt x="175" y="85"/>
                  </a:lnTo>
                  <a:lnTo>
                    <a:pt x="175" y="82"/>
                  </a:lnTo>
                  <a:lnTo>
                    <a:pt x="174" y="76"/>
                  </a:lnTo>
                  <a:lnTo>
                    <a:pt x="175" y="76"/>
                  </a:lnTo>
                  <a:lnTo>
                    <a:pt x="177" y="73"/>
                  </a:lnTo>
                  <a:lnTo>
                    <a:pt x="177" y="73"/>
                  </a:lnTo>
                  <a:lnTo>
                    <a:pt x="181" y="73"/>
                  </a:lnTo>
                  <a:lnTo>
                    <a:pt x="181" y="69"/>
                  </a:lnTo>
                  <a:lnTo>
                    <a:pt x="184" y="68"/>
                  </a:lnTo>
                  <a:lnTo>
                    <a:pt x="181" y="66"/>
                  </a:lnTo>
                  <a:lnTo>
                    <a:pt x="177" y="62"/>
                  </a:lnTo>
                  <a:lnTo>
                    <a:pt x="177" y="62"/>
                  </a:lnTo>
                  <a:lnTo>
                    <a:pt x="177" y="61"/>
                  </a:lnTo>
                  <a:lnTo>
                    <a:pt x="177" y="59"/>
                  </a:lnTo>
                  <a:lnTo>
                    <a:pt x="181" y="57"/>
                  </a:lnTo>
                  <a:lnTo>
                    <a:pt x="184" y="61"/>
                  </a:lnTo>
                  <a:lnTo>
                    <a:pt x="191" y="62"/>
                  </a:lnTo>
                  <a:lnTo>
                    <a:pt x="193" y="61"/>
                  </a:lnTo>
                  <a:lnTo>
                    <a:pt x="193" y="57"/>
                  </a:lnTo>
                  <a:lnTo>
                    <a:pt x="194" y="56"/>
                  </a:lnTo>
                  <a:lnTo>
                    <a:pt x="193" y="54"/>
                  </a:lnTo>
                  <a:lnTo>
                    <a:pt x="191" y="54"/>
                  </a:lnTo>
                  <a:lnTo>
                    <a:pt x="191" y="50"/>
                  </a:lnTo>
                  <a:lnTo>
                    <a:pt x="189" y="49"/>
                  </a:lnTo>
                  <a:lnTo>
                    <a:pt x="189" y="45"/>
                  </a:lnTo>
                  <a:lnTo>
                    <a:pt x="191" y="42"/>
                  </a:lnTo>
                  <a:lnTo>
                    <a:pt x="193" y="42"/>
                  </a:lnTo>
                  <a:lnTo>
                    <a:pt x="193" y="42"/>
                  </a:lnTo>
                  <a:lnTo>
                    <a:pt x="191" y="38"/>
                  </a:lnTo>
                  <a:lnTo>
                    <a:pt x="189" y="33"/>
                  </a:lnTo>
                  <a:lnTo>
                    <a:pt x="189" y="29"/>
                  </a:lnTo>
                  <a:lnTo>
                    <a:pt x="189" y="22"/>
                  </a:lnTo>
                  <a:lnTo>
                    <a:pt x="189" y="19"/>
                  </a:lnTo>
                  <a:lnTo>
                    <a:pt x="184" y="10"/>
                  </a:lnTo>
                  <a:lnTo>
                    <a:pt x="181" y="7"/>
                  </a:lnTo>
                  <a:lnTo>
                    <a:pt x="181" y="3"/>
                  </a:lnTo>
                  <a:lnTo>
                    <a:pt x="181" y="3"/>
                  </a:lnTo>
                  <a:lnTo>
                    <a:pt x="184" y="3"/>
                  </a:lnTo>
                  <a:lnTo>
                    <a:pt x="184" y="0"/>
                  </a:lnTo>
                  <a:lnTo>
                    <a:pt x="184" y="0"/>
                  </a:lnTo>
                  <a:lnTo>
                    <a:pt x="189" y="0"/>
                  </a:lnTo>
                  <a:lnTo>
                    <a:pt x="189" y="2"/>
                  </a:lnTo>
                  <a:lnTo>
                    <a:pt x="194" y="7"/>
                  </a:lnTo>
                  <a:lnTo>
                    <a:pt x="200" y="9"/>
                  </a:lnTo>
                  <a:lnTo>
                    <a:pt x="200" y="12"/>
                  </a:lnTo>
                  <a:lnTo>
                    <a:pt x="208" y="19"/>
                  </a:lnTo>
                  <a:lnTo>
                    <a:pt x="214" y="22"/>
                  </a:lnTo>
                  <a:lnTo>
                    <a:pt x="215" y="24"/>
                  </a:lnTo>
                  <a:lnTo>
                    <a:pt x="219" y="26"/>
                  </a:lnTo>
                  <a:lnTo>
                    <a:pt x="221" y="29"/>
                  </a:lnTo>
                  <a:lnTo>
                    <a:pt x="227" y="31"/>
                  </a:lnTo>
                  <a:lnTo>
                    <a:pt x="231" y="33"/>
                  </a:lnTo>
                  <a:lnTo>
                    <a:pt x="234" y="36"/>
                  </a:lnTo>
                  <a:lnTo>
                    <a:pt x="236" y="35"/>
                  </a:lnTo>
                  <a:lnTo>
                    <a:pt x="236" y="36"/>
                  </a:lnTo>
                  <a:lnTo>
                    <a:pt x="241" y="35"/>
                  </a:lnTo>
                  <a:lnTo>
                    <a:pt x="247" y="31"/>
                  </a:lnTo>
                  <a:lnTo>
                    <a:pt x="250" y="28"/>
                  </a:lnTo>
                  <a:lnTo>
                    <a:pt x="252" y="24"/>
                  </a:lnTo>
                  <a:lnTo>
                    <a:pt x="252" y="22"/>
                  </a:lnTo>
                  <a:lnTo>
                    <a:pt x="254" y="24"/>
                  </a:lnTo>
                  <a:lnTo>
                    <a:pt x="254" y="28"/>
                  </a:lnTo>
                  <a:lnTo>
                    <a:pt x="252" y="33"/>
                  </a:lnTo>
                  <a:lnTo>
                    <a:pt x="252" y="38"/>
                  </a:lnTo>
                  <a:lnTo>
                    <a:pt x="252" y="40"/>
                  </a:lnTo>
                  <a:lnTo>
                    <a:pt x="257" y="42"/>
                  </a:lnTo>
                  <a:lnTo>
                    <a:pt x="259" y="45"/>
                  </a:lnTo>
                  <a:lnTo>
                    <a:pt x="259" y="47"/>
                  </a:lnTo>
                  <a:lnTo>
                    <a:pt x="257" y="49"/>
                  </a:lnTo>
                  <a:lnTo>
                    <a:pt x="261" y="49"/>
                  </a:lnTo>
                  <a:lnTo>
                    <a:pt x="262" y="47"/>
                  </a:lnTo>
                  <a:lnTo>
                    <a:pt x="266" y="45"/>
                  </a:lnTo>
                  <a:lnTo>
                    <a:pt x="267" y="45"/>
                  </a:lnTo>
                  <a:lnTo>
                    <a:pt x="266" y="47"/>
                  </a:lnTo>
                  <a:lnTo>
                    <a:pt x="264" y="47"/>
                  </a:lnTo>
                  <a:lnTo>
                    <a:pt x="264" y="50"/>
                  </a:lnTo>
                  <a:lnTo>
                    <a:pt x="262" y="54"/>
                  </a:lnTo>
                  <a:lnTo>
                    <a:pt x="259" y="54"/>
                  </a:lnTo>
                  <a:lnTo>
                    <a:pt x="259" y="57"/>
                  </a:lnTo>
                  <a:lnTo>
                    <a:pt x="257" y="59"/>
                  </a:lnTo>
                  <a:lnTo>
                    <a:pt x="254" y="59"/>
                  </a:lnTo>
                  <a:lnTo>
                    <a:pt x="254" y="57"/>
                  </a:lnTo>
                  <a:lnTo>
                    <a:pt x="252" y="59"/>
                  </a:lnTo>
                  <a:lnTo>
                    <a:pt x="252" y="61"/>
                  </a:lnTo>
                  <a:lnTo>
                    <a:pt x="248" y="61"/>
                  </a:lnTo>
                  <a:lnTo>
                    <a:pt x="245" y="61"/>
                  </a:lnTo>
                  <a:lnTo>
                    <a:pt x="241" y="61"/>
                  </a:lnTo>
                  <a:lnTo>
                    <a:pt x="236" y="68"/>
                  </a:lnTo>
                  <a:lnTo>
                    <a:pt x="234" y="76"/>
                  </a:lnTo>
                  <a:lnTo>
                    <a:pt x="234" y="82"/>
                  </a:lnTo>
                  <a:lnTo>
                    <a:pt x="234" y="83"/>
                  </a:lnTo>
                  <a:lnTo>
                    <a:pt x="234" y="87"/>
                  </a:lnTo>
                  <a:lnTo>
                    <a:pt x="234" y="90"/>
                  </a:lnTo>
                  <a:lnTo>
                    <a:pt x="231" y="89"/>
                  </a:lnTo>
                  <a:lnTo>
                    <a:pt x="231" y="87"/>
                  </a:lnTo>
                  <a:lnTo>
                    <a:pt x="226" y="85"/>
                  </a:lnTo>
                  <a:lnTo>
                    <a:pt x="221" y="82"/>
                  </a:lnTo>
                  <a:lnTo>
                    <a:pt x="215" y="78"/>
                  </a:lnTo>
                  <a:lnTo>
                    <a:pt x="212" y="76"/>
                  </a:lnTo>
                  <a:lnTo>
                    <a:pt x="208" y="76"/>
                  </a:lnTo>
                  <a:lnTo>
                    <a:pt x="208" y="73"/>
                  </a:lnTo>
                  <a:lnTo>
                    <a:pt x="207" y="73"/>
                  </a:lnTo>
                  <a:lnTo>
                    <a:pt x="203" y="73"/>
                  </a:lnTo>
                  <a:lnTo>
                    <a:pt x="198" y="76"/>
                  </a:lnTo>
                  <a:lnTo>
                    <a:pt x="194" y="82"/>
                  </a:lnTo>
                  <a:lnTo>
                    <a:pt x="193" y="82"/>
                  </a:lnTo>
                  <a:lnTo>
                    <a:pt x="189" y="76"/>
                  </a:lnTo>
                  <a:lnTo>
                    <a:pt x="186" y="76"/>
                  </a:lnTo>
                  <a:lnTo>
                    <a:pt x="184" y="82"/>
                  </a:lnTo>
                  <a:lnTo>
                    <a:pt x="184" y="83"/>
                  </a:lnTo>
                  <a:lnTo>
                    <a:pt x="184" y="85"/>
                  </a:lnTo>
                  <a:lnTo>
                    <a:pt x="189" y="89"/>
                  </a:lnTo>
                  <a:lnTo>
                    <a:pt x="193" y="87"/>
                  </a:lnTo>
                  <a:lnTo>
                    <a:pt x="196" y="92"/>
                  </a:lnTo>
                  <a:lnTo>
                    <a:pt x="200" y="94"/>
                  </a:lnTo>
                  <a:lnTo>
                    <a:pt x="203" y="94"/>
                  </a:lnTo>
                  <a:lnTo>
                    <a:pt x="207" y="95"/>
                  </a:lnTo>
                  <a:lnTo>
                    <a:pt x="203" y="99"/>
                  </a:lnTo>
                  <a:lnTo>
                    <a:pt x="203" y="101"/>
                  </a:lnTo>
                  <a:lnTo>
                    <a:pt x="200" y="99"/>
                  </a:lnTo>
                  <a:lnTo>
                    <a:pt x="194" y="99"/>
                  </a:lnTo>
                  <a:lnTo>
                    <a:pt x="193" y="101"/>
                  </a:lnTo>
                  <a:lnTo>
                    <a:pt x="194" y="101"/>
                  </a:lnTo>
                  <a:lnTo>
                    <a:pt x="193" y="104"/>
                  </a:lnTo>
                  <a:lnTo>
                    <a:pt x="189" y="109"/>
                  </a:lnTo>
                  <a:lnTo>
                    <a:pt x="189" y="109"/>
                  </a:lnTo>
                  <a:lnTo>
                    <a:pt x="189" y="109"/>
                  </a:lnTo>
                  <a:lnTo>
                    <a:pt x="189" y="109"/>
                  </a:lnTo>
                  <a:close/>
                  <a:moveTo>
                    <a:pt x="184" y="205"/>
                  </a:moveTo>
                  <a:lnTo>
                    <a:pt x="184" y="202"/>
                  </a:lnTo>
                  <a:lnTo>
                    <a:pt x="184" y="200"/>
                  </a:lnTo>
                  <a:lnTo>
                    <a:pt x="184" y="198"/>
                  </a:lnTo>
                  <a:lnTo>
                    <a:pt x="181" y="200"/>
                  </a:lnTo>
                  <a:lnTo>
                    <a:pt x="181" y="198"/>
                  </a:lnTo>
                  <a:lnTo>
                    <a:pt x="184" y="193"/>
                  </a:lnTo>
                  <a:lnTo>
                    <a:pt x="184" y="193"/>
                  </a:lnTo>
                  <a:lnTo>
                    <a:pt x="184" y="193"/>
                  </a:lnTo>
                  <a:lnTo>
                    <a:pt x="184" y="196"/>
                  </a:lnTo>
                  <a:lnTo>
                    <a:pt x="186" y="196"/>
                  </a:lnTo>
                  <a:lnTo>
                    <a:pt x="186" y="198"/>
                  </a:lnTo>
                  <a:lnTo>
                    <a:pt x="186" y="202"/>
                  </a:lnTo>
                  <a:lnTo>
                    <a:pt x="184" y="205"/>
                  </a:lnTo>
                  <a:lnTo>
                    <a:pt x="184" y="205"/>
                  </a:lnTo>
                  <a:lnTo>
                    <a:pt x="184" y="205"/>
                  </a:lnTo>
                  <a:lnTo>
                    <a:pt x="184" y="205"/>
                  </a:lnTo>
                  <a:lnTo>
                    <a:pt x="184" y="205"/>
                  </a:lnTo>
                  <a:close/>
                  <a:moveTo>
                    <a:pt x="59" y="322"/>
                  </a:moveTo>
                  <a:lnTo>
                    <a:pt x="59" y="323"/>
                  </a:lnTo>
                  <a:lnTo>
                    <a:pt x="62" y="322"/>
                  </a:lnTo>
                  <a:lnTo>
                    <a:pt x="59" y="320"/>
                  </a:lnTo>
                  <a:lnTo>
                    <a:pt x="59" y="320"/>
                  </a:lnTo>
                  <a:lnTo>
                    <a:pt x="59" y="322"/>
                  </a:lnTo>
                  <a:lnTo>
                    <a:pt x="59" y="322"/>
                  </a:lnTo>
                  <a:lnTo>
                    <a:pt x="59" y="322"/>
                  </a:lnTo>
                  <a:lnTo>
                    <a:pt x="59" y="322"/>
                  </a:lnTo>
                  <a:close/>
                  <a:moveTo>
                    <a:pt x="57" y="323"/>
                  </a:moveTo>
                  <a:lnTo>
                    <a:pt x="59" y="325"/>
                  </a:lnTo>
                  <a:lnTo>
                    <a:pt x="59" y="323"/>
                  </a:lnTo>
                  <a:lnTo>
                    <a:pt x="57" y="323"/>
                  </a:lnTo>
                  <a:lnTo>
                    <a:pt x="57" y="323"/>
                  </a:lnTo>
                  <a:lnTo>
                    <a:pt x="57" y="323"/>
                  </a:lnTo>
                  <a:lnTo>
                    <a:pt x="57" y="323"/>
                  </a:lnTo>
                  <a:close/>
                  <a:moveTo>
                    <a:pt x="54" y="325"/>
                  </a:moveTo>
                  <a:lnTo>
                    <a:pt x="57" y="327"/>
                  </a:lnTo>
                  <a:lnTo>
                    <a:pt x="57" y="325"/>
                  </a:lnTo>
                  <a:lnTo>
                    <a:pt x="54" y="325"/>
                  </a:lnTo>
                  <a:lnTo>
                    <a:pt x="54" y="325"/>
                  </a:lnTo>
                  <a:lnTo>
                    <a:pt x="54" y="325"/>
                  </a:lnTo>
                  <a:lnTo>
                    <a:pt x="54" y="325"/>
                  </a:lnTo>
                  <a:close/>
                  <a:moveTo>
                    <a:pt x="54" y="327"/>
                  </a:moveTo>
                  <a:lnTo>
                    <a:pt x="54" y="328"/>
                  </a:lnTo>
                  <a:lnTo>
                    <a:pt x="54" y="328"/>
                  </a:lnTo>
                  <a:lnTo>
                    <a:pt x="54" y="327"/>
                  </a:lnTo>
                  <a:lnTo>
                    <a:pt x="54" y="327"/>
                  </a:lnTo>
                  <a:lnTo>
                    <a:pt x="54" y="327"/>
                  </a:lnTo>
                  <a:lnTo>
                    <a:pt x="54" y="327"/>
                  </a:lnTo>
                  <a:close/>
                  <a:moveTo>
                    <a:pt x="50" y="337"/>
                  </a:moveTo>
                  <a:lnTo>
                    <a:pt x="49" y="332"/>
                  </a:lnTo>
                  <a:lnTo>
                    <a:pt x="50" y="330"/>
                  </a:lnTo>
                  <a:lnTo>
                    <a:pt x="50" y="328"/>
                  </a:lnTo>
                  <a:lnTo>
                    <a:pt x="50" y="332"/>
                  </a:lnTo>
                  <a:lnTo>
                    <a:pt x="54" y="332"/>
                  </a:lnTo>
                  <a:lnTo>
                    <a:pt x="54" y="335"/>
                  </a:lnTo>
                  <a:lnTo>
                    <a:pt x="54" y="337"/>
                  </a:lnTo>
                  <a:lnTo>
                    <a:pt x="50" y="337"/>
                  </a:lnTo>
                  <a:lnTo>
                    <a:pt x="50" y="337"/>
                  </a:lnTo>
                  <a:lnTo>
                    <a:pt x="50" y="337"/>
                  </a:lnTo>
                  <a:lnTo>
                    <a:pt x="50" y="337"/>
                  </a:lnTo>
                  <a:close/>
                  <a:moveTo>
                    <a:pt x="76" y="339"/>
                  </a:moveTo>
                  <a:lnTo>
                    <a:pt x="76" y="337"/>
                  </a:lnTo>
                  <a:lnTo>
                    <a:pt x="78" y="335"/>
                  </a:lnTo>
                  <a:lnTo>
                    <a:pt x="78" y="335"/>
                  </a:lnTo>
                  <a:lnTo>
                    <a:pt x="78" y="339"/>
                  </a:lnTo>
                  <a:lnTo>
                    <a:pt x="76" y="339"/>
                  </a:lnTo>
                  <a:lnTo>
                    <a:pt x="76" y="339"/>
                  </a:lnTo>
                  <a:lnTo>
                    <a:pt x="76" y="339"/>
                  </a:lnTo>
                  <a:lnTo>
                    <a:pt x="76" y="339"/>
                  </a:lnTo>
                  <a:close/>
                  <a:moveTo>
                    <a:pt x="73" y="342"/>
                  </a:moveTo>
                  <a:lnTo>
                    <a:pt x="75" y="342"/>
                  </a:lnTo>
                  <a:lnTo>
                    <a:pt x="76" y="342"/>
                  </a:lnTo>
                  <a:lnTo>
                    <a:pt x="75" y="344"/>
                  </a:lnTo>
                  <a:lnTo>
                    <a:pt x="73" y="342"/>
                  </a:lnTo>
                  <a:lnTo>
                    <a:pt x="73" y="342"/>
                  </a:lnTo>
                  <a:lnTo>
                    <a:pt x="73" y="342"/>
                  </a:lnTo>
                  <a:lnTo>
                    <a:pt x="73" y="342"/>
                  </a:lnTo>
                  <a:close/>
                  <a:moveTo>
                    <a:pt x="73" y="335"/>
                  </a:moveTo>
                  <a:lnTo>
                    <a:pt x="71" y="337"/>
                  </a:lnTo>
                  <a:lnTo>
                    <a:pt x="71" y="339"/>
                  </a:lnTo>
                  <a:lnTo>
                    <a:pt x="73" y="342"/>
                  </a:lnTo>
                  <a:lnTo>
                    <a:pt x="75" y="342"/>
                  </a:lnTo>
                  <a:lnTo>
                    <a:pt x="75" y="339"/>
                  </a:lnTo>
                  <a:lnTo>
                    <a:pt x="73" y="335"/>
                  </a:lnTo>
                  <a:lnTo>
                    <a:pt x="73" y="335"/>
                  </a:lnTo>
                  <a:lnTo>
                    <a:pt x="73" y="335"/>
                  </a:lnTo>
                  <a:lnTo>
                    <a:pt x="73" y="335"/>
                  </a:lnTo>
                  <a:lnTo>
                    <a:pt x="73" y="335"/>
                  </a:lnTo>
                  <a:lnTo>
                    <a:pt x="73" y="335"/>
                  </a:lnTo>
                  <a:close/>
                  <a:moveTo>
                    <a:pt x="146" y="292"/>
                  </a:moveTo>
                  <a:lnTo>
                    <a:pt x="144" y="289"/>
                  </a:lnTo>
                  <a:lnTo>
                    <a:pt x="144" y="287"/>
                  </a:lnTo>
                  <a:lnTo>
                    <a:pt x="144" y="285"/>
                  </a:lnTo>
                  <a:lnTo>
                    <a:pt x="146" y="283"/>
                  </a:lnTo>
                  <a:lnTo>
                    <a:pt x="148" y="287"/>
                  </a:lnTo>
                  <a:lnTo>
                    <a:pt x="148" y="289"/>
                  </a:lnTo>
                  <a:lnTo>
                    <a:pt x="148" y="292"/>
                  </a:lnTo>
                  <a:lnTo>
                    <a:pt x="148" y="292"/>
                  </a:lnTo>
                  <a:lnTo>
                    <a:pt x="146" y="292"/>
                  </a:lnTo>
                  <a:lnTo>
                    <a:pt x="146" y="292"/>
                  </a:lnTo>
                  <a:lnTo>
                    <a:pt x="146" y="292"/>
                  </a:lnTo>
                  <a:lnTo>
                    <a:pt x="146" y="292"/>
                  </a:lnTo>
                  <a:close/>
                  <a:moveTo>
                    <a:pt x="132" y="292"/>
                  </a:moveTo>
                  <a:lnTo>
                    <a:pt x="135" y="287"/>
                  </a:lnTo>
                  <a:lnTo>
                    <a:pt x="139" y="287"/>
                  </a:lnTo>
                  <a:lnTo>
                    <a:pt x="139" y="289"/>
                  </a:lnTo>
                  <a:lnTo>
                    <a:pt x="135" y="292"/>
                  </a:lnTo>
                  <a:lnTo>
                    <a:pt x="132" y="292"/>
                  </a:lnTo>
                  <a:lnTo>
                    <a:pt x="132" y="292"/>
                  </a:lnTo>
                  <a:lnTo>
                    <a:pt x="132" y="292"/>
                  </a:lnTo>
                  <a:lnTo>
                    <a:pt x="132" y="292"/>
                  </a:lnTo>
                  <a:close/>
                  <a:moveTo>
                    <a:pt x="118" y="327"/>
                  </a:moveTo>
                  <a:lnTo>
                    <a:pt x="118" y="327"/>
                  </a:lnTo>
                  <a:lnTo>
                    <a:pt x="120" y="325"/>
                  </a:lnTo>
                  <a:lnTo>
                    <a:pt x="122" y="327"/>
                  </a:lnTo>
                  <a:lnTo>
                    <a:pt x="123" y="325"/>
                  </a:lnTo>
                  <a:lnTo>
                    <a:pt x="123" y="323"/>
                  </a:lnTo>
                  <a:lnTo>
                    <a:pt x="120" y="320"/>
                  </a:lnTo>
                  <a:lnTo>
                    <a:pt x="122" y="316"/>
                  </a:lnTo>
                  <a:lnTo>
                    <a:pt x="123" y="311"/>
                  </a:lnTo>
                  <a:lnTo>
                    <a:pt x="127" y="311"/>
                  </a:lnTo>
                  <a:lnTo>
                    <a:pt x="127" y="308"/>
                  </a:lnTo>
                  <a:lnTo>
                    <a:pt x="132" y="308"/>
                  </a:lnTo>
                  <a:lnTo>
                    <a:pt x="139" y="311"/>
                  </a:lnTo>
                  <a:lnTo>
                    <a:pt x="139" y="315"/>
                  </a:lnTo>
                  <a:lnTo>
                    <a:pt x="141" y="315"/>
                  </a:lnTo>
                  <a:lnTo>
                    <a:pt x="142" y="308"/>
                  </a:lnTo>
                  <a:lnTo>
                    <a:pt x="146" y="304"/>
                  </a:lnTo>
                  <a:lnTo>
                    <a:pt x="146" y="301"/>
                  </a:lnTo>
                  <a:lnTo>
                    <a:pt x="146" y="301"/>
                  </a:lnTo>
                  <a:lnTo>
                    <a:pt x="144" y="297"/>
                  </a:lnTo>
                  <a:lnTo>
                    <a:pt x="141" y="294"/>
                  </a:lnTo>
                  <a:lnTo>
                    <a:pt x="139" y="294"/>
                  </a:lnTo>
                  <a:lnTo>
                    <a:pt x="135" y="292"/>
                  </a:lnTo>
                  <a:lnTo>
                    <a:pt x="130" y="292"/>
                  </a:lnTo>
                  <a:lnTo>
                    <a:pt x="127" y="295"/>
                  </a:lnTo>
                  <a:lnTo>
                    <a:pt x="127" y="297"/>
                  </a:lnTo>
                  <a:lnTo>
                    <a:pt x="125" y="301"/>
                  </a:lnTo>
                  <a:lnTo>
                    <a:pt x="123" y="302"/>
                  </a:lnTo>
                  <a:lnTo>
                    <a:pt x="120" y="304"/>
                  </a:lnTo>
                  <a:lnTo>
                    <a:pt x="118" y="302"/>
                  </a:lnTo>
                  <a:lnTo>
                    <a:pt x="116" y="299"/>
                  </a:lnTo>
                  <a:lnTo>
                    <a:pt x="115" y="299"/>
                  </a:lnTo>
                  <a:lnTo>
                    <a:pt x="109" y="304"/>
                  </a:lnTo>
                  <a:lnTo>
                    <a:pt x="109" y="308"/>
                  </a:lnTo>
                  <a:lnTo>
                    <a:pt x="108" y="308"/>
                  </a:lnTo>
                  <a:lnTo>
                    <a:pt x="108" y="311"/>
                  </a:lnTo>
                  <a:lnTo>
                    <a:pt x="111" y="315"/>
                  </a:lnTo>
                  <a:lnTo>
                    <a:pt x="111" y="316"/>
                  </a:lnTo>
                  <a:lnTo>
                    <a:pt x="111" y="316"/>
                  </a:lnTo>
                  <a:lnTo>
                    <a:pt x="111" y="320"/>
                  </a:lnTo>
                  <a:lnTo>
                    <a:pt x="113" y="323"/>
                  </a:lnTo>
                  <a:lnTo>
                    <a:pt x="118" y="323"/>
                  </a:lnTo>
                  <a:lnTo>
                    <a:pt x="118" y="327"/>
                  </a:lnTo>
                  <a:lnTo>
                    <a:pt x="118" y="327"/>
                  </a:lnTo>
                  <a:lnTo>
                    <a:pt x="118" y="327"/>
                  </a:lnTo>
                  <a:lnTo>
                    <a:pt x="118" y="327"/>
                  </a:lnTo>
                  <a:close/>
                  <a:moveTo>
                    <a:pt x="95" y="384"/>
                  </a:moveTo>
                  <a:lnTo>
                    <a:pt x="94" y="382"/>
                  </a:lnTo>
                  <a:lnTo>
                    <a:pt x="90" y="382"/>
                  </a:lnTo>
                  <a:lnTo>
                    <a:pt x="90" y="384"/>
                  </a:lnTo>
                  <a:lnTo>
                    <a:pt x="92" y="388"/>
                  </a:lnTo>
                  <a:lnTo>
                    <a:pt x="95" y="388"/>
                  </a:lnTo>
                  <a:lnTo>
                    <a:pt x="95" y="388"/>
                  </a:lnTo>
                  <a:lnTo>
                    <a:pt x="95" y="384"/>
                  </a:lnTo>
                  <a:lnTo>
                    <a:pt x="95" y="384"/>
                  </a:lnTo>
                  <a:lnTo>
                    <a:pt x="95" y="384"/>
                  </a:lnTo>
                  <a:lnTo>
                    <a:pt x="95" y="384"/>
                  </a:lnTo>
                  <a:close/>
                  <a:moveTo>
                    <a:pt x="99" y="381"/>
                  </a:moveTo>
                  <a:lnTo>
                    <a:pt x="97" y="375"/>
                  </a:lnTo>
                  <a:lnTo>
                    <a:pt x="97" y="372"/>
                  </a:lnTo>
                  <a:lnTo>
                    <a:pt x="101" y="375"/>
                  </a:lnTo>
                  <a:lnTo>
                    <a:pt x="101" y="379"/>
                  </a:lnTo>
                  <a:lnTo>
                    <a:pt x="99" y="379"/>
                  </a:lnTo>
                  <a:lnTo>
                    <a:pt x="99" y="381"/>
                  </a:lnTo>
                  <a:lnTo>
                    <a:pt x="99" y="381"/>
                  </a:lnTo>
                  <a:lnTo>
                    <a:pt x="99" y="381"/>
                  </a:lnTo>
                  <a:lnTo>
                    <a:pt x="99" y="381"/>
                  </a:lnTo>
                  <a:close/>
                  <a:moveTo>
                    <a:pt x="92" y="370"/>
                  </a:moveTo>
                  <a:lnTo>
                    <a:pt x="95" y="370"/>
                  </a:lnTo>
                  <a:lnTo>
                    <a:pt x="99" y="365"/>
                  </a:lnTo>
                  <a:lnTo>
                    <a:pt x="95" y="362"/>
                  </a:lnTo>
                  <a:lnTo>
                    <a:pt x="95" y="360"/>
                  </a:lnTo>
                  <a:lnTo>
                    <a:pt x="97" y="358"/>
                  </a:lnTo>
                  <a:lnTo>
                    <a:pt x="101" y="360"/>
                  </a:lnTo>
                  <a:lnTo>
                    <a:pt x="101" y="362"/>
                  </a:lnTo>
                  <a:lnTo>
                    <a:pt x="102" y="356"/>
                  </a:lnTo>
                  <a:lnTo>
                    <a:pt x="102" y="351"/>
                  </a:lnTo>
                  <a:lnTo>
                    <a:pt x="101" y="348"/>
                  </a:lnTo>
                  <a:lnTo>
                    <a:pt x="101" y="339"/>
                  </a:lnTo>
                  <a:lnTo>
                    <a:pt x="101" y="334"/>
                  </a:lnTo>
                  <a:lnTo>
                    <a:pt x="102" y="330"/>
                  </a:lnTo>
                  <a:lnTo>
                    <a:pt x="104" y="327"/>
                  </a:lnTo>
                  <a:lnTo>
                    <a:pt x="104" y="325"/>
                  </a:lnTo>
                  <a:lnTo>
                    <a:pt x="104" y="325"/>
                  </a:lnTo>
                  <a:lnTo>
                    <a:pt x="104" y="322"/>
                  </a:lnTo>
                  <a:lnTo>
                    <a:pt x="102" y="320"/>
                  </a:lnTo>
                  <a:lnTo>
                    <a:pt x="102" y="320"/>
                  </a:lnTo>
                  <a:lnTo>
                    <a:pt x="97" y="320"/>
                  </a:lnTo>
                  <a:lnTo>
                    <a:pt x="95" y="316"/>
                  </a:lnTo>
                  <a:lnTo>
                    <a:pt x="99" y="315"/>
                  </a:lnTo>
                  <a:lnTo>
                    <a:pt x="99" y="315"/>
                  </a:lnTo>
                  <a:lnTo>
                    <a:pt x="99" y="308"/>
                  </a:lnTo>
                  <a:lnTo>
                    <a:pt x="95" y="308"/>
                  </a:lnTo>
                  <a:lnTo>
                    <a:pt x="94" y="308"/>
                  </a:lnTo>
                  <a:lnTo>
                    <a:pt x="94" y="308"/>
                  </a:lnTo>
                  <a:lnTo>
                    <a:pt x="90" y="311"/>
                  </a:lnTo>
                  <a:lnTo>
                    <a:pt x="88" y="311"/>
                  </a:lnTo>
                  <a:lnTo>
                    <a:pt x="85" y="308"/>
                  </a:lnTo>
                  <a:lnTo>
                    <a:pt x="85" y="304"/>
                  </a:lnTo>
                  <a:lnTo>
                    <a:pt x="90" y="302"/>
                  </a:lnTo>
                  <a:lnTo>
                    <a:pt x="95" y="301"/>
                  </a:lnTo>
                  <a:lnTo>
                    <a:pt x="101" y="302"/>
                  </a:lnTo>
                  <a:lnTo>
                    <a:pt x="104" y="304"/>
                  </a:lnTo>
                  <a:lnTo>
                    <a:pt x="104" y="302"/>
                  </a:lnTo>
                  <a:lnTo>
                    <a:pt x="104" y="301"/>
                  </a:lnTo>
                  <a:lnTo>
                    <a:pt x="104" y="295"/>
                  </a:lnTo>
                  <a:lnTo>
                    <a:pt x="104" y="294"/>
                  </a:lnTo>
                  <a:lnTo>
                    <a:pt x="104" y="292"/>
                  </a:lnTo>
                  <a:lnTo>
                    <a:pt x="108" y="292"/>
                  </a:lnTo>
                  <a:lnTo>
                    <a:pt x="108" y="294"/>
                  </a:lnTo>
                  <a:lnTo>
                    <a:pt x="109" y="294"/>
                  </a:lnTo>
                  <a:lnTo>
                    <a:pt x="113" y="292"/>
                  </a:lnTo>
                  <a:lnTo>
                    <a:pt x="118" y="292"/>
                  </a:lnTo>
                  <a:lnTo>
                    <a:pt x="123" y="289"/>
                  </a:lnTo>
                  <a:lnTo>
                    <a:pt x="127" y="289"/>
                  </a:lnTo>
                  <a:lnTo>
                    <a:pt x="127" y="292"/>
                  </a:lnTo>
                  <a:lnTo>
                    <a:pt x="130" y="289"/>
                  </a:lnTo>
                  <a:lnTo>
                    <a:pt x="130" y="287"/>
                  </a:lnTo>
                  <a:lnTo>
                    <a:pt x="135" y="285"/>
                  </a:lnTo>
                  <a:lnTo>
                    <a:pt x="135" y="283"/>
                  </a:lnTo>
                  <a:lnTo>
                    <a:pt x="139" y="280"/>
                  </a:lnTo>
                  <a:lnTo>
                    <a:pt x="142" y="280"/>
                  </a:lnTo>
                  <a:lnTo>
                    <a:pt x="148" y="280"/>
                  </a:lnTo>
                  <a:lnTo>
                    <a:pt x="149" y="280"/>
                  </a:lnTo>
                  <a:lnTo>
                    <a:pt x="153" y="280"/>
                  </a:lnTo>
                  <a:lnTo>
                    <a:pt x="153" y="283"/>
                  </a:lnTo>
                  <a:lnTo>
                    <a:pt x="149" y="287"/>
                  </a:lnTo>
                  <a:lnTo>
                    <a:pt x="149" y="292"/>
                  </a:lnTo>
                  <a:lnTo>
                    <a:pt x="149" y="292"/>
                  </a:lnTo>
                  <a:lnTo>
                    <a:pt x="149" y="294"/>
                  </a:lnTo>
                  <a:lnTo>
                    <a:pt x="149" y="297"/>
                  </a:lnTo>
                  <a:lnTo>
                    <a:pt x="149" y="299"/>
                  </a:lnTo>
                  <a:lnTo>
                    <a:pt x="153" y="302"/>
                  </a:lnTo>
                  <a:lnTo>
                    <a:pt x="155" y="304"/>
                  </a:lnTo>
                  <a:lnTo>
                    <a:pt x="161" y="308"/>
                  </a:lnTo>
                  <a:lnTo>
                    <a:pt x="161" y="308"/>
                  </a:lnTo>
                  <a:lnTo>
                    <a:pt x="165" y="308"/>
                  </a:lnTo>
                  <a:lnTo>
                    <a:pt x="168" y="304"/>
                  </a:lnTo>
                  <a:lnTo>
                    <a:pt x="168" y="301"/>
                  </a:lnTo>
                  <a:lnTo>
                    <a:pt x="170" y="299"/>
                  </a:lnTo>
                  <a:lnTo>
                    <a:pt x="170" y="297"/>
                  </a:lnTo>
                  <a:lnTo>
                    <a:pt x="170" y="294"/>
                  </a:lnTo>
                  <a:lnTo>
                    <a:pt x="172" y="292"/>
                  </a:lnTo>
                  <a:lnTo>
                    <a:pt x="175" y="292"/>
                  </a:lnTo>
                  <a:lnTo>
                    <a:pt x="177" y="292"/>
                  </a:lnTo>
                  <a:lnTo>
                    <a:pt x="177" y="289"/>
                  </a:lnTo>
                  <a:lnTo>
                    <a:pt x="177" y="287"/>
                  </a:lnTo>
                  <a:lnTo>
                    <a:pt x="177" y="283"/>
                  </a:lnTo>
                  <a:lnTo>
                    <a:pt x="172" y="280"/>
                  </a:lnTo>
                  <a:lnTo>
                    <a:pt x="170" y="280"/>
                  </a:lnTo>
                  <a:lnTo>
                    <a:pt x="172" y="275"/>
                  </a:lnTo>
                  <a:lnTo>
                    <a:pt x="174" y="273"/>
                  </a:lnTo>
                  <a:lnTo>
                    <a:pt x="175" y="273"/>
                  </a:lnTo>
                  <a:lnTo>
                    <a:pt x="175" y="275"/>
                  </a:lnTo>
                  <a:lnTo>
                    <a:pt x="175" y="278"/>
                  </a:lnTo>
                  <a:lnTo>
                    <a:pt x="177" y="280"/>
                  </a:lnTo>
                  <a:lnTo>
                    <a:pt x="177" y="278"/>
                  </a:lnTo>
                  <a:lnTo>
                    <a:pt x="177" y="276"/>
                  </a:lnTo>
                  <a:lnTo>
                    <a:pt x="181" y="278"/>
                  </a:lnTo>
                  <a:lnTo>
                    <a:pt x="181" y="278"/>
                  </a:lnTo>
                  <a:lnTo>
                    <a:pt x="184" y="278"/>
                  </a:lnTo>
                  <a:lnTo>
                    <a:pt x="184" y="278"/>
                  </a:lnTo>
                  <a:lnTo>
                    <a:pt x="184" y="280"/>
                  </a:lnTo>
                  <a:lnTo>
                    <a:pt x="181" y="280"/>
                  </a:lnTo>
                  <a:lnTo>
                    <a:pt x="181" y="280"/>
                  </a:lnTo>
                  <a:lnTo>
                    <a:pt x="181" y="283"/>
                  </a:lnTo>
                  <a:lnTo>
                    <a:pt x="184" y="280"/>
                  </a:lnTo>
                  <a:lnTo>
                    <a:pt x="189" y="280"/>
                  </a:lnTo>
                  <a:lnTo>
                    <a:pt x="198" y="280"/>
                  </a:lnTo>
                  <a:lnTo>
                    <a:pt x="203" y="280"/>
                  </a:lnTo>
                  <a:lnTo>
                    <a:pt x="200" y="278"/>
                  </a:lnTo>
                  <a:lnTo>
                    <a:pt x="200" y="275"/>
                  </a:lnTo>
                  <a:lnTo>
                    <a:pt x="200" y="271"/>
                  </a:lnTo>
                  <a:lnTo>
                    <a:pt x="203" y="269"/>
                  </a:lnTo>
                  <a:lnTo>
                    <a:pt x="208" y="269"/>
                  </a:lnTo>
                  <a:lnTo>
                    <a:pt x="208" y="273"/>
                  </a:lnTo>
                  <a:lnTo>
                    <a:pt x="208" y="276"/>
                  </a:lnTo>
                  <a:lnTo>
                    <a:pt x="208" y="278"/>
                  </a:lnTo>
                  <a:lnTo>
                    <a:pt x="212" y="278"/>
                  </a:lnTo>
                  <a:lnTo>
                    <a:pt x="214" y="275"/>
                  </a:lnTo>
                  <a:lnTo>
                    <a:pt x="212" y="268"/>
                  </a:lnTo>
                  <a:lnTo>
                    <a:pt x="212" y="264"/>
                  </a:lnTo>
                  <a:lnTo>
                    <a:pt x="217" y="261"/>
                  </a:lnTo>
                  <a:lnTo>
                    <a:pt x="219" y="261"/>
                  </a:lnTo>
                  <a:lnTo>
                    <a:pt x="219" y="259"/>
                  </a:lnTo>
                  <a:lnTo>
                    <a:pt x="217" y="257"/>
                  </a:lnTo>
                  <a:lnTo>
                    <a:pt x="219" y="252"/>
                  </a:lnTo>
                  <a:lnTo>
                    <a:pt x="221" y="252"/>
                  </a:lnTo>
                  <a:lnTo>
                    <a:pt x="224" y="252"/>
                  </a:lnTo>
                  <a:lnTo>
                    <a:pt x="226" y="255"/>
                  </a:lnTo>
                  <a:lnTo>
                    <a:pt x="224" y="257"/>
                  </a:lnTo>
                  <a:lnTo>
                    <a:pt x="222" y="261"/>
                  </a:lnTo>
                  <a:lnTo>
                    <a:pt x="224" y="271"/>
                  </a:lnTo>
                  <a:lnTo>
                    <a:pt x="226" y="273"/>
                  </a:lnTo>
                  <a:lnTo>
                    <a:pt x="227" y="271"/>
                  </a:lnTo>
                  <a:lnTo>
                    <a:pt x="229" y="268"/>
                  </a:lnTo>
                  <a:lnTo>
                    <a:pt x="231" y="268"/>
                  </a:lnTo>
                  <a:lnTo>
                    <a:pt x="234" y="264"/>
                  </a:lnTo>
                  <a:lnTo>
                    <a:pt x="234" y="259"/>
                  </a:lnTo>
                  <a:lnTo>
                    <a:pt x="234" y="255"/>
                  </a:lnTo>
                  <a:lnTo>
                    <a:pt x="238" y="252"/>
                  </a:lnTo>
                  <a:lnTo>
                    <a:pt x="238" y="252"/>
                  </a:lnTo>
                  <a:lnTo>
                    <a:pt x="236" y="250"/>
                  </a:lnTo>
                  <a:lnTo>
                    <a:pt x="231" y="243"/>
                  </a:lnTo>
                  <a:lnTo>
                    <a:pt x="231" y="240"/>
                  </a:lnTo>
                  <a:lnTo>
                    <a:pt x="231" y="231"/>
                  </a:lnTo>
                  <a:lnTo>
                    <a:pt x="231" y="221"/>
                  </a:lnTo>
                  <a:lnTo>
                    <a:pt x="231" y="215"/>
                  </a:lnTo>
                  <a:lnTo>
                    <a:pt x="229" y="205"/>
                  </a:lnTo>
                  <a:lnTo>
                    <a:pt x="224" y="196"/>
                  </a:lnTo>
                  <a:lnTo>
                    <a:pt x="224" y="193"/>
                  </a:lnTo>
                  <a:lnTo>
                    <a:pt x="226" y="188"/>
                  </a:lnTo>
                  <a:lnTo>
                    <a:pt x="231" y="186"/>
                  </a:lnTo>
                  <a:lnTo>
                    <a:pt x="234" y="186"/>
                  </a:lnTo>
                  <a:lnTo>
                    <a:pt x="234" y="188"/>
                  </a:lnTo>
                  <a:lnTo>
                    <a:pt x="234" y="186"/>
                  </a:lnTo>
                  <a:lnTo>
                    <a:pt x="234" y="182"/>
                  </a:lnTo>
                  <a:lnTo>
                    <a:pt x="234" y="179"/>
                  </a:lnTo>
                  <a:lnTo>
                    <a:pt x="234" y="179"/>
                  </a:lnTo>
                  <a:lnTo>
                    <a:pt x="231" y="174"/>
                  </a:lnTo>
                  <a:lnTo>
                    <a:pt x="231" y="172"/>
                  </a:lnTo>
                  <a:lnTo>
                    <a:pt x="231" y="170"/>
                  </a:lnTo>
                  <a:lnTo>
                    <a:pt x="234" y="169"/>
                  </a:lnTo>
                  <a:lnTo>
                    <a:pt x="234" y="169"/>
                  </a:lnTo>
                  <a:lnTo>
                    <a:pt x="234" y="165"/>
                  </a:lnTo>
                  <a:lnTo>
                    <a:pt x="231" y="163"/>
                  </a:lnTo>
                  <a:lnTo>
                    <a:pt x="231" y="160"/>
                  </a:lnTo>
                  <a:lnTo>
                    <a:pt x="234" y="156"/>
                  </a:lnTo>
                  <a:lnTo>
                    <a:pt x="231" y="155"/>
                  </a:lnTo>
                  <a:lnTo>
                    <a:pt x="231" y="148"/>
                  </a:lnTo>
                  <a:lnTo>
                    <a:pt x="227" y="142"/>
                  </a:lnTo>
                  <a:lnTo>
                    <a:pt x="226" y="142"/>
                  </a:lnTo>
                  <a:lnTo>
                    <a:pt x="224" y="141"/>
                  </a:lnTo>
                  <a:lnTo>
                    <a:pt x="224" y="134"/>
                  </a:lnTo>
                  <a:lnTo>
                    <a:pt x="221" y="132"/>
                  </a:lnTo>
                  <a:lnTo>
                    <a:pt x="214" y="123"/>
                  </a:lnTo>
                  <a:lnTo>
                    <a:pt x="212" y="120"/>
                  </a:lnTo>
                  <a:lnTo>
                    <a:pt x="212" y="115"/>
                  </a:lnTo>
                  <a:lnTo>
                    <a:pt x="212" y="109"/>
                  </a:lnTo>
                  <a:lnTo>
                    <a:pt x="212" y="106"/>
                  </a:lnTo>
                  <a:lnTo>
                    <a:pt x="208" y="109"/>
                  </a:lnTo>
                  <a:lnTo>
                    <a:pt x="208" y="109"/>
                  </a:lnTo>
                  <a:lnTo>
                    <a:pt x="207" y="109"/>
                  </a:lnTo>
                  <a:lnTo>
                    <a:pt x="203" y="106"/>
                  </a:lnTo>
                  <a:lnTo>
                    <a:pt x="200" y="106"/>
                  </a:lnTo>
                  <a:lnTo>
                    <a:pt x="200" y="106"/>
                  </a:lnTo>
                  <a:lnTo>
                    <a:pt x="200" y="111"/>
                  </a:lnTo>
                  <a:lnTo>
                    <a:pt x="200" y="115"/>
                  </a:lnTo>
                  <a:lnTo>
                    <a:pt x="200" y="115"/>
                  </a:lnTo>
                  <a:lnTo>
                    <a:pt x="203" y="115"/>
                  </a:lnTo>
                  <a:lnTo>
                    <a:pt x="208" y="111"/>
                  </a:lnTo>
                  <a:lnTo>
                    <a:pt x="208" y="116"/>
                  </a:lnTo>
                  <a:lnTo>
                    <a:pt x="208" y="118"/>
                  </a:lnTo>
                  <a:lnTo>
                    <a:pt x="207" y="120"/>
                  </a:lnTo>
                  <a:lnTo>
                    <a:pt x="203" y="118"/>
                  </a:lnTo>
                  <a:lnTo>
                    <a:pt x="203" y="118"/>
                  </a:lnTo>
                  <a:lnTo>
                    <a:pt x="203" y="123"/>
                  </a:lnTo>
                  <a:lnTo>
                    <a:pt x="200" y="125"/>
                  </a:lnTo>
                  <a:lnTo>
                    <a:pt x="200" y="123"/>
                  </a:lnTo>
                  <a:lnTo>
                    <a:pt x="200" y="120"/>
                  </a:lnTo>
                  <a:lnTo>
                    <a:pt x="198" y="116"/>
                  </a:lnTo>
                  <a:lnTo>
                    <a:pt x="198" y="115"/>
                  </a:lnTo>
                  <a:lnTo>
                    <a:pt x="194" y="116"/>
                  </a:lnTo>
                  <a:lnTo>
                    <a:pt x="193" y="115"/>
                  </a:lnTo>
                  <a:lnTo>
                    <a:pt x="193" y="118"/>
                  </a:lnTo>
                  <a:lnTo>
                    <a:pt x="194" y="123"/>
                  </a:lnTo>
                  <a:lnTo>
                    <a:pt x="194" y="127"/>
                  </a:lnTo>
                  <a:lnTo>
                    <a:pt x="191" y="127"/>
                  </a:lnTo>
                  <a:lnTo>
                    <a:pt x="189" y="129"/>
                  </a:lnTo>
                  <a:lnTo>
                    <a:pt x="189" y="132"/>
                  </a:lnTo>
                  <a:lnTo>
                    <a:pt x="194" y="137"/>
                  </a:lnTo>
                  <a:lnTo>
                    <a:pt x="196" y="137"/>
                  </a:lnTo>
                  <a:lnTo>
                    <a:pt x="194" y="142"/>
                  </a:lnTo>
                  <a:lnTo>
                    <a:pt x="191" y="144"/>
                  </a:lnTo>
                  <a:lnTo>
                    <a:pt x="189" y="144"/>
                  </a:lnTo>
                  <a:lnTo>
                    <a:pt x="189" y="146"/>
                  </a:lnTo>
                  <a:lnTo>
                    <a:pt x="191" y="149"/>
                  </a:lnTo>
                  <a:lnTo>
                    <a:pt x="194" y="149"/>
                  </a:lnTo>
                  <a:lnTo>
                    <a:pt x="196" y="146"/>
                  </a:lnTo>
                  <a:lnTo>
                    <a:pt x="200" y="155"/>
                  </a:lnTo>
                  <a:lnTo>
                    <a:pt x="200" y="163"/>
                  </a:lnTo>
                  <a:lnTo>
                    <a:pt x="200" y="165"/>
                  </a:lnTo>
                  <a:lnTo>
                    <a:pt x="200" y="174"/>
                  </a:lnTo>
                  <a:lnTo>
                    <a:pt x="198" y="188"/>
                  </a:lnTo>
                  <a:lnTo>
                    <a:pt x="198" y="193"/>
                  </a:lnTo>
                  <a:lnTo>
                    <a:pt x="196" y="196"/>
                  </a:lnTo>
                  <a:lnTo>
                    <a:pt x="193" y="198"/>
                  </a:lnTo>
                  <a:lnTo>
                    <a:pt x="191" y="205"/>
                  </a:lnTo>
                  <a:lnTo>
                    <a:pt x="191" y="210"/>
                  </a:lnTo>
                  <a:lnTo>
                    <a:pt x="189" y="214"/>
                  </a:lnTo>
                  <a:lnTo>
                    <a:pt x="189" y="215"/>
                  </a:lnTo>
                  <a:lnTo>
                    <a:pt x="184" y="221"/>
                  </a:lnTo>
                  <a:lnTo>
                    <a:pt x="177" y="224"/>
                  </a:lnTo>
                  <a:lnTo>
                    <a:pt x="174" y="228"/>
                  </a:lnTo>
                  <a:lnTo>
                    <a:pt x="172" y="229"/>
                  </a:lnTo>
                  <a:lnTo>
                    <a:pt x="167" y="228"/>
                  </a:lnTo>
                  <a:lnTo>
                    <a:pt x="163" y="221"/>
                  </a:lnTo>
                  <a:lnTo>
                    <a:pt x="163" y="221"/>
                  </a:lnTo>
                  <a:lnTo>
                    <a:pt x="165" y="219"/>
                  </a:lnTo>
                  <a:lnTo>
                    <a:pt x="167" y="215"/>
                  </a:lnTo>
                  <a:lnTo>
                    <a:pt x="167" y="214"/>
                  </a:lnTo>
                  <a:lnTo>
                    <a:pt x="168" y="212"/>
                  </a:lnTo>
                  <a:lnTo>
                    <a:pt x="168" y="212"/>
                  </a:lnTo>
                  <a:lnTo>
                    <a:pt x="165" y="212"/>
                  </a:lnTo>
                  <a:lnTo>
                    <a:pt x="161" y="215"/>
                  </a:lnTo>
                  <a:lnTo>
                    <a:pt x="158" y="215"/>
                  </a:lnTo>
                  <a:lnTo>
                    <a:pt x="158" y="221"/>
                  </a:lnTo>
                  <a:lnTo>
                    <a:pt x="161" y="224"/>
                  </a:lnTo>
                  <a:lnTo>
                    <a:pt x="161" y="231"/>
                  </a:lnTo>
                  <a:lnTo>
                    <a:pt x="161" y="236"/>
                  </a:lnTo>
                  <a:lnTo>
                    <a:pt x="155" y="240"/>
                  </a:lnTo>
                  <a:lnTo>
                    <a:pt x="155" y="242"/>
                  </a:lnTo>
                  <a:lnTo>
                    <a:pt x="155" y="243"/>
                  </a:lnTo>
                  <a:lnTo>
                    <a:pt x="155" y="250"/>
                  </a:lnTo>
                  <a:lnTo>
                    <a:pt x="155" y="252"/>
                  </a:lnTo>
                  <a:lnTo>
                    <a:pt x="155" y="255"/>
                  </a:lnTo>
                  <a:lnTo>
                    <a:pt x="155" y="255"/>
                  </a:lnTo>
                  <a:lnTo>
                    <a:pt x="155" y="255"/>
                  </a:lnTo>
                  <a:lnTo>
                    <a:pt x="155" y="257"/>
                  </a:lnTo>
                  <a:lnTo>
                    <a:pt x="153" y="257"/>
                  </a:lnTo>
                  <a:lnTo>
                    <a:pt x="155" y="259"/>
                  </a:lnTo>
                  <a:lnTo>
                    <a:pt x="149" y="261"/>
                  </a:lnTo>
                  <a:lnTo>
                    <a:pt x="149" y="259"/>
                  </a:lnTo>
                  <a:lnTo>
                    <a:pt x="148" y="261"/>
                  </a:lnTo>
                  <a:lnTo>
                    <a:pt x="146" y="261"/>
                  </a:lnTo>
                  <a:lnTo>
                    <a:pt x="144" y="257"/>
                  </a:lnTo>
                  <a:lnTo>
                    <a:pt x="144" y="255"/>
                  </a:lnTo>
                  <a:lnTo>
                    <a:pt x="142" y="257"/>
                  </a:lnTo>
                  <a:lnTo>
                    <a:pt x="139" y="257"/>
                  </a:lnTo>
                  <a:lnTo>
                    <a:pt x="139" y="257"/>
                  </a:lnTo>
                  <a:lnTo>
                    <a:pt x="130" y="259"/>
                  </a:lnTo>
                  <a:lnTo>
                    <a:pt x="127" y="261"/>
                  </a:lnTo>
                  <a:lnTo>
                    <a:pt x="123" y="262"/>
                  </a:lnTo>
                  <a:lnTo>
                    <a:pt x="120" y="262"/>
                  </a:lnTo>
                  <a:lnTo>
                    <a:pt x="115" y="264"/>
                  </a:lnTo>
                  <a:lnTo>
                    <a:pt x="113" y="264"/>
                  </a:lnTo>
                  <a:lnTo>
                    <a:pt x="109" y="264"/>
                  </a:lnTo>
                  <a:lnTo>
                    <a:pt x="104" y="269"/>
                  </a:lnTo>
                  <a:lnTo>
                    <a:pt x="102" y="273"/>
                  </a:lnTo>
                  <a:lnTo>
                    <a:pt x="101" y="275"/>
                  </a:lnTo>
                  <a:lnTo>
                    <a:pt x="101" y="278"/>
                  </a:lnTo>
                  <a:lnTo>
                    <a:pt x="95" y="283"/>
                  </a:lnTo>
                  <a:lnTo>
                    <a:pt x="92" y="283"/>
                  </a:lnTo>
                  <a:lnTo>
                    <a:pt x="88" y="287"/>
                  </a:lnTo>
                  <a:lnTo>
                    <a:pt x="88" y="289"/>
                  </a:lnTo>
                  <a:lnTo>
                    <a:pt x="85" y="292"/>
                  </a:lnTo>
                  <a:lnTo>
                    <a:pt x="82" y="292"/>
                  </a:lnTo>
                  <a:lnTo>
                    <a:pt x="82" y="294"/>
                  </a:lnTo>
                  <a:lnTo>
                    <a:pt x="82" y="301"/>
                  </a:lnTo>
                  <a:lnTo>
                    <a:pt x="82" y="301"/>
                  </a:lnTo>
                  <a:lnTo>
                    <a:pt x="85" y="304"/>
                  </a:lnTo>
                  <a:lnTo>
                    <a:pt x="82" y="306"/>
                  </a:lnTo>
                  <a:lnTo>
                    <a:pt x="80" y="306"/>
                  </a:lnTo>
                  <a:lnTo>
                    <a:pt x="76" y="308"/>
                  </a:lnTo>
                  <a:lnTo>
                    <a:pt x="76" y="311"/>
                  </a:lnTo>
                  <a:lnTo>
                    <a:pt x="73" y="311"/>
                  </a:lnTo>
                  <a:lnTo>
                    <a:pt x="69" y="315"/>
                  </a:lnTo>
                  <a:lnTo>
                    <a:pt x="68" y="320"/>
                  </a:lnTo>
                  <a:lnTo>
                    <a:pt x="66" y="320"/>
                  </a:lnTo>
                  <a:lnTo>
                    <a:pt x="62" y="320"/>
                  </a:lnTo>
                  <a:lnTo>
                    <a:pt x="64" y="320"/>
                  </a:lnTo>
                  <a:lnTo>
                    <a:pt x="66" y="320"/>
                  </a:lnTo>
                  <a:lnTo>
                    <a:pt x="66" y="323"/>
                  </a:lnTo>
                  <a:lnTo>
                    <a:pt x="68" y="327"/>
                  </a:lnTo>
                  <a:lnTo>
                    <a:pt x="68" y="328"/>
                  </a:lnTo>
                  <a:lnTo>
                    <a:pt x="66" y="325"/>
                  </a:lnTo>
                  <a:lnTo>
                    <a:pt x="64" y="323"/>
                  </a:lnTo>
                  <a:lnTo>
                    <a:pt x="64" y="325"/>
                  </a:lnTo>
                  <a:lnTo>
                    <a:pt x="66" y="328"/>
                  </a:lnTo>
                  <a:lnTo>
                    <a:pt x="68" y="330"/>
                  </a:lnTo>
                  <a:lnTo>
                    <a:pt x="68" y="332"/>
                  </a:lnTo>
                  <a:lnTo>
                    <a:pt x="66" y="334"/>
                  </a:lnTo>
                  <a:lnTo>
                    <a:pt x="68" y="334"/>
                  </a:lnTo>
                  <a:lnTo>
                    <a:pt x="69" y="332"/>
                  </a:lnTo>
                  <a:lnTo>
                    <a:pt x="73" y="330"/>
                  </a:lnTo>
                  <a:lnTo>
                    <a:pt x="75" y="330"/>
                  </a:lnTo>
                  <a:lnTo>
                    <a:pt x="73" y="332"/>
                  </a:lnTo>
                  <a:lnTo>
                    <a:pt x="75" y="334"/>
                  </a:lnTo>
                  <a:lnTo>
                    <a:pt x="76" y="332"/>
                  </a:lnTo>
                  <a:lnTo>
                    <a:pt x="76" y="328"/>
                  </a:lnTo>
                  <a:lnTo>
                    <a:pt x="75" y="327"/>
                  </a:lnTo>
                  <a:lnTo>
                    <a:pt x="71" y="328"/>
                  </a:lnTo>
                  <a:lnTo>
                    <a:pt x="71" y="327"/>
                  </a:lnTo>
                  <a:lnTo>
                    <a:pt x="73" y="325"/>
                  </a:lnTo>
                  <a:lnTo>
                    <a:pt x="71" y="322"/>
                  </a:lnTo>
                  <a:lnTo>
                    <a:pt x="73" y="320"/>
                  </a:lnTo>
                  <a:lnTo>
                    <a:pt x="76" y="322"/>
                  </a:lnTo>
                  <a:lnTo>
                    <a:pt x="80" y="327"/>
                  </a:lnTo>
                  <a:lnTo>
                    <a:pt x="80" y="330"/>
                  </a:lnTo>
                  <a:lnTo>
                    <a:pt x="82" y="332"/>
                  </a:lnTo>
                  <a:lnTo>
                    <a:pt x="82" y="339"/>
                  </a:lnTo>
                  <a:lnTo>
                    <a:pt x="78" y="342"/>
                  </a:lnTo>
                  <a:lnTo>
                    <a:pt x="76" y="344"/>
                  </a:lnTo>
                  <a:lnTo>
                    <a:pt x="76" y="348"/>
                  </a:lnTo>
                  <a:lnTo>
                    <a:pt x="80" y="349"/>
                  </a:lnTo>
                  <a:lnTo>
                    <a:pt x="80" y="356"/>
                  </a:lnTo>
                  <a:lnTo>
                    <a:pt x="82" y="360"/>
                  </a:lnTo>
                  <a:lnTo>
                    <a:pt x="82" y="363"/>
                  </a:lnTo>
                  <a:lnTo>
                    <a:pt x="82" y="365"/>
                  </a:lnTo>
                  <a:lnTo>
                    <a:pt x="85" y="367"/>
                  </a:lnTo>
                  <a:lnTo>
                    <a:pt x="85" y="367"/>
                  </a:lnTo>
                  <a:lnTo>
                    <a:pt x="88" y="367"/>
                  </a:lnTo>
                  <a:lnTo>
                    <a:pt x="88" y="367"/>
                  </a:lnTo>
                  <a:lnTo>
                    <a:pt x="88" y="365"/>
                  </a:lnTo>
                  <a:lnTo>
                    <a:pt x="87" y="362"/>
                  </a:lnTo>
                  <a:lnTo>
                    <a:pt x="87" y="356"/>
                  </a:lnTo>
                  <a:lnTo>
                    <a:pt x="88" y="355"/>
                  </a:lnTo>
                  <a:lnTo>
                    <a:pt x="90" y="355"/>
                  </a:lnTo>
                  <a:lnTo>
                    <a:pt x="88" y="356"/>
                  </a:lnTo>
                  <a:lnTo>
                    <a:pt x="88" y="358"/>
                  </a:lnTo>
                  <a:lnTo>
                    <a:pt x="92" y="362"/>
                  </a:lnTo>
                  <a:lnTo>
                    <a:pt x="92" y="367"/>
                  </a:lnTo>
                  <a:lnTo>
                    <a:pt x="92" y="367"/>
                  </a:lnTo>
                  <a:lnTo>
                    <a:pt x="92" y="370"/>
                  </a:lnTo>
                  <a:lnTo>
                    <a:pt x="92" y="370"/>
                  </a:lnTo>
                  <a:lnTo>
                    <a:pt x="92" y="3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 name="Freeform 199">
              <a:extLst>
                <a:ext uri="{FF2B5EF4-FFF2-40B4-BE49-F238E27FC236}">
                  <a16:creationId xmlns:a16="http://schemas.microsoft.com/office/drawing/2014/main" id="{CB1334FE-87DB-45F6-9601-FBE458570425}"/>
                </a:ext>
              </a:extLst>
            </p:cNvPr>
            <p:cNvSpPr>
              <a:spLocks noEditPoints="1"/>
            </p:cNvSpPr>
            <p:nvPr/>
          </p:nvSpPr>
          <p:spPr bwMode="auto">
            <a:xfrm>
              <a:off x="7632700" y="3700463"/>
              <a:ext cx="269875" cy="411163"/>
            </a:xfrm>
            <a:custGeom>
              <a:avLst/>
              <a:gdLst/>
              <a:ahLst/>
              <a:cxnLst>
                <a:cxn ang="0">
                  <a:pos x="57" y="5"/>
                </a:cxn>
                <a:cxn ang="0">
                  <a:pos x="74" y="11"/>
                </a:cxn>
                <a:cxn ang="0">
                  <a:pos x="99" y="99"/>
                </a:cxn>
                <a:cxn ang="0">
                  <a:pos x="109" y="111"/>
                </a:cxn>
                <a:cxn ang="0">
                  <a:pos x="116" y="127"/>
                </a:cxn>
                <a:cxn ang="0">
                  <a:pos x="90" y="106"/>
                </a:cxn>
                <a:cxn ang="0">
                  <a:pos x="66" y="110"/>
                </a:cxn>
                <a:cxn ang="0">
                  <a:pos x="55" y="91"/>
                </a:cxn>
                <a:cxn ang="0">
                  <a:pos x="41" y="70"/>
                </a:cxn>
                <a:cxn ang="0">
                  <a:pos x="47" y="30"/>
                </a:cxn>
                <a:cxn ang="0">
                  <a:pos x="80" y="23"/>
                </a:cxn>
                <a:cxn ang="0">
                  <a:pos x="78" y="65"/>
                </a:cxn>
                <a:cxn ang="0">
                  <a:pos x="74" y="98"/>
                </a:cxn>
                <a:cxn ang="0">
                  <a:pos x="81" y="91"/>
                </a:cxn>
                <a:cxn ang="0">
                  <a:pos x="47" y="106"/>
                </a:cxn>
                <a:cxn ang="0">
                  <a:pos x="68" y="139"/>
                </a:cxn>
                <a:cxn ang="0">
                  <a:pos x="52" y="115"/>
                </a:cxn>
                <a:cxn ang="0">
                  <a:pos x="120" y="103"/>
                </a:cxn>
                <a:cxn ang="0">
                  <a:pos x="80" y="118"/>
                </a:cxn>
                <a:cxn ang="0">
                  <a:pos x="87" y="129"/>
                </a:cxn>
                <a:cxn ang="0">
                  <a:pos x="101" y="124"/>
                </a:cxn>
                <a:cxn ang="0">
                  <a:pos x="111" y="131"/>
                </a:cxn>
                <a:cxn ang="0">
                  <a:pos x="109" y="132"/>
                </a:cxn>
                <a:cxn ang="0">
                  <a:pos x="87" y="171"/>
                </a:cxn>
                <a:cxn ang="0">
                  <a:pos x="90" y="148"/>
                </a:cxn>
                <a:cxn ang="0">
                  <a:pos x="95" y="165"/>
                </a:cxn>
                <a:cxn ang="0">
                  <a:pos x="97" y="165"/>
                </a:cxn>
                <a:cxn ang="0">
                  <a:pos x="114" y="178"/>
                </a:cxn>
                <a:cxn ang="0">
                  <a:pos x="111" y="188"/>
                </a:cxn>
                <a:cxn ang="0">
                  <a:pos x="104" y="167"/>
                </a:cxn>
                <a:cxn ang="0">
                  <a:pos x="111" y="190"/>
                </a:cxn>
                <a:cxn ang="0">
                  <a:pos x="116" y="191"/>
                </a:cxn>
                <a:cxn ang="0">
                  <a:pos x="127" y="176"/>
                </a:cxn>
                <a:cxn ang="0">
                  <a:pos x="134" y="195"/>
                </a:cxn>
                <a:cxn ang="0">
                  <a:pos x="130" y="148"/>
                </a:cxn>
                <a:cxn ang="0">
                  <a:pos x="146" y="146"/>
                </a:cxn>
                <a:cxn ang="0">
                  <a:pos x="123" y="131"/>
                </a:cxn>
                <a:cxn ang="0">
                  <a:pos x="139" y="155"/>
                </a:cxn>
                <a:cxn ang="0">
                  <a:pos x="134" y="176"/>
                </a:cxn>
                <a:cxn ang="0">
                  <a:pos x="134" y="155"/>
                </a:cxn>
                <a:cxn ang="0">
                  <a:pos x="151" y="165"/>
                </a:cxn>
                <a:cxn ang="0">
                  <a:pos x="151" y="183"/>
                </a:cxn>
                <a:cxn ang="0">
                  <a:pos x="154" y="183"/>
                </a:cxn>
                <a:cxn ang="0">
                  <a:pos x="88" y="228"/>
                </a:cxn>
                <a:cxn ang="0">
                  <a:pos x="120" y="207"/>
                </a:cxn>
                <a:cxn ang="0">
                  <a:pos x="139" y="198"/>
                </a:cxn>
                <a:cxn ang="0">
                  <a:pos x="158" y="193"/>
                </a:cxn>
                <a:cxn ang="0">
                  <a:pos x="165" y="219"/>
                </a:cxn>
                <a:cxn ang="0">
                  <a:pos x="161" y="247"/>
                </a:cxn>
                <a:cxn ang="0">
                  <a:pos x="151" y="258"/>
                </a:cxn>
                <a:cxn ang="0">
                  <a:pos x="127" y="247"/>
                </a:cxn>
                <a:cxn ang="0">
                  <a:pos x="116" y="221"/>
                </a:cxn>
                <a:cxn ang="0">
                  <a:pos x="106" y="226"/>
                </a:cxn>
                <a:cxn ang="0">
                  <a:pos x="87" y="242"/>
                </a:cxn>
                <a:cxn ang="0">
                  <a:pos x="47" y="143"/>
                </a:cxn>
                <a:cxn ang="0">
                  <a:pos x="47" y="143"/>
                </a:cxn>
                <a:cxn ang="0">
                  <a:pos x="47" y="169"/>
                </a:cxn>
                <a:cxn ang="0">
                  <a:pos x="10" y="205"/>
                </a:cxn>
                <a:cxn ang="0">
                  <a:pos x="43" y="171"/>
                </a:cxn>
                <a:cxn ang="0">
                  <a:pos x="31" y="171"/>
                </a:cxn>
                <a:cxn ang="0">
                  <a:pos x="3" y="207"/>
                </a:cxn>
                <a:cxn ang="0">
                  <a:pos x="7" y="211"/>
                </a:cxn>
              </a:cxnLst>
              <a:rect l="0" t="0" r="r" b="b"/>
              <a:pathLst>
                <a:path w="170" h="259">
                  <a:moveTo>
                    <a:pt x="59" y="14"/>
                  </a:moveTo>
                  <a:lnTo>
                    <a:pt x="64" y="14"/>
                  </a:lnTo>
                  <a:lnTo>
                    <a:pt x="61" y="14"/>
                  </a:lnTo>
                  <a:lnTo>
                    <a:pt x="59" y="14"/>
                  </a:lnTo>
                  <a:lnTo>
                    <a:pt x="59" y="14"/>
                  </a:lnTo>
                  <a:lnTo>
                    <a:pt x="59" y="14"/>
                  </a:lnTo>
                  <a:lnTo>
                    <a:pt x="59" y="14"/>
                  </a:lnTo>
                  <a:close/>
                  <a:moveTo>
                    <a:pt x="57" y="5"/>
                  </a:moveTo>
                  <a:lnTo>
                    <a:pt x="59" y="7"/>
                  </a:lnTo>
                  <a:lnTo>
                    <a:pt x="55" y="9"/>
                  </a:lnTo>
                  <a:lnTo>
                    <a:pt x="57" y="5"/>
                  </a:lnTo>
                  <a:lnTo>
                    <a:pt x="57" y="5"/>
                  </a:lnTo>
                  <a:lnTo>
                    <a:pt x="57" y="5"/>
                  </a:lnTo>
                  <a:lnTo>
                    <a:pt x="57" y="5"/>
                  </a:lnTo>
                  <a:close/>
                  <a:moveTo>
                    <a:pt x="64" y="0"/>
                  </a:moveTo>
                  <a:lnTo>
                    <a:pt x="62" y="2"/>
                  </a:lnTo>
                  <a:lnTo>
                    <a:pt x="64" y="4"/>
                  </a:lnTo>
                  <a:lnTo>
                    <a:pt x="64" y="0"/>
                  </a:lnTo>
                  <a:lnTo>
                    <a:pt x="64" y="0"/>
                  </a:lnTo>
                  <a:lnTo>
                    <a:pt x="64" y="0"/>
                  </a:lnTo>
                  <a:lnTo>
                    <a:pt x="64" y="0"/>
                  </a:lnTo>
                  <a:close/>
                  <a:moveTo>
                    <a:pt x="73" y="9"/>
                  </a:moveTo>
                  <a:lnTo>
                    <a:pt x="71" y="12"/>
                  </a:lnTo>
                  <a:lnTo>
                    <a:pt x="73" y="14"/>
                  </a:lnTo>
                  <a:lnTo>
                    <a:pt x="74" y="11"/>
                  </a:lnTo>
                  <a:lnTo>
                    <a:pt x="74" y="11"/>
                  </a:lnTo>
                  <a:lnTo>
                    <a:pt x="73" y="9"/>
                  </a:lnTo>
                  <a:lnTo>
                    <a:pt x="73" y="9"/>
                  </a:lnTo>
                  <a:lnTo>
                    <a:pt x="73" y="9"/>
                  </a:lnTo>
                  <a:lnTo>
                    <a:pt x="73" y="9"/>
                  </a:lnTo>
                  <a:close/>
                  <a:moveTo>
                    <a:pt x="74" y="98"/>
                  </a:moveTo>
                  <a:lnTo>
                    <a:pt x="74" y="99"/>
                  </a:lnTo>
                  <a:lnTo>
                    <a:pt x="78" y="103"/>
                  </a:lnTo>
                  <a:lnTo>
                    <a:pt x="83" y="105"/>
                  </a:lnTo>
                  <a:lnTo>
                    <a:pt x="83" y="103"/>
                  </a:lnTo>
                  <a:lnTo>
                    <a:pt x="87" y="101"/>
                  </a:lnTo>
                  <a:lnTo>
                    <a:pt x="90" y="96"/>
                  </a:lnTo>
                  <a:lnTo>
                    <a:pt x="94" y="96"/>
                  </a:lnTo>
                  <a:lnTo>
                    <a:pt x="99" y="99"/>
                  </a:lnTo>
                  <a:lnTo>
                    <a:pt x="101" y="105"/>
                  </a:lnTo>
                  <a:lnTo>
                    <a:pt x="101" y="106"/>
                  </a:lnTo>
                  <a:lnTo>
                    <a:pt x="102" y="110"/>
                  </a:lnTo>
                  <a:lnTo>
                    <a:pt x="104" y="106"/>
                  </a:lnTo>
                  <a:lnTo>
                    <a:pt x="104" y="105"/>
                  </a:lnTo>
                  <a:lnTo>
                    <a:pt x="106" y="103"/>
                  </a:lnTo>
                  <a:lnTo>
                    <a:pt x="106" y="106"/>
                  </a:lnTo>
                  <a:lnTo>
                    <a:pt x="111" y="106"/>
                  </a:lnTo>
                  <a:lnTo>
                    <a:pt x="114" y="110"/>
                  </a:lnTo>
                  <a:lnTo>
                    <a:pt x="114" y="110"/>
                  </a:lnTo>
                  <a:lnTo>
                    <a:pt x="114" y="111"/>
                  </a:lnTo>
                  <a:lnTo>
                    <a:pt x="111" y="110"/>
                  </a:lnTo>
                  <a:lnTo>
                    <a:pt x="109" y="111"/>
                  </a:lnTo>
                  <a:lnTo>
                    <a:pt x="111" y="115"/>
                  </a:lnTo>
                  <a:lnTo>
                    <a:pt x="111" y="118"/>
                  </a:lnTo>
                  <a:lnTo>
                    <a:pt x="111" y="124"/>
                  </a:lnTo>
                  <a:lnTo>
                    <a:pt x="114" y="124"/>
                  </a:lnTo>
                  <a:lnTo>
                    <a:pt x="118" y="124"/>
                  </a:lnTo>
                  <a:lnTo>
                    <a:pt x="121" y="124"/>
                  </a:lnTo>
                  <a:lnTo>
                    <a:pt x="121" y="124"/>
                  </a:lnTo>
                  <a:lnTo>
                    <a:pt x="121" y="125"/>
                  </a:lnTo>
                  <a:lnTo>
                    <a:pt x="121" y="129"/>
                  </a:lnTo>
                  <a:lnTo>
                    <a:pt x="120" y="134"/>
                  </a:lnTo>
                  <a:lnTo>
                    <a:pt x="116" y="132"/>
                  </a:lnTo>
                  <a:lnTo>
                    <a:pt x="114" y="129"/>
                  </a:lnTo>
                  <a:lnTo>
                    <a:pt x="116" y="127"/>
                  </a:lnTo>
                  <a:lnTo>
                    <a:pt x="116" y="125"/>
                  </a:lnTo>
                  <a:lnTo>
                    <a:pt x="114" y="125"/>
                  </a:lnTo>
                  <a:lnTo>
                    <a:pt x="114" y="125"/>
                  </a:lnTo>
                  <a:lnTo>
                    <a:pt x="111" y="127"/>
                  </a:lnTo>
                  <a:lnTo>
                    <a:pt x="106" y="124"/>
                  </a:lnTo>
                  <a:lnTo>
                    <a:pt x="106" y="124"/>
                  </a:lnTo>
                  <a:lnTo>
                    <a:pt x="106" y="118"/>
                  </a:lnTo>
                  <a:lnTo>
                    <a:pt x="104" y="115"/>
                  </a:lnTo>
                  <a:lnTo>
                    <a:pt x="99" y="113"/>
                  </a:lnTo>
                  <a:lnTo>
                    <a:pt x="97" y="110"/>
                  </a:lnTo>
                  <a:lnTo>
                    <a:pt x="94" y="106"/>
                  </a:lnTo>
                  <a:lnTo>
                    <a:pt x="92" y="106"/>
                  </a:lnTo>
                  <a:lnTo>
                    <a:pt x="90" y="106"/>
                  </a:lnTo>
                  <a:lnTo>
                    <a:pt x="90" y="106"/>
                  </a:lnTo>
                  <a:lnTo>
                    <a:pt x="94" y="115"/>
                  </a:lnTo>
                  <a:lnTo>
                    <a:pt x="95" y="118"/>
                  </a:lnTo>
                  <a:lnTo>
                    <a:pt x="94" y="118"/>
                  </a:lnTo>
                  <a:lnTo>
                    <a:pt x="90" y="115"/>
                  </a:lnTo>
                  <a:lnTo>
                    <a:pt x="87" y="111"/>
                  </a:lnTo>
                  <a:lnTo>
                    <a:pt x="87" y="106"/>
                  </a:lnTo>
                  <a:lnTo>
                    <a:pt x="78" y="106"/>
                  </a:lnTo>
                  <a:lnTo>
                    <a:pt x="74" y="106"/>
                  </a:lnTo>
                  <a:lnTo>
                    <a:pt x="73" y="106"/>
                  </a:lnTo>
                  <a:lnTo>
                    <a:pt x="73" y="111"/>
                  </a:lnTo>
                  <a:lnTo>
                    <a:pt x="69" y="113"/>
                  </a:lnTo>
                  <a:lnTo>
                    <a:pt x="66" y="110"/>
                  </a:lnTo>
                  <a:lnTo>
                    <a:pt x="64" y="111"/>
                  </a:lnTo>
                  <a:lnTo>
                    <a:pt x="61" y="111"/>
                  </a:lnTo>
                  <a:lnTo>
                    <a:pt x="62" y="106"/>
                  </a:lnTo>
                  <a:lnTo>
                    <a:pt x="61" y="106"/>
                  </a:lnTo>
                  <a:lnTo>
                    <a:pt x="59" y="106"/>
                  </a:lnTo>
                  <a:lnTo>
                    <a:pt x="57" y="110"/>
                  </a:lnTo>
                  <a:lnTo>
                    <a:pt x="55" y="106"/>
                  </a:lnTo>
                  <a:lnTo>
                    <a:pt x="55" y="101"/>
                  </a:lnTo>
                  <a:lnTo>
                    <a:pt x="55" y="99"/>
                  </a:lnTo>
                  <a:lnTo>
                    <a:pt x="57" y="98"/>
                  </a:lnTo>
                  <a:lnTo>
                    <a:pt x="61" y="92"/>
                  </a:lnTo>
                  <a:lnTo>
                    <a:pt x="57" y="91"/>
                  </a:lnTo>
                  <a:lnTo>
                    <a:pt x="55" y="91"/>
                  </a:lnTo>
                  <a:lnTo>
                    <a:pt x="55" y="92"/>
                  </a:lnTo>
                  <a:lnTo>
                    <a:pt x="55" y="94"/>
                  </a:lnTo>
                  <a:lnTo>
                    <a:pt x="55" y="96"/>
                  </a:lnTo>
                  <a:lnTo>
                    <a:pt x="52" y="96"/>
                  </a:lnTo>
                  <a:lnTo>
                    <a:pt x="50" y="92"/>
                  </a:lnTo>
                  <a:lnTo>
                    <a:pt x="50" y="91"/>
                  </a:lnTo>
                  <a:lnTo>
                    <a:pt x="47" y="87"/>
                  </a:lnTo>
                  <a:lnTo>
                    <a:pt x="47" y="91"/>
                  </a:lnTo>
                  <a:lnTo>
                    <a:pt x="45" y="87"/>
                  </a:lnTo>
                  <a:lnTo>
                    <a:pt x="45" y="82"/>
                  </a:lnTo>
                  <a:lnTo>
                    <a:pt x="41" y="78"/>
                  </a:lnTo>
                  <a:lnTo>
                    <a:pt x="41" y="73"/>
                  </a:lnTo>
                  <a:lnTo>
                    <a:pt x="41" y="70"/>
                  </a:lnTo>
                  <a:lnTo>
                    <a:pt x="41" y="68"/>
                  </a:lnTo>
                  <a:lnTo>
                    <a:pt x="40" y="68"/>
                  </a:lnTo>
                  <a:lnTo>
                    <a:pt x="38" y="65"/>
                  </a:lnTo>
                  <a:lnTo>
                    <a:pt x="40" y="59"/>
                  </a:lnTo>
                  <a:lnTo>
                    <a:pt x="41" y="63"/>
                  </a:lnTo>
                  <a:lnTo>
                    <a:pt x="45" y="63"/>
                  </a:lnTo>
                  <a:lnTo>
                    <a:pt x="47" y="63"/>
                  </a:lnTo>
                  <a:lnTo>
                    <a:pt x="47" y="59"/>
                  </a:lnTo>
                  <a:lnTo>
                    <a:pt x="45" y="54"/>
                  </a:lnTo>
                  <a:lnTo>
                    <a:pt x="47" y="51"/>
                  </a:lnTo>
                  <a:lnTo>
                    <a:pt x="47" y="42"/>
                  </a:lnTo>
                  <a:lnTo>
                    <a:pt x="47" y="35"/>
                  </a:lnTo>
                  <a:lnTo>
                    <a:pt x="47" y="30"/>
                  </a:lnTo>
                  <a:lnTo>
                    <a:pt x="50" y="23"/>
                  </a:lnTo>
                  <a:lnTo>
                    <a:pt x="52" y="19"/>
                  </a:lnTo>
                  <a:lnTo>
                    <a:pt x="55" y="18"/>
                  </a:lnTo>
                  <a:lnTo>
                    <a:pt x="62" y="18"/>
                  </a:lnTo>
                  <a:lnTo>
                    <a:pt x="64" y="23"/>
                  </a:lnTo>
                  <a:lnTo>
                    <a:pt x="68" y="23"/>
                  </a:lnTo>
                  <a:lnTo>
                    <a:pt x="68" y="23"/>
                  </a:lnTo>
                  <a:lnTo>
                    <a:pt x="73" y="23"/>
                  </a:lnTo>
                  <a:lnTo>
                    <a:pt x="74" y="19"/>
                  </a:lnTo>
                  <a:lnTo>
                    <a:pt x="74" y="18"/>
                  </a:lnTo>
                  <a:lnTo>
                    <a:pt x="78" y="18"/>
                  </a:lnTo>
                  <a:lnTo>
                    <a:pt x="80" y="23"/>
                  </a:lnTo>
                  <a:lnTo>
                    <a:pt x="80" y="23"/>
                  </a:lnTo>
                  <a:lnTo>
                    <a:pt x="78" y="26"/>
                  </a:lnTo>
                  <a:lnTo>
                    <a:pt x="78" y="33"/>
                  </a:lnTo>
                  <a:lnTo>
                    <a:pt x="80" y="38"/>
                  </a:lnTo>
                  <a:lnTo>
                    <a:pt x="83" y="38"/>
                  </a:lnTo>
                  <a:lnTo>
                    <a:pt x="83" y="44"/>
                  </a:lnTo>
                  <a:lnTo>
                    <a:pt x="83" y="45"/>
                  </a:lnTo>
                  <a:lnTo>
                    <a:pt x="83" y="54"/>
                  </a:lnTo>
                  <a:lnTo>
                    <a:pt x="81" y="58"/>
                  </a:lnTo>
                  <a:lnTo>
                    <a:pt x="83" y="63"/>
                  </a:lnTo>
                  <a:lnTo>
                    <a:pt x="80" y="66"/>
                  </a:lnTo>
                  <a:lnTo>
                    <a:pt x="80" y="65"/>
                  </a:lnTo>
                  <a:lnTo>
                    <a:pt x="81" y="63"/>
                  </a:lnTo>
                  <a:lnTo>
                    <a:pt x="78" y="65"/>
                  </a:lnTo>
                  <a:lnTo>
                    <a:pt x="73" y="70"/>
                  </a:lnTo>
                  <a:lnTo>
                    <a:pt x="71" y="73"/>
                  </a:lnTo>
                  <a:lnTo>
                    <a:pt x="71" y="77"/>
                  </a:lnTo>
                  <a:lnTo>
                    <a:pt x="69" y="78"/>
                  </a:lnTo>
                  <a:lnTo>
                    <a:pt x="69" y="82"/>
                  </a:lnTo>
                  <a:lnTo>
                    <a:pt x="71" y="84"/>
                  </a:lnTo>
                  <a:lnTo>
                    <a:pt x="73" y="91"/>
                  </a:lnTo>
                  <a:lnTo>
                    <a:pt x="74" y="91"/>
                  </a:lnTo>
                  <a:lnTo>
                    <a:pt x="74" y="92"/>
                  </a:lnTo>
                  <a:lnTo>
                    <a:pt x="74" y="98"/>
                  </a:lnTo>
                  <a:lnTo>
                    <a:pt x="74" y="98"/>
                  </a:lnTo>
                  <a:lnTo>
                    <a:pt x="74" y="98"/>
                  </a:lnTo>
                  <a:lnTo>
                    <a:pt x="74" y="98"/>
                  </a:lnTo>
                  <a:close/>
                  <a:moveTo>
                    <a:pt x="81" y="98"/>
                  </a:moveTo>
                  <a:lnTo>
                    <a:pt x="81" y="101"/>
                  </a:lnTo>
                  <a:lnTo>
                    <a:pt x="83" y="103"/>
                  </a:lnTo>
                  <a:lnTo>
                    <a:pt x="83" y="99"/>
                  </a:lnTo>
                  <a:lnTo>
                    <a:pt x="81" y="98"/>
                  </a:lnTo>
                  <a:lnTo>
                    <a:pt x="81" y="98"/>
                  </a:lnTo>
                  <a:lnTo>
                    <a:pt x="81" y="98"/>
                  </a:lnTo>
                  <a:lnTo>
                    <a:pt x="81" y="98"/>
                  </a:lnTo>
                  <a:close/>
                  <a:moveTo>
                    <a:pt x="78" y="84"/>
                  </a:moveTo>
                  <a:lnTo>
                    <a:pt x="80" y="91"/>
                  </a:lnTo>
                  <a:lnTo>
                    <a:pt x="80" y="91"/>
                  </a:lnTo>
                  <a:lnTo>
                    <a:pt x="80" y="94"/>
                  </a:lnTo>
                  <a:lnTo>
                    <a:pt x="81" y="91"/>
                  </a:lnTo>
                  <a:lnTo>
                    <a:pt x="83" y="87"/>
                  </a:lnTo>
                  <a:lnTo>
                    <a:pt x="83" y="84"/>
                  </a:lnTo>
                  <a:lnTo>
                    <a:pt x="81" y="82"/>
                  </a:lnTo>
                  <a:lnTo>
                    <a:pt x="78" y="84"/>
                  </a:lnTo>
                  <a:lnTo>
                    <a:pt x="78" y="84"/>
                  </a:lnTo>
                  <a:lnTo>
                    <a:pt x="78" y="84"/>
                  </a:lnTo>
                  <a:lnTo>
                    <a:pt x="78" y="84"/>
                  </a:lnTo>
                  <a:close/>
                  <a:moveTo>
                    <a:pt x="47" y="106"/>
                  </a:moveTo>
                  <a:lnTo>
                    <a:pt x="47" y="110"/>
                  </a:lnTo>
                  <a:lnTo>
                    <a:pt x="52" y="111"/>
                  </a:lnTo>
                  <a:lnTo>
                    <a:pt x="52" y="111"/>
                  </a:lnTo>
                  <a:lnTo>
                    <a:pt x="50" y="106"/>
                  </a:lnTo>
                  <a:lnTo>
                    <a:pt x="47" y="106"/>
                  </a:lnTo>
                  <a:lnTo>
                    <a:pt x="47" y="106"/>
                  </a:lnTo>
                  <a:lnTo>
                    <a:pt x="47" y="106"/>
                  </a:lnTo>
                  <a:lnTo>
                    <a:pt x="47" y="106"/>
                  </a:lnTo>
                  <a:close/>
                  <a:moveTo>
                    <a:pt x="52" y="115"/>
                  </a:moveTo>
                  <a:lnTo>
                    <a:pt x="52" y="115"/>
                  </a:lnTo>
                  <a:lnTo>
                    <a:pt x="55" y="115"/>
                  </a:lnTo>
                  <a:lnTo>
                    <a:pt x="55" y="120"/>
                  </a:lnTo>
                  <a:lnTo>
                    <a:pt x="59" y="120"/>
                  </a:lnTo>
                  <a:lnTo>
                    <a:pt x="61" y="124"/>
                  </a:lnTo>
                  <a:lnTo>
                    <a:pt x="61" y="129"/>
                  </a:lnTo>
                  <a:lnTo>
                    <a:pt x="64" y="131"/>
                  </a:lnTo>
                  <a:lnTo>
                    <a:pt x="64" y="134"/>
                  </a:lnTo>
                  <a:lnTo>
                    <a:pt x="68" y="139"/>
                  </a:lnTo>
                  <a:lnTo>
                    <a:pt x="71" y="139"/>
                  </a:lnTo>
                  <a:lnTo>
                    <a:pt x="73" y="136"/>
                  </a:lnTo>
                  <a:lnTo>
                    <a:pt x="73" y="134"/>
                  </a:lnTo>
                  <a:lnTo>
                    <a:pt x="74" y="132"/>
                  </a:lnTo>
                  <a:lnTo>
                    <a:pt x="74" y="129"/>
                  </a:lnTo>
                  <a:lnTo>
                    <a:pt x="73" y="127"/>
                  </a:lnTo>
                  <a:lnTo>
                    <a:pt x="74" y="124"/>
                  </a:lnTo>
                  <a:lnTo>
                    <a:pt x="74" y="120"/>
                  </a:lnTo>
                  <a:lnTo>
                    <a:pt x="71" y="118"/>
                  </a:lnTo>
                  <a:lnTo>
                    <a:pt x="64" y="115"/>
                  </a:lnTo>
                  <a:lnTo>
                    <a:pt x="59" y="115"/>
                  </a:lnTo>
                  <a:lnTo>
                    <a:pt x="55" y="113"/>
                  </a:lnTo>
                  <a:lnTo>
                    <a:pt x="52" y="115"/>
                  </a:lnTo>
                  <a:lnTo>
                    <a:pt x="52" y="115"/>
                  </a:lnTo>
                  <a:lnTo>
                    <a:pt x="52" y="115"/>
                  </a:lnTo>
                  <a:lnTo>
                    <a:pt x="52" y="115"/>
                  </a:lnTo>
                  <a:close/>
                  <a:moveTo>
                    <a:pt x="120" y="103"/>
                  </a:moveTo>
                  <a:lnTo>
                    <a:pt x="118" y="105"/>
                  </a:lnTo>
                  <a:lnTo>
                    <a:pt x="120" y="106"/>
                  </a:lnTo>
                  <a:lnTo>
                    <a:pt x="118" y="111"/>
                  </a:lnTo>
                  <a:lnTo>
                    <a:pt x="116" y="111"/>
                  </a:lnTo>
                  <a:lnTo>
                    <a:pt x="118" y="113"/>
                  </a:lnTo>
                  <a:lnTo>
                    <a:pt x="123" y="113"/>
                  </a:lnTo>
                  <a:lnTo>
                    <a:pt x="125" y="110"/>
                  </a:lnTo>
                  <a:lnTo>
                    <a:pt x="123" y="106"/>
                  </a:lnTo>
                  <a:lnTo>
                    <a:pt x="120" y="103"/>
                  </a:lnTo>
                  <a:lnTo>
                    <a:pt x="120" y="103"/>
                  </a:lnTo>
                  <a:lnTo>
                    <a:pt x="120" y="103"/>
                  </a:lnTo>
                  <a:lnTo>
                    <a:pt x="120" y="103"/>
                  </a:lnTo>
                  <a:close/>
                  <a:moveTo>
                    <a:pt x="80" y="118"/>
                  </a:moveTo>
                  <a:lnTo>
                    <a:pt x="83" y="118"/>
                  </a:lnTo>
                  <a:lnTo>
                    <a:pt x="83" y="118"/>
                  </a:lnTo>
                  <a:lnTo>
                    <a:pt x="87" y="115"/>
                  </a:lnTo>
                  <a:lnTo>
                    <a:pt x="83" y="113"/>
                  </a:lnTo>
                  <a:lnTo>
                    <a:pt x="81" y="111"/>
                  </a:lnTo>
                  <a:lnTo>
                    <a:pt x="80" y="115"/>
                  </a:lnTo>
                  <a:lnTo>
                    <a:pt x="80" y="118"/>
                  </a:lnTo>
                  <a:lnTo>
                    <a:pt x="80" y="118"/>
                  </a:lnTo>
                  <a:lnTo>
                    <a:pt x="80" y="118"/>
                  </a:lnTo>
                  <a:lnTo>
                    <a:pt x="80" y="118"/>
                  </a:lnTo>
                  <a:close/>
                  <a:moveTo>
                    <a:pt x="87" y="129"/>
                  </a:moveTo>
                  <a:lnTo>
                    <a:pt x="83" y="132"/>
                  </a:lnTo>
                  <a:lnTo>
                    <a:pt x="83" y="136"/>
                  </a:lnTo>
                  <a:lnTo>
                    <a:pt x="83" y="141"/>
                  </a:lnTo>
                  <a:lnTo>
                    <a:pt x="87" y="141"/>
                  </a:lnTo>
                  <a:lnTo>
                    <a:pt x="87" y="136"/>
                  </a:lnTo>
                  <a:lnTo>
                    <a:pt x="87" y="132"/>
                  </a:lnTo>
                  <a:lnTo>
                    <a:pt x="87" y="129"/>
                  </a:lnTo>
                  <a:lnTo>
                    <a:pt x="87" y="129"/>
                  </a:lnTo>
                  <a:lnTo>
                    <a:pt x="87" y="129"/>
                  </a:lnTo>
                  <a:lnTo>
                    <a:pt x="87" y="129"/>
                  </a:lnTo>
                  <a:lnTo>
                    <a:pt x="87" y="129"/>
                  </a:lnTo>
                  <a:close/>
                  <a:moveTo>
                    <a:pt x="94" y="132"/>
                  </a:moveTo>
                  <a:lnTo>
                    <a:pt x="92" y="134"/>
                  </a:lnTo>
                  <a:lnTo>
                    <a:pt x="92" y="136"/>
                  </a:lnTo>
                  <a:lnTo>
                    <a:pt x="95" y="136"/>
                  </a:lnTo>
                  <a:lnTo>
                    <a:pt x="95" y="134"/>
                  </a:lnTo>
                  <a:lnTo>
                    <a:pt x="94" y="132"/>
                  </a:lnTo>
                  <a:lnTo>
                    <a:pt x="94" y="132"/>
                  </a:lnTo>
                  <a:lnTo>
                    <a:pt x="94" y="132"/>
                  </a:lnTo>
                  <a:lnTo>
                    <a:pt x="94" y="132"/>
                  </a:lnTo>
                  <a:close/>
                  <a:moveTo>
                    <a:pt x="106" y="124"/>
                  </a:moveTo>
                  <a:lnTo>
                    <a:pt x="101" y="120"/>
                  </a:lnTo>
                  <a:lnTo>
                    <a:pt x="101" y="120"/>
                  </a:lnTo>
                  <a:lnTo>
                    <a:pt x="101" y="124"/>
                  </a:lnTo>
                  <a:lnTo>
                    <a:pt x="104" y="127"/>
                  </a:lnTo>
                  <a:lnTo>
                    <a:pt x="106" y="125"/>
                  </a:lnTo>
                  <a:lnTo>
                    <a:pt x="106" y="124"/>
                  </a:lnTo>
                  <a:lnTo>
                    <a:pt x="106" y="124"/>
                  </a:lnTo>
                  <a:lnTo>
                    <a:pt x="106" y="124"/>
                  </a:lnTo>
                  <a:lnTo>
                    <a:pt x="106" y="124"/>
                  </a:lnTo>
                  <a:close/>
                  <a:moveTo>
                    <a:pt x="111" y="131"/>
                  </a:moveTo>
                  <a:lnTo>
                    <a:pt x="111" y="132"/>
                  </a:lnTo>
                  <a:lnTo>
                    <a:pt x="114" y="136"/>
                  </a:lnTo>
                  <a:lnTo>
                    <a:pt x="116" y="136"/>
                  </a:lnTo>
                  <a:lnTo>
                    <a:pt x="114" y="131"/>
                  </a:lnTo>
                  <a:lnTo>
                    <a:pt x="111" y="131"/>
                  </a:lnTo>
                  <a:lnTo>
                    <a:pt x="111" y="131"/>
                  </a:lnTo>
                  <a:lnTo>
                    <a:pt x="111" y="131"/>
                  </a:lnTo>
                  <a:lnTo>
                    <a:pt x="111" y="131"/>
                  </a:lnTo>
                  <a:close/>
                  <a:moveTo>
                    <a:pt x="106" y="143"/>
                  </a:moveTo>
                  <a:lnTo>
                    <a:pt x="109" y="139"/>
                  </a:lnTo>
                  <a:lnTo>
                    <a:pt x="111" y="139"/>
                  </a:lnTo>
                  <a:lnTo>
                    <a:pt x="114" y="143"/>
                  </a:lnTo>
                  <a:lnTo>
                    <a:pt x="118" y="143"/>
                  </a:lnTo>
                  <a:lnTo>
                    <a:pt x="121" y="143"/>
                  </a:lnTo>
                  <a:lnTo>
                    <a:pt x="121" y="143"/>
                  </a:lnTo>
                  <a:lnTo>
                    <a:pt x="118" y="139"/>
                  </a:lnTo>
                  <a:lnTo>
                    <a:pt x="114" y="136"/>
                  </a:lnTo>
                  <a:lnTo>
                    <a:pt x="111" y="136"/>
                  </a:lnTo>
                  <a:lnTo>
                    <a:pt x="109" y="132"/>
                  </a:lnTo>
                  <a:lnTo>
                    <a:pt x="106" y="132"/>
                  </a:lnTo>
                  <a:lnTo>
                    <a:pt x="106" y="132"/>
                  </a:lnTo>
                  <a:lnTo>
                    <a:pt x="106" y="131"/>
                  </a:lnTo>
                  <a:lnTo>
                    <a:pt x="106" y="136"/>
                  </a:lnTo>
                  <a:lnTo>
                    <a:pt x="106" y="138"/>
                  </a:lnTo>
                  <a:lnTo>
                    <a:pt x="106" y="139"/>
                  </a:lnTo>
                  <a:lnTo>
                    <a:pt x="106" y="141"/>
                  </a:lnTo>
                  <a:lnTo>
                    <a:pt x="106" y="143"/>
                  </a:lnTo>
                  <a:lnTo>
                    <a:pt x="106" y="143"/>
                  </a:lnTo>
                  <a:lnTo>
                    <a:pt x="106" y="143"/>
                  </a:lnTo>
                  <a:lnTo>
                    <a:pt x="106" y="143"/>
                  </a:lnTo>
                  <a:close/>
                  <a:moveTo>
                    <a:pt x="88" y="169"/>
                  </a:moveTo>
                  <a:lnTo>
                    <a:pt x="87" y="171"/>
                  </a:lnTo>
                  <a:lnTo>
                    <a:pt x="87" y="171"/>
                  </a:lnTo>
                  <a:lnTo>
                    <a:pt x="83" y="164"/>
                  </a:lnTo>
                  <a:lnTo>
                    <a:pt x="87" y="160"/>
                  </a:lnTo>
                  <a:lnTo>
                    <a:pt x="87" y="155"/>
                  </a:lnTo>
                  <a:lnTo>
                    <a:pt x="87" y="151"/>
                  </a:lnTo>
                  <a:lnTo>
                    <a:pt x="87" y="146"/>
                  </a:lnTo>
                  <a:lnTo>
                    <a:pt x="83" y="146"/>
                  </a:lnTo>
                  <a:lnTo>
                    <a:pt x="81" y="146"/>
                  </a:lnTo>
                  <a:lnTo>
                    <a:pt x="83" y="143"/>
                  </a:lnTo>
                  <a:lnTo>
                    <a:pt x="87" y="143"/>
                  </a:lnTo>
                  <a:lnTo>
                    <a:pt x="88" y="146"/>
                  </a:lnTo>
                  <a:lnTo>
                    <a:pt x="90" y="146"/>
                  </a:lnTo>
                  <a:lnTo>
                    <a:pt x="90" y="148"/>
                  </a:lnTo>
                  <a:lnTo>
                    <a:pt x="92" y="148"/>
                  </a:lnTo>
                  <a:lnTo>
                    <a:pt x="95" y="148"/>
                  </a:lnTo>
                  <a:lnTo>
                    <a:pt x="99" y="148"/>
                  </a:lnTo>
                  <a:lnTo>
                    <a:pt x="101" y="151"/>
                  </a:lnTo>
                  <a:lnTo>
                    <a:pt x="102" y="151"/>
                  </a:lnTo>
                  <a:lnTo>
                    <a:pt x="106" y="148"/>
                  </a:lnTo>
                  <a:lnTo>
                    <a:pt x="106" y="151"/>
                  </a:lnTo>
                  <a:lnTo>
                    <a:pt x="106" y="155"/>
                  </a:lnTo>
                  <a:lnTo>
                    <a:pt x="104" y="155"/>
                  </a:lnTo>
                  <a:lnTo>
                    <a:pt x="102" y="158"/>
                  </a:lnTo>
                  <a:lnTo>
                    <a:pt x="99" y="162"/>
                  </a:lnTo>
                  <a:lnTo>
                    <a:pt x="97" y="165"/>
                  </a:lnTo>
                  <a:lnTo>
                    <a:pt x="95" y="165"/>
                  </a:lnTo>
                  <a:lnTo>
                    <a:pt x="94" y="165"/>
                  </a:lnTo>
                  <a:lnTo>
                    <a:pt x="92" y="165"/>
                  </a:lnTo>
                  <a:lnTo>
                    <a:pt x="88" y="169"/>
                  </a:lnTo>
                  <a:lnTo>
                    <a:pt x="88" y="169"/>
                  </a:lnTo>
                  <a:lnTo>
                    <a:pt x="88" y="169"/>
                  </a:lnTo>
                  <a:lnTo>
                    <a:pt x="88" y="169"/>
                  </a:lnTo>
                  <a:close/>
                  <a:moveTo>
                    <a:pt x="97" y="165"/>
                  </a:moveTo>
                  <a:lnTo>
                    <a:pt x="94" y="167"/>
                  </a:lnTo>
                  <a:lnTo>
                    <a:pt x="94" y="171"/>
                  </a:lnTo>
                  <a:lnTo>
                    <a:pt x="95" y="171"/>
                  </a:lnTo>
                  <a:lnTo>
                    <a:pt x="99" y="169"/>
                  </a:lnTo>
                  <a:lnTo>
                    <a:pt x="99" y="167"/>
                  </a:lnTo>
                  <a:lnTo>
                    <a:pt x="97" y="165"/>
                  </a:lnTo>
                  <a:lnTo>
                    <a:pt x="97" y="165"/>
                  </a:lnTo>
                  <a:lnTo>
                    <a:pt x="97" y="165"/>
                  </a:lnTo>
                  <a:lnTo>
                    <a:pt x="97" y="165"/>
                  </a:lnTo>
                  <a:close/>
                  <a:moveTo>
                    <a:pt x="127" y="165"/>
                  </a:moveTo>
                  <a:lnTo>
                    <a:pt x="127" y="169"/>
                  </a:lnTo>
                  <a:lnTo>
                    <a:pt x="125" y="167"/>
                  </a:lnTo>
                  <a:lnTo>
                    <a:pt x="127" y="165"/>
                  </a:lnTo>
                  <a:lnTo>
                    <a:pt x="127" y="165"/>
                  </a:lnTo>
                  <a:lnTo>
                    <a:pt x="127" y="165"/>
                  </a:lnTo>
                  <a:lnTo>
                    <a:pt x="127" y="165"/>
                  </a:lnTo>
                  <a:close/>
                  <a:moveTo>
                    <a:pt x="111" y="188"/>
                  </a:moveTo>
                  <a:lnTo>
                    <a:pt x="114" y="185"/>
                  </a:lnTo>
                  <a:lnTo>
                    <a:pt x="114" y="178"/>
                  </a:lnTo>
                  <a:lnTo>
                    <a:pt x="120" y="171"/>
                  </a:lnTo>
                  <a:lnTo>
                    <a:pt x="120" y="169"/>
                  </a:lnTo>
                  <a:lnTo>
                    <a:pt x="120" y="165"/>
                  </a:lnTo>
                  <a:lnTo>
                    <a:pt x="121" y="164"/>
                  </a:lnTo>
                  <a:lnTo>
                    <a:pt x="121" y="157"/>
                  </a:lnTo>
                  <a:lnTo>
                    <a:pt x="118" y="158"/>
                  </a:lnTo>
                  <a:lnTo>
                    <a:pt x="118" y="164"/>
                  </a:lnTo>
                  <a:lnTo>
                    <a:pt x="114" y="169"/>
                  </a:lnTo>
                  <a:lnTo>
                    <a:pt x="114" y="174"/>
                  </a:lnTo>
                  <a:lnTo>
                    <a:pt x="114" y="179"/>
                  </a:lnTo>
                  <a:lnTo>
                    <a:pt x="111" y="183"/>
                  </a:lnTo>
                  <a:lnTo>
                    <a:pt x="111" y="185"/>
                  </a:lnTo>
                  <a:lnTo>
                    <a:pt x="111" y="188"/>
                  </a:lnTo>
                  <a:lnTo>
                    <a:pt x="111" y="188"/>
                  </a:lnTo>
                  <a:lnTo>
                    <a:pt x="111" y="188"/>
                  </a:lnTo>
                  <a:lnTo>
                    <a:pt x="111" y="188"/>
                  </a:lnTo>
                  <a:close/>
                  <a:moveTo>
                    <a:pt x="106" y="188"/>
                  </a:moveTo>
                  <a:lnTo>
                    <a:pt x="106" y="179"/>
                  </a:lnTo>
                  <a:lnTo>
                    <a:pt x="109" y="171"/>
                  </a:lnTo>
                  <a:lnTo>
                    <a:pt x="111" y="167"/>
                  </a:lnTo>
                  <a:lnTo>
                    <a:pt x="111" y="164"/>
                  </a:lnTo>
                  <a:lnTo>
                    <a:pt x="111" y="162"/>
                  </a:lnTo>
                  <a:lnTo>
                    <a:pt x="109" y="162"/>
                  </a:lnTo>
                  <a:lnTo>
                    <a:pt x="106" y="162"/>
                  </a:lnTo>
                  <a:lnTo>
                    <a:pt x="104" y="164"/>
                  </a:lnTo>
                  <a:lnTo>
                    <a:pt x="104" y="167"/>
                  </a:lnTo>
                  <a:lnTo>
                    <a:pt x="101" y="171"/>
                  </a:lnTo>
                  <a:lnTo>
                    <a:pt x="102" y="176"/>
                  </a:lnTo>
                  <a:lnTo>
                    <a:pt x="101" y="179"/>
                  </a:lnTo>
                  <a:lnTo>
                    <a:pt x="94" y="179"/>
                  </a:lnTo>
                  <a:lnTo>
                    <a:pt x="94" y="183"/>
                  </a:lnTo>
                  <a:lnTo>
                    <a:pt x="94" y="188"/>
                  </a:lnTo>
                  <a:lnTo>
                    <a:pt x="97" y="188"/>
                  </a:lnTo>
                  <a:lnTo>
                    <a:pt x="101" y="190"/>
                  </a:lnTo>
                  <a:lnTo>
                    <a:pt x="104" y="190"/>
                  </a:lnTo>
                  <a:lnTo>
                    <a:pt x="104" y="195"/>
                  </a:lnTo>
                  <a:lnTo>
                    <a:pt x="106" y="195"/>
                  </a:lnTo>
                  <a:lnTo>
                    <a:pt x="111" y="193"/>
                  </a:lnTo>
                  <a:lnTo>
                    <a:pt x="111" y="190"/>
                  </a:lnTo>
                  <a:lnTo>
                    <a:pt x="106" y="188"/>
                  </a:lnTo>
                  <a:lnTo>
                    <a:pt x="106" y="188"/>
                  </a:lnTo>
                  <a:lnTo>
                    <a:pt x="106" y="188"/>
                  </a:lnTo>
                  <a:lnTo>
                    <a:pt x="106" y="188"/>
                  </a:lnTo>
                  <a:close/>
                  <a:moveTo>
                    <a:pt x="116" y="191"/>
                  </a:moveTo>
                  <a:lnTo>
                    <a:pt x="116" y="193"/>
                  </a:lnTo>
                  <a:lnTo>
                    <a:pt x="116" y="195"/>
                  </a:lnTo>
                  <a:lnTo>
                    <a:pt x="114" y="197"/>
                  </a:lnTo>
                  <a:lnTo>
                    <a:pt x="111" y="195"/>
                  </a:lnTo>
                  <a:lnTo>
                    <a:pt x="114" y="191"/>
                  </a:lnTo>
                  <a:lnTo>
                    <a:pt x="116" y="191"/>
                  </a:lnTo>
                  <a:lnTo>
                    <a:pt x="116" y="191"/>
                  </a:lnTo>
                  <a:lnTo>
                    <a:pt x="116" y="191"/>
                  </a:lnTo>
                  <a:lnTo>
                    <a:pt x="116" y="191"/>
                  </a:lnTo>
                  <a:close/>
                  <a:moveTo>
                    <a:pt x="127" y="176"/>
                  </a:moveTo>
                  <a:lnTo>
                    <a:pt x="128" y="176"/>
                  </a:lnTo>
                  <a:lnTo>
                    <a:pt x="130" y="179"/>
                  </a:lnTo>
                  <a:lnTo>
                    <a:pt x="132" y="183"/>
                  </a:lnTo>
                  <a:lnTo>
                    <a:pt x="130" y="183"/>
                  </a:lnTo>
                  <a:lnTo>
                    <a:pt x="125" y="188"/>
                  </a:lnTo>
                  <a:lnTo>
                    <a:pt x="120" y="188"/>
                  </a:lnTo>
                  <a:lnTo>
                    <a:pt x="120" y="185"/>
                  </a:lnTo>
                  <a:lnTo>
                    <a:pt x="118" y="183"/>
                  </a:lnTo>
                  <a:lnTo>
                    <a:pt x="120" y="179"/>
                  </a:lnTo>
                  <a:lnTo>
                    <a:pt x="127" y="176"/>
                  </a:lnTo>
                  <a:lnTo>
                    <a:pt x="127" y="176"/>
                  </a:lnTo>
                  <a:lnTo>
                    <a:pt x="127" y="176"/>
                  </a:lnTo>
                  <a:lnTo>
                    <a:pt x="127" y="176"/>
                  </a:lnTo>
                  <a:close/>
                  <a:moveTo>
                    <a:pt x="142" y="178"/>
                  </a:moveTo>
                  <a:lnTo>
                    <a:pt x="144" y="179"/>
                  </a:lnTo>
                  <a:lnTo>
                    <a:pt x="144" y="183"/>
                  </a:lnTo>
                  <a:lnTo>
                    <a:pt x="142" y="179"/>
                  </a:lnTo>
                  <a:lnTo>
                    <a:pt x="142" y="178"/>
                  </a:lnTo>
                  <a:lnTo>
                    <a:pt x="142" y="178"/>
                  </a:lnTo>
                  <a:lnTo>
                    <a:pt x="142" y="178"/>
                  </a:lnTo>
                  <a:lnTo>
                    <a:pt x="142" y="178"/>
                  </a:lnTo>
                  <a:close/>
                  <a:moveTo>
                    <a:pt x="134" y="190"/>
                  </a:moveTo>
                  <a:lnTo>
                    <a:pt x="137" y="193"/>
                  </a:lnTo>
                  <a:lnTo>
                    <a:pt x="134" y="195"/>
                  </a:lnTo>
                  <a:lnTo>
                    <a:pt x="134" y="193"/>
                  </a:lnTo>
                  <a:lnTo>
                    <a:pt x="132" y="191"/>
                  </a:lnTo>
                  <a:lnTo>
                    <a:pt x="134" y="190"/>
                  </a:lnTo>
                  <a:lnTo>
                    <a:pt x="134" y="190"/>
                  </a:lnTo>
                  <a:lnTo>
                    <a:pt x="134" y="190"/>
                  </a:lnTo>
                  <a:lnTo>
                    <a:pt x="134" y="190"/>
                  </a:lnTo>
                  <a:close/>
                  <a:moveTo>
                    <a:pt x="130" y="148"/>
                  </a:moveTo>
                  <a:lnTo>
                    <a:pt x="130" y="151"/>
                  </a:lnTo>
                  <a:lnTo>
                    <a:pt x="127" y="151"/>
                  </a:lnTo>
                  <a:lnTo>
                    <a:pt x="125" y="151"/>
                  </a:lnTo>
                  <a:lnTo>
                    <a:pt x="127" y="148"/>
                  </a:lnTo>
                  <a:lnTo>
                    <a:pt x="130" y="148"/>
                  </a:lnTo>
                  <a:lnTo>
                    <a:pt x="130" y="148"/>
                  </a:lnTo>
                  <a:lnTo>
                    <a:pt x="130" y="148"/>
                  </a:lnTo>
                  <a:lnTo>
                    <a:pt x="130" y="148"/>
                  </a:lnTo>
                  <a:close/>
                  <a:moveTo>
                    <a:pt x="139" y="155"/>
                  </a:moveTo>
                  <a:lnTo>
                    <a:pt x="139" y="155"/>
                  </a:lnTo>
                  <a:lnTo>
                    <a:pt x="142" y="158"/>
                  </a:lnTo>
                  <a:lnTo>
                    <a:pt x="146" y="158"/>
                  </a:lnTo>
                  <a:lnTo>
                    <a:pt x="147" y="158"/>
                  </a:lnTo>
                  <a:lnTo>
                    <a:pt x="147" y="157"/>
                  </a:lnTo>
                  <a:lnTo>
                    <a:pt x="151" y="158"/>
                  </a:lnTo>
                  <a:lnTo>
                    <a:pt x="147" y="157"/>
                  </a:lnTo>
                  <a:lnTo>
                    <a:pt x="147" y="155"/>
                  </a:lnTo>
                  <a:lnTo>
                    <a:pt x="144" y="151"/>
                  </a:lnTo>
                  <a:lnTo>
                    <a:pt x="146" y="146"/>
                  </a:lnTo>
                  <a:lnTo>
                    <a:pt x="144" y="141"/>
                  </a:lnTo>
                  <a:lnTo>
                    <a:pt x="144" y="139"/>
                  </a:lnTo>
                  <a:lnTo>
                    <a:pt x="144" y="138"/>
                  </a:lnTo>
                  <a:lnTo>
                    <a:pt x="142" y="134"/>
                  </a:lnTo>
                  <a:lnTo>
                    <a:pt x="139" y="131"/>
                  </a:lnTo>
                  <a:lnTo>
                    <a:pt x="139" y="131"/>
                  </a:lnTo>
                  <a:lnTo>
                    <a:pt x="137" y="131"/>
                  </a:lnTo>
                  <a:lnTo>
                    <a:pt x="134" y="131"/>
                  </a:lnTo>
                  <a:lnTo>
                    <a:pt x="134" y="131"/>
                  </a:lnTo>
                  <a:lnTo>
                    <a:pt x="132" y="132"/>
                  </a:lnTo>
                  <a:lnTo>
                    <a:pt x="128" y="132"/>
                  </a:lnTo>
                  <a:lnTo>
                    <a:pt x="125" y="132"/>
                  </a:lnTo>
                  <a:lnTo>
                    <a:pt x="123" y="131"/>
                  </a:lnTo>
                  <a:lnTo>
                    <a:pt x="123" y="134"/>
                  </a:lnTo>
                  <a:lnTo>
                    <a:pt x="127" y="139"/>
                  </a:lnTo>
                  <a:lnTo>
                    <a:pt x="132" y="143"/>
                  </a:lnTo>
                  <a:lnTo>
                    <a:pt x="134" y="146"/>
                  </a:lnTo>
                  <a:lnTo>
                    <a:pt x="137" y="148"/>
                  </a:lnTo>
                  <a:lnTo>
                    <a:pt x="137" y="151"/>
                  </a:lnTo>
                  <a:lnTo>
                    <a:pt x="134" y="151"/>
                  </a:lnTo>
                  <a:lnTo>
                    <a:pt x="134" y="151"/>
                  </a:lnTo>
                  <a:lnTo>
                    <a:pt x="137" y="151"/>
                  </a:lnTo>
                  <a:lnTo>
                    <a:pt x="137" y="151"/>
                  </a:lnTo>
                  <a:lnTo>
                    <a:pt x="139" y="155"/>
                  </a:lnTo>
                  <a:lnTo>
                    <a:pt x="139" y="155"/>
                  </a:lnTo>
                  <a:lnTo>
                    <a:pt x="139" y="155"/>
                  </a:lnTo>
                  <a:lnTo>
                    <a:pt x="139" y="155"/>
                  </a:lnTo>
                  <a:close/>
                  <a:moveTo>
                    <a:pt x="134" y="155"/>
                  </a:moveTo>
                  <a:lnTo>
                    <a:pt x="132" y="155"/>
                  </a:lnTo>
                  <a:lnTo>
                    <a:pt x="128" y="155"/>
                  </a:lnTo>
                  <a:lnTo>
                    <a:pt x="125" y="155"/>
                  </a:lnTo>
                  <a:lnTo>
                    <a:pt x="127" y="157"/>
                  </a:lnTo>
                  <a:lnTo>
                    <a:pt x="127" y="160"/>
                  </a:lnTo>
                  <a:lnTo>
                    <a:pt x="130" y="164"/>
                  </a:lnTo>
                  <a:lnTo>
                    <a:pt x="132" y="162"/>
                  </a:lnTo>
                  <a:lnTo>
                    <a:pt x="134" y="164"/>
                  </a:lnTo>
                  <a:lnTo>
                    <a:pt x="134" y="167"/>
                  </a:lnTo>
                  <a:lnTo>
                    <a:pt x="134" y="171"/>
                  </a:lnTo>
                  <a:lnTo>
                    <a:pt x="134" y="176"/>
                  </a:lnTo>
                  <a:lnTo>
                    <a:pt x="139" y="179"/>
                  </a:lnTo>
                  <a:lnTo>
                    <a:pt x="139" y="174"/>
                  </a:lnTo>
                  <a:lnTo>
                    <a:pt x="139" y="176"/>
                  </a:lnTo>
                  <a:lnTo>
                    <a:pt x="142" y="176"/>
                  </a:lnTo>
                  <a:lnTo>
                    <a:pt x="142" y="171"/>
                  </a:lnTo>
                  <a:lnTo>
                    <a:pt x="139" y="167"/>
                  </a:lnTo>
                  <a:lnTo>
                    <a:pt x="139" y="165"/>
                  </a:lnTo>
                  <a:lnTo>
                    <a:pt x="137" y="160"/>
                  </a:lnTo>
                  <a:lnTo>
                    <a:pt x="134" y="155"/>
                  </a:lnTo>
                  <a:lnTo>
                    <a:pt x="134" y="155"/>
                  </a:lnTo>
                  <a:lnTo>
                    <a:pt x="134" y="155"/>
                  </a:lnTo>
                  <a:lnTo>
                    <a:pt x="134" y="155"/>
                  </a:lnTo>
                  <a:lnTo>
                    <a:pt x="134" y="155"/>
                  </a:lnTo>
                  <a:close/>
                  <a:moveTo>
                    <a:pt x="151" y="164"/>
                  </a:moveTo>
                  <a:lnTo>
                    <a:pt x="153" y="162"/>
                  </a:lnTo>
                  <a:lnTo>
                    <a:pt x="151" y="162"/>
                  </a:lnTo>
                  <a:lnTo>
                    <a:pt x="151" y="162"/>
                  </a:lnTo>
                  <a:lnTo>
                    <a:pt x="151" y="164"/>
                  </a:lnTo>
                  <a:lnTo>
                    <a:pt x="151" y="164"/>
                  </a:lnTo>
                  <a:lnTo>
                    <a:pt x="151" y="164"/>
                  </a:lnTo>
                  <a:lnTo>
                    <a:pt x="151" y="164"/>
                  </a:lnTo>
                  <a:close/>
                  <a:moveTo>
                    <a:pt x="151" y="165"/>
                  </a:moveTo>
                  <a:lnTo>
                    <a:pt x="151" y="165"/>
                  </a:lnTo>
                  <a:lnTo>
                    <a:pt x="151" y="167"/>
                  </a:lnTo>
                  <a:lnTo>
                    <a:pt x="151" y="167"/>
                  </a:lnTo>
                  <a:lnTo>
                    <a:pt x="151" y="165"/>
                  </a:lnTo>
                  <a:lnTo>
                    <a:pt x="151" y="165"/>
                  </a:lnTo>
                  <a:lnTo>
                    <a:pt x="151" y="165"/>
                  </a:lnTo>
                  <a:lnTo>
                    <a:pt x="151" y="165"/>
                  </a:lnTo>
                  <a:close/>
                  <a:moveTo>
                    <a:pt x="151" y="183"/>
                  </a:moveTo>
                  <a:lnTo>
                    <a:pt x="153" y="179"/>
                  </a:lnTo>
                  <a:lnTo>
                    <a:pt x="151" y="178"/>
                  </a:lnTo>
                  <a:lnTo>
                    <a:pt x="151" y="174"/>
                  </a:lnTo>
                  <a:lnTo>
                    <a:pt x="151" y="171"/>
                  </a:lnTo>
                  <a:lnTo>
                    <a:pt x="151" y="171"/>
                  </a:lnTo>
                  <a:lnTo>
                    <a:pt x="147" y="171"/>
                  </a:lnTo>
                  <a:lnTo>
                    <a:pt x="147" y="176"/>
                  </a:lnTo>
                  <a:lnTo>
                    <a:pt x="151" y="179"/>
                  </a:lnTo>
                  <a:lnTo>
                    <a:pt x="151" y="183"/>
                  </a:lnTo>
                  <a:lnTo>
                    <a:pt x="151" y="183"/>
                  </a:lnTo>
                  <a:lnTo>
                    <a:pt x="151" y="183"/>
                  </a:lnTo>
                  <a:lnTo>
                    <a:pt x="151" y="183"/>
                  </a:lnTo>
                  <a:lnTo>
                    <a:pt x="151" y="183"/>
                  </a:lnTo>
                  <a:lnTo>
                    <a:pt x="151" y="183"/>
                  </a:lnTo>
                  <a:close/>
                  <a:moveTo>
                    <a:pt x="154" y="183"/>
                  </a:moveTo>
                  <a:lnTo>
                    <a:pt x="154" y="185"/>
                  </a:lnTo>
                  <a:lnTo>
                    <a:pt x="156" y="188"/>
                  </a:lnTo>
                  <a:lnTo>
                    <a:pt x="156" y="185"/>
                  </a:lnTo>
                  <a:lnTo>
                    <a:pt x="154" y="183"/>
                  </a:lnTo>
                  <a:lnTo>
                    <a:pt x="154" y="183"/>
                  </a:lnTo>
                  <a:lnTo>
                    <a:pt x="154" y="183"/>
                  </a:lnTo>
                  <a:lnTo>
                    <a:pt x="154" y="183"/>
                  </a:lnTo>
                  <a:close/>
                  <a:moveTo>
                    <a:pt x="158" y="178"/>
                  </a:moveTo>
                  <a:lnTo>
                    <a:pt x="156" y="179"/>
                  </a:lnTo>
                  <a:lnTo>
                    <a:pt x="156" y="183"/>
                  </a:lnTo>
                  <a:lnTo>
                    <a:pt x="158" y="183"/>
                  </a:lnTo>
                  <a:lnTo>
                    <a:pt x="161" y="183"/>
                  </a:lnTo>
                  <a:lnTo>
                    <a:pt x="160" y="179"/>
                  </a:lnTo>
                  <a:lnTo>
                    <a:pt x="158" y="178"/>
                  </a:lnTo>
                  <a:lnTo>
                    <a:pt x="158" y="178"/>
                  </a:lnTo>
                  <a:lnTo>
                    <a:pt x="158" y="178"/>
                  </a:lnTo>
                  <a:lnTo>
                    <a:pt x="158" y="178"/>
                  </a:lnTo>
                  <a:close/>
                  <a:moveTo>
                    <a:pt x="90" y="235"/>
                  </a:moveTo>
                  <a:lnTo>
                    <a:pt x="87" y="233"/>
                  </a:lnTo>
                  <a:lnTo>
                    <a:pt x="88" y="228"/>
                  </a:lnTo>
                  <a:lnTo>
                    <a:pt x="90" y="223"/>
                  </a:lnTo>
                  <a:lnTo>
                    <a:pt x="88" y="221"/>
                  </a:lnTo>
                  <a:lnTo>
                    <a:pt x="92" y="216"/>
                  </a:lnTo>
                  <a:lnTo>
                    <a:pt x="95" y="216"/>
                  </a:lnTo>
                  <a:lnTo>
                    <a:pt x="99" y="212"/>
                  </a:lnTo>
                  <a:lnTo>
                    <a:pt x="102" y="216"/>
                  </a:lnTo>
                  <a:lnTo>
                    <a:pt x="106" y="212"/>
                  </a:lnTo>
                  <a:lnTo>
                    <a:pt x="106" y="211"/>
                  </a:lnTo>
                  <a:lnTo>
                    <a:pt x="106" y="207"/>
                  </a:lnTo>
                  <a:lnTo>
                    <a:pt x="111" y="207"/>
                  </a:lnTo>
                  <a:lnTo>
                    <a:pt x="111" y="204"/>
                  </a:lnTo>
                  <a:lnTo>
                    <a:pt x="114" y="204"/>
                  </a:lnTo>
                  <a:lnTo>
                    <a:pt x="120" y="207"/>
                  </a:lnTo>
                  <a:lnTo>
                    <a:pt x="120" y="212"/>
                  </a:lnTo>
                  <a:lnTo>
                    <a:pt x="116" y="219"/>
                  </a:lnTo>
                  <a:lnTo>
                    <a:pt x="120" y="216"/>
                  </a:lnTo>
                  <a:lnTo>
                    <a:pt x="123" y="212"/>
                  </a:lnTo>
                  <a:lnTo>
                    <a:pt x="127" y="212"/>
                  </a:lnTo>
                  <a:lnTo>
                    <a:pt x="128" y="207"/>
                  </a:lnTo>
                  <a:lnTo>
                    <a:pt x="132" y="205"/>
                  </a:lnTo>
                  <a:lnTo>
                    <a:pt x="134" y="207"/>
                  </a:lnTo>
                  <a:lnTo>
                    <a:pt x="137" y="207"/>
                  </a:lnTo>
                  <a:lnTo>
                    <a:pt x="137" y="205"/>
                  </a:lnTo>
                  <a:lnTo>
                    <a:pt x="134" y="204"/>
                  </a:lnTo>
                  <a:lnTo>
                    <a:pt x="137" y="197"/>
                  </a:lnTo>
                  <a:lnTo>
                    <a:pt x="139" y="198"/>
                  </a:lnTo>
                  <a:lnTo>
                    <a:pt x="142" y="200"/>
                  </a:lnTo>
                  <a:lnTo>
                    <a:pt x="142" y="198"/>
                  </a:lnTo>
                  <a:lnTo>
                    <a:pt x="142" y="193"/>
                  </a:lnTo>
                  <a:lnTo>
                    <a:pt x="144" y="193"/>
                  </a:lnTo>
                  <a:lnTo>
                    <a:pt x="146" y="197"/>
                  </a:lnTo>
                  <a:lnTo>
                    <a:pt x="147" y="193"/>
                  </a:lnTo>
                  <a:lnTo>
                    <a:pt x="146" y="188"/>
                  </a:lnTo>
                  <a:lnTo>
                    <a:pt x="146" y="183"/>
                  </a:lnTo>
                  <a:lnTo>
                    <a:pt x="147" y="183"/>
                  </a:lnTo>
                  <a:lnTo>
                    <a:pt x="151" y="183"/>
                  </a:lnTo>
                  <a:lnTo>
                    <a:pt x="151" y="188"/>
                  </a:lnTo>
                  <a:lnTo>
                    <a:pt x="154" y="190"/>
                  </a:lnTo>
                  <a:lnTo>
                    <a:pt x="158" y="193"/>
                  </a:lnTo>
                  <a:lnTo>
                    <a:pt x="161" y="191"/>
                  </a:lnTo>
                  <a:lnTo>
                    <a:pt x="161" y="195"/>
                  </a:lnTo>
                  <a:lnTo>
                    <a:pt x="161" y="198"/>
                  </a:lnTo>
                  <a:lnTo>
                    <a:pt x="161" y="202"/>
                  </a:lnTo>
                  <a:lnTo>
                    <a:pt x="161" y="202"/>
                  </a:lnTo>
                  <a:lnTo>
                    <a:pt x="160" y="204"/>
                  </a:lnTo>
                  <a:lnTo>
                    <a:pt x="161" y="207"/>
                  </a:lnTo>
                  <a:lnTo>
                    <a:pt x="161" y="207"/>
                  </a:lnTo>
                  <a:lnTo>
                    <a:pt x="161" y="207"/>
                  </a:lnTo>
                  <a:lnTo>
                    <a:pt x="161" y="212"/>
                  </a:lnTo>
                  <a:lnTo>
                    <a:pt x="165" y="211"/>
                  </a:lnTo>
                  <a:lnTo>
                    <a:pt x="165" y="216"/>
                  </a:lnTo>
                  <a:lnTo>
                    <a:pt x="165" y="219"/>
                  </a:lnTo>
                  <a:lnTo>
                    <a:pt x="168" y="221"/>
                  </a:lnTo>
                  <a:lnTo>
                    <a:pt x="170" y="224"/>
                  </a:lnTo>
                  <a:lnTo>
                    <a:pt x="170" y="230"/>
                  </a:lnTo>
                  <a:lnTo>
                    <a:pt x="168" y="235"/>
                  </a:lnTo>
                  <a:lnTo>
                    <a:pt x="167" y="235"/>
                  </a:lnTo>
                  <a:lnTo>
                    <a:pt x="167" y="235"/>
                  </a:lnTo>
                  <a:lnTo>
                    <a:pt x="167" y="235"/>
                  </a:lnTo>
                  <a:lnTo>
                    <a:pt x="161" y="235"/>
                  </a:lnTo>
                  <a:lnTo>
                    <a:pt x="161" y="235"/>
                  </a:lnTo>
                  <a:lnTo>
                    <a:pt x="165" y="242"/>
                  </a:lnTo>
                  <a:lnTo>
                    <a:pt x="165" y="247"/>
                  </a:lnTo>
                  <a:lnTo>
                    <a:pt x="161" y="247"/>
                  </a:lnTo>
                  <a:lnTo>
                    <a:pt x="161" y="247"/>
                  </a:lnTo>
                  <a:lnTo>
                    <a:pt x="161" y="242"/>
                  </a:lnTo>
                  <a:lnTo>
                    <a:pt x="161" y="238"/>
                  </a:lnTo>
                  <a:lnTo>
                    <a:pt x="160" y="235"/>
                  </a:lnTo>
                  <a:lnTo>
                    <a:pt x="158" y="231"/>
                  </a:lnTo>
                  <a:lnTo>
                    <a:pt x="156" y="228"/>
                  </a:lnTo>
                  <a:lnTo>
                    <a:pt x="154" y="230"/>
                  </a:lnTo>
                  <a:lnTo>
                    <a:pt x="151" y="235"/>
                  </a:lnTo>
                  <a:lnTo>
                    <a:pt x="151" y="240"/>
                  </a:lnTo>
                  <a:lnTo>
                    <a:pt x="151" y="242"/>
                  </a:lnTo>
                  <a:lnTo>
                    <a:pt x="154" y="247"/>
                  </a:lnTo>
                  <a:lnTo>
                    <a:pt x="154" y="247"/>
                  </a:lnTo>
                  <a:lnTo>
                    <a:pt x="154" y="252"/>
                  </a:lnTo>
                  <a:lnTo>
                    <a:pt x="151" y="258"/>
                  </a:lnTo>
                  <a:lnTo>
                    <a:pt x="147" y="259"/>
                  </a:lnTo>
                  <a:lnTo>
                    <a:pt x="146" y="259"/>
                  </a:lnTo>
                  <a:lnTo>
                    <a:pt x="146" y="256"/>
                  </a:lnTo>
                  <a:lnTo>
                    <a:pt x="146" y="252"/>
                  </a:lnTo>
                  <a:lnTo>
                    <a:pt x="146" y="252"/>
                  </a:lnTo>
                  <a:lnTo>
                    <a:pt x="144" y="252"/>
                  </a:lnTo>
                  <a:lnTo>
                    <a:pt x="142" y="254"/>
                  </a:lnTo>
                  <a:lnTo>
                    <a:pt x="142" y="256"/>
                  </a:lnTo>
                  <a:lnTo>
                    <a:pt x="139" y="256"/>
                  </a:lnTo>
                  <a:lnTo>
                    <a:pt x="134" y="252"/>
                  </a:lnTo>
                  <a:lnTo>
                    <a:pt x="130" y="252"/>
                  </a:lnTo>
                  <a:lnTo>
                    <a:pt x="127" y="249"/>
                  </a:lnTo>
                  <a:lnTo>
                    <a:pt x="127" y="247"/>
                  </a:lnTo>
                  <a:lnTo>
                    <a:pt x="125" y="244"/>
                  </a:lnTo>
                  <a:lnTo>
                    <a:pt x="125" y="242"/>
                  </a:lnTo>
                  <a:lnTo>
                    <a:pt x="125" y="238"/>
                  </a:lnTo>
                  <a:lnTo>
                    <a:pt x="123" y="235"/>
                  </a:lnTo>
                  <a:lnTo>
                    <a:pt x="125" y="235"/>
                  </a:lnTo>
                  <a:lnTo>
                    <a:pt x="125" y="231"/>
                  </a:lnTo>
                  <a:lnTo>
                    <a:pt x="127" y="231"/>
                  </a:lnTo>
                  <a:lnTo>
                    <a:pt x="128" y="233"/>
                  </a:lnTo>
                  <a:lnTo>
                    <a:pt x="127" y="230"/>
                  </a:lnTo>
                  <a:lnTo>
                    <a:pt x="125" y="226"/>
                  </a:lnTo>
                  <a:lnTo>
                    <a:pt x="121" y="224"/>
                  </a:lnTo>
                  <a:lnTo>
                    <a:pt x="120" y="223"/>
                  </a:lnTo>
                  <a:lnTo>
                    <a:pt x="116" y="221"/>
                  </a:lnTo>
                  <a:lnTo>
                    <a:pt x="114" y="221"/>
                  </a:lnTo>
                  <a:lnTo>
                    <a:pt x="114" y="221"/>
                  </a:lnTo>
                  <a:lnTo>
                    <a:pt x="114" y="223"/>
                  </a:lnTo>
                  <a:lnTo>
                    <a:pt x="114" y="224"/>
                  </a:lnTo>
                  <a:lnTo>
                    <a:pt x="114" y="228"/>
                  </a:lnTo>
                  <a:lnTo>
                    <a:pt x="114" y="228"/>
                  </a:lnTo>
                  <a:lnTo>
                    <a:pt x="111" y="226"/>
                  </a:lnTo>
                  <a:lnTo>
                    <a:pt x="109" y="226"/>
                  </a:lnTo>
                  <a:lnTo>
                    <a:pt x="111" y="223"/>
                  </a:lnTo>
                  <a:lnTo>
                    <a:pt x="106" y="223"/>
                  </a:lnTo>
                  <a:lnTo>
                    <a:pt x="106" y="224"/>
                  </a:lnTo>
                  <a:lnTo>
                    <a:pt x="106" y="228"/>
                  </a:lnTo>
                  <a:lnTo>
                    <a:pt x="106" y="226"/>
                  </a:lnTo>
                  <a:lnTo>
                    <a:pt x="104" y="226"/>
                  </a:lnTo>
                  <a:lnTo>
                    <a:pt x="102" y="226"/>
                  </a:lnTo>
                  <a:lnTo>
                    <a:pt x="102" y="223"/>
                  </a:lnTo>
                  <a:lnTo>
                    <a:pt x="101" y="219"/>
                  </a:lnTo>
                  <a:lnTo>
                    <a:pt x="99" y="221"/>
                  </a:lnTo>
                  <a:lnTo>
                    <a:pt x="97" y="224"/>
                  </a:lnTo>
                  <a:lnTo>
                    <a:pt x="94" y="228"/>
                  </a:lnTo>
                  <a:lnTo>
                    <a:pt x="92" y="235"/>
                  </a:lnTo>
                  <a:lnTo>
                    <a:pt x="90" y="235"/>
                  </a:lnTo>
                  <a:lnTo>
                    <a:pt x="90" y="235"/>
                  </a:lnTo>
                  <a:lnTo>
                    <a:pt x="90" y="235"/>
                  </a:lnTo>
                  <a:lnTo>
                    <a:pt x="90" y="235"/>
                  </a:lnTo>
                  <a:close/>
                  <a:moveTo>
                    <a:pt x="87" y="242"/>
                  </a:moveTo>
                  <a:lnTo>
                    <a:pt x="87" y="244"/>
                  </a:lnTo>
                  <a:lnTo>
                    <a:pt x="87" y="247"/>
                  </a:lnTo>
                  <a:lnTo>
                    <a:pt x="88" y="247"/>
                  </a:lnTo>
                  <a:lnTo>
                    <a:pt x="94" y="244"/>
                  </a:lnTo>
                  <a:lnTo>
                    <a:pt x="94" y="242"/>
                  </a:lnTo>
                  <a:lnTo>
                    <a:pt x="92" y="242"/>
                  </a:lnTo>
                  <a:lnTo>
                    <a:pt x="90" y="240"/>
                  </a:lnTo>
                  <a:lnTo>
                    <a:pt x="88" y="242"/>
                  </a:lnTo>
                  <a:lnTo>
                    <a:pt x="87" y="242"/>
                  </a:lnTo>
                  <a:lnTo>
                    <a:pt x="87" y="242"/>
                  </a:lnTo>
                  <a:lnTo>
                    <a:pt x="87" y="242"/>
                  </a:lnTo>
                  <a:lnTo>
                    <a:pt x="87" y="242"/>
                  </a:lnTo>
                  <a:close/>
                  <a:moveTo>
                    <a:pt x="47" y="143"/>
                  </a:moveTo>
                  <a:lnTo>
                    <a:pt x="45" y="139"/>
                  </a:lnTo>
                  <a:lnTo>
                    <a:pt x="43" y="138"/>
                  </a:lnTo>
                  <a:lnTo>
                    <a:pt x="45" y="136"/>
                  </a:lnTo>
                  <a:lnTo>
                    <a:pt x="47" y="136"/>
                  </a:lnTo>
                  <a:lnTo>
                    <a:pt x="50" y="139"/>
                  </a:lnTo>
                  <a:lnTo>
                    <a:pt x="52" y="139"/>
                  </a:lnTo>
                  <a:lnTo>
                    <a:pt x="52" y="141"/>
                  </a:lnTo>
                  <a:lnTo>
                    <a:pt x="52" y="143"/>
                  </a:lnTo>
                  <a:lnTo>
                    <a:pt x="50" y="143"/>
                  </a:lnTo>
                  <a:lnTo>
                    <a:pt x="47" y="143"/>
                  </a:lnTo>
                  <a:lnTo>
                    <a:pt x="47" y="143"/>
                  </a:lnTo>
                  <a:lnTo>
                    <a:pt x="47" y="143"/>
                  </a:lnTo>
                  <a:lnTo>
                    <a:pt x="47" y="143"/>
                  </a:lnTo>
                  <a:close/>
                  <a:moveTo>
                    <a:pt x="45" y="143"/>
                  </a:moveTo>
                  <a:lnTo>
                    <a:pt x="47" y="143"/>
                  </a:lnTo>
                  <a:lnTo>
                    <a:pt x="47" y="146"/>
                  </a:lnTo>
                  <a:lnTo>
                    <a:pt x="47" y="146"/>
                  </a:lnTo>
                  <a:lnTo>
                    <a:pt x="47" y="148"/>
                  </a:lnTo>
                  <a:lnTo>
                    <a:pt x="45" y="148"/>
                  </a:lnTo>
                  <a:lnTo>
                    <a:pt x="43" y="146"/>
                  </a:lnTo>
                  <a:lnTo>
                    <a:pt x="45" y="143"/>
                  </a:lnTo>
                  <a:lnTo>
                    <a:pt x="45" y="143"/>
                  </a:lnTo>
                  <a:lnTo>
                    <a:pt x="45" y="143"/>
                  </a:lnTo>
                  <a:lnTo>
                    <a:pt x="45" y="143"/>
                  </a:lnTo>
                  <a:close/>
                  <a:moveTo>
                    <a:pt x="47" y="169"/>
                  </a:moveTo>
                  <a:lnTo>
                    <a:pt x="47" y="169"/>
                  </a:lnTo>
                  <a:lnTo>
                    <a:pt x="47" y="167"/>
                  </a:lnTo>
                  <a:lnTo>
                    <a:pt x="50" y="169"/>
                  </a:lnTo>
                  <a:lnTo>
                    <a:pt x="52" y="171"/>
                  </a:lnTo>
                  <a:lnTo>
                    <a:pt x="50" y="171"/>
                  </a:lnTo>
                  <a:lnTo>
                    <a:pt x="47" y="171"/>
                  </a:lnTo>
                  <a:lnTo>
                    <a:pt x="45" y="171"/>
                  </a:lnTo>
                  <a:lnTo>
                    <a:pt x="47" y="169"/>
                  </a:lnTo>
                  <a:lnTo>
                    <a:pt x="47" y="169"/>
                  </a:lnTo>
                  <a:lnTo>
                    <a:pt x="47" y="169"/>
                  </a:lnTo>
                  <a:lnTo>
                    <a:pt x="47" y="169"/>
                  </a:lnTo>
                  <a:close/>
                  <a:moveTo>
                    <a:pt x="3" y="207"/>
                  </a:moveTo>
                  <a:lnTo>
                    <a:pt x="7" y="205"/>
                  </a:lnTo>
                  <a:lnTo>
                    <a:pt x="10" y="205"/>
                  </a:lnTo>
                  <a:lnTo>
                    <a:pt x="12" y="202"/>
                  </a:lnTo>
                  <a:lnTo>
                    <a:pt x="15" y="202"/>
                  </a:lnTo>
                  <a:lnTo>
                    <a:pt x="19" y="195"/>
                  </a:lnTo>
                  <a:lnTo>
                    <a:pt x="24" y="193"/>
                  </a:lnTo>
                  <a:lnTo>
                    <a:pt x="28" y="191"/>
                  </a:lnTo>
                  <a:lnTo>
                    <a:pt x="28" y="190"/>
                  </a:lnTo>
                  <a:lnTo>
                    <a:pt x="28" y="188"/>
                  </a:lnTo>
                  <a:lnTo>
                    <a:pt x="28" y="183"/>
                  </a:lnTo>
                  <a:lnTo>
                    <a:pt x="31" y="179"/>
                  </a:lnTo>
                  <a:lnTo>
                    <a:pt x="36" y="179"/>
                  </a:lnTo>
                  <a:lnTo>
                    <a:pt x="38" y="176"/>
                  </a:lnTo>
                  <a:lnTo>
                    <a:pt x="40" y="171"/>
                  </a:lnTo>
                  <a:lnTo>
                    <a:pt x="43" y="171"/>
                  </a:lnTo>
                  <a:lnTo>
                    <a:pt x="45" y="169"/>
                  </a:lnTo>
                  <a:lnTo>
                    <a:pt x="43" y="165"/>
                  </a:lnTo>
                  <a:lnTo>
                    <a:pt x="40" y="162"/>
                  </a:lnTo>
                  <a:lnTo>
                    <a:pt x="40" y="158"/>
                  </a:lnTo>
                  <a:lnTo>
                    <a:pt x="40" y="155"/>
                  </a:lnTo>
                  <a:lnTo>
                    <a:pt x="38" y="155"/>
                  </a:lnTo>
                  <a:lnTo>
                    <a:pt x="38" y="160"/>
                  </a:lnTo>
                  <a:lnTo>
                    <a:pt x="38" y="165"/>
                  </a:lnTo>
                  <a:lnTo>
                    <a:pt x="35" y="164"/>
                  </a:lnTo>
                  <a:lnTo>
                    <a:pt x="38" y="167"/>
                  </a:lnTo>
                  <a:lnTo>
                    <a:pt x="36" y="169"/>
                  </a:lnTo>
                  <a:lnTo>
                    <a:pt x="35" y="171"/>
                  </a:lnTo>
                  <a:lnTo>
                    <a:pt x="31" y="171"/>
                  </a:lnTo>
                  <a:lnTo>
                    <a:pt x="29" y="176"/>
                  </a:lnTo>
                  <a:lnTo>
                    <a:pt x="28" y="179"/>
                  </a:lnTo>
                  <a:lnTo>
                    <a:pt x="24" y="179"/>
                  </a:lnTo>
                  <a:lnTo>
                    <a:pt x="22" y="188"/>
                  </a:lnTo>
                  <a:lnTo>
                    <a:pt x="17" y="191"/>
                  </a:lnTo>
                  <a:lnTo>
                    <a:pt x="14" y="193"/>
                  </a:lnTo>
                  <a:lnTo>
                    <a:pt x="12" y="198"/>
                  </a:lnTo>
                  <a:lnTo>
                    <a:pt x="10" y="198"/>
                  </a:lnTo>
                  <a:lnTo>
                    <a:pt x="5" y="205"/>
                  </a:lnTo>
                  <a:lnTo>
                    <a:pt x="3" y="207"/>
                  </a:lnTo>
                  <a:lnTo>
                    <a:pt x="3" y="207"/>
                  </a:lnTo>
                  <a:lnTo>
                    <a:pt x="3" y="207"/>
                  </a:lnTo>
                  <a:lnTo>
                    <a:pt x="3" y="207"/>
                  </a:lnTo>
                  <a:lnTo>
                    <a:pt x="3" y="207"/>
                  </a:lnTo>
                  <a:close/>
                  <a:moveTo>
                    <a:pt x="5" y="211"/>
                  </a:moveTo>
                  <a:lnTo>
                    <a:pt x="3" y="212"/>
                  </a:lnTo>
                  <a:lnTo>
                    <a:pt x="5" y="212"/>
                  </a:lnTo>
                  <a:lnTo>
                    <a:pt x="5" y="211"/>
                  </a:lnTo>
                  <a:lnTo>
                    <a:pt x="5" y="211"/>
                  </a:lnTo>
                  <a:lnTo>
                    <a:pt x="5" y="211"/>
                  </a:lnTo>
                  <a:lnTo>
                    <a:pt x="5" y="211"/>
                  </a:lnTo>
                  <a:close/>
                  <a:moveTo>
                    <a:pt x="7" y="211"/>
                  </a:moveTo>
                  <a:lnTo>
                    <a:pt x="5" y="212"/>
                  </a:lnTo>
                  <a:lnTo>
                    <a:pt x="7" y="212"/>
                  </a:lnTo>
                  <a:lnTo>
                    <a:pt x="7" y="211"/>
                  </a:lnTo>
                  <a:lnTo>
                    <a:pt x="7" y="211"/>
                  </a:lnTo>
                  <a:lnTo>
                    <a:pt x="7" y="211"/>
                  </a:lnTo>
                  <a:lnTo>
                    <a:pt x="7" y="211"/>
                  </a:lnTo>
                  <a:close/>
                  <a:moveTo>
                    <a:pt x="2" y="216"/>
                  </a:moveTo>
                  <a:lnTo>
                    <a:pt x="0" y="216"/>
                  </a:lnTo>
                  <a:lnTo>
                    <a:pt x="0" y="219"/>
                  </a:lnTo>
                  <a:lnTo>
                    <a:pt x="0" y="221"/>
                  </a:lnTo>
                  <a:lnTo>
                    <a:pt x="2" y="221"/>
                  </a:lnTo>
                  <a:lnTo>
                    <a:pt x="2" y="216"/>
                  </a:lnTo>
                  <a:lnTo>
                    <a:pt x="3" y="216"/>
                  </a:lnTo>
                  <a:lnTo>
                    <a:pt x="2" y="216"/>
                  </a:lnTo>
                  <a:lnTo>
                    <a:pt x="2" y="216"/>
                  </a:lnTo>
                  <a:lnTo>
                    <a:pt x="2" y="21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 name="Freeform 200">
              <a:extLst>
                <a:ext uri="{FF2B5EF4-FFF2-40B4-BE49-F238E27FC236}">
                  <a16:creationId xmlns:a16="http://schemas.microsoft.com/office/drawing/2014/main" id="{84219061-8FBA-4043-B7E1-E596DB1940CC}"/>
                </a:ext>
              </a:extLst>
            </p:cNvPr>
            <p:cNvSpPr>
              <a:spLocks noEditPoints="1"/>
            </p:cNvSpPr>
            <p:nvPr/>
          </p:nvSpPr>
          <p:spPr bwMode="auto">
            <a:xfrm>
              <a:off x="7173913" y="4065588"/>
              <a:ext cx="527050" cy="176213"/>
            </a:xfrm>
            <a:custGeom>
              <a:avLst/>
              <a:gdLst/>
              <a:ahLst/>
              <a:cxnLst>
                <a:cxn ang="0">
                  <a:pos x="200" y="81"/>
                </a:cxn>
                <a:cxn ang="0">
                  <a:pos x="0" y="29"/>
                </a:cxn>
                <a:cxn ang="0">
                  <a:pos x="2" y="31"/>
                </a:cxn>
                <a:cxn ang="0">
                  <a:pos x="169" y="94"/>
                </a:cxn>
                <a:cxn ang="0">
                  <a:pos x="185" y="111"/>
                </a:cxn>
                <a:cxn ang="0">
                  <a:pos x="198" y="108"/>
                </a:cxn>
                <a:cxn ang="0">
                  <a:pos x="233" y="106"/>
                </a:cxn>
                <a:cxn ang="0">
                  <a:pos x="252" y="99"/>
                </a:cxn>
                <a:cxn ang="0">
                  <a:pos x="271" y="59"/>
                </a:cxn>
                <a:cxn ang="0">
                  <a:pos x="285" y="50"/>
                </a:cxn>
                <a:cxn ang="0">
                  <a:pos x="304" y="50"/>
                </a:cxn>
                <a:cxn ang="0">
                  <a:pos x="318" y="50"/>
                </a:cxn>
                <a:cxn ang="0">
                  <a:pos x="329" y="40"/>
                </a:cxn>
                <a:cxn ang="0">
                  <a:pos x="322" y="33"/>
                </a:cxn>
                <a:cxn ang="0">
                  <a:pos x="308" y="29"/>
                </a:cxn>
                <a:cxn ang="0">
                  <a:pos x="304" y="26"/>
                </a:cxn>
                <a:cxn ang="0">
                  <a:pos x="301" y="15"/>
                </a:cxn>
                <a:cxn ang="0">
                  <a:pos x="292" y="7"/>
                </a:cxn>
                <a:cxn ang="0">
                  <a:pos x="289" y="7"/>
                </a:cxn>
                <a:cxn ang="0">
                  <a:pos x="277" y="28"/>
                </a:cxn>
                <a:cxn ang="0">
                  <a:pos x="263" y="36"/>
                </a:cxn>
                <a:cxn ang="0">
                  <a:pos x="263" y="41"/>
                </a:cxn>
                <a:cxn ang="0">
                  <a:pos x="261" y="50"/>
                </a:cxn>
                <a:cxn ang="0">
                  <a:pos x="258" y="43"/>
                </a:cxn>
                <a:cxn ang="0">
                  <a:pos x="249" y="48"/>
                </a:cxn>
                <a:cxn ang="0">
                  <a:pos x="237" y="57"/>
                </a:cxn>
                <a:cxn ang="0">
                  <a:pos x="221" y="76"/>
                </a:cxn>
                <a:cxn ang="0">
                  <a:pos x="207" y="87"/>
                </a:cxn>
                <a:cxn ang="0">
                  <a:pos x="197" y="97"/>
                </a:cxn>
                <a:cxn ang="0">
                  <a:pos x="176" y="101"/>
                </a:cxn>
                <a:cxn ang="0">
                  <a:pos x="169" y="94"/>
                </a:cxn>
                <a:cxn ang="0">
                  <a:pos x="292" y="1"/>
                </a:cxn>
                <a:cxn ang="0">
                  <a:pos x="296" y="0"/>
                </a:cxn>
                <a:cxn ang="0">
                  <a:pos x="296" y="0"/>
                </a:cxn>
                <a:cxn ang="0">
                  <a:pos x="198" y="88"/>
                </a:cxn>
                <a:cxn ang="0">
                  <a:pos x="200" y="87"/>
                </a:cxn>
                <a:cxn ang="0">
                  <a:pos x="204" y="87"/>
                </a:cxn>
                <a:cxn ang="0">
                  <a:pos x="207" y="85"/>
                </a:cxn>
                <a:cxn ang="0">
                  <a:pos x="204" y="81"/>
                </a:cxn>
                <a:cxn ang="0">
                  <a:pos x="0" y="15"/>
                </a:cxn>
                <a:cxn ang="0">
                  <a:pos x="14" y="15"/>
                </a:cxn>
                <a:cxn ang="0">
                  <a:pos x="16" y="26"/>
                </a:cxn>
                <a:cxn ang="0">
                  <a:pos x="33" y="24"/>
                </a:cxn>
                <a:cxn ang="0">
                  <a:pos x="39" y="19"/>
                </a:cxn>
                <a:cxn ang="0">
                  <a:pos x="61" y="48"/>
                </a:cxn>
                <a:cxn ang="0">
                  <a:pos x="61" y="64"/>
                </a:cxn>
                <a:cxn ang="0">
                  <a:pos x="70" y="81"/>
                </a:cxn>
                <a:cxn ang="0">
                  <a:pos x="72" y="90"/>
                </a:cxn>
                <a:cxn ang="0">
                  <a:pos x="73" y="101"/>
                </a:cxn>
                <a:cxn ang="0">
                  <a:pos x="70" y="102"/>
                </a:cxn>
                <a:cxn ang="0">
                  <a:pos x="66" y="104"/>
                </a:cxn>
                <a:cxn ang="0">
                  <a:pos x="47" y="94"/>
                </a:cxn>
                <a:cxn ang="0">
                  <a:pos x="37" y="85"/>
                </a:cxn>
                <a:cxn ang="0">
                  <a:pos x="25" y="73"/>
                </a:cxn>
                <a:cxn ang="0">
                  <a:pos x="11" y="59"/>
                </a:cxn>
                <a:cxn ang="0">
                  <a:pos x="11" y="43"/>
                </a:cxn>
                <a:cxn ang="0">
                  <a:pos x="0" y="15"/>
                </a:cxn>
              </a:cxnLst>
              <a:rect l="0" t="0" r="r" b="b"/>
              <a:pathLst>
                <a:path w="332" h="111">
                  <a:moveTo>
                    <a:pt x="200" y="81"/>
                  </a:moveTo>
                  <a:lnTo>
                    <a:pt x="200" y="83"/>
                  </a:lnTo>
                  <a:lnTo>
                    <a:pt x="200" y="85"/>
                  </a:lnTo>
                  <a:lnTo>
                    <a:pt x="200" y="83"/>
                  </a:lnTo>
                  <a:lnTo>
                    <a:pt x="200" y="81"/>
                  </a:lnTo>
                  <a:lnTo>
                    <a:pt x="200" y="81"/>
                  </a:lnTo>
                  <a:lnTo>
                    <a:pt x="200" y="81"/>
                  </a:lnTo>
                  <a:lnTo>
                    <a:pt x="200" y="81"/>
                  </a:lnTo>
                  <a:lnTo>
                    <a:pt x="200" y="81"/>
                  </a:lnTo>
                  <a:close/>
                  <a:moveTo>
                    <a:pt x="0" y="29"/>
                  </a:moveTo>
                  <a:lnTo>
                    <a:pt x="0" y="34"/>
                  </a:lnTo>
                  <a:lnTo>
                    <a:pt x="4" y="36"/>
                  </a:lnTo>
                  <a:lnTo>
                    <a:pt x="4" y="36"/>
                  </a:lnTo>
                  <a:lnTo>
                    <a:pt x="4" y="33"/>
                  </a:lnTo>
                  <a:lnTo>
                    <a:pt x="2" y="31"/>
                  </a:lnTo>
                  <a:lnTo>
                    <a:pt x="0" y="29"/>
                  </a:lnTo>
                  <a:lnTo>
                    <a:pt x="0" y="29"/>
                  </a:lnTo>
                  <a:lnTo>
                    <a:pt x="0" y="29"/>
                  </a:lnTo>
                  <a:lnTo>
                    <a:pt x="0" y="29"/>
                  </a:lnTo>
                  <a:close/>
                  <a:moveTo>
                    <a:pt x="169" y="94"/>
                  </a:moveTo>
                  <a:lnTo>
                    <a:pt x="172" y="101"/>
                  </a:lnTo>
                  <a:lnTo>
                    <a:pt x="179" y="104"/>
                  </a:lnTo>
                  <a:lnTo>
                    <a:pt x="179" y="106"/>
                  </a:lnTo>
                  <a:lnTo>
                    <a:pt x="181" y="108"/>
                  </a:lnTo>
                  <a:lnTo>
                    <a:pt x="185" y="111"/>
                  </a:lnTo>
                  <a:lnTo>
                    <a:pt x="186" y="111"/>
                  </a:lnTo>
                  <a:lnTo>
                    <a:pt x="191" y="111"/>
                  </a:lnTo>
                  <a:lnTo>
                    <a:pt x="191" y="108"/>
                  </a:lnTo>
                  <a:lnTo>
                    <a:pt x="197" y="111"/>
                  </a:lnTo>
                  <a:lnTo>
                    <a:pt x="198" y="108"/>
                  </a:lnTo>
                  <a:lnTo>
                    <a:pt x="209" y="108"/>
                  </a:lnTo>
                  <a:lnTo>
                    <a:pt x="218" y="106"/>
                  </a:lnTo>
                  <a:lnTo>
                    <a:pt x="221" y="102"/>
                  </a:lnTo>
                  <a:lnTo>
                    <a:pt x="228" y="102"/>
                  </a:lnTo>
                  <a:lnTo>
                    <a:pt x="233" y="106"/>
                  </a:lnTo>
                  <a:lnTo>
                    <a:pt x="235" y="108"/>
                  </a:lnTo>
                  <a:lnTo>
                    <a:pt x="237" y="108"/>
                  </a:lnTo>
                  <a:lnTo>
                    <a:pt x="245" y="102"/>
                  </a:lnTo>
                  <a:lnTo>
                    <a:pt x="254" y="102"/>
                  </a:lnTo>
                  <a:lnTo>
                    <a:pt x="252" y="99"/>
                  </a:lnTo>
                  <a:lnTo>
                    <a:pt x="259" y="90"/>
                  </a:lnTo>
                  <a:lnTo>
                    <a:pt x="263" y="81"/>
                  </a:lnTo>
                  <a:lnTo>
                    <a:pt x="268" y="76"/>
                  </a:lnTo>
                  <a:lnTo>
                    <a:pt x="271" y="62"/>
                  </a:lnTo>
                  <a:lnTo>
                    <a:pt x="271" y="59"/>
                  </a:lnTo>
                  <a:lnTo>
                    <a:pt x="273" y="57"/>
                  </a:lnTo>
                  <a:lnTo>
                    <a:pt x="273" y="55"/>
                  </a:lnTo>
                  <a:lnTo>
                    <a:pt x="277" y="50"/>
                  </a:lnTo>
                  <a:lnTo>
                    <a:pt x="278" y="50"/>
                  </a:lnTo>
                  <a:lnTo>
                    <a:pt x="285" y="50"/>
                  </a:lnTo>
                  <a:lnTo>
                    <a:pt x="292" y="50"/>
                  </a:lnTo>
                  <a:lnTo>
                    <a:pt x="294" y="50"/>
                  </a:lnTo>
                  <a:lnTo>
                    <a:pt x="299" y="50"/>
                  </a:lnTo>
                  <a:lnTo>
                    <a:pt x="304" y="54"/>
                  </a:lnTo>
                  <a:lnTo>
                    <a:pt x="304" y="50"/>
                  </a:lnTo>
                  <a:lnTo>
                    <a:pt x="308" y="55"/>
                  </a:lnTo>
                  <a:lnTo>
                    <a:pt x="310" y="55"/>
                  </a:lnTo>
                  <a:lnTo>
                    <a:pt x="313" y="54"/>
                  </a:lnTo>
                  <a:lnTo>
                    <a:pt x="318" y="54"/>
                  </a:lnTo>
                  <a:lnTo>
                    <a:pt x="318" y="50"/>
                  </a:lnTo>
                  <a:lnTo>
                    <a:pt x="313" y="47"/>
                  </a:lnTo>
                  <a:lnTo>
                    <a:pt x="313" y="41"/>
                  </a:lnTo>
                  <a:lnTo>
                    <a:pt x="315" y="40"/>
                  </a:lnTo>
                  <a:lnTo>
                    <a:pt x="324" y="41"/>
                  </a:lnTo>
                  <a:lnTo>
                    <a:pt x="329" y="40"/>
                  </a:lnTo>
                  <a:lnTo>
                    <a:pt x="332" y="36"/>
                  </a:lnTo>
                  <a:lnTo>
                    <a:pt x="332" y="36"/>
                  </a:lnTo>
                  <a:lnTo>
                    <a:pt x="329" y="36"/>
                  </a:lnTo>
                  <a:lnTo>
                    <a:pt x="325" y="34"/>
                  </a:lnTo>
                  <a:lnTo>
                    <a:pt x="322" y="33"/>
                  </a:lnTo>
                  <a:lnTo>
                    <a:pt x="318" y="33"/>
                  </a:lnTo>
                  <a:lnTo>
                    <a:pt x="313" y="28"/>
                  </a:lnTo>
                  <a:lnTo>
                    <a:pt x="313" y="28"/>
                  </a:lnTo>
                  <a:lnTo>
                    <a:pt x="310" y="31"/>
                  </a:lnTo>
                  <a:lnTo>
                    <a:pt x="308" y="29"/>
                  </a:lnTo>
                  <a:lnTo>
                    <a:pt x="313" y="26"/>
                  </a:lnTo>
                  <a:lnTo>
                    <a:pt x="310" y="24"/>
                  </a:lnTo>
                  <a:lnTo>
                    <a:pt x="310" y="24"/>
                  </a:lnTo>
                  <a:lnTo>
                    <a:pt x="304" y="28"/>
                  </a:lnTo>
                  <a:lnTo>
                    <a:pt x="304" y="26"/>
                  </a:lnTo>
                  <a:lnTo>
                    <a:pt x="301" y="24"/>
                  </a:lnTo>
                  <a:lnTo>
                    <a:pt x="304" y="19"/>
                  </a:lnTo>
                  <a:lnTo>
                    <a:pt x="304" y="19"/>
                  </a:lnTo>
                  <a:lnTo>
                    <a:pt x="304" y="17"/>
                  </a:lnTo>
                  <a:lnTo>
                    <a:pt x="301" y="15"/>
                  </a:lnTo>
                  <a:lnTo>
                    <a:pt x="301" y="15"/>
                  </a:lnTo>
                  <a:lnTo>
                    <a:pt x="297" y="12"/>
                  </a:lnTo>
                  <a:lnTo>
                    <a:pt x="297" y="7"/>
                  </a:lnTo>
                  <a:lnTo>
                    <a:pt x="294" y="5"/>
                  </a:lnTo>
                  <a:lnTo>
                    <a:pt x="292" y="7"/>
                  </a:lnTo>
                  <a:lnTo>
                    <a:pt x="292" y="10"/>
                  </a:lnTo>
                  <a:lnTo>
                    <a:pt x="289" y="14"/>
                  </a:lnTo>
                  <a:lnTo>
                    <a:pt x="287" y="14"/>
                  </a:lnTo>
                  <a:lnTo>
                    <a:pt x="289" y="10"/>
                  </a:lnTo>
                  <a:lnTo>
                    <a:pt x="289" y="7"/>
                  </a:lnTo>
                  <a:lnTo>
                    <a:pt x="285" y="7"/>
                  </a:lnTo>
                  <a:lnTo>
                    <a:pt x="285" y="15"/>
                  </a:lnTo>
                  <a:lnTo>
                    <a:pt x="282" y="15"/>
                  </a:lnTo>
                  <a:lnTo>
                    <a:pt x="277" y="22"/>
                  </a:lnTo>
                  <a:lnTo>
                    <a:pt x="277" y="28"/>
                  </a:lnTo>
                  <a:lnTo>
                    <a:pt x="271" y="34"/>
                  </a:lnTo>
                  <a:lnTo>
                    <a:pt x="268" y="34"/>
                  </a:lnTo>
                  <a:lnTo>
                    <a:pt x="263" y="36"/>
                  </a:lnTo>
                  <a:lnTo>
                    <a:pt x="261" y="36"/>
                  </a:lnTo>
                  <a:lnTo>
                    <a:pt x="263" y="36"/>
                  </a:lnTo>
                  <a:lnTo>
                    <a:pt x="261" y="40"/>
                  </a:lnTo>
                  <a:lnTo>
                    <a:pt x="263" y="40"/>
                  </a:lnTo>
                  <a:lnTo>
                    <a:pt x="268" y="40"/>
                  </a:lnTo>
                  <a:lnTo>
                    <a:pt x="266" y="41"/>
                  </a:lnTo>
                  <a:lnTo>
                    <a:pt x="263" y="41"/>
                  </a:lnTo>
                  <a:lnTo>
                    <a:pt x="263" y="43"/>
                  </a:lnTo>
                  <a:lnTo>
                    <a:pt x="263" y="45"/>
                  </a:lnTo>
                  <a:lnTo>
                    <a:pt x="264" y="50"/>
                  </a:lnTo>
                  <a:lnTo>
                    <a:pt x="263" y="54"/>
                  </a:lnTo>
                  <a:lnTo>
                    <a:pt x="261" y="50"/>
                  </a:lnTo>
                  <a:lnTo>
                    <a:pt x="261" y="48"/>
                  </a:lnTo>
                  <a:lnTo>
                    <a:pt x="259" y="45"/>
                  </a:lnTo>
                  <a:lnTo>
                    <a:pt x="259" y="45"/>
                  </a:lnTo>
                  <a:lnTo>
                    <a:pt x="259" y="43"/>
                  </a:lnTo>
                  <a:lnTo>
                    <a:pt x="258" y="43"/>
                  </a:lnTo>
                  <a:lnTo>
                    <a:pt x="256" y="47"/>
                  </a:lnTo>
                  <a:lnTo>
                    <a:pt x="258" y="55"/>
                  </a:lnTo>
                  <a:lnTo>
                    <a:pt x="256" y="55"/>
                  </a:lnTo>
                  <a:lnTo>
                    <a:pt x="252" y="54"/>
                  </a:lnTo>
                  <a:lnTo>
                    <a:pt x="249" y="48"/>
                  </a:lnTo>
                  <a:lnTo>
                    <a:pt x="249" y="48"/>
                  </a:lnTo>
                  <a:lnTo>
                    <a:pt x="245" y="47"/>
                  </a:lnTo>
                  <a:lnTo>
                    <a:pt x="244" y="50"/>
                  </a:lnTo>
                  <a:lnTo>
                    <a:pt x="244" y="54"/>
                  </a:lnTo>
                  <a:lnTo>
                    <a:pt x="237" y="57"/>
                  </a:lnTo>
                  <a:lnTo>
                    <a:pt x="237" y="62"/>
                  </a:lnTo>
                  <a:lnTo>
                    <a:pt x="231" y="64"/>
                  </a:lnTo>
                  <a:lnTo>
                    <a:pt x="230" y="68"/>
                  </a:lnTo>
                  <a:lnTo>
                    <a:pt x="226" y="73"/>
                  </a:lnTo>
                  <a:lnTo>
                    <a:pt x="221" y="76"/>
                  </a:lnTo>
                  <a:lnTo>
                    <a:pt x="207" y="80"/>
                  </a:lnTo>
                  <a:lnTo>
                    <a:pt x="205" y="80"/>
                  </a:lnTo>
                  <a:lnTo>
                    <a:pt x="207" y="85"/>
                  </a:lnTo>
                  <a:lnTo>
                    <a:pt x="209" y="87"/>
                  </a:lnTo>
                  <a:lnTo>
                    <a:pt x="207" y="87"/>
                  </a:lnTo>
                  <a:lnTo>
                    <a:pt x="204" y="87"/>
                  </a:lnTo>
                  <a:lnTo>
                    <a:pt x="200" y="88"/>
                  </a:lnTo>
                  <a:lnTo>
                    <a:pt x="198" y="90"/>
                  </a:lnTo>
                  <a:lnTo>
                    <a:pt x="197" y="94"/>
                  </a:lnTo>
                  <a:lnTo>
                    <a:pt x="197" y="97"/>
                  </a:lnTo>
                  <a:lnTo>
                    <a:pt x="193" y="102"/>
                  </a:lnTo>
                  <a:lnTo>
                    <a:pt x="193" y="104"/>
                  </a:lnTo>
                  <a:lnTo>
                    <a:pt x="186" y="102"/>
                  </a:lnTo>
                  <a:lnTo>
                    <a:pt x="181" y="101"/>
                  </a:lnTo>
                  <a:lnTo>
                    <a:pt x="176" y="101"/>
                  </a:lnTo>
                  <a:lnTo>
                    <a:pt x="172" y="97"/>
                  </a:lnTo>
                  <a:lnTo>
                    <a:pt x="171" y="94"/>
                  </a:lnTo>
                  <a:lnTo>
                    <a:pt x="169" y="94"/>
                  </a:lnTo>
                  <a:lnTo>
                    <a:pt x="169" y="94"/>
                  </a:lnTo>
                  <a:lnTo>
                    <a:pt x="169" y="94"/>
                  </a:lnTo>
                  <a:lnTo>
                    <a:pt x="169" y="94"/>
                  </a:lnTo>
                  <a:close/>
                  <a:moveTo>
                    <a:pt x="292" y="0"/>
                  </a:moveTo>
                  <a:lnTo>
                    <a:pt x="287" y="1"/>
                  </a:lnTo>
                  <a:lnTo>
                    <a:pt x="289" y="1"/>
                  </a:lnTo>
                  <a:lnTo>
                    <a:pt x="292" y="1"/>
                  </a:lnTo>
                  <a:lnTo>
                    <a:pt x="292" y="0"/>
                  </a:lnTo>
                  <a:lnTo>
                    <a:pt x="292" y="0"/>
                  </a:lnTo>
                  <a:lnTo>
                    <a:pt x="292" y="0"/>
                  </a:lnTo>
                  <a:lnTo>
                    <a:pt x="292" y="0"/>
                  </a:lnTo>
                  <a:close/>
                  <a:moveTo>
                    <a:pt x="296" y="0"/>
                  </a:moveTo>
                  <a:lnTo>
                    <a:pt x="292" y="1"/>
                  </a:lnTo>
                  <a:lnTo>
                    <a:pt x="294" y="5"/>
                  </a:lnTo>
                  <a:lnTo>
                    <a:pt x="297" y="1"/>
                  </a:lnTo>
                  <a:lnTo>
                    <a:pt x="297" y="1"/>
                  </a:lnTo>
                  <a:lnTo>
                    <a:pt x="296" y="0"/>
                  </a:lnTo>
                  <a:lnTo>
                    <a:pt x="296" y="0"/>
                  </a:lnTo>
                  <a:lnTo>
                    <a:pt x="296" y="0"/>
                  </a:lnTo>
                  <a:lnTo>
                    <a:pt x="296" y="0"/>
                  </a:lnTo>
                  <a:close/>
                  <a:moveTo>
                    <a:pt x="200" y="87"/>
                  </a:moveTo>
                  <a:lnTo>
                    <a:pt x="198" y="88"/>
                  </a:lnTo>
                  <a:lnTo>
                    <a:pt x="200" y="85"/>
                  </a:lnTo>
                  <a:lnTo>
                    <a:pt x="200" y="87"/>
                  </a:lnTo>
                  <a:lnTo>
                    <a:pt x="200" y="87"/>
                  </a:lnTo>
                  <a:lnTo>
                    <a:pt x="200" y="87"/>
                  </a:lnTo>
                  <a:lnTo>
                    <a:pt x="200" y="87"/>
                  </a:lnTo>
                  <a:close/>
                  <a:moveTo>
                    <a:pt x="204" y="87"/>
                  </a:moveTo>
                  <a:lnTo>
                    <a:pt x="202" y="87"/>
                  </a:lnTo>
                  <a:lnTo>
                    <a:pt x="200" y="85"/>
                  </a:lnTo>
                  <a:lnTo>
                    <a:pt x="202" y="85"/>
                  </a:lnTo>
                  <a:lnTo>
                    <a:pt x="204" y="87"/>
                  </a:lnTo>
                  <a:lnTo>
                    <a:pt x="204" y="87"/>
                  </a:lnTo>
                  <a:lnTo>
                    <a:pt x="204" y="87"/>
                  </a:lnTo>
                  <a:lnTo>
                    <a:pt x="204" y="87"/>
                  </a:lnTo>
                  <a:close/>
                  <a:moveTo>
                    <a:pt x="205" y="80"/>
                  </a:moveTo>
                  <a:lnTo>
                    <a:pt x="207" y="85"/>
                  </a:lnTo>
                  <a:lnTo>
                    <a:pt x="204" y="87"/>
                  </a:lnTo>
                  <a:lnTo>
                    <a:pt x="202" y="83"/>
                  </a:lnTo>
                  <a:lnTo>
                    <a:pt x="202" y="81"/>
                  </a:lnTo>
                  <a:lnTo>
                    <a:pt x="202" y="81"/>
                  </a:lnTo>
                  <a:lnTo>
                    <a:pt x="204" y="81"/>
                  </a:lnTo>
                  <a:lnTo>
                    <a:pt x="205" y="80"/>
                  </a:lnTo>
                  <a:lnTo>
                    <a:pt x="205" y="80"/>
                  </a:lnTo>
                  <a:lnTo>
                    <a:pt x="205" y="80"/>
                  </a:lnTo>
                  <a:lnTo>
                    <a:pt x="205" y="80"/>
                  </a:lnTo>
                  <a:close/>
                  <a:moveTo>
                    <a:pt x="0" y="15"/>
                  </a:moveTo>
                  <a:lnTo>
                    <a:pt x="2" y="12"/>
                  </a:lnTo>
                  <a:lnTo>
                    <a:pt x="4" y="8"/>
                  </a:lnTo>
                  <a:lnTo>
                    <a:pt x="7" y="12"/>
                  </a:lnTo>
                  <a:lnTo>
                    <a:pt x="13" y="14"/>
                  </a:lnTo>
                  <a:lnTo>
                    <a:pt x="14" y="15"/>
                  </a:lnTo>
                  <a:lnTo>
                    <a:pt x="16" y="15"/>
                  </a:lnTo>
                  <a:lnTo>
                    <a:pt x="19" y="17"/>
                  </a:lnTo>
                  <a:lnTo>
                    <a:pt x="19" y="22"/>
                  </a:lnTo>
                  <a:lnTo>
                    <a:pt x="16" y="24"/>
                  </a:lnTo>
                  <a:lnTo>
                    <a:pt x="16" y="26"/>
                  </a:lnTo>
                  <a:lnTo>
                    <a:pt x="21" y="28"/>
                  </a:lnTo>
                  <a:lnTo>
                    <a:pt x="25" y="24"/>
                  </a:lnTo>
                  <a:lnTo>
                    <a:pt x="28" y="24"/>
                  </a:lnTo>
                  <a:lnTo>
                    <a:pt x="30" y="26"/>
                  </a:lnTo>
                  <a:lnTo>
                    <a:pt x="33" y="24"/>
                  </a:lnTo>
                  <a:lnTo>
                    <a:pt x="33" y="22"/>
                  </a:lnTo>
                  <a:lnTo>
                    <a:pt x="33" y="22"/>
                  </a:lnTo>
                  <a:lnTo>
                    <a:pt x="33" y="22"/>
                  </a:lnTo>
                  <a:lnTo>
                    <a:pt x="37" y="22"/>
                  </a:lnTo>
                  <a:lnTo>
                    <a:pt x="39" y="19"/>
                  </a:lnTo>
                  <a:lnTo>
                    <a:pt x="39" y="19"/>
                  </a:lnTo>
                  <a:lnTo>
                    <a:pt x="42" y="22"/>
                  </a:lnTo>
                  <a:lnTo>
                    <a:pt x="56" y="36"/>
                  </a:lnTo>
                  <a:lnTo>
                    <a:pt x="58" y="41"/>
                  </a:lnTo>
                  <a:lnTo>
                    <a:pt x="61" y="48"/>
                  </a:lnTo>
                  <a:lnTo>
                    <a:pt x="58" y="50"/>
                  </a:lnTo>
                  <a:lnTo>
                    <a:pt x="58" y="59"/>
                  </a:lnTo>
                  <a:lnTo>
                    <a:pt x="58" y="59"/>
                  </a:lnTo>
                  <a:lnTo>
                    <a:pt x="58" y="62"/>
                  </a:lnTo>
                  <a:lnTo>
                    <a:pt x="61" y="64"/>
                  </a:lnTo>
                  <a:lnTo>
                    <a:pt x="61" y="73"/>
                  </a:lnTo>
                  <a:lnTo>
                    <a:pt x="61" y="76"/>
                  </a:lnTo>
                  <a:lnTo>
                    <a:pt x="65" y="80"/>
                  </a:lnTo>
                  <a:lnTo>
                    <a:pt x="68" y="80"/>
                  </a:lnTo>
                  <a:lnTo>
                    <a:pt x="70" y="81"/>
                  </a:lnTo>
                  <a:lnTo>
                    <a:pt x="68" y="83"/>
                  </a:lnTo>
                  <a:lnTo>
                    <a:pt x="70" y="88"/>
                  </a:lnTo>
                  <a:lnTo>
                    <a:pt x="70" y="90"/>
                  </a:lnTo>
                  <a:lnTo>
                    <a:pt x="72" y="90"/>
                  </a:lnTo>
                  <a:lnTo>
                    <a:pt x="72" y="90"/>
                  </a:lnTo>
                  <a:lnTo>
                    <a:pt x="72" y="94"/>
                  </a:lnTo>
                  <a:lnTo>
                    <a:pt x="77" y="99"/>
                  </a:lnTo>
                  <a:lnTo>
                    <a:pt x="77" y="102"/>
                  </a:lnTo>
                  <a:lnTo>
                    <a:pt x="73" y="102"/>
                  </a:lnTo>
                  <a:lnTo>
                    <a:pt x="73" y="101"/>
                  </a:lnTo>
                  <a:lnTo>
                    <a:pt x="73" y="99"/>
                  </a:lnTo>
                  <a:lnTo>
                    <a:pt x="72" y="97"/>
                  </a:lnTo>
                  <a:lnTo>
                    <a:pt x="72" y="99"/>
                  </a:lnTo>
                  <a:lnTo>
                    <a:pt x="72" y="101"/>
                  </a:lnTo>
                  <a:lnTo>
                    <a:pt x="70" y="102"/>
                  </a:lnTo>
                  <a:lnTo>
                    <a:pt x="72" y="102"/>
                  </a:lnTo>
                  <a:lnTo>
                    <a:pt x="72" y="102"/>
                  </a:lnTo>
                  <a:lnTo>
                    <a:pt x="68" y="106"/>
                  </a:lnTo>
                  <a:lnTo>
                    <a:pt x="68" y="102"/>
                  </a:lnTo>
                  <a:lnTo>
                    <a:pt x="66" y="104"/>
                  </a:lnTo>
                  <a:lnTo>
                    <a:pt x="63" y="102"/>
                  </a:lnTo>
                  <a:lnTo>
                    <a:pt x="61" y="101"/>
                  </a:lnTo>
                  <a:lnTo>
                    <a:pt x="56" y="99"/>
                  </a:lnTo>
                  <a:lnTo>
                    <a:pt x="51" y="97"/>
                  </a:lnTo>
                  <a:lnTo>
                    <a:pt x="47" y="94"/>
                  </a:lnTo>
                  <a:lnTo>
                    <a:pt x="46" y="94"/>
                  </a:lnTo>
                  <a:lnTo>
                    <a:pt x="44" y="94"/>
                  </a:lnTo>
                  <a:lnTo>
                    <a:pt x="40" y="94"/>
                  </a:lnTo>
                  <a:lnTo>
                    <a:pt x="37" y="88"/>
                  </a:lnTo>
                  <a:lnTo>
                    <a:pt x="37" y="85"/>
                  </a:lnTo>
                  <a:lnTo>
                    <a:pt x="32" y="81"/>
                  </a:lnTo>
                  <a:lnTo>
                    <a:pt x="25" y="80"/>
                  </a:lnTo>
                  <a:lnTo>
                    <a:pt x="25" y="76"/>
                  </a:lnTo>
                  <a:lnTo>
                    <a:pt x="25" y="76"/>
                  </a:lnTo>
                  <a:lnTo>
                    <a:pt x="25" y="73"/>
                  </a:lnTo>
                  <a:lnTo>
                    <a:pt x="25" y="69"/>
                  </a:lnTo>
                  <a:lnTo>
                    <a:pt x="21" y="68"/>
                  </a:lnTo>
                  <a:lnTo>
                    <a:pt x="16" y="62"/>
                  </a:lnTo>
                  <a:lnTo>
                    <a:pt x="14" y="62"/>
                  </a:lnTo>
                  <a:lnTo>
                    <a:pt x="11" y="59"/>
                  </a:lnTo>
                  <a:lnTo>
                    <a:pt x="13" y="57"/>
                  </a:lnTo>
                  <a:lnTo>
                    <a:pt x="9" y="54"/>
                  </a:lnTo>
                  <a:lnTo>
                    <a:pt x="9" y="50"/>
                  </a:lnTo>
                  <a:lnTo>
                    <a:pt x="11" y="48"/>
                  </a:lnTo>
                  <a:lnTo>
                    <a:pt x="11" y="43"/>
                  </a:lnTo>
                  <a:lnTo>
                    <a:pt x="9" y="40"/>
                  </a:lnTo>
                  <a:lnTo>
                    <a:pt x="7" y="36"/>
                  </a:lnTo>
                  <a:lnTo>
                    <a:pt x="6" y="22"/>
                  </a:lnTo>
                  <a:lnTo>
                    <a:pt x="0" y="15"/>
                  </a:lnTo>
                  <a:lnTo>
                    <a:pt x="0" y="15"/>
                  </a:lnTo>
                  <a:lnTo>
                    <a:pt x="0" y="1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 name="Freeform 201">
              <a:extLst>
                <a:ext uri="{FF2B5EF4-FFF2-40B4-BE49-F238E27FC236}">
                  <a16:creationId xmlns:a16="http://schemas.microsoft.com/office/drawing/2014/main" id="{2014EF4D-30F7-44A4-9C53-3BF9DCF301EC}"/>
                </a:ext>
              </a:extLst>
            </p:cNvPr>
            <p:cNvSpPr>
              <a:spLocks noEditPoints="1"/>
            </p:cNvSpPr>
            <p:nvPr/>
          </p:nvSpPr>
          <p:spPr bwMode="auto">
            <a:xfrm>
              <a:off x="7199313" y="3592513"/>
              <a:ext cx="223838" cy="433388"/>
            </a:xfrm>
            <a:custGeom>
              <a:avLst/>
              <a:gdLst/>
              <a:ahLst/>
              <a:cxnLst>
                <a:cxn ang="0">
                  <a:pos x="9" y="13"/>
                </a:cxn>
                <a:cxn ang="0">
                  <a:pos x="17" y="11"/>
                </a:cxn>
                <a:cxn ang="0">
                  <a:pos x="31" y="9"/>
                </a:cxn>
                <a:cxn ang="0">
                  <a:pos x="50" y="0"/>
                </a:cxn>
                <a:cxn ang="0">
                  <a:pos x="69" y="7"/>
                </a:cxn>
                <a:cxn ang="0">
                  <a:pos x="73" y="20"/>
                </a:cxn>
                <a:cxn ang="0">
                  <a:pos x="92" y="32"/>
                </a:cxn>
                <a:cxn ang="0">
                  <a:pos x="102" y="33"/>
                </a:cxn>
                <a:cxn ang="0">
                  <a:pos x="87" y="39"/>
                </a:cxn>
                <a:cxn ang="0">
                  <a:pos x="82" y="46"/>
                </a:cxn>
                <a:cxn ang="0">
                  <a:pos x="75" y="49"/>
                </a:cxn>
                <a:cxn ang="0">
                  <a:pos x="75" y="59"/>
                </a:cxn>
                <a:cxn ang="0">
                  <a:pos x="68" y="65"/>
                </a:cxn>
                <a:cxn ang="0">
                  <a:pos x="64" y="82"/>
                </a:cxn>
                <a:cxn ang="0">
                  <a:pos x="71" y="93"/>
                </a:cxn>
                <a:cxn ang="0">
                  <a:pos x="82" y="106"/>
                </a:cxn>
                <a:cxn ang="0">
                  <a:pos x="111" y="129"/>
                </a:cxn>
                <a:cxn ang="0">
                  <a:pos x="123" y="146"/>
                </a:cxn>
                <a:cxn ang="0">
                  <a:pos x="130" y="166"/>
                </a:cxn>
                <a:cxn ang="0">
                  <a:pos x="136" y="181"/>
                </a:cxn>
                <a:cxn ang="0">
                  <a:pos x="141" y="197"/>
                </a:cxn>
                <a:cxn ang="0">
                  <a:pos x="137" y="200"/>
                </a:cxn>
                <a:cxn ang="0">
                  <a:pos x="136" y="211"/>
                </a:cxn>
                <a:cxn ang="0">
                  <a:pos x="129" y="225"/>
                </a:cxn>
                <a:cxn ang="0">
                  <a:pos x="115" y="235"/>
                </a:cxn>
                <a:cxn ang="0">
                  <a:pos x="96" y="239"/>
                </a:cxn>
                <a:cxn ang="0">
                  <a:pos x="96" y="240"/>
                </a:cxn>
                <a:cxn ang="0">
                  <a:pos x="92" y="249"/>
                </a:cxn>
                <a:cxn ang="0">
                  <a:pos x="87" y="251"/>
                </a:cxn>
                <a:cxn ang="0">
                  <a:pos x="85" y="256"/>
                </a:cxn>
                <a:cxn ang="0">
                  <a:pos x="75" y="266"/>
                </a:cxn>
                <a:cxn ang="0">
                  <a:pos x="64" y="270"/>
                </a:cxn>
                <a:cxn ang="0">
                  <a:pos x="64" y="261"/>
                </a:cxn>
                <a:cxn ang="0">
                  <a:pos x="73" y="244"/>
                </a:cxn>
                <a:cxn ang="0">
                  <a:pos x="59" y="244"/>
                </a:cxn>
                <a:cxn ang="0">
                  <a:pos x="68" y="228"/>
                </a:cxn>
                <a:cxn ang="0">
                  <a:pos x="90" y="232"/>
                </a:cxn>
                <a:cxn ang="0">
                  <a:pos x="85" y="214"/>
                </a:cxn>
                <a:cxn ang="0">
                  <a:pos x="106" y="204"/>
                </a:cxn>
                <a:cxn ang="0">
                  <a:pos x="104" y="174"/>
                </a:cxn>
                <a:cxn ang="0">
                  <a:pos x="101" y="159"/>
                </a:cxn>
                <a:cxn ang="0">
                  <a:pos x="102" y="139"/>
                </a:cxn>
                <a:cxn ang="0">
                  <a:pos x="92" y="131"/>
                </a:cxn>
                <a:cxn ang="0">
                  <a:pos x="85" y="122"/>
                </a:cxn>
                <a:cxn ang="0">
                  <a:pos x="69" y="105"/>
                </a:cxn>
                <a:cxn ang="0">
                  <a:pos x="43" y="87"/>
                </a:cxn>
                <a:cxn ang="0">
                  <a:pos x="36" y="72"/>
                </a:cxn>
                <a:cxn ang="0">
                  <a:pos x="54" y="59"/>
                </a:cxn>
                <a:cxn ang="0">
                  <a:pos x="40" y="47"/>
                </a:cxn>
                <a:cxn ang="0">
                  <a:pos x="12" y="35"/>
                </a:cxn>
                <a:cxn ang="0">
                  <a:pos x="0" y="18"/>
                </a:cxn>
                <a:cxn ang="0">
                  <a:pos x="49" y="246"/>
                </a:cxn>
                <a:cxn ang="0">
                  <a:pos x="47" y="240"/>
                </a:cxn>
              </a:cxnLst>
              <a:rect l="0" t="0" r="r" b="b"/>
              <a:pathLst>
                <a:path w="141" h="273">
                  <a:moveTo>
                    <a:pt x="0" y="18"/>
                  </a:moveTo>
                  <a:lnTo>
                    <a:pt x="0" y="18"/>
                  </a:lnTo>
                  <a:lnTo>
                    <a:pt x="0" y="18"/>
                  </a:lnTo>
                  <a:lnTo>
                    <a:pt x="3" y="14"/>
                  </a:lnTo>
                  <a:lnTo>
                    <a:pt x="5" y="14"/>
                  </a:lnTo>
                  <a:lnTo>
                    <a:pt x="9" y="13"/>
                  </a:lnTo>
                  <a:lnTo>
                    <a:pt x="12" y="13"/>
                  </a:lnTo>
                  <a:lnTo>
                    <a:pt x="12" y="14"/>
                  </a:lnTo>
                  <a:lnTo>
                    <a:pt x="12" y="16"/>
                  </a:lnTo>
                  <a:lnTo>
                    <a:pt x="14" y="16"/>
                  </a:lnTo>
                  <a:lnTo>
                    <a:pt x="14" y="13"/>
                  </a:lnTo>
                  <a:lnTo>
                    <a:pt x="17" y="11"/>
                  </a:lnTo>
                  <a:lnTo>
                    <a:pt x="21" y="14"/>
                  </a:lnTo>
                  <a:lnTo>
                    <a:pt x="23" y="13"/>
                  </a:lnTo>
                  <a:lnTo>
                    <a:pt x="24" y="13"/>
                  </a:lnTo>
                  <a:lnTo>
                    <a:pt x="26" y="14"/>
                  </a:lnTo>
                  <a:lnTo>
                    <a:pt x="30" y="13"/>
                  </a:lnTo>
                  <a:lnTo>
                    <a:pt x="31" y="9"/>
                  </a:lnTo>
                  <a:lnTo>
                    <a:pt x="35" y="9"/>
                  </a:lnTo>
                  <a:lnTo>
                    <a:pt x="36" y="11"/>
                  </a:lnTo>
                  <a:lnTo>
                    <a:pt x="43" y="9"/>
                  </a:lnTo>
                  <a:lnTo>
                    <a:pt x="42" y="2"/>
                  </a:lnTo>
                  <a:lnTo>
                    <a:pt x="47" y="0"/>
                  </a:lnTo>
                  <a:lnTo>
                    <a:pt x="50" y="0"/>
                  </a:lnTo>
                  <a:lnTo>
                    <a:pt x="54" y="0"/>
                  </a:lnTo>
                  <a:lnTo>
                    <a:pt x="57" y="2"/>
                  </a:lnTo>
                  <a:lnTo>
                    <a:pt x="57" y="4"/>
                  </a:lnTo>
                  <a:lnTo>
                    <a:pt x="59" y="4"/>
                  </a:lnTo>
                  <a:lnTo>
                    <a:pt x="63" y="7"/>
                  </a:lnTo>
                  <a:lnTo>
                    <a:pt x="69" y="7"/>
                  </a:lnTo>
                  <a:lnTo>
                    <a:pt x="71" y="9"/>
                  </a:lnTo>
                  <a:lnTo>
                    <a:pt x="76" y="7"/>
                  </a:lnTo>
                  <a:lnTo>
                    <a:pt x="78" y="9"/>
                  </a:lnTo>
                  <a:lnTo>
                    <a:pt x="78" y="13"/>
                  </a:lnTo>
                  <a:lnTo>
                    <a:pt x="76" y="13"/>
                  </a:lnTo>
                  <a:lnTo>
                    <a:pt x="73" y="20"/>
                  </a:lnTo>
                  <a:lnTo>
                    <a:pt x="76" y="20"/>
                  </a:lnTo>
                  <a:lnTo>
                    <a:pt x="76" y="23"/>
                  </a:lnTo>
                  <a:lnTo>
                    <a:pt x="85" y="25"/>
                  </a:lnTo>
                  <a:lnTo>
                    <a:pt x="85" y="28"/>
                  </a:lnTo>
                  <a:lnTo>
                    <a:pt x="87" y="32"/>
                  </a:lnTo>
                  <a:lnTo>
                    <a:pt x="92" y="32"/>
                  </a:lnTo>
                  <a:lnTo>
                    <a:pt x="96" y="32"/>
                  </a:lnTo>
                  <a:lnTo>
                    <a:pt x="96" y="32"/>
                  </a:lnTo>
                  <a:lnTo>
                    <a:pt x="99" y="32"/>
                  </a:lnTo>
                  <a:lnTo>
                    <a:pt x="101" y="32"/>
                  </a:lnTo>
                  <a:lnTo>
                    <a:pt x="101" y="32"/>
                  </a:lnTo>
                  <a:lnTo>
                    <a:pt x="102" y="33"/>
                  </a:lnTo>
                  <a:lnTo>
                    <a:pt x="101" y="35"/>
                  </a:lnTo>
                  <a:lnTo>
                    <a:pt x="99" y="37"/>
                  </a:lnTo>
                  <a:lnTo>
                    <a:pt x="99" y="37"/>
                  </a:lnTo>
                  <a:lnTo>
                    <a:pt x="96" y="39"/>
                  </a:lnTo>
                  <a:lnTo>
                    <a:pt x="92" y="39"/>
                  </a:lnTo>
                  <a:lnTo>
                    <a:pt x="87" y="39"/>
                  </a:lnTo>
                  <a:lnTo>
                    <a:pt x="87" y="40"/>
                  </a:lnTo>
                  <a:lnTo>
                    <a:pt x="87" y="42"/>
                  </a:lnTo>
                  <a:lnTo>
                    <a:pt x="87" y="42"/>
                  </a:lnTo>
                  <a:lnTo>
                    <a:pt x="87" y="46"/>
                  </a:lnTo>
                  <a:lnTo>
                    <a:pt x="85" y="46"/>
                  </a:lnTo>
                  <a:lnTo>
                    <a:pt x="82" y="46"/>
                  </a:lnTo>
                  <a:lnTo>
                    <a:pt x="80" y="47"/>
                  </a:lnTo>
                  <a:lnTo>
                    <a:pt x="80" y="47"/>
                  </a:lnTo>
                  <a:lnTo>
                    <a:pt x="78" y="46"/>
                  </a:lnTo>
                  <a:lnTo>
                    <a:pt x="76" y="46"/>
                  </a:lnTo>
                  <a:lnTo>
                    <a:pt x="76" y="47"/>
                  </a:lnTo>
                  <a:lnTo>
                    <a:pt x="75" y="49"/>
                  </a:lnTo>
                  <a:lnTo>
                    <a:pt x="76" y="51"/>
                  </a:lnTo>
                  <a:lnTo>
                    <a:pt x="76" y="54"/>
                  </a:lnTo>
                  <a:lnTo>
                    <a:pt x="76" y="54"/>
                  </a:lnTo>
                  <a:lnTo>
                    <a:pt x="75" y="56"/>
                  </a:lnTo>
                  <a:lnTo>
                    <a:pt x="76" y="58"/>
                  </a:lnTo>
                  <a:lnTo>
                    <a:pt x="75" y="59"/>
                  </a:lnTo>
                  <a:lnTo>
                    <a:pt x="75" y="59"/>
                  </a:lnTo>
                  <a:lnTo>
                    <a:pt x="71" y="65"/>
                  </a:lnTo>
                  <a:lnTo>
                    <a:pt x="69" y="65"/>
                  </a:lnTo>
                  <a:lnTo>
                    <a:pt x="68" y="63"/>
                  </a:lnTo>
                  <a:lnTo>
                    <a:pt x="68" y="65"/>
                  </a:lnTo>
                  <a:lnTo>
                    <a:pt x="68" y="65"/>
                  </a:lnTo>
                  <a:lnTo>
                    <a:pt x="68" y="68"/>
                  </a:lnTo>
                  <a:lnTo>
                    <a:pt x="64" y="70"/>
                  </a:lnTo>
                  <a:lnTo>
                    <a:pt x="64" y="73"/>
                  </a:lnTo>
                  <a:lnTo>
                    <a:pt x="68" y="73"/>
                  </a:lnTo>
                  <a:lnTo>
                    <a:pt x="68" y="73"/>
                  </a:lnTo>
                  <a:lnTo>
                    <a:pt x="64" y="82"/>
                  </a:lnTo>
                  <a:lnTo>
                    <a:pt x="64" y="82"/>
                  </a:lnTo>
                  <a:lnTo>
                    <a:pt x="68" y="86"/>
                  </a:lnTo>
                  <a:lnTo>
                    <a:pt x="68" y="87"/>
                  </a:lnTo>
                  <a:lnTo>
                    <a:pt x="64" y="89"/>
                  </a:lnTo>
                  <a:lnTo>
                    <a:pt x="68" y="89"/>
                  </a:lnTo>
                  <a:lnTo>
                    <a:pt x="71" y="93"/>
                  </a:lnTo>
                  <a:lnTo>
                    <a:pt x="76" y="96"/>
                  </a:lnTo>
                  <a:lnTo>
                    <a:pt x="78" y="96"/>
                  </a:lnTo>
                  <a:lnTo>
                    <a:pt x="80" y="101"/>
                  </a:lnTo>
                  <a:lnTo>
                    <a:pt x="80" y="101"/>
                  </a:lnTo>
                  <a:lnTo>
                    <a:pt x="80" y="105"/>
                  </a:lnTo>
                  <a:lnTo>
                    <a:pt x="82" y="106"/>
                  </a:lnTo>
                  <a:lnTo>
                    <a:pt x="82" y="110"/>
                  </a:lnTo>
                  <a:lnTo>
                    <a:pt x="87" y="115"/>
                  </a:lnTo>
                  <a:lnTo>
                    <a:pt x="92" y="117"/>
                  </a:lnTo>
                  <a:lnTo>
                    <a:pt x="92" y="119"/>
                  </a:lnTo>
                  <a:lnTo>
                    <a:pt x="102" y="124"/>
                  </a:lnTo>
                  <a:lnTo>
                    <a:pt x="111" y="129"/>
                  </a:lnTo>
                  <a:lnTo>
                    <a:pt x="113" y="133"/>
                  </a:lnTo>
                  <a:lnTo>
                    <a:pt x="118" y="138"/>
                  </a:lnTo>
                  <a:lnTo>
                    <a:pt x="123" y="143"/>
                  </a:lnTo>
                  <a:lnTo>
                    <a:pt x="123" y="146"/>
                  </a:lnTo>
                  <a:lnTo>
                    <a:pt x="123" y="146"/>
                  </a:lnTo>
                  <a:lnTo>
                    <a:pt x="123" y="146"/>
                  </a:lnTo>
                  <a:lnTo>
                    <a:pt x="127" y="152"/>
                  </a:lnTo>
                  <a:lnTo>
                    <a:pt x="127" y="155"/>
                  </a:lnTo>
                  <a:lnTo>
                    <a:pt x="129" y="155"/>
                  </a:lnTo>
                  <a:lnTo>
                    <a:pt x="127" y="155"/>
                  </a:lnTo>
                  <a:lnTo>
                    <a:pt x="130" y="160"/>
                  </a:lnTo>
                  <a:lnTo>
                    <a:pt x="130" y="166"/>
                  </a:lnTo>
                  <a:lnTo>
                    <a:pt x="132" y="167"/>
                  </a:lnTo>
                  <a:lnTo>
                    <a:pt x="134" y="173"/>
                  </a:lnTo>
                  <a:lnTo>
                    <a:pt x="136" y="174"/>
                  </a:lnTo>
                  <a:lnTo>
                    <a:pt x="136" y="178"/>
                  </a:lnTo>
                  <a:lnTo>
                    <a:pt x="136" y="178"/>
                  </a:lnTo>
                  <a:lnTo>
                    <a:pt x="136" y="181"/>
                  </a:lnTo>
                  <a:lnTo>
                    <a:pt x="136" y="183"/>
                  </a:lnTo>
                  <a:lnTo>
                    <a:pt x="136" y="186"/>
                  </a:lnTo>
                  <a:lnTo>
                    <a:pt x="137" y="188"/>
                  </a:lnTo>
                  <a:lnTo>
                    <a:pt x="137" y="190"/>
                  </a:lnTo>
                  <a:lnTo>
                    <a:pt x="139" y="192"/>
                  </a:lnTo>
                  <a:lnTo>
                    <a:pt x="141" y="197"/>
                  </a:lnTo>
                  <a:lnTo>
                    <a:pt x="141" y="199"/>
                  </a:lnTo>
                  <a:lnTo>
                    <a:pt x="139" y="199"/>
                  </a:lnTo>
                  <a:lnTo>
                    <a:pt x="139" y="197"/>
                  </a:lnTo>
                  <a:lnTo>
                    <a:pt x="139" y="197"/>
                  </a:lnTo>
                  <a:lnTo>
                    <a:pt x="137" y="197"/>
                  </a:lnTo>
                  <a:lnTo>
                    <a:pt x="137" y="200"/>
                  </a:lnTo>
                  <a:lnTo>
                    <a:pt x="139" y="200"/>
                  </a:lnTo>
                  <a:lnTo>
                    <a:pt x="139" y="204"/>
                  </a:lnTo>
                  <a:lnTo>
                    <a:pt x="137" y="206"/>
                  </a:lnTo>
                  <a:lnTo>
                    <a:pt x="137" y="206"/>
                  </a:lnTo>
                  <a:lnTo>
                    <a:pt x="134" y="209"/>
                  </a:lnTo>
                  <a:lnTo>
                    <a:pt x="136" y="211"/>
                  </a:lnTo>
                  <a:lnTo>
                    <a:pt x="136" y="214"/>
                  </a:lnTo>
                  <a:lnTo>
                    <a:pt x="136" y="216"/>
                  </a:lnTo>
                  <a:lnTo>
                    <a:pt x="134" y="218"/>
                  </a:lnTo>
                  <a:lnTo>
                    <a:pt x="132" y="219"/>
                  </a:lnTo>
                  <a:lnTo>
                    <a:pt x="130" y="223"/>
                  </a:lnTo>
                  <a:lnTo>
                    <a:pt x="129" y="225"/>
                  </a:lnTo>
                  <a:lnTo>
                    <a:pt x="127" y="228"/>
                  </a:lnTo>
                  <a:lnTo>
                    <a:pt x="123" y="228"/>
                  </a:lnTo>
                  <a:lnTo>
                    <a:pt x="118" y="232"/>
                  </a:lnTo>
                  <a:lnTo>
                    <a:pt x="118" y="233"/>
                  </a:lnTo>
                  <a:lnTo>
                    <a:pt x="116" y="233"/>
                  </a:lnTo>
                  <a:lnTo>
                    <a:pt x="115" y="235"/>
                  </a:lnTo>
                  <a:lnTo>
                    <a:pt x="106" y="240"/>
                  </a:lnTo>
                  <a:lnTo>
                    <a:pt x="102" y="240"/>
                  </a:lnTo>
                  <a:lnTo>
                    <a:pt x="101" y="240"/>
                  </a:lnTo>
                  <a:lnTo>
                    <a:pt x="99" y="240"/>
                  </a:lnTo>
                  <a:lnTo>
                    <a:pt x="96" y="240"/>
                  </a:lnTo>
                  <a:lnTo>
                    <a:pt x="96" y="239"/>
                  </a:lnTo>
                  <a:lnTo>
                    <a:pt x="96" y="235"/>
                  </a:lnTo>
                  <a:lnTo>
                    <a:pt x="96" y="239"/>
                  </a:lnTo>
                  <a:lnTo>
                    <a:pt x="96" y="239"/>
                  </a:lnTo>
                  <a:lnTo>
                    <a:pt x="92" y="239"/>
                  </a:lnTo>
                  <a:lnTo>
                    <a:pt x="96" y="240"/>
                  </a:lnTo>
                  <a:lnTo>
                    <a:pt x="96" y="240"/>
                  </a:lnTo>
                  <a:lnTo>
                    <a:pt x="92" y="242"/>
                  </a:lnTo>
                  <a:lnTo>
                    <a:pt x="92" y="240"/>
                  </a:lnTo>
                  <a:lnTo>
                    <a:pt x="96" y="244"/>
                  </a:lnTo>
                  <a:lnTo>
                    <a:pt x="96" y="246"/>
                  </a:lnTo>
                  <a:lnTo>
                    <a:pt x="96" y="247"/>
                  </a:lnTo>
                  <a:lnTo>
                    <a:pt x="92" y="249"/>
                  </a:lnTo>
                  <a:lnTo>
                    <a:pt x="90" y="246"/>
                  </a:lnTo>
                  <a:lnTo>
                    <a:pt x="92" y="251"/>
                  </a:lnTo>
                  <a:lnTo>
                    <a:pt x="92" y="251"/>
                  </a:lnTo>
                  <a:lnTo>
                    <a:pt x="92" y="254"/>
                  </a:lnTo>
                  <a:lnTo>
                    <a:pt x="90" y="251"/>
                  </a:lnTo>
                  <a:lnTo>
                    <a:pt x="87" y="251"/>
                  </a:lnTo>
                  <a:lnTo>
                    <a:pt x="87" y="251"/>
                  </a:lnTo>
                  <a:lnTo>
                    <a:pt x="87" y="254"/>
                  </a:lnTo>
                  <a:lnTo>
                    <a:pt x="87" y="254"/>
                  </a:lnTo>
                  <a:lnTo>
                    <a:pt x="87" y="256"/>
                  </a:lnTo>
                  <a:lnTo>
                    <a:pt x="87" y="256"/>
                  </a:lnTo>
                  <a:lnTo>
                    <a:pt x="85" y="256"/>
                  </a:lnTo>
                  <a:lnTo>
                    <a:pt x="83" y="256"/>
                  </a:lnTo>
                  <a:lnTo>
                    <a:pt x="80" y="259"/>
                  </a:lnTo>
                  <a:lnTo>
                    <a:pt x="78" y="261"/>
                  </a:lnTo>
                  <a:lnTo>
                    <a:pt x="76" y="261"/>
                  </a:lnTo>
                  <a:lnTo>
                    <a:pt x="76" y="263"/>
                  </a:lnTo>
                  <a:lnTo>
                    <a:pt x="75" y="266"/>
                  </a:lnTo>
                  <a:lnTo>
                    <a:pt x="73" y="268"/>
                  </a:lnTo>
                  <a:lnTo>
                    <a:pt x="71" y="268"/>
                  </a:lnTo>
                  <a:lnTo>
                    <a:pt x="73" y="270"/>
                  </a:lnTo>
                  <a:lnTo>
                    <a:pt x="64" y="273"/>
                  </a:lnTo>
                  <a:lnTo>
                    <a:pt x="63" y="272"/>
                  </a:lnTo>
                  <a:lnTo>
                    <a:pt x="64" y="270"/>
                  </a:lnTo>
                  <a:lnTo>
                    <a:pt x="68" y="270"/>
                  </a:lnTo>
                  <a:lnTo>
                    <a:pt x="68" y="266"/>
                  </a:lnTo>
                  <a:lnTo>
                    <a:pt x="68" y="268"/>
                  </a:lnTo>
                  <a:lnTo>
                    <a:pt x="64" y="266"/>
                  </a:lnTo>
                  <a:lnTo>
                    <a:pt x="64" y="261"/>
                  </a:lnTo>
                  <a:lnTo>
                    <a:pt x="64" y="261"/>
                  </a:lnTo>
                  <a:lnTo>
                    <a:pt x="64" y="259"/>
                  </a:lnTo>
                  <a:lnTo>
                    <a:pt x="64" y="259"/>
                  </a:lnTo>
                  <a:lnTo>
                    <a:pt x="64" y="254"/>
                  </a:lnTo>
                  <a:lnTo>
                    <a:pt x="68" y="249"/>
                  </a:lnTo>
                  <a:lnTo>
                    <a:pt x="71" y="246"/>
                  </a:lnTo>
                  <a:lnTo>
                    <a:pt x="73" y="244"/>
                  </a:lnTo>
                  <a:lnTo>
                    <a:pt x="69" y="244"/>
                  </a:lnTo>
                  <a:lnTo>
                    <a:pt x="68" y="244"/>
                  </a:lnTo>
                  <a:lnTo>
                    <a:pt x="64" y="246"/>
                  </a:lnTo>
                  <a:lnTo>
                    <a:pt x="64" y="244"/>
                  </a:lnTo>
                  <a:lnTo>
                    <a:pt x="63" y="244"/>
                  </a:lnTo>
                  <a:lnTo>
                    <a:pt x="59" y="244"/>
                  </a:lnTo>
                  <a:lnTo>
                    <a:pt x="59" y="242"/>
                  </a:lnTo>
                  <a:lnTo>
                    <a:pt x="59" y="240"/>
                  </a:lnTo>
                  <a:lnTo>
                    <a:pt x="57" y="239"/>
                  </a:lnTo>
                  <a:lnTo>
                    <a:pt x="59" y="235"/>
                  </a:lnTo>
                  <a:lnTo>
                    <a:pt x="64" y="233"/>
                  </a:lnTo>
                  <a:lnTo>
                    <a:pt x="68" y="228"/>
                  </a:lnTo>
                  <a:lnTo>
                    <a:pt x="69" y="228"/>
                  </a:lnTo>
                  <a:lnTo>
                    <a:pt x="71" y="232"/>
                  </a:lnTo>
                  <a:lnTo>
                    <a:pt x="80" y="228"/>
                  </a:lnTo>
                  <a:lnTo>
                    <a:pt x="83" y="232"/>
                  </a:lnTo>
                  <a:lnTo>
                    <a:pt x="85" y="233"/>
                  </a:lnTo>
                  <a:lnTo>
                    <a:pt x="90" y="232"/>
                  </a:lnTo>
                  <a:lnTo>
                    <a:pt x="87" y="228"/>
                  </a:lnTo>
                  <a:lnTo>
                    <a:pt x="87" y="228"/>
                  </a:lnTo>
                  <a:lnTo>
                    <a:pt x="85" y="225"/>
                  </a:lnTo>
                  <a:lnTo>
                    <a:pt x="82" y="223"/>
                  </a:lnTo>
                  <a:lnTo>
                    <a:pt x="82" y="216"/>
                  </a:lnTo>
                  <a:lnTo>
                    <a:pt x="85" y="214"/>
                  </a:lnTo>
                  <a:lnTo>
                    <a:pt x="92" y="214"/>
                  </a:lnTo>
                  <a:lnTo>
                    <a:pt x="92" y="211"/>
                  </a:lnTo>
                  <a:lnTo>
                    <a:pt x="99" y="209"/>
                  </a:lnTo>
                  <a:lnTo>
                    <a:pt x="101" y="206"/>
                  </a:lnTo>
                  <a:lnTo>
                    <a:pt x="102" y="206"/>
                  </a:lnTo>
                  <a:lnTo>
                    <a:pt x="106" y="204"/>
                  </a:lnTo>
                  <a:lnTo>
                    <a:pt x="108" y="199"/>
                  </a:lnTo>
                  <a:lnTo>
                    <a:pt x="108" y="195"/>
                  </a:lnTo>
                  <a:lnTo>
                    <a:pt x="108" y="190"/>
                  </a:lnTo>
                  <a:lnTo>
                    <a:pt x="108" y="186"/>
                  </a:lnTo>
                  <a:lnTo>
                    <a:pt x="108" y="181"/>
                  </a:lnTo>
                  <a:lnTo>
                    <a:pt x="104" y="174"/>
                  </a:lnTo>
                  <a:lnTo>
                    <a:pt x="101" y="173"/>
                  </a:lnTo>
                  <a:lnTo>
                    <a:pt x="99" y="167"/>
                  </a:lnTo>
                  <a:lnTo>
                    <a:pt x="99" y="167"/>
                  </a:lnTo>
                  <a:lnTo>
                    <a:pt x="102" y="166"/>
                  </a:lnTo>
                  <a:lnTo>
                    <a:pt x="102" y="160"/>
                  </a:lnTo>
                  <a:lnTo>
                    <a:pt x="101" y="159"/>
                  </a:lnTo>
                  <a:lnTo>
                    <a:pt x="101" y="155"/>
                  </a:lnTo>
                  <a:lnTo>
                    <a:pt x="106" y="150"/>
                  </a:lnTo>
                  <a:lnTo>
                    <a:pt x="106" y="146"/>
                  </a:lnTo>
                  <a:lnTo>
                    <a:pt x="102" y="146"/>
                  </a:lnTo>
                  <a:lnTo>
                    <a:pt x="101" y="143"/>
                  </a:lnTo>
                  <a:lnTo>
                    <a:pt x="102" y="139"/>
                  </a:lnTo>
                  <a:lnTo>
                    <a:pt x="104" y="136"/>
                  </a:lnTo>
                  <a:lnTo>
                    <a:pt x="104" y="136"/>
                  </a:lnTo>
                  <a:lnTo>
                    <a:pt x="101" y="136"/>
                  </a:lnTo>
                  <a:lnTo>
                    <a:pt x="99" y="136"/>
                  </a:lnTo>
                  <a:lnTo>
                    <a:pt x="96" y="131"/>
                  </a:lnTo>
                  <a:lnTo>
                    <a:pt x="92" y="131"/>
                  </a:lnTo>
                  <a:lnTo>
                    <a:pt x="92" y="129"/>
                  </a:lnTo>
                  <a:lnTo>
                    <a:pt x="92" y="127"/>
                  </a:lnTo>
                  <a:lnTo>
                    <a:pt x="90" y="127"/>
                  </a:lnTo>
                  <a:lnTo>
                    <a:pt x="87" y="127"/>
                  </a:lnTo>
                  <a:lnTo>
                    <a:pt x="87" y="124"/>
                  </a:lnTo>
                  <a:lnTo>
                    <a:pt x="85" y="122"/>
                  </a:lnTo>
                  <a:lnTo>
                    <a:pt x="83" y="119"/>
                  </a:lnTo>
                  <a:lnTo>
                    <a:pt x="80" y="119"/>
                  </a:lnTo>
                  <a:lnTo>
                    <a:pt x="76" y="117"/>
                  </a:lnTo>
                  <a:lnTo>
                    <a:pt x="75" y="113"/>
                  </a:lnTo>
                  <a:lnTo>
                    <a:pt x="69" y="106"/>
                  </a:lnTo>
                  <a:lnTo>
                    <a:pt x="69" y="105"/>
                  </a:lnTo>
                  <a:lnTo>
                    <a:pt x="68" y="101"/>
                  </a:lnTo>
                  <a:lnTo>
                    <a:pt x="63" y="96"/>
                  </a:lnTo>
                  <a:lnTo>
                    <a:pt x="57" y="93"/>
                  </a:lnTo>
                  <a:lnTo>
                    <a:pt x="54" y="91"/>
                  </a:lnTo>
                  <a:lnTo>
                    <a:pt x="49" y="89"/>
                  </a:lnTo>
                  <a:lnTo>
                    <a:pt x="43" y="87"/>
                  </a:lnTo>
                  <a:lnTo>
                    <a:pt x="42" y="84"/>
                  </a:lnTo>
                  <a:lnTo>
                    <a:pt x="40" y="84"/>
                  </a:lnTo>
                  <a:lnTo>
                    <a:pt x="36" y="82"/>
                  </a:lnTo>
                  <a:lnTo>
                    <a:pt x="40" y="79"/>
                  </a:lnTo>
                  <a:lnTo>
                    <a:pt x="36" y="73"/>
                  </a:lnTo>
                  <a:lnTo>
                    <a:pt x="36" y="72"/>
                  </a:lnTo>
                  <a:lnTo>
                    <a:pt x="40" y="72"/>
                  </a:lnTo>
                  <a:lnTo>
                    <a:pt x="43" y="70"/>
                  </a:lnTo>
                  <a:lnTo>
                    <a:pt x="47" y="70"/>
                  </a:lnTo>
                  <a:lnTo>
                    <a:pt x="49" y="68"/>
                  </a:lnTo>
                  <a:lnTo>
                    <a:pt x="50" y="61"/>
                  </a:lnTo>
                  <a:lnTo>
                    <a:pt x="54" y="59"/>
                  </a:lnTo>
                  <a:lnTo>
                    <a:pt x="54" y="58"/>
                  </a:lnTo>
                  <a:lnTo>
                    <a:pt x="49" y="56"/>
                  </a:lnTo>
                  <a:lnTo>
                    <a:pt x="49" y="54"/>
                  </a:lnTo>
                  <a:lnTo>
                    <a:pt x="49" y="51"/>
                  </a:lnTo>
                  <a:lnTo>
                    <a:pt x="43" y="51"/>
                  </a:lnTo>
                  <a:lnTo>
                    <a:pt x="40" y="47"/>
                  </a:lnTo>
                  <a:lnTo>
                    <a:pt x="36" y="47"/>
                  </a:lnTo>
                  <a:lnTo>
                    <a:pt x="33" y="49"/>
                  </a:lnTo>
                  <a:lnTo>
                    <a:pt x="30" y="47"/>
                  </a:lnTo>
                  <a:lnTo>
                    <a:pt x="21" y="47"/>
                  </a:lnTo>
                  <a:lnTo>
                    <a:pt x="17" y="42"/>
                  </a:lnTo>
                  <a:lnTo>
                    <a:pt x="12" y="35"/>
                  </a:lnTo>
                  <a:lnTo>
                    <a:pt x="12" y="33"/>
                  </a:lnTo>
                  <a:lnTo>
                    <a:pt x="12" y="28"/>
                  </a:lnTo>
                  <a:lnTo>
                    <a:pt x="9" y="26"/>
                  </a:lnTo>
                  <a:lnTo>
                    <a:pt x="5" y="23"/>
                  </a:lnTo>
                  <a:lnTo>
                    <a:pt x="0" y="20"/>
                  </a:lnTo>
                  <a:lnTo>
                    <a:pt x="0" y="18"/>
                  </a:lnTo>
                  <a:lnTo>
                    <a:pt x="0" y="18"/>
                  </a:lnTo>
                  <a:lnTo>
                    <a:pt x="0" y="18"/>
                  </a:lnTo>
                  <a:lnTo>
                    <a:pt x="0" y="18"/>
                  </a:lnTo>
                  <a:close/>
                  <a:moveTo>
                    <a:pt x="47" y="240"/>
                  </a:moveTo>
                  <a:lnTo>
                    <a:pt x="49" y="242"/>
                  </a:lnTo>
                  <a:lnTo>
                    <a:pt x="49" y="246"/>
                  </a:lnTo>
                  <a:lnTo>
                    <a:pt x="49" y="247"/>
                  </a:lnTo>
                  <a:lnTo>
                    <a:pt x="52" y="247"/>
                  </a:lnTo>
                  <a:lnTo>
                    <a:pt x="52" y="242"/>
                  </a:lnTo>
                  <a:lnTo>
                    <a:pt x="50" y="240"/>
                  </a:lnTo>
                  <a:lnTo>
                    <a:pt x="50" y="239"/>
                  </a:lnTo>
                  <a:lnTo>
                    <a:pt x="47" y="240"/>
                  </a:lnTo>
                  <a:lnTo>
                    <a:pt x="47" y="240"/>
                  </a:lnTo>
                  <a:lnTo>
                    <a:pt x="47" y="24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3" name="Freeform 202">
              <a:extLst>
                <a:ext uri="{FF2B5EF4-FFF2-40B4-BE49-F238E27FC236}">
                  <a16:creationId xmlns:a16="http://schemas.microsoft.com/office/drawing/2014/main" id="{08C88059-4F18-4A52-962A-818E6A2DE16F}"/>
                </a:ext>
              </a:extLst>
            </p:cNvPr>
            <p:cNvSpPr>
              <a:spLocks noEditPoints="1"/>
            </p:cNvSpPr>
            <p:nvPr/>
          </p:nvSpPr>
          <p:spPr bwMode="auto">
            <a:xfrm>
              <a:off x="7477125" y="4562476"/>
              <a:ext cx="1095375" cy="1174750"/>
            </a:xfrm>
            <a:custGeom>
              <a:avLst/>
              <a:gdLst/>
              <a:ahLst/>
              <a:cxnLst>
                <a:cxn ang="0">
                  <a:pos x="687" y="311"/>
                </a:cxn>
                <a:cxn ang="0">
                  <a:pos x="652" y="236"/>
                </a:cxn>
                <a:cxn ang="0">
                  <a:pos x="529" y="8"/>
                </a:cxn>
                <a:cxn ang="0">
                  <a:pos x="478" y="121"/>
                </a:cxn>
                <a:cxn ang="0">
                  <a:pos x="424" y="66"/>
                </a:cxn>
                <a:cxn ang="0">
                  <a:pos x="428" y="69"/>
                </a:cxn>
                <a:cxn ang="0">
                  <a:pos x="428" y="26"/>
                </a:cxn>
                <a:cxn ang="0">
                  <a:pos x="419" y="31"/>
                </a:cxn>
                <a:cxn ang="0">
                  <a:pos x="365" y="22"/>
                </a:cxn>
                <a:cxn ang="0">
                  <a:pos x="327" y="19"/>
                </a:cxn>
                <a:cxn ang="0">
                  <a:pos x="327" y="22"/>
                </a:cxn>
                <a:cxn ang="0">
                  <a:pos x="232" y="80"/>
                </a:cxn>
                <a:cxn ang="0">
                  <a:pos x="0" y="287"/>
                </a:cxn>
                <a:cxn ang="0">
                  <a:pos x="376" y="530"/>
                </a:cxn>
                <a:cxn ang="0">
                  <a:pos x="490" y="600"/>
                </a:cxn>
                <a:cxn ang="0">
                  <a:pos x="470" y="654"/>
                </a:cxn>
                <a:cxn ang="0">
                  <a:pos x="459" y="627"/>
                </a:cxn>
                <a:cxn ang="0">
                  <a:pos x="522" y="650"/>
                </a:cxn>
                <a:cxn ang="0">
                  <a:pos x="504" y="714"/>
                </a:cxn>
                <a:cxn ang="0">
                  <a:pos x="459" y="725"/>
                </a:cxn>
                <a:cxn ang="0">
                  <a:pos x="463" y="657"/>
                </a:cxn>
                <a:cxn ang="0">
                  <a:pos x="517" y="667"/>
                </a:cxn>
                <a:cxn ang="0">
                  <a:pos x="503" y="723"/>
                </a:cxn>
                <a:cxn ang="0">
                  <a:pos x="471" y="735"/>
                </a:cxn>
                <a:cxn ang="0">
                  <a:pos x="42" y="488"/>
                </a:cxn>
                <a:cxn ang="0">
                  <a:pos x="100" y="466"/>
                </a:cxn>
                <a:cxn ang="0">
                  <a:pos x="162" y="448"/>
                </a:cxn>
                <a:cxn ang="0">
                  <a:pos x="282" y="424"/>
                </a:cxn>
                <a:cxn ang="0">
                  <a:pos x="332" y="454"/>
                </a:cxn>
                <a:cxn ang="0">
                  <a:pos x="358" y="492"/>
                </a:cxn>
                <a:cxn ang="0">
                  <a:pos x="388" y="476"/>
                </a:cxn>
                <a:cxn ang="0">
                  <a:pos x="397" y="511"/>
                </a:cxn>
                <a:cxn ang="0">
                  <a:pos x="405" y="558"/>
                </a:cxn>
                <a:cxn ang="0">
                  <a:pos x="466" y="603"/>
                </a:cxn>
                <a:cxn ang="0">
                  <a:pos x="496" y="610"/>
                </a:cxn>
                <a:cxn ang="0">
                  <a:pos x="529" y="593"/>
                </a:cxn>
                <a:cxn ang="0">
                  <a:pos x="609" y="511"/>
                </a:cxn>
                <a:cxn ang="0">
                  <a:pos x="654" y="443"/>
                </a:cxn>
                <a:cxn ang="0">
                  <a:pos x="680" y="339"/>
                </a:cxn>
                <a:cxn ang="0">
                  <a:pos x="659" y="269"/>
                </a:cxn>
                <a:cxn ang="0">
                  <a:pos x="636" y="238"/>
                </a:cxn>
                <a:cxn ang="0">
                  <a:pos x="612" y="184"/>
                </a:cxn>
                <a:cxn ang="0">
                  <a:pos x="583" y="130"/>
                </a:cxn>
                <a:cxn ang="0">
                  <a:pos x="555" y="80"/>
                </a:cxn>
                <a:cxn ang="0">
                  <a:pos x="536" y="14"/>
                </a:cxn>
                <a:cxn ang="0">
                  <a:pos x="517" y="76"/>
                </a:cxn>
                <a:cxn ang="0">
                  <a:pos x="468" y="127"/>
                </a:cxn>
                <a:cxn ang="0">
                  <a:pos x="414" y="80"/>
                </a:cxn>
                <a:cxn ang="0">
                  <a:pos x="440" y="38"/>
                </a:cxn>
                <a:cxn ang="0">
                  <a:pos x="409" y="40"/>
                </a:cxn>
                <a:cxn ang="0">
                  <a:pos x="364" y="22"/>
                </a:cxn>
                <a:cxn ang="0">
                  <a:pos x="336" y="38"/>
                </a:cxn>
                <a:cxn ang="0">
                  <a:pos x="308" y="71"/>
                </a:cxn>
                <a:cxn ang="0">
                  <a:pos x="301" y="90"/>
                </a:cxn>
                <a:cxn ang="0">
                  <a:pos x="273" y="74"/>
                </a:cxn>
                <a:cxn ang="0">
                  <a:pos x="240" y="80"/>
                </a:cxn>
                <a:cxn ang="0">
                  <a:pos x="219" y="104"/>
                </a:cxn>
                <a:cxn ang="0">
                  <a:pos x="206" y="125"/>
                </a:cxn>
                <a:cxn ang="0">
                  <a:pos x="178" y="144"/>
                </a:cxn>
                <a:cxn ang="0">
                  <a:pos x="96" y="193"/>
                </a:cxn>
                <a:cxn ang="0">
                  <a:pos x="32" y="212"/>
                </a:cxn>
                <a:cxn ang="0">
                  <a:pos x="13" y="294"/>
                </a:cxn>
                <a:cxn ang="0">
                  <a:pos x="23" y="401"/>
                </a:cxn>
              </a:cxnLst>
              <a:rect l="0" t="0" r="r" b="b"/>
              <a:pathLst>
                <a:path w="690" h="740">
                  <a:moveTo>
                    <a:pt x="683" y="353"/>
                  </a:moveTo>
                  <a:lnTo>
                    <a:pt x="685" y="347"/>
                  </a:lnTo>
                  <a:lnTo>
                    <a:pt x="685" y="351"/>
                  </a:lnTo>
                  <a:lnTo>
                    <a:pt x="683" y="353"/>
                  </a:lnTo>
                  <a:lnTo>
                    <a:pt x="683" y="353"/>
                  </a:lnTo>
                  <a:lnTo>
                    <a:pt x="683" y="353"/>
                  </a:lnTo>
                  <a:lnTo>
                    <a:pt x="683" y="353"/>
                  </a:lnTo>
                  <a:close/>
                  <a:moveTo>
                    <a:pt x="685" y="311"/>
                  </a:moveTo>
                  <a:lnTo>
                    <a:pt x="683" y="306"/>
                  </a:lnTo>
                  <a:lnTo>
                    <a:pt x="685" y="301"/>
                  </a:lnTo>
                  <a:lnTo>
                    <a:pt x="685" y="299"/>
                  </a:lnTo>
                  <a:lnTo>
                    <a:pt x="687" y="294"/>
                  </a:lnTo>
                  <a:lnTo>
                    <a:pt x="690" y="292"/>
                  </a:lnTo>
                  <a:lnTo>
                    <a:pt x="687" y="290"/>
                  </a:lnTo>
                  <a:lnTo>
                    <a:pt x="690" y="287"/>
                  </a:lnTo>
                  <a:lnTo>
                    <a:pt x="690" y="287"/>
                  </a:lnTo>
                  <a:lnTo>
                    <a:pt x="690" y="292"/>
                  </a:lnTo>
                  <a:lnTo>
                    <a:pt x="690" y="297"/>
                  </a:lnTo>
                  <a:lnTo>
                    <a:pt x="687" y="301"/>
                  </a:lnTo>
                  <a:lnTo>
                    <a:pt x="687" y="307"/>
                  </a:lnTo>
                  <a:lnTo>
                    <a:pt x="687" y="311"/>
                  </a:lnTo>
                  <a:lnTo>
                    <a:pt x="685" y="311"/>
                  </a:lnTo>
                  <a:lnTo>
                    <a:pt x="685" y="311"/>
                  </a:lnTo>
                  <a:lnTo>
                    <a:pt x="685" y="311"/>
                  </a:lnTo>
                  <a:lnTo>
                    <a:pt x="685" y="311"/>
                  </a:lnTo>
                  <a:close/>
                  <a:moveTo>
                    <a:pt x="657" y="261"/>
                  </a:moveTo>
                  <a:lnTo>
                    <a:pt x="659" y="264"/>
                  </a:lnTo>
                  <a:lnTo>
                    <a:pt x="662" y="267"/>
                  </a:lnTo>
                  <a:lnTo>
                    <a:pt x="662" y="264"/>
                  </a:lnTo>
                  <a:lnTo>
                    <a:pt x="659" y="262"/>
                  </a:lnTo>
                  <a:lnTo>
                    <a:pt x="659" y="261"/>
                  </a:lnTo>
                  <a:lnTo>
                    <a:pt x="659" y="261"/>
                  </a:lnTo>
                  <a:lnTo>
                    <a:pt x="657" y="259"/>
                  </a:lnTo>
                  <a:lnTo>
                    <a:pt x="657" y="261"/>
                  </a:lnTo>
                  <a:lnTo>
                    <a:pt x="657" y="261"/>
                  </a:lnTo>
                  <a:lnTo>
                    <a:pt x="657" y="261"/>
                  </a:lnTo>
                  <a:lnTo>
                    <a:pt x="657" y="261"/>
                  </a:lnTo>
                  <a:close/>
                  <a:moveTo>
                    <a:pt x="652" y="236"/>
                  </a:moveTo>
                  <a:lnTo>
                    <a:pt x="652" y="234"/>
                  </a:lnTo>
                  <a:lnTo>
                    <a:pt x="650" y="234"/>
                  </a:lnTo>
                  <a:lnTo>
                    <a:pt x="652" y="236"/>
                  </a:lnTo>
                  <a:lnTo>
                    <a:pt x="652" y="236"/>
                  </a:lnTo>
                  <a:lnTo>
                    <a:pt x="652" y="236"/>
                  </a:lnTo>
                  <a:lnTo>
                    <a:pt x="652" y="236"/>
                  </a:lnTo>
                  <a:close/>
                  <a:moveTo>
                    <a:pt x="586" y="161"/>
                  </a:moveTo>
                  <a:lnTo>
                    <a:pt x="590" y="158"/>
                  </a:lnTo>
                  <a:lnTo>
                    <a:pt x="586" y="156"/>
                  </a:lnTo>
                  <a:lnTo>
                    <a:pt x="590" y="156"/>
                  </a:lnTo>
                  <a:lnTo>
                    <a:pt x="590" y="153"/>
                  </a:lnTo>
                  <a:lnTo>
                    <a:pt x="590" y="160"/>
                  </a:lnTo>
                  <a:lnTo>
                    <a:pt x="590" y="163"/>
                  </a:lnTo>
                  <a:lnTo>
                    <a:pt x="586" y="161"/>
                  </a:lnTo>
                  <a:lnTo>
                    <a:pt x="586" y="161"/>
                  </a:lnTo>
                  <a:lnTo>
                    <a:pt x="586" y="161"/>
                  </a:lnTo>
                  <a:lnTo>
                    <a:pt x="586" y="161"/>
                  </a:lnTo>
                  <a:close/>
                  <a:moveTo>
                    <a:pt x="532" y="0"/>
                  </a:moveTo>
                  <a:lnTo>
                    <a:pt x="532" y="3"/>
                  </a:lnTo>
                  <a:lnTo>
                    <a:pt x="532" y="0"/>
                  </a:lnTo>
                  <a:lnTo>
                    <a:pt x="532" y="0"/>
                  </a:lnTo>
                  <a:lnTo>
                    <a:pt x="532" y="0"/>
                  </a:lnTo>
                  <a:lnTo>
                    <a:pt x="532" y="0"/>
                  </a:lnTo>
                  <a:lnTo>
                    <a:pt x="532" y="0"/>
                  </a:lnTo>
                  <a:close/>
                  <a:moveTo>
                    <a:pt x="529" y="8"/>
                  </a:moveTo>
                  <a:lnTo>
                    <a:pt x="529" y="12"/>
                  </a:lnTo>
                  <a:lnTo>
                    <a:pt x="530" y="12"/>
                  </a:lnTo>
                  <a:lnTo>
                    <a:pt x="532" y="10"/>
                  </a:lnTo>
                  <a:lnTo>
                    <a:pt x="532" y="8"/>
                  </a:lnTo>
                  <a:lnTo>
                    <a:pt x="529" y="8"/>
                  </a:lnTo>
                  <a:lnTo>
                    <a:pt x="529" y="8"/>
                  </a:lnTo>
                  <a:lnTo>
                    <a:pt x="529" y="8"/>
                  </a:lnTo>
                  <a:lnTo>
                    <a:pt x="529" y="8"/>
                  </a:lnTo>
                  <a:close/>
                  <a:moveTo>
                    <a:pt x="475" y="130"/>
                  </a:moveTo>
                  <a:lnTo>
                    <a:pt x="475" y="134"/>
                  </a:lnTo>
                  <a:lnTo>
                    <a:pt x="477" y="130"/>
                  </a:lnTo>
                  <a:lnTo>
                    <a:pt x="477" y="130"/>
                  </a:lnTo>
                  <a:lnTo>
                    <a:pt x="475" y="130"/>
                  </a:lnTo>
                  <a:lnTo>
                    <a:pt x="475" y="130"/>
                  </a:lnTo>
                  <a:lnTo>
                    <a:pt x="475" y="130"/>
                  </a:lnTo>
                  <a:lnTo>
                    <a:pt x="475" y="130"/>
                  </a:lnTo>
                  <a:close/>
                  <a:moveTo>
                    <a:pt x="470" y="121"/>
                  </a:moveTo>
                  <a:lnTo>
                    <a:pt x="471" y="125"/>
                  </a:lnTo>
                  <a:lnTo>
                    <a:pt x="473" y="125"/>
                  </a:lnTo>
                  <a:lnTo>
                    <a:pt x="477" y="121"/>
                  </a:lnTo>
                  <a:lnTo>
                    <a:pt x="478" y="121"/>
                  </a:lnTo>
                  <a:lnTo>
                    <a:pt x="478" y="120"/>
                  </a:lnTo>
                  <a:lnTo>
                    <a:pt x="475" y="120"/>
                  </a:lnTo>
                  <a:lnTo>
                    <a:pt x="471" y="121"/>
                  </a:lnTo>
                  <a:lnTo>
                    <a:pt x="471" y="121"/>
                  </a:lnTo>
                  <a:lnTo>
                    <a:pt x="470" y="121"/>
                  </a:lnTo>
                  <a:lnTo>
                    <a:pt x="470" y="121"/>
                  </a:lnTo>
                  <a:lnTo>
                    <a:pt x="470" y="121"/>
                  </a:lnTo>
                  <a:lnTo>
                    <a:pt x="470" y="121"/>
                  </a:lnTo>
                  <a:close/>
                  <a:moveTo>
                    <a:pt x="437" y="106"/>
                  </a:moveTo>
                  <a:lnTo>
                    <a:pt x="433" y="104"/>
                  </a:lnTo>
                  <a:lnTo>
                    <a:pt x="437" y="102"/>
                  </a:lnTo>
                  <a:lnTo>
                    <a:pt x="437" y="104"/>
                  </a:lnTo>
                  <a:lnTo>
                    <a:pt x="437" y="106"/>
                  </a:lnTo>
                  <a:lnTo>
                    <a:pt x="437" y="106"/>
                  </a:lnTo>
                  <a:lnTo>
                    <a:pt x="437" y="106"/>
                  </a:lnTo>
                  <a:lnTo>
                    <a:pt x="437" y="106"/>
                  </a:lnTo>
                  <a:close/>
                  <a:moveTo>
                    <a:pt x="424" y="71"/>
                  </a:moveTo>
                  <a:lnTo>
                    <a:pt x="424" y="69"/>
                  </a:lnTo>
                  <a:lnTo>
                    <a:pt x="423" y="69"/>
                  </a:lnTo>
                  <a:lnTo>
                    <a:pt x="423" y="68"/>
                  </a:lnTo>
                  <a:lnTo>
                    <a:pt x="424" y="66"/>
                  </a:lnTo>
                  <a:lnTo>
                    <a:pt x="426" y="69"/>
                  </a:lnTo>
                  <a:lnTo>
                    <a:pt x="424" y="71"/>
                  </a:lnTo>
                  <a:lnTo>
                    <a:pt x="424" y="71"/>
                  </a:lnTo>
                  <a:lnTo>
                    <a:pt x="424" y="71"/>
                  </a:lnTo>
                  <a:lnTo>
                    <a:pt x="424" y="71"/>
                  </a:lnTo>
                  <a:close/>
                  <a:moveTo>
                    <a:pt x="428" y="74"/>
                  </a:moveTo>
                  <a:lnTo>
                    <a:pt x="428" y="76"/>
                  </a:lnTo>
                  <a:lnTo>
                    <a:pt x="428" y="76"/>
                  </a:lnTo>
                  <a:lnTo>
                    <a:pt x="431" y="76"/>
                  </a:lnTo>
                  <a:lnTo>
                    <a:pt x="437" y="76"/>
                  </a:lnTo>
                  <a:lnTo>
                    <a:pt x="437" y="74"/>
                  </a:lnTo>
                  <a:lnTo>
                    <a:pt x="437" y="73"/>
                  </a:lnTo>
                  <a:lnTo>
                    <a:pt x="433" y="73"/>
                  </a:lnTo>
                  <a:lnTo>
                    <a:pt x="431" y="73"/>
                  </a:lnTo>
                  <a:lnTo>
                    <a:pt x="437" y="69"/>
                  </a:lnTo>
                  <a:lnTo>
                    <a:pt x="437" y="69"/>
                  </a:lnTo>
                  <a:lnTo>
                    <a:pt x="431" y="69"/>
                  </a:lnTo>
                  <a:lnTo>
                    <a:pt x="431" y="68"/>
                  </a:lnTo>
                  <a:lnTo>
                    <a:pt x="431" y="68"/>
                  </a:lnTo>
                  <a:lnTo>
                    <a:pt x="428" y="69"/>
                  </a:lnTo>
                  <a:lnTo>
                    <a:pt x="428" y="69"/>
                  </a:lnTo>
                  <a:lnTo>
                    <a:pt x="428" y="71"/>
                  </a:lnTo>
                  <a:lnTo>
                    <a:pt x="428" y="71"/>
                  </a:lnTo>
                  <a:lnTo>
                    <a:pt x="428" y="74"/>
                  </a:lnTo>
                  <a:lnTo>
                    <a:pt x="428" y="74"/>
                  </a:lnTo>
                  <a:lnTo>
                    <a:pt x="428" y="74"/>
                  </a:lnTo>
                  <a:lnTo>
                    <a:pt x="428" y="74"/>
                  </a:lnTo>
                  <a:close/>
                  <a:moveTo>
                    <a:pt x="431" y="22"/>
                  </a:moveTo>
                  <a:lnTo>
                    <a:pt x="431" y="24"/>
                  </a:lnTo>
                  <a:lnTo>
                    <a:pt x="433" y="21"/>
                  </a:lnTo>
                  <a:lnTo>
                    <a:pt x="437" y="19"/>
                  </a:lnTo>
                  <a:lnTo>
                    <a:pt x="437" y="17"/>
                  </a:lnTo>
                  <a:lnTo>
                    <a:pt x="431" y="21"/>
                  </a:lnTo>
                  <a:lnTo>
                    <a:pt x="431" y="22"/>
                  </a:lnTo>
                  <a:lnTo>
                    <a:pt x="431" y="22"/>
                  </a:lnTo>
                  <a:lnTo>
                    <a:pt x="431" y="22"/>
                  </a:lnTo>
                  <a:lnTo>
                    <a:pt x="431" y="22"/>
                  </a:lnTo>
                  <a:close/>
                  <a:moveTo>
                    <a:pt x="428" y="26"/>
                  </a:moveTo>
                  <a:lnTo>
                    <a:pt x="428" y="26"/>
                  </a:lnTo>
                  <a:lnTo>
                    <a:pt x="428" y="24"/>
                  </a:lnTo>
                  <a:lnTo>
                    <a:pt x="428" y="26"/>
                  </a:lnTo>
                  <a:lnTo>
                    <a:pt x="428" y="26"/>
                  </a:lnTo>
                  <a:lnTo>
                    <a:pt x="428" y="26"/>
                  </a:lnTo>
                  <a:lnTo>
                    <a:pt x="428" y="26"/>
                  </a:lnTo>
                  <a:close/>
                  <a:moveTo>
                    <a:pt x="424" y="26"/>
                  </a:moveTo>
                  <a:lnTo>
                    <a:pt x="426" y="29"/>
                  </a:lnTo>
                  <a:lnTo>
                    <a:pt x="426" y="26"/>
                  </a:lnTo>
                  <a:lnTo>
                    <a:pt x="424" y="26"/>
                  </a:lnTo>
                  <a:lnTo>
                    <a:pt x="424" y="26"/>
                  </a:lnTo>
                  <a:lnTo>
                    <a:pt x="424" y="26"/>
                  </a:lnTo>
                  <a:lnTo>
                    <a:pt x="424" y="26"/>
                  </a:lnTo>
                  <a:close/>
                  <a:moveTo>
                    <a:pt x="417" y="29"/>
                  </a:moveTo>
                  <a:lnTo>
                    <a:pt x="421" y="29"/>
                  </a:lnTo>
                  <a:lnTo>
                    <a:pt x="421" y="29"/>
                  </a:lnTo>
                  <a:lnTo>
                    <a:pt x="417" y="29"/>
                  </a:lnTo>
                  <a:lnTo>
                    <a:pt x="417" y="29"/>
                  </a:lnTo>
                  <a:lnTo>
                    <a:pt x="417" y="29"/>
                  </a:lnTo>
                  <a:lnTo>
                    <a:pt x="417" y="29"/>
                  </a:lnTo>
                  <a:close/>
                  <a:moveTo>
                    <a:pt x="414" y="34"/>
                  </a:moveTo>
                  <a:lnTo>
                    <a:pt x="414" y="34"/>
                  </a:lnTo>
                  <a:lnTo>
                    <a:pt x="417" y="29"/>
                  </a:lnTo>
                  <a:lnTo>
                    <a:pt x="419" y="29"/>
                  </a:lnTo>
                  <a:lnTo>
                    <a:pt x="419" y="31"/>
                  </a:lnTo>
                  <a:lnTo>
                    <a:pt x="416" y="34"/>
                  </a:lnTo>
                  <a:lnTo>
                    <a:pt x="414" y="34"/>
                  </a:lnTo>
                  <a:lnTo>
                    <a:pt x="414" y="34"/>
                  </a:lnTo>
                  <a:lnTo>
                    <a:pt x="414" y="34"/>
                  </a:lnTo>
                  <a:lnTo>
                    <a:pt x="414" y="34"/>
                  </a:lnTo>
                  <a:close/>
                  <a:moveTo>
                    <a:pt x="409" y="36"/>
                  </a:moveTo>
                  <a:lnTo>
                    <a:pt x="409" y="36"/>
                  </a:lnTo>
                  <a:lnTo>
                    <a:pt x="412" y="34"/>
                  </a:lnTo>
                  <a:lnTo>
                    <a:pt x="412" y="34"/>
                  </a:lnTo>
                  <a:lnTo>
                    <a:pt x="409" y="36"/>
                  </a:lnTo>
                  <a:lnTo>
                    <a:pt x="409" y="36"/>
                  </a:lnTo>
                  <a:lnTo>
                    <a:pt x="409" y="36"/>
                  </a:lnTo>
                  <a:lnTo>
                    <a:pt x="409" y="36"/>
                  </a:lnTo>
                  <a:close/>
                  <a:moveTo>
                    <a:pt x="365" y="22"/>
                  </a:moveTo>
                  <a:lnTo>
                    <a:pt x="364" y="19"/>
                  </a:lnTo>
                  <a:lnTo>
                    <a:pt x="364" y="17"/>
                  </a:lnTo>
                  <a:lnTo>
                    <a:pt x="367" y="15"/>
                  </a:lnTo>
                  <a:lnTo>
                    <a:pt x="365" y="19"/>
                  </a:lnTo>
                  <a:lnTo>
                    <a:pt x="365" y="22"/>
                  </a:lnTo>
                  <a:lnTo>
                    <a:pt x="365" y="22"/>
                  </a:lnTo>
                  <a:lnTo>
                    <a:pt x="365" y="22"/>
                  </a:lnTo>
                  <a:lnTo>
                    <a:pt x="365" y="22"/>
                  </a:lnTo>
                  <a:close/>
                  <a:moveTo>
                    <a:pt x="327" y="21"/>
                  </a:moveTo>
                  <a:lnTo>
                    <a:pt x="327" y="24"/>
                  </a:lnTo>
                  <a:lnTo>
                    <a:pt x="332" y="26"/>
                  </a:lnTo>
                  <a:lnTo>
                    <a:pt x="332" y="29"/>
                  </a:lnTo>
                  <a:lnTo>
                    <a:pt x="338" y="34"/>
                  </a:lnTo>
                  <a:lnTo>
                    <a:pt x="345" y="26"/>
                  </a:lnTo>
                  <a:lnTo>
                    <a:pt x="345" y="26"/>
                  </a:lnTo>
                  <a:lnTo>
                    <a:pt x="346" y="26"/>
                  </a:lnTo>
                  <a:lnTo>
                    <a:pt x="348" y="24"/>
                  </a:lnTo>
                  <a:lnTo>
                    <a:pt x="346" y="22"/>
                  </a:lnTo>
                  <a:lnTo>
                    <a:pt x="345" y="21"/>
                  </a:lnTo>
                  <a:lnTo>
                    <a:pt x="343" y="21"/>
                  </a:lnTo>
                  <a:lnTo>
                    <a:pt x="341" y="22"/>
                  </a:lnTo>
                  <a:lnTo>
                    <a:pt x="336" y="22"/>
                  </a:lnTo>
                  <a:lnTo>
                    <a:pt x="336" y="24"/>
                  </a:lnTo>
                  <a:lnTo>
                    <a:pt x="332" y="24"/>
                  </a:lnTo>
                  <a:lnTo>
                    <a:pt x="332" y="22"/>
                  </a:lnTo>
                  <a:lnTo>
                    <a:pt x="331" y="22"/>
                  </a:lnTo>
                  <a:lnTo>
                    <a:pt x="327" y="19"/>
                  </a:lnTo>
                  <a:lnTo>
                    <a:pt x="327" y="19"/>
                  </a:lnTo>
                  <a:lnTo>
                    <a:pt x="327" y="21"/>
                  </a:lnTo>
                  <a:lnTo>
                    <a:pt x="327" y="21"/>
                  </a:lnTo>
                  <a:lnTo>
                    <a:pt x="327" y="21"/>
                  </a:lnTo>
                  <a:lnTo>
                    <a:pt x="327" y="21"/>
                  </a:lnTo>
                  <a:close/>
                  <a:moveTo>
                    <a:pt x="327" y="22"/>
                  </a:moveTo>
                  <a:lnTo>
                    <a:pt x="327" y="26"/>
                  </a:lnTo>
                  <a:lnTo>
                    <a:pt x="332" y="29"/>
                  </a:lnTo>
                  <a:lnTo>
                    <a:pt x="332" y="29"/>
                  </a:lnTo>
                  <a:lnTo>
                    <a:pt x="327" y="29"/>
                  </a:lnTo>
                  <a:lnTo>
                    <a:pt x="327" y="29"/>
                  </a:lnTo>
                  <a:lnTo>
                    <a:pt x="322" y="26"/>
                  </a:lnTo>
                  <a:lnTo>
                    <a:pt x="322" y="26"/>
                  </a:lnTo>
                  <a:lnTo>
                    <a:pt x="324" y="26"/>
                  </a:lnTo>
                  <a:lnTo>
                    <a:pt x="324" y="26"/>
                  </a:lnTo>
                  <a:lnTo>
                    <a:pt x="324" y="26"/>
                  </a:lnTo>
                  <a:lnTo>
                    <a:pt x="324" y="26"/>
                  </a:lnTo>
                  <a:lnTo>
                    <a:pt x="324" y="24"/>
                  </a:lnTo>
                  <a:lnTo>
                    <a:pt x="324" y="22"/>
                  </a:lnTo>
                  <a:lnTo>
                    <a:pt x="327" y="22"/>
                  </a:lnTo>
                  <a:lnTo>
                    <a:pt x="327" y="22"/>
                  </a:lnTo>
                  <a:lnTo>
                    <a:pt x="327" y="22"/>
                  </a:lnTo>
                  <a:lnTo>
                    <a:pt x="327" y="22"/>
                  </a:lnTo>
                  <a:close/>
                  <a:moveTo>
                    <a:pt x="218" y="95"/>
                  </a:moveTo>
                  <a:lnTo>
                    <a:pt x="219" y="97"/>
                  </a:lnTo>
                  <a:lnTo>
                    <a:pt x="223" y="95"/>
                  </a:lnTo>
                  <a:lnTo>
                    <a:pt x="219" y="92"/>
                  </a:lnTo>
                  <a:lnTo>
                    <a:pt x="219" y="92"/>
                  </a:lnTo>
                  <a:lnTo>
                    <a:pt x="218" y="95"/>
                  </a:lnTo>
                  <a:lnTo>
                    <a:pt x="218" y="95"/>
                  </a:lnTo>
                  <a:lnTo>
                    <a:pt x="218" y="95"/>
                  </a:lnTo>
                  <a:lnTo>
                    <a:pt x="218" y="95"/>
                  </a:lnTo>
                  <a:close/>
                  <a:moveTo>
                    <a:pt x="219" y="106"/>
                  </a:moveTo>
                  <a:lnTo>
                    <a:pt x="218" y="102"/>
                  </a:lnTo>
                  <a:lnTo>
                    <a:pt x="216" y="99"/>
                  </a:lnTo>
                  <a:lnTo>
                    <a:pt x="216" y="104"/>
                  </a:lnTo>
                  <a:lnTo>
                    <a:pt x="219" y="106"/>
                  </a:lnTo>
                  <a:lnTo>
                    <a:pt x="219" y="106"/>
                  </a:lnTo>
                  <a:lnTo>
                    <a:pt x="219" y="106"/>
                  </a:lnTo>
                  <a:lnTo>
                    <a:pt x="219" y="106"/>
                  </a:lnTo>
                  <a:close/>
                  <a:moveTo>
                    <a:pt x="232" y="80"/>
                  </a:moveTo>
                  <a:lnTo>
                    <a:pt x="232" y="80"/>
                  </a:lnTo>
                  <a:lnTo>
                    <a:pt x="232" y="80"/>
                  </a:lnTo>
                  <a:lnTo>
                    <a:pt x="233" y="80"/>
                  </a:lnTo>
                  <a:lnTo>
                    <a:pt x="232" y="80"/>
                  </a:lnTo>
                  <a:lnTo>
                    <a:pt x="232" y="80"/>
                  </a:lnTo>
                  <a:lnTo>
                    <a:pt x="232" y="80"/>
                  </a:lnTo>
                  <a:lnTo>
                    <a:pt x="232" y="80"/>
                  </a:lnTo>
                  <a:close/>
                  <a:moveTo>
                    <a:pt x="51" y="198"/>
                  </a:moveTo>
                  <a:lnTo>
                    <a:pt x="51" y="196"/>
                  </a:lnTo>
                  <a:lnTo>
                    <a:pt x="54" y="193"/>
                  </a:lnTo>
                  <a:lnTo>
                    <a:pt x="54" y="196"/>
                  </a:lnTo>
                  <a:lnTo>
                    <a:pt x="51" y="198"/>
                  </a:lnTo>
                  <a:lnTo>
                    <a:pt x="51" y="198"/>
                  </a:lnTo>
                  <a:lnTo>
                    <a:pt x="51" y="198"/>
                  </a:lnTo>
                  <a:lnTo>
                    <a:pt x="51" y="198"/>
                  </a:lnTo>
                  <a:close/>
                  <a:moveTo>
                    <a:pt x="0" y="287"/>
                  </a:moveTo>
                  <a:lnTo>
                    <a:pt x="2" y="278"/>
                  </a:lnTo>
                  <a:lnTo>
                    <a:pt x="2" y="283"/>
                  </a:lnTo>
                  <a:lnTo>
                    <a:pt x="2" y="283"/>
                  </a:lnTo>
                  <a:lnTo>
                    <a:pt x="0" y="287"/>
                  </a:lnTo>
                  <a:lnTo>
                    <a:pt x="0" y="287"/>
                  </a:lnTo>
                  <a:lnTo>
                    <a:pt x="0" y="287"/>
                  </a:lnTo>
                  <a:lnTo>
                    <a:pt x="0" y="287"/>
                  </a:lnTo>
                  <a:close/>
                  <a:moveTo>
                    <a:pt x="0" y="299"/>
                  </a:moveTo>
                  <a:lnTo>
                    <a:pt x="0" y="294"/>
                  </a:lnTo>
                  <a:lnTo>
                    <a:pt x="0" y="288"/>
                  </a:lnTo>
                  <a:lnTo>
                    <a:pt x="2" y="294"/>
                  </a:lnTo>
                  <a:lnTo>
                    <a:pt x="0" y="299"/>
                  </a:lnTo>
                  <a:lnTo>
                    <a:pt x="0" y="299"/>
                  </a:lnTo>
                  <a:lnTo>
                    <a:pt x="0" y="299"/>
                  </a:lnTo>
                  <a:lnTo>
                    <a:pt x="0" y="299"/>
                  </a:lnTo>
                  <a:close/>
                  <a:moveTo>
                    <a:pt x="378" y="520"/>
                  </a:moveTo>
                  <a:lnTo>
                    <a:pt x="378" y="523"/>
                  </a:lnTo>
                  <a:lnTo>
                    <a:pt x="378" y="523"/>
                  </a:lnTo>
                  <a:lnTo>
                    <a:pt x="381" y="523"/>
                  </a:lnTo>
                  <a:lnTo>
                    <a:pt x="381" y="525"/>
                  </a:lnTo>
                  <a:lnTo>
                    <a:pt x="383" y="525"/>
                  </a:lnTo>
                  <a:lnTo>
                    <a:pt x="386" y="525"/>
                  </a:lnTo>
                  <a:lnTo>
                    <a:pt x="386" y="525"/>
                  </a:lnTo>
                  <a:lnTo>
                    <a:pt x="386" y="528"/>
                  </a:lnTo>
                  <a:lnTo>
                    <a:pt x="378" y="527"/>
                  </a:lnTo>
                  <a:lnTo>
                    <a:pt x="378" y="528"/>
                  </a:lnTo>
                  <a:lnTo>
                    <a:pt x="376" y="528"/>
                  </a:lnTo>
                  <a:lnTo>
                    <a:pt x="376" y="530"/>
                  </a:lnTo>
                  <a:lnTo>
                    <a:pt x="374" y="530"/>
                  </a:lnTo>
                  <a:lnTo>
                    <a:pt x="372" y="528"/>
                  </a:lnTo>
                  <a:lnTo>
                    <a:pt x="371" y="528"/>
                  </a:lnTo>
                  <a:lnTo>
                    <a:pt x="367" y="528"/>
                  </a:lnTo>
                  <a:lnTo>
                    <a:pt x="365" y="528"/>
                  </a:lnTo>
                  <a:lnTo>
                    <a:pt x="362" y="528"/>
                  </a:lnTo>
                  <a:lnTo>
                    <a:pt x="358" y="527"/>
                  </a:lnTo>
                  <a:lnTo>
                    <a:pt x="358" y="525"/>
                  </a:lnTo>
                  <a:lnTo>
                    <a:pt x="364" y="523"/>
                  </a:lnTo>
                  <a:lnTo>
                    <a:pt x="374" y="520"/>
                  </a:lnTo>
                  <a:lnTo>
                    <a:pt x="376" y="520"/>
                  </a:lnTo>
                  <a:lnTo>
                    <a:pt x="378" y="520"/>
                  </a:lnTo>
                  <a:lnTo>
                    <a:pt x="378" y="520"/>
                  </a:lnTo>
                  <a:lnTo>
                    <a:pt x="378" y="520"/>
                  </a:lnTo>
                  <a:lnTo>
                    <a:pt x="378" y="520"/>
                  </a:lnTo>
                  <a:close/>
                  <a:moveTo>
                    <a:pt x="490" y="600"/>
                  </a:moveTo>
                  <a:lnTo>
                    <a:pt x="490" y="600"/>
                  </a:lnTo>
                  <a:lnTo>
                    <a:pt x="492" y="601"/>
                  </a:lnTo>
                  <a:lnTo>
                    <a:pt x="492" y="601"/>
                  </a:lnTo>
                  <a:lnTo>
                    <a:pt x="490" y="600"/>
                  </a:lnTo>
                  <a:lnTo>
                    <a:pt x="490" y="600"/>
                  </a:lnTo>
                  <a:lnTo>
                    <a:pt x="490" y="600"/>
                  </a:lnTo>
                  <a:lnTo>
                    <a:pt x="490" y="600"/>
                  </a:lnTo>
                  <a:close/>
                  <a:moveTo>
                    <a:pt x="508" y="610"/>
                  </a:moveTo>
                  <a:lnTo>
                    <a:pt x="510" y="614"/>
                  </a:lnTo>
                  <a:lnTo>
                    <a:pt x="510" y="610"/>
                  </a:lnTo>
                  <a:lnTo>
                    <a:pt x="508" y="610"/>
                  </a:lnTo>
                  <a:lnTo>
                    <a:pt x="508" y="610"/>
                  </a:lnTo>
                  <a:lnTo>
                    <a:pt x="508" y="610"/>
                  </a:lnTo>
                  <a:lnTo>
                    <a:pt x="508" y="610"/>
                  </a:lnTo>
                  <a:close/>
                  <a:moveTo>
                    <a:pt x="466" y="657"/>
                  </a:moveTo>
                  <a:lnTo>
                    <a:pt x="466" y="660"/>
                  </a:lnTo>
                  <a:lnTo>
                    <a:pt x="470" y="660"/>
                  </a:lnTo>
                  <a:lnTo>
                    <a:pt x="471" y="659"/>
                  </a:lnTo>
                  <a:lnTo>
                    <a:pt x="468" y="657"/>
                  </a:lnTo>
                  <a:lnTo>
                    <a:pt x="466" y="657"/>
                  </a:lnTo>
                  <a:lnTo>
                    <a:pt x="466" y="657"/>
                  </a:lnTo>
                  <a:lnTo>
                    <a:pt x="466" y="657"/>
                  </a:lnTo>
                  <a:lnTo>
                    <a:pt x="466" y="657"/>
                  </a:lnTo>
                  <a:close/>
                  <a:moveTo>
                    <a:pt x="468" y="650"/>
                  </a:moveTo>
                  <a:lnTo>
                    <a:pt x="468" y="654"/>
                  </a:lnTo>
                  <a:lnTo>
                    <a:pt x="470" y="654"/>
                  </a:lnTo>
                  <a:lnTo>
                    <a:pt x="470" y="650"/>
                  </a:lnTo>
                  <a:lnTo>
                    <a:pt x="468" y="650"/>
                  </a:lnTo>
                  <a:lnTo>
                    <a:pt x="468" y="650"/>
                  </a:lnTo>
                  <a:lnTo>
                    <a:pt x="468" y="650"/>
                  </a:lnTo>
                  <a:lnTo>
                    <a:pt x="468" y="650"/>
                  </a:lnTo>
                  <a:close/>
                  <a:moveTo>
                    <a:pt x="464" y="655"/>
                  </a:moveTo>
                  <a:lnTo>
                    <a:pt x="463" y="654"/>
                  </a:lnTo>
                  <a:lnTo>
                    <a:pt x="463" y="650"/>
                  </a:lnTo>
                  <a:lnTo>
                    <a:pt x="466" y="648"/>
                  </a:lnTo>
                  <a:lnTo>
                    <a:pt x="466" y="652"/>
                  </a:lnTo>
                  <a:lnTo>
                    <a:pt x="464" y="655"/>
                  </a:lnTo>
                  <a:lnTo>
                    <a:pt x="464" y="655"/>
                  </a:lnTo>
                  <a:lnTo>
                    <a:pt x="464" y="655"/>
                  </a:lnTo>
                  <a:lnTo>
                    <a:pt x="464" y="655"/>
                  </a:lnTo>
                  <a:close/>
                  <a:moveTo>
                    <a:pt x="454" y="641"/>
                  </a:moveTo>
                  <a:lnTo>
                    <a:pt x="456" y="641"/>
                  </a:lnTo>
                  <a:lnTo>
                    <a:pt x="454" y="638"/>
                  </a:lnTo>
                  <a:lnTo>
                    <a:pt x="456" y="634"/>
                  </a:lnTo>
                  <a:lnTo>
                    <a:pt x="456" y="631"/>
                  </a:lnTo>
                  <a:lnTo>
                    <a:pt x="459" y="629"/>
                  </a:lnTo>
                  <a:lnTo>
                    <a:pt x="459" y="627"/>
                  </a:lnTo>
                  <a:lnTo>
                    <a:pt x="463" y="629"/>
                  </a:lnTo>
                  <a:lnTo>
                    <a:pt x="463" y="634"/>
                  </a:lnTo>
                  <a:lnTo>
                    <a:pt x="463" y="636"/>
                  </a:lnTo>
                  <a:lnTo>
                    <a:pt x="459" y="638"/>
                  </a:lnTo>
                  <a:lnTo>
                    <a:pt x="459" y="641"/>
                  </a:lnTo>
                  <a:lnTo>
                    <a:pt x="456" y="645"/>
                  </a:lnTo>
                  <a:lnTo>
                    <a:pt x="454" y="641"/>
                  </a:lnTo>
                  <a:lnTo>
                    <a:pt x="454" y="641"/>
                  </a:lnTo>
                  <a:lnTo>
                    <a:pt x="454" y="641"/>
                  </a:lnTo>
                  <a:lnTo>
                    <a:pt x="454" y="641"/>
                  </a:lnTo>
                  <a:close/>
                  <a:moveTo>
                    <a:pt x="522" y="650"/>
                  </a:moveTo>
                  <a:lnTo>
                    <a:pt x="529" y="648"/>
                  </a:lnTo>
                  <a:lnTo>
                    <a:pt x="529" y="645"/>
                  </a:lnTo>
                  <a:lnTo>
                    <a:pt x="522" y="638"/>
                  </a:lnTo>
                  <a:lnTo>
                    <a:pt x="520" y="641"/>
                  </a:lnTo>
                  <a:lnTo>
                    <a:pt x="520" y="645"/>
                  </a:lnTo>
                  <a:lnTo>
                    <a:pt x="520" y="647"/>
                  </a:lnTo>
                  <a:lnTo>
                    <a:pt x="520" y="648"/>
                  </a:lnTo>
                  <a:lnTo>
                    <a:pt x="522" y="650"/>
                  </a:lnTo>
                  <a:lnTo>
                    <a:pt x="522" y="650"/>
                  </a:lnTo>
                  <a:lnTo>
                    <a:pt x="522" y="650"/>
                  </a:lnTo>
                  <a:lnTo>
                    <a:pt x="522" y="650"/>
                  </a:lnTo>
                  <a:close/>
                  <a:moveTo>
                    <a:pt x="518" y="655"/>
                  </a:moveTo>
                  <a:lnTo>
                    <a:pt x="520" y="657"/>
                  </a:lnTo>
                  <a:lnTo>
                    <a:pt x="525" y="657"/>
                  </a:lnTo>
                  <a:lnTo>
                    <a:pt x="527" y="659"/>
                  </a:lnTo>
                  <a:lnTo>
                    <a:pt x="529" y="657"/>
                  </a:lnTo>
                  <a:lnTo>
                    <a:pt x="525" y="654"/>
                  </a:lnTo>
                  <a:lnTo>
                    <a:pt x="520" y="654"/>
                  </a:lnTo>
                  <a:lnTo>
                    <a:pt x="518" y="655"/>
                  </a:lnTo>
                  <a:lnTo>
                    <a:pt x="518" y="655"/>
                  </a:lnTo>
                  <a:lnTo>
                    <a:pt x="518" y="655"/>
                  </a:lnTo>
                  <a:lnTo>
                    <a:pt x="518" y="655"/>
                  </a:lnTo>
                  <a:close/>
                  <a:moveTo>
                    <a:pt x="522" y="664"/>
                  </a:moveTo>
                  <a:lnTo>
                    <a:pt x="520" y="660"/>
                  </a:lnTo>
                  <a:lnTo>
                    <a:pt x="523" y="660"/>
                  </a:lnTo>
                  <a:lnTo>
                    <a:pt x="522" y="664"/>
                  </a:lnTo>
                  <a:lnTo>
                    <a:pt x="522" y="664"/>
                  </a:lnTo>
                  <a:lnTo>
                    <a:pt x="522" y="664"/>
                  </a:lnTo>
                  <a:lnTo>
                    <a:pt x="522" y="664"/>
                  </a:lnTo>
                  <a:close/>
                  <a:moveTo>
                    <a:pt x="504" y="718"/>
                  </a:moveTo>
                  <a:lnTo>
                    <a:pt x="504" y="714"/>
                  </a:lnTo>
                  <a:lnTo>
                    <a:pt x="504" y="718"/>
                  </a:lnTo>
                  <a:lnTo>
                    <a:pt x="504" y="718"/>
                  </a:lnTo>
                  <a:lnTo>
                    <a:pt x="504" y="718"/>
                  </a:lnTo>
                  <a:lnTo>
                    <a:pt x="504" y="718"/>
                  </a:lnTo>
                  <a:lnTo>
                    <a:pt x="504" y="718"/>
                  </a:lnTo>
                  <a:close/>
                  <a:moveTo>
                    <a:pt x="485" y="737"/>
                  </a:moveTo>
                  <a:lnTo>
                    <a:pt x="482" y="737"/>
                  </a:lnTo>
                  <a:lnTo>
                    <a:pt x="485" y="733"/>
                  </a:lnTo>
                  <a:lnTo>
                    <a:pt x="485" y="730"/>
                  </a:lnTo>
                  <a:lnTo>
                    <a:pt x="485" y="728"/>
                  </a:lnTo>
                  <a:lnTo>
                    <a:pt x="485" y="730"/>
                  </a:lnTo>
                  <a:lnTo>
                    <a:pt x="485" y="733"/>
                  </a:lnTo>
                  <a:lnTo>
                    <a:pt x="485" y="737"/>
                  </a:lnTo>
                  <a:lnTo>
                    <a:pt x="485" y="737"/>
                  </a:lnTo>
                  <a:lnTo>
                    <a:pt x="485" y="737"/>
                  </a:lnTo>
                  <a:lnTo>
                    <a:pt x="485" y="737"/>
                  </a:lnTo>
                  <a:close/>
                  <a:moveTo>
                    <a:pt x="463" y="737"/>
                  </a:moveTo>
                  <a:lnTo>
                    <a:pt x="463" y="732"/>
                  </a:lnTo>
                  <a:lnTo>
                    <a:pt x="463" y="730"/>
                  </a:lnTo>
                  <a:lnTo>
                    <a:pt x="459" y="728"/>
                  </a:lnTo>
                  <a:lnTo>
                    <a:pt x="459" y="725"/>
                  </a:lnTo>
                  <a:lnTo>
                    <a:pt x="459" y="723"/>
                  </a:lnTo>
                  <a:lnTo>
                    <a:pt x="459" y="721"/>
                  </a:lnTo>
                  <a:lnTo>
                    <a:pt x="459" y="713"/>
                  </a:lnTo>
                  <a:lnTo>
                    <a:pt x="459" y="709"/>
                  </a:lnTo>
                  <a:lnTo>
                    <a:pt x="456" y="709"/>
                  </a:lnTo>
                  <a:lnTo>
                    <a:pt x="456" y="702"/>
                  </a:lnTo>
                  <a:lnTo>
                    <a:pt x="459" y="699"/>
                  </a:lnTo>
                  <a:lnTo>
                    <a:pt x="463" y="702"/>
                  </a:lnTo>
                  <a:lnTo>
                    <a:pt x="464" y="702"/>
                  </a:lnTo>
                  <a:lnTo>
                    <a:pt x="463" y="699"/>
                  </a:lnTo>
                  <a:lnTo>
                    <a:pt x="463" y="697"/>
                  </a:lnTo>
                  <a:lnTo>
                    <a:pt x="459" y="695"/>
                  </a:lnTo>
                  <a:lnTo>
                    <a:pt x="459" y="690"/>
                  </a:lnTo>
                  <a:lnTo>
                    <a:pt x="459" y="687"/>
                  </a:lnTo>
                  <a:lnTo>
                    <a:pt x="459" y="678"/>
                  </a:lnTo>
                  <a:lnTo>
                    <a:pt x="459" y="673"/>
                  </a:lnTo>
                  <a:lnTo>
                    <a:pt x="459" y="667"/>
                  </a:lnTo>
                  <a:lnTo>
                    <a:pt x="459" y="664"/>
                  </a:lnTo>
                  <a:lnTo>
                    <a:pt x="459" y="664"/>
                  </a:lnTo>
                  <a:lnTo>
                    <a:pt x="459" y="659"/>
                  </a:lnTo>
                  <a:lnTo>
                    <a:pt x="463" y="657"/>
                  </a:lnTo>
                  <a:lnTo>
                    <a:pt x="464" y="660"/>
                  </a:lnTo>
                  <a:lnTo>
                    <a:pt x="468" y="660"/>
                  </a:lnTo>
                  <a:lnTo>
                    <a:pt x="471" y="664"/>
                  </a:lnTo>
                  <a:lnTo>
                    <a:pt x="471" y="660"/>
                  </a:lnTo>
                  <a:lnTo>
                    <a:pt x="473" y="660"/>
                  </a:lnTo>
                  <a:lnTo>
                    <a:pt x="473" y="664"/>
                  </a:lnTo>
                  <a:lnTo>
                    <a:pt x="478" y="667"/>
                  </a:lnTo>
                  <a:lnTo>
                    <a:pt x="482" y="673"/>
                  </a:lnTo>
                  <a:lnTo>
                    <a:pt x="485" y="674"/>
                  </a:lnTo>
                  <a:lnTo>
                    <a:pt x="490" y="673"/>
                  </a:lnTo>
                  <a:lnTo>
                    <a:pt x="492" y="673"/>
                  </a:lnTo>
                  <a:lnTo>
                    <a:pt x="494" y="674"/>
                  </a:lnTo>
                  <a:lnTo>
                    <a:pt x="494" y="673"/>
                  </a:lnTo>
                  <a:lnTo>
                    <a:pt x="497" y="673"/>
                  </a:lnTo>
                  <a:lnTo>
                    <a:pt x="508" y="673"/>
                  </a:lnTo>
                  <a:lnTo>
                    <a:pt x="510" y="669"/>
                  </a:lnTo>
                  <a:lnTo>
                    <a:pt x="510" y="667"/>
                  </a:lnTo>
                  <a:lnTo>
                    <a:pt x="513" y="667"/>
                  </a:lnTo>
                  <a:lnTo>
                    <a:pt x="513" y="669"/>
                  </a:lnTo>
                  <a:lnTo>
                    <a:pt x="515" y="667"/>
                  </a:lnTo>
                  <a:lnTo>
                    <a:pt x="517" y="667"/>
                  </a:lnTo>
                  <a:lnTo>
                    <a:pt x="522" y="669"/>
                  </a:lnTo>
                  <a:lnTo>
                    <a:pt x="520" y="673"/>
                  </a:lnTo>
                  <a:lnTo>
                    <a:pt x="518" y="681"/>
                  </a:lnTo>
                  <a:lnTo>
                    <a:pt x="515" y="683"/>
                  </a:lnTo>
                  <a:lnTo>
                    <a:pt x="515" y="690"/>
                  </a:lnTo>
                  <a:lnTo>
                    <a:pt x="513" y="695"/>
                  </a:lnTo>
                  <a:lnTo>
                    <a:pt x="513" y="699"/>
                  </a:lnTo>
                  <a:lnTo>
                    <a:pt x="513" y="700"/>
                  </a:lnTo>
                  <a:lnTo>
                    <a:pt x="513" y="702"/>
                  </a:lnTo>
                  <a:lnTo>
                    <a:pt x="513" y="706"/>
                  </a:lnTo>
                  <a:lnTo>
                    <a:pt x="510" y="704"/>
                  </a:lnTo>
                  <a:lnTo>
                    <a:pt x="510" y="699"/>
                  </a:lnTo>
                  <a:lnTo>
                    <a:pt x="508" y="702"/>
                  </a:lnTo>
                  <a:lnTo>
                    <a:pt x="504" y="704"/>
                  </a:lnTo>
                  <a:lnTo>
                    <a:pt x="504" y="713"/>
                  </a:lnTo>
                  <a:lnTo>
                    <a:pt x="504" y="714"/>
                  </a:lnTo>
                  <a:lnTo>
                    <a:pt x="501" y="714"/>
                  </a:lnTo>
                  <a:lnTo>
                    <a:pt x="501" y="718"/>
                  </a:lnTo>
                  <a:lnTo>
                    <a:pt x="499" y="720"/>
                  </a:lnTo>
                  <a:lnTo>
                    <a:pt x="503" y="721"/>
                  </a:lnTo>
                  <a:lnTo>
                    <a:pt x="503" y="723"/>
                  </a:lnTo>
                  <a:lnTo>
                    <a:pt x="497" y="730"/>
                  </a:lnTo>
                  <a:lnTo>
                    <a:pt x="496" y="728"/>
                  </a:lnTo>
                  <a:lnTo>
                    <a:pt x="492" y="730"/>
                  </a:lnTo>
                  <a:lnTo>
                    <a:pt x="492" y="725"/>
                  </a:lnTo>
                  <a:lnTo>
                    <a:pt x="496" y="727"/>
                  </a:lnTo>
                  <a:lnTo>
                    <a:pt x="497" y="723"/>
                  </a:lnTo>
                  <a:lnTo>
                    <a:pt x="496" y="721"/>
                  </a:lnTo>
                  <a:lnTo>
                    <a:pt x="492" y="723"/>
                  </a:lnTo>
                  <a:lnTo>
                    <a:pt x="490" y="725"/>
                  </a:lnTo>
                  <a:lnTo>
                    <a:pt x="487" y="725"/>
                  </a:lnTo>
                  <a:lnTo>
                    <a:pt x="487" y="721"/>
                  </a:lnTo>
                  <a:lnTo>
                    <a:pt x="487" y="725"/>
                  </a:lnTo>
                  <a:lnTo>
                    <a:pt x="485" y="727"/>
                  </a:lnTo>
                  <a:lnTo>
                    <a:pt x="482" y="730"/>
                  </a:lnTo>
                  <a:lnTo>
                    <a:pt x="482" y="727"/>
                  </a:lnTo>
                  <a:lnTo>
                    <a:pt x="478" y="733"/>
                  </a:lnTo>
                  <a:lnTo>
                    <a:pt x="478" y="737"/>
                  </a:lnTo>
                  <a:lnTo>
                    <a:pt x="477" y="740"/>
                  </a:lnTo>
                  <a:lnTo>
                    <a:pt x="473" y="740"/>
                  </a:lnTo>
                  <a:lnTo>
                    <a:pt x="471" y="737"/>
                  </a:lnTo>
                  <a:lnTo>
                    <a:pt x="471" y="735"/>
                  </a:lnTo>
                  <a:lnTo>
                    <a:pt x="468" y="737"/>
                  </a:lnTo>
                  <a:lnTo>
                    <a:pt x="466" y="737"/>
                  </a:lnTo>
                  <a:lnTo>
                    <a:pt x="463" y="737"/>
                  </a:lnTo>
                  <a:lnTo>
                    <a:pt x="463" y="737"/>
                  </a:lnTo>
                  <a:lnTo>
                    <a:pt x="463" y="737"/>
                  </a:lnTo>
                  <a:lnTo>
                    <a:pt x="463" y="737"/>
                  </a:lnTo>
                  <a:lnTo>
                    <a:pt x="463" y="737"/>
                  </a:lnTo>
                  <a:lnTo>
                    <a:pt x="463" y="737"/>
                  </a:lnTo>
                  <a:close/>
                  <a:moveTo>
                    <a:pt x="7" y="469"/>
                  </a:moveTo>
                  <a:lnTo>
                    <a:pt x="9" y="471"/>
                  </a:lnTo>
                  <a:lnTo>
                    <a:pt x="13" y="471"/>
                  </a:lnTo>
                  <a:lnTo>
                    <a:pt x="20" y="478"/>
                  </a:lnTo>
                  <a:lnTo>
                    <a:pt x="20" y="481"/>
                  </a:lnTo>
                  <a:lnTo>
                    <a:pt x="20" y="483"/>
                  </a:lnTo>
                  <a:lnTo>
                    <a:pt x="23" y="483"/>
                  </a:lnTo>
                  <a:lnTo>
                    <a:pt x="25" y="487"/>
                  </a:lnTo>
                  <a:lnTo>
                    <a:pt x="32" y="487"/>
                  </a:lnTo>
                  <a:lnTo>
                    <a:pt x="32" y="487"/>
                  </a:lnTo>
                  <a:lnTo>
                    <a:pt x="33" y="488"/>
                  </a:lnTo>
                  <a:lnTo>
                    <a:pt x="37" y="488"/>
                  </a:lnTo>
                  <a:lnTo>
                    <a:pt x="42" y="488"/>
                  </a:lnTo>
                  <a:lnTo>
                    <a:pt x="42" y="488"/>
                  </a:lnTo>
                  <a:lnTo>
                    <a:pt x="46" y="488"/>
                  </a:lnTo>
                  <a:lnTo>
                    <a:pt x="46" y="488"/>
                  </a:lnTo>
                  <a:lnTo>
                    <a:pt x="51" y="488"/>
                  </a:lnTo>
                  <a:lnTo>
                    <a:pt x="54" y="488"/>
                  </a:lnTo>
                  <a:lnTo>
                    <a:pt x="54" y="487"/>
                  </a:lnTo>
                  <a:lnTo>
                    <a:pt x="58" y="485"/>
                  </a:lnTo>
                  <a:lnTo>
                    <a:pt x="61" y="481"/>
                  </a:lnTo>
                  <a:lnTo>
                    <a:pt x="67" y="481"/>
                  </a:lnTo>
                  <a:lnTo>
                    <a:pt x="67" y="478"/>
                  </a:lnTo>
                  <a:lnTo>
                    <a:pt x="70" y="476"/>
                  </a:lnTo>
                  <a:lnTo>
                    <a:pt x="70" y="476"/>
                  </a:lnTo>
                  <a:lnTo>
                    <a:pt x="73" y="480"/>
                  </a:lnTo>
                  <a:lnTo>
                    <a:pt x="77" y="474"/>
                  </a:lnTo>
                  <a:lnTo>
                    <a:pt x="77" y="476"/>
                  </a:lnTo>
                  <a:lnTo>
                    <a:pt x="79" y="474"/>
                  </a:lnTo>
                  <a:lnTo>
                    <a:pt x="80" y="471"/>
                  </a:lnTo>
                  <a:lnTo>
                    <a:pt x="91" y="466"/>
                  </a:lnTo>
                  <a:lnTo>
                    <a:pt x="94" y="466"/>
                  </a:lnTo>
                  <a:lnTo>
                    <a:pt x="96" y="466"/>
                  </a:lnTo>
                  <a:lnTo>
                    <a:pt x="100" y="466"/>
                  </a:lnTo>
                  <a:lnTo>
                    <a:pt x="108" y="464"/>
                  </a:lnTo>
                  <a:lnTo>
                    <a:pt x="110" y="466"/>
                  </a:lnTo>
                  <a:lnTo>
                    <a:pt x="115" y="464"/>
                  </a:lnTo>
                  <a:lnTo>
                    <a:pt x="117" y="466"/>
                  </a:lnTo>
                  <a:lnTo>
                    <a:pt x="120" y="466"/>
                  </a:lnTo>
                  <a:lnTo>
                    <a:pt x="124" y="464"/>
                  </a:lnTo>
                  <a:lnTo>
                    <a:pt x="124" y="469"/>
                  </a:lnTo>
                  <a:lnTo>
                    <a:pt x="127" y="469"/>
                  </a:lnTo>
                  <a:lnTo>
                    <a:pt x="129" y="466"/>
                  </a:lnTo>
                  <a:lnTo>
                    <a:pt x="131" y="469"/>
                  </a:lnTo>
                  <a:lnTo>
                    <a:pt x="133" y="466"/>
                  </a:lnTo>
                  <a:lnTo>
                    <a:pt x="139" y="466"/>
                  </a:lnTo>
                  <a:lnTo>
                    <a:pt x="139" y="469"/>
                  </a:lnTo>
                  <a:lnTo>
                    <a:pt x="141" y="469"/>
                  </a:lnTo>
                  <a:lnTo>
                    <a:pt x="145" y="466"/>
                  </a:lnTo>
                  <a:lnTo>
                    <a:pt x="146" y="466"/>
                  </a:lnTo>
                  <a:lnTo>
                    <a:pt x="152" y="464"/>
                  </a:lnTo>
                  <a:lnTo>
                    <a:pt x="155" y="460"/>
                  </a:lnTo>
                  <a:lnTo>
                    <a:pt x="155" y="459"/>
                  </a:lnTo>
                  <a:lnTo>
                    <a:pt x="160" y="455"/>
                  </a:lnTo>
                  <a:lnTo>
                    <a:pt x="162" y="448"/>
                  </a:lnTo>
                  <a:lnTo>
                    <a:pt x="166" y="447"/>
                  </a:lnTo>
                  <a:lnTo>
                    <a:pt x="169" y="447"/>
                  </a:lnTo>
                  <a:lnTo>
                    <a:pt x="172" y="447"/>
                  </a:lnTo>
                  <a:lnTo>
                    <a:pt x="181" y="443"/>
                  </a:lnTo>
                  <a:lnTo>
                    <a:pt x="188" y="438"/>
                  </a:lnTo>
                  <a:lnTo>
                    <a:pt x="195" y="433"/>
                  </a:lnTo>
                  <a:lnTo>
                    <a:pt x="197" y="433"/>
                  </a:lnTo>
                  <a:lnTo>
                    <a:pt x="200" y="433"/>
                  </a:lnTo>
                  <a:lnTo>
                    <a:pt x="204" y="433"/>
                  </a:lnTo>
                  <a:lnTo>
                    <a:pt x="209" y="434"/>
                  </a:lnTo>
                  <a:lnTo>
                    <a:pt x="212" y="434"/>
                  </a:lnTo>
                  <a:lnTo>
                    <a:pt x="216" y="433"/>
                  </a:lnTo>
                  <a:lnTo>
                    <a:pt x="223" y="434"/>
                  </a:lnTo>
                  <a:lnTo>
                    <a:pt x="232" y="431"/>
                  </a:lnTo>
                  <a:lnTo>
                    <a:pt x="237" y="429"/>
                  </a:lnTo>
                  <a:lnTo>
                    <a:pt x="240" y="426"/>
                  </a:lnTo>
                  <a:lnTo>
                    <a:pt x="244" y="426"/>
                  </a:lnTo>
                  <a:lnTo>
                    <a:pt x="249" y="424"/>
                  </a:lnTo>
                  <a:lnTo>
                    <a:pt x="254" y="424"/>
                  </a:lnTo>
                  <a:lnTo>
                    <a:pt x="273" y="421"/>
                  </a:lnTo>
                  <a:lnTo>
                    <a:pt x="282" y="424"/>
                  </a:lnTo>
                  <a:lnTo>
                    <a:pt x="284" y="424"/>
                  </a:lnTo>
                  <a:lnTo>
                    <a:pt x="289" y="421"/>
                  </a:lnTo>
                  <a:lnTo>
                    <a:pt x="294" y="421"/>
                  </a:lnTo>
                  <a:lnTo>
                    <a:pt x="299" y="426"/>
                  </a:lnTo>
                  <a:lnTo>
                    <a:pt x="301" y="433"/>
                  </a:lnTo>
                  <a:lnTo>
                    <a:pt x="305" y="434"/>
                  </a:lnTo>
                  <a:lnTo>
                    <a:pt x="308" y="433"/>
                  </a:lnTo>
                  <a:lnTo>
                    <a:pt x="310" y="431"/>
                  </a:lnTo>
                  <a:lnTo>
                    <a:pt x="313" y="433"/>
                  </a:lnTo>
                  <a:lnTo>
                    <a:pt x="313" y="433"/>
                  </a:lnTo>
                  <a:lnTo>
                    <a:pt x="317" y="433"/>
                  </a:lnTo>
                  <a:lnTo>
                    <a:pt x="320" y="438"/>
                  </a:lnTo>
                  <a:lnTo>
                    <a:pt x="324" y="438"/>
                  </a:lnTo>
                  <a:lnTo>
                    <a:pt x="327" y="438"/>
                  </a:lnTo>
                  <a:lnTo>
                    <a:pt x="336" y="443"/>
                  </a:lnTo>
                  <a:lnTo>
                    <a:pt x="332" y="447"/>
                  </a:lnTo>
                  <a:lnTo>
                    <a:pt x="336" y="447"/>
                  </a:lnTo>
                  <a:lnTo>
                    <a:pt x="338" y="448"/>
                  </a:lnTo>
                  <a:lnTo>
                    <a:pt x="338" y="450"/>
                  </a:lnTo>
                  <a:lnTo>
                    <a:pt x="336" y="450"/>
                  </a:lnTo>
                  <a:lnTo>
                    <a:pt x="332" y="454"/>
                  </a:lnTo>
                  <a:lnTo>
                    <a:pt x="336" y="460"/>
                  </a:lnTo>
                  <a:lnTo>
                    <a:pt x="339" y="460"/>
                  </a:lnTo>
                  <a:lnTo>
                    <a:pt x="343" y="464"/>
                  </a:lnTo>
                  <a:lnTo>
                    <a:pt x="345" y="469"/>
                  </a:lnTo>
                  <a:lnTo>
                    <a:pt x="345" y="471"/>
                  </a:lnTo>
                  <a:lnTo>
                    <a:pt x="348" y="480"/>
                  </a:lnTo>
                  <a:lnTo>
                    <a:pt x="346" y="485"/>
                  </a:lnTo>
                  <a:lnTo>
                    <a:pt x="348" y="487"/>
                  </a:lnTo>
                  <a:lnTo>
                    <a:pt x="348" y="488"/>
                  </a:lnTo>
                  <a:lnTo>
                    <a:pt x="346" y="492"/>
                  </a:lnTo>
                  <a:lnTo>
                    <a:pt x="345" y="492"/>
                  </a:lnTo>
                  <a:lnTo>
                    <a:pt x="343" y="492"/>
                  </a:lnTo>
                  <a:lnTo>
                    <a:pt x="346" y="495"/>
                  </a:lnTo>
                  <a:lnTo>
                    <a:pt x="348" y="497"/>
                  </a:lnTo>
                  <a:lnTo>
                    <a:pt x="350" y="500"/>
                  </a:lnTo>
                  <a:lnTo>
                    <a:pt x="353" y="500"/>
                  </a:lnTo>
                  <a:lnTo>
                    <a:pt x="355" y="502"/>
                  </a:lnTo>
                  <a:lnTo>
                    <a:pt x="355" y="500"/>
                  </a:lnTo>
                  <a:lnTo>
                    <a:pt x="355" y="495"/>
                  </a:lnTo>
                  <a:lnTo>
                    <a:pt x="355" y="495"/>
                  </a:lnTo>
                  <a:lnTo>
                    <a:pt x="358" y="492"/>
                  </a:lnTo>
                  <a:lnTo>
                    <a:pt x="358" y="492"/>
                  </a:lnTo>
                  <a:lnTo>
                    <a:pt x="360" y="488"/>
                  </a:lnTo>
                  <a:lnTo>
                    <a:pt x="364" y="487"/>
                  </a:lnTo>
                  <a:lnTo>
                    <a:pt x="365" y="483"/>
                  </a:lnTo>
                  <a:lnTo>
                    <a:pt x="369" y="480"/>
                  </a:lnTo>
                  <a:lnTo>
                    <a:pt x="376" y="476"/>
                  </a:lnTo>
                  <a:lnTo>
                    <a:pt x="378" y="473"/>
                  </a:lnTo>
                  <a:lnTo>
                    <a:pt x="378" y="473"/>
                  </a:lnTo>
                  <a:lnTo>
                    <a:pt x="383" y="471"/>
                  </a:lnTo>
                  <a:lnTo>
                    <a:pt x="386" y="466"/>
                  </a:lnTo>
                  <a:lnTo>
                    <a:pt x="390" y="459"/>
                  </a:lnTo>
                  <a:lnTo>
                    <a:pt x="395" y="459"/>
                  </a:lnTo>
                  <a:lnTo>
                    <a:pt x="397" y="455"/>
                  </a:lnTo>
                  <a:lnTo>
                    <a:pt x="395" y="452"/>
                  </a:lnTo>
                  <a:lnTo>
                    <a:pt x="395" y="447"/>
                  </a:lnTo>
                  <a:lnTo>
                    <a:pt x="398" y="452"/>
                  </a:lnTo>
                  <a:lnTo>
                    <a:pt x="398" y="457"/>
                  </a:lnTo>
                  <a:lnTo>
                    <a:pt x="398" y="462"/>
                  </a:lnTo>
                  <a:lnTo>
                    <a:pt x="397" y="464"/>
                  </a:lnTo>
                  <a:lnTo>
                    <a:pt x="395" y="473"/>
                  </a:lnTo>
                  <a:lnTo>
                    <a:pt x="388" y="476"/>
                  </a:lnTo>
                  <a:lnTo>
                    <a:pt x="386" y="481"/>
                  </a:lnTo>
                  <a:lnTo>
                    <a:pt x="386" y="483"/>
                  </a:lnTo>
                  <a:lnTo>
                    <a:pt x="386" y="488"/>
                  </a:lnTo>
                  <a:lnTo>
                    <a:pt x="381" y="492"/>
                  </a:lnTo>
                  <a:lnTo>
                    <a:pt x="381" y="495"/>
                  </a:lnTo>
                  <a:lnTo>
                    <a:pt x="378" y="502"/>
                  </a:lnTo>
                  <a:lnTo>
                    <a:pt x="371" y="502"/>
                  </a:lnTo>
                  <a:lnTo>
                    <a:pt x="369" y="507"/>
                  </a:lnTo>
                  <a:lnTo>
                    <a:pt x="367" y="511"/>
                  </a:lnTo>
                  <a:lnTo>
                    <a:pt x="367" y="511"/>
                  </a:lnTo>
                  <a:lnTo>
                    <a:pt x="372" y="511"/>
                  </a:lnTo>
                  <a:lnTo>
                    <a:pt x="378" y="507"/>
                  </a:lnTo>
                  <a:lnTo>
                    <a:pt x="383" y="511"/>
                  </a:lnTo>
                  <a:lnTo>
                    <a:pt x="388" y="500"/>
                  </a:lnTo>
                  <a:lnTo>
                    <a:pt x="390" y="492"/>
                  </a:lnTo>
                  <a:lnTo>
                    <a:pt x="395" y="487"/>
                  </a:lnTo>
                  <a:lnTo>
                    <a:pt x="397" y="488"/>
                  </a:lnTo>
                  <a:lnTo>
                    <a:pt x="397" y="495"/>
                  </a:lnTo>
                  <a:lnTo>
                    <a:pt x="398" y="500"/>
                  </a:lnTo>
                  <a:lnTo>
                    <a:pt x="397" y="502"/>
                  </a:lnTo>
                  <a:lnTo>
                    <a:pt x="397" y="511"/>
                  </a:lnTo>
                  <a:lnTo>
                    <a:pt x="393" y="518"/>
                  </a:lnTo>
                  <a:lnTo>
                    <a:pt x="386" y="520"/>
                  </a:lnTo>
                  <a:lnTo>
                    <a:pt x="388" y="523"/>
                  </a:lnTo>
                  <a:lnTo>
                    <a:pt x="391" y="523"/>
                  </a:lnTo>
                  <a:lnTo>
                    <a:pt x="397" y="523"/>
                  </a:lnTo>
                  <a:lnTo>
                    <a:pt x="398" y="520"/>
                  </a:lnTo>
                  <a:lnTo>
                    <a:pt x="402" y="520"/>
                  </a:lnTo>
                  <a:lnTo>
                    <a:pt x="405" y="514"/>
                  </a:lnTo>
                  <a:lnTo>
                    <a:pt x="409" y="518"/>
                  </a:lnTo>
                  <a:lnTo>
                    <a:pt x="409" y="518"/>
                  </a:lnTo>
                  <a:lnTo>
                    <a:pt x="409" y="520"/>
                  </a:lnTo>
                  <a:lnTo>
                    <a:pt x="405" y="523"/>
                  </a:lnTo>
                  <a:lnTo>
                    <a:pt x="404" y="523"/>
                  </a:lnTo>
                  <a:lnTo>
                    <a:pt x="404" y="523"/>
                  </a:lnTo>
                  <a:lnTo>
                    <a:pt x="405" y="528"/>
                  </a:lnTo>
                  <a:lnTo>
                    <a:pt x="405" y="532"/>
                  </a:lnTo>
                  <a:lnTo>
                    <a:pt x="409" y="537"/>
                  </a:lnTo>
                  <a:lnTo>
                    <a:pt x="409" y="542"/>
                  </a:lnTo>
                  <a:lnTo>
                    <a:pt x="409" y="551"/>
                  </a:lnTo>
                  <a:lnTo>
                    <a:pt x="405" y="556"/>
                  </a:lnTo>
                  <a:lnTo>
                    <a:pt x="405" y="558"/>
                  </a:lnTo>
                  <a:lnTo>
                    <a:pt x="405" y="565"/>
                  </a:lnTo>
                  <a:lnTo>
                    <a:pt x="409" y="565"/>
                  </a:lnTo>
                  <a:lnTo>
                    <a:pt x="409" y="570"/>
                  </a:lnTo>
                  <a:lnTo>
                    <a:pt x="411" y="577"/>
                  </a:lnTo>
                  <a:lnTo>
                    <a:pt x="417" y="586"/>
                  </a:lnTo>
                  <a:lnTo>
                    <a:pt x="421" y="586"/>
                  </a:lnTo>
                  <a:lnTo>
                    <a:pt x="424" y="587"/>
                  </a:lnTo>
                  <a:lnTo>
                    <a:pt x="426" y="591"/>
                  </a:lnTo>
                  <a:lnTo>
                    <a:pt x="431" y="591"/>
                  </a:lnTo>
                  <a:lnTo>
                    <a:pt x="431" y="591"/>
                  </a:lnTo>
                  <a:lnTo>
                    <a:pt x="431" y="591"/>
                  </a:lnTo>
                  <a:lnTo>
                    <a:pt x="437" y="591"/>
                  </a:lnTo>
                  <a:lnTo>
                    <a:pt x="440" y="596"/>
                  </a:lnTo>
                  <a:lnTo>
                    <a:pt x="445" y="596"/>
                  </a:lnTo>
                  <a:lnTo>
                    <a:pt x="449" y="600"/>
                  </a:lnTo>
                  <a:lnTo>
                    <a:pt x="451" y="603"/>
                  </a:lnTo>
                  <a:lnTo>
                    <a:pt x="454" y="605"/>
                  </a:lnTo>
                  <a:lnTo>
                    <a:pt x="456" y="610"/>
                  </a:lnTo>
                  <a:lnTo>
                    <a:pt x="459" y="610"/>
                  </a:lnTo>
                  <a:lnTo>
                    <a:pt x="459" y="607"/>
                  </a:lnTo>
                  <a:lnTo>
                    <a:pt x="466" y="603"/>
                  </a:lnTo>
                  <a:lnTo>
                    <a:pt x="468" y="600"/>
                  </a:lnTo>
                  <a:lnTo>
                    <a:pt x="473" y="600"/>
                  </a:lnTo>
                  <a:lnTo>
                    <a:pt x="478" y="596"/>
                  </a:lnTo>
                  <a:lnTo>
                    <a:pt x="478" y="596"/>
                  </a:lnTo>
                  <a:lnTo>
                    <a:pt x="482" y="596"/>
                  </a:lnTo>
                  <a:lnTo>
                    <a:pt x="482" y="593"/>
                  </a:lnTo>
                  <a:lnTo>
                    <a:pt x="478" y="591"/>
                  </a:lnTo>
                  <a:lnTo>
                    <a:pt x="478" y="591"/>
                  </a:lnTo>
                  <a:lnTo>
                    <a:pt x="485" y="586"/>
                  </a:lnTo>
                  <a:lnTo>
                    <a:pt x="490" y="591"/>
                  </a:lnTo>
                  <a:lnTo>
                    <a:pt x="490" y="593"/>
                  </a:lnTo>
                  <a:lnTo>
                    <a:pt x="485" y="596"/>
                  </a:lnTo>
                  <a:lnTo>
                    <a:pt x="485" y="600"/>
                  </a:lnTo>
                  <a:lnTo>
                    <a:pt x="487" y="601"/>
                  </a:lnTo>
                  <a:lnTo>
                    <a:pt x="490" y="598"/>
                  </a:lnTo>
                  <a:lnTo>
                    <a:pt x="492" y="596"/>
                  </a:lnTo>
                  <a:lnTo>
                    <a:pt x="496" y="598"/>
                  </a:lnTo>
                  <a:lnTo>
                    <a:pt x="496" y="601"/>
                  </a:lnTo>
                  <a:lnTo>
                    <a:pt x="494" y="601"/>
                  </a:lnTo>
                  <a:lnTo>
                    <a:pt x="490" y="603"/>
                  </a:lnTo>
                  <a:lnTo>
                    <a:pt x="496" y="610"/>
                  </a:lnTo>
                  <a:lnTo>
                    <a:pt x="496" y="615"/>
                  </a:lnTo>
                  <a:lnTo>
                    <a:pt x="497" y="615"/>
                  </a:lnTo>
                  <a:lnTo>
                    <a:pt x="501" y="615"/>
                  </a:lnTo>
                  <a:lnTo>
                    <a:pt x="501" y="619"/>
                  </a:lnTo>
                  <a:lnTo>
                    <a:pt x="503" y="620"/>
                  </a:lnTo>
                  <a:lnTo>
                    <a:pt x="504" y="619"/>
                  </a:lnTo>
                  <a:lnTo>
                    <a:pt x="504" y="614"/>
                  </a:lnTo>
                  <a:lnTo>
                    <a:pt x="503" y="615"/>
                  </a:lnTo>
                  <a:lnTo>
                    <a:pt x="503" y="614"/>
                  </a:lnTo>
                  <a:lnTo>
                    <a:pt x="504" y="610"/>
                  </a:lnTo>
                  <a:lnTo>
                    <a:pt x="513" y="610"/>
                  </a:lnTo>
                  <a:lnTo>
                    <a:pt x="513" y="614"/>
                  </a:lnTo>
                  <a:lnTo>
                    <a:pt x="515" y="610"/>
                  </a:lnTo>
                  <a:lnTo>
                    <a:pt x="518" y="605"/>
                  </a:lnTo>
                  <a:lnTo>
                    <a:pt x="529" y="600"/>
                  </a:lnTo>
                  <a:lnTo>
                    <a:pt x="532" y="596"/>
                  </a:lnTo>
                  <a:lnTo>
                    <a:pt x="530" y="596"/>
                  </a:lnTo>
                  <a:lnTo>
                    <a:pt x="529" y="596"/>
                  </a:lnTo>
                  <a:lnTo>
                    <a:pt x="529" y="596"/>
                  </a:lnTo>
                  <a:lnTo>
                    <a:pt x="525" y="593"/>
                  </a:lnTo>
                  <a:lnTo>
                    <a:pt x="529" y="593"/>
                  </a:lnTo>
                  <a:lnTo>
                    <a:pt x="532" y="593"/>
                  </a:lnTo>
                  <a:lnTo>
                    <a:pt x="539" y="591"/>
                  </a:lnTo>
                  <a:lnTo>
                    <a:pt x="553" y="587"/>
                  </a:lnTo>
                  <a:lnTo>
                    <a:pt x="563" y="591"/>
                  </a:lnTo>
                  <a:lnTo>
                    <a:pt x="567" y="587"/>
                  </a:lnTo>
                  <a:lnTo>
                    <a:pt x="567" y="586"/>
                  </a:lnTo>
                  <a:lnTo>
                    <a:pt x="570" y="586"/>
                  </a:lnTo>
                  <a:lnTo>
                    <a:pt x="574" y="584"/>
                  </a:lnTo>
                  <a:lnTo>
                    <a:pt x="577" y="577"/>
                  </a:lnTo>
                  <a:lnTo>
                    <a:pt x="576" y="570"/>
                  </a:lnTo>
                  <a:lnTo>
                    <a:pt x="576" y="568"/>
                  </a:lnTo>
                  <a:lnTo>
                    <a:pt x="583" y="561"/>
                  </a:lnTo>
                  <a:lnTo>
                    <a:pt x="583" y="551"/>
                  </a:lnTo>
                  <a:lnTo>
                    <a:pt x="583" y="547"/>
                  </a:lnTo>
                  <a:lnTo>
                    <a:pt x="586" y="542"/>
                  </a:lnTo>
                  <a:lnTo>
                    <a:pt x="590" y="540"/>
                  </a:lnTo>
                  <a:lnTo>
                    <a:pt x="590" y="537"/>
                  </a:lnTo>
                  <a:lnTo>
                    <a:pt x="598" y="523"/>
                  </a:lnTo>
                  <a:lnTo>
                    <a:pt x="602" y="523"/>
                  </a:lnTo>
                  <a:lnTo>
                    <a:pt x="603" y="514"/>
                  </a:lnTo>
                  <a:lnTo>
                    <a:pt x="609" y="511"/>
                  </a:lnTo>
                  <a:lnTo>
                    <a:pt x="609" y="502"/>
                  </a:lnTo>
                  <a:lnTo>
                    <a:pt x="614" y="500"/>
                  </a:lnTo>
                  <a:lnTo>
                    <a:pt x="614" y="495"/>
                  </a:lnTo>
                  <a:lnTo>
                    <a:pt x="617" y="495"/>
                  </a:lnTo>
                  <a:lnTo>
                    <a:pt x="619" y="487"/>
                  </a:lnTo>
                  <a:lnTo>
                    <a:pt x="617" y="485"/>
                  </a:lnTo>
                  <a:lnTo>
                    <a:pt x="623" y="483"/>
                  </a:lnTo>
                  <a:lnTo>
                    <a:pt x="626" y="476"/>
                  </a:lnTo>
                  <a:lnTo>
                    <a:pt x="628" y="474"/>
                  </a:lnTo>
                  <a:lnTo>
                    <a:pt x="631" y="469"/>
                  </a:lnTo>
                  <a:lnTo>
                    <a:pt x="636" y="469"/>
                  </a:lnTo>
                  <a:lnTo>
                    <a:pt x="640" y="466"/>
                  </a:lnTo>
                  <a:lnTo>
                    <a:pt x="635" y="466"/>
                  </a:lnTo>
                  <a:lnTo>
                    <a:pt x="636" y="466"/>
                  </a:lnTo>
                  <a:lnTo>
                    <a:pt x="640" y="464"/>
                  </a:lnTo>
                  <a:lnTo>
                    <a:pt x="647" y="460"/>
                  </a:lnTo>
                  <a:lnTo>
                    <a:pt x="647" y="457"/>
                  </a:lnTo>
                  <a:lnTo>
                    <a:pt x="647" y="454"/>
                  </a:lnTo>
                  <a:lnTo>
                    <a:pt x="647" y="450"/>
                  </a:lnTo>
                  <a:lnTo>
                    <a:pt x="654" y="447"/>
                  </a:lnTo>
                  <a:lnTo>
                    <a:pt x="654" y="443"/>
                  </a:lnTo>
                  <a:lnTo>
                    <a:pt x="657" y="441"/>
                  </a:lnTo>
                  <a:lnTo>
                    <a:pt x="662" y="436"/>
                  </a:lnTo>
                  <a:lnTo>
                    <a:pt x="659" y="433"/>
                  </a:lnTo>
                  <a:lnTo>
                    <a:pt x="662" y="426"/>
                  </a:lnTo>
                  <a:lnTo>
                    <a:pt x="662" y="424"/>
                  </a:lnTo>
                  <a:lnTo>
                    <a:pt x="662" y="424"/>
                  </a:lnTo>
                  <a:lnTo>
                    <a:pt x="668" y="412"/>
                  </a:lnTo>
                  <a:lnTo>
                    <a:pt x="668" y="405"/>
                  </a:lnTo>
                  <a:lnTo>
                    <a:pt x="673" y="393"/>
                  </a:lnTo>
                  <a:lnTo>
                    <a:pt x="673" y="391"/>
                  </a:lnTo>
                  <a:lnTo>
                    <a:pt x="676" y="382"/>
                  </a:lnTo>
                  <a:lnTo>
                    <a:pt x="682" y="379"/>
                  </a:lnTo>
                  <a:lnTo>
                    <a:pt x="683" y="374"/>
                  </a:lnTo>
                  <a:lnTo>
                    <a:pt x="682" y="370"/>
                  </a:lnTo>
                  <a:lnTo>
                    <a:pt x="685" y="367"/>
                  </a:lnTo>
                  <a:lnTo>
                    <a:pt x="682" y="358"/>
                  </a:lnTo>
                  <a:lnTo>
                    <a:pt x="683" y="353"/>
                  </a:lnTo>
                  <a:lnTo>
                    <a:pt x="680" y="347"/>
                  </a:lnTo>
                  <a:lnTo>
                    <a:pt x="680" y="346"/>
                  </a:lnTo>
                  <a:lnTo>
                    <a:pt x="678" y="342"/>
                  </a:lnTo>
                  <a:lnTo>
                    <a:pt x="680" y="339"/>
                  </a:lnTo>
                  <a:lnTo>
                    <a:pt x="680" y="337"/>
                  </a:lnTo>
                  <a:lnTo>
                    <a:pt x="683" y="330"/>
                  </a:lnTo>
                  <a:lnTo>
                    <a:pt x="683" y="328"/>
                  </a:lnTo>
                  <a:lnTo>
                    <a:pt x="683" y="320"/>
                  </a:lnTo>
                  <a:lnTo>
                    <a:pt x="685" y="316"/>
                  </a:lnTo>
                  <a:lnTo>
                    <a:pt x="683" y="314"/>
                  </a:lnTo>
                  <a:lnTo>
                    <a:pt x="683" y="311"/>
                  </a:lnTo>
                  <a:lnTo>
                    <a:pt x="683" y="306"/>
                  </a:lnTo>
                  <a:lnTo>
                    <a:pt x="682" y="306"/>
                  </a:lnTo>
                  <a:lnTo>
                    <a:pt x="683" y="299"/>
                  </a:lnTo>
                  <a:lnTo>
                    <a:pt x="680" y="297"/>
                  </a:lnTo>
                  <a:lnTo>
                    <a:pt x="678" y="294"/>
                  </a:lnTo>
                  <a:lnTo>
                    <a:pt x="678" y="292"/>
                  </a:lnTo>
                  <a:lnTo>
                    <a:pt x="673" y="288"/>
                  </a:lnTo>
                  <a:lnTo>
                    <a:pt x="671" y="283"/>
                  </a:lnTo>
                  <a:lnTo>
                    <a:pt x="669" y="278"/>
                  </a:lnTo>
                  <a:lnTo>
                    <a:pt x="668" y="274"/>
                  </a:lnTo>
                  <a:lnTo>
                    <a:pt x="668" y="274"/>
                  </a:lnTo>
                  <a:lnTo>
                    <a:pt x="662" y="274"/>
                  </a:lnTo>
                  <a:lnTo>
                    <a:pt x="662" y="274"/>
                  </a:lnTo>
                  <a:lnTo>
                    <a:pt x="659" y="269"/>
                  </a:lnTo>
                  <a:lnTo>
                    <a:pt x="659" y="269"/>
                  </a:lnTo>
                  <a:lnTo>
                    <a:pt x="659" y="266"/>
                  </a:lnTo>
                  <a:lnTo>
                    <a:pt x="654" y="262"/>
                  </a:lnTo>
                  <a:lnTo>
                    <a:pt x="652" y="261"/>
                  </a:lnTo>
                  <a:lnTo>
                    <a:pt x="654" y="257"/>
                  </a:lnTo>
                  <a:lnTo>
                    <a:pt x="650" y="254"/>
                  </a:lnTo>
                  <a:lnTo>
                    <a:pt x="654" y="248"/>
                  </a:lnTo>
                  <a:lnTo>
                    <a:pt x="656" y="243"/>
                  </a:lnTo>
                  <a:lnTo>
                    <a:pt x="654" y="241"/>
                  </a:lnTo>
                  <a:lnTo>
                    <a:pt x="656" y="238"/>
                  </a:lnTo>
                  <a:lnTo>
                    <a:pt x="652" y="238"/>
                  </a:lnTo>
                  <a:lnTo>
                    <a:pt x="652" y="240"/>
                  </a:lnTo>
                  <a:lnTo>
                    <a:pt x="652" y="241"/>
                  </a:lnTo>
                  <a:lnTo>
                    <a:pt x="652" y="243"/>
                  </a:lnTo>
                  <a:lnTo>
                    <a:pt x="643" y="234"/>
                  </a:lnTo>
                  <a:lnTo>
                    <a:pt x="642" y="231"/>
                  </a:lnTo>
                  <a:lnTo>
                    <a:pt x="640" y="231"/>
                  </a:lnTo>
                  <a:lnTo>
                    <a:pt x="640" y="234"/>
                  </a:lnTo>
                  <a:lnTo>
                    <a:pt x="640" y="236"/>
                  </a:lnTo>
                  <a:lnTo>
                    <a:pt x="642" y="243"/>
                  </a:lnTo>
                  <a:lnTo>
                    <a:pt x="636" y="238"/>
                  </a:lnTo>
                  <a:lnTo>
                    <a:pt x="636" y="240"/>
                  </a:lnTo>
                  <a:lnTo>
                    <a:pt x="636" y="236"/>
                  </a:lnTo>
                  <a:lnTo>
                    <a:pt x="635" y="234"/>
                  </a:lnTo>
                  <a:lnTo>
                    <a:pt x="635" y="224"/>
                  </a:lnTo>
                  <a:lnTo>
                    <a:pt x="636" y="224"/>
                  </a:lnTo>
                  <a:lnTo>
                    <a:pt x="636" y="221"/>
                  </a:lnTo>
                  <a:lnTo>
                    <a:pt x="633" y="219"/>
                  </a:lnTo>
                  <a:lnTo>
                    <a:pt x="633" y="217"/>
                  </a:lnTo>
                  <a:lnTo>
                    <a:pt x="631" y="214"/>
                  </a:lnTo>
                  <a:lnTo>
                    <a:pt x="631" y="212"/>
                  </a:lnTo>
                  <a:lnTo>
                    <a:pt x="626" y="207"/>
                  </a:lnTo>
                  <a:lnTo>
                    <a:pt x="624" y="203"/>
                  </a:lnTo>
                  <a:lnTo>
                    <a:pt x="624" y="198"/>
                  </a:lnTo>
                  <a:lnTo>
                    <a:pt x="628" y="201"/>
                  </a:lnTo>
                  <a:lnTo>
                    <a:pt x="628" y="198"/>
                  </a:lnTo>
                  <a:lnTo>
                    <a:pt x="624" y="193"/>
                  </a:lnTo>
                  <a:lnTo>
                    <a:pt x="623" y="193"/>
                  </a:lnTo>
                  <a:lnTo>
                    <a:pt x="619" y="193"/>
                  </a:lnTo>
                  <a:lnTo>
                    <a:pt x="617" y="187"/>
                  </a:lnTo>
                  <a:lnTo>
                    <a:pt x="614" y="187"/>
                  </a:lnTo>
                  <a:lnTo>
                    <a:pt x="612" y="184"/>
                  </a:lnTo>
                  <a:lnTo>
                    <a:pt x="609" y="186"/>
                  </a:lnTo>
                  <a:lnTo>
                    <a:pt x="609" y="184"/>
                  </a:lnTo>
                  <a:lnTo>
                    <a:pt x="605" y="182"/>
                  </a:lnTo>
                  <a:lnTo>
                    <a:pt x="602" y="186"/>
                  </a:lnTo>
                  <a:lnTo>
                    <a:pt x="603" y="182"/>
                  </a:lnTo>
                  <a:lnTo>
                    <a:pt x="605" y="181"/>
                  </a:lnTo>
                  <a:lnTo>
                    <a:pt x="609" y="179"/>
                  </a:lnTo>
                  <a:lnTo>
                    <a:pt x="605" y="179"/>
                  </a:lnTo>
                  <a:lnTo>
                    <a:pt x="603" y="179"/>
                  </a:lnTo>
                  <a:lnTo>
                    <a:pt x="600" y="179"/>
                  </a:lnTo>
                  <a:lnTo>
                    <a:pt x="598" y="175"/>
                  </a:lnTo>
                  <a:lnTo>
                    <a:pt x="596" y="175"/>
                  </a:lnTo>
                  <a:lnTo>
                    <a:pt x="590" y="172"/>
                  </a:lnTo>
                  <a:lnTo>
                    <a:pt x="586" y="165"/>
                  </a:lnTo>
                  <a:lnTo>
                    <a:pt x="586" y="158"/>
                  </a:lnTo>
                  <a:lnTo>
                    <a:pt x="583" y="156"/>
                  </a:lnTo>
                  <a:lnTo>
                    <a:pt x="583" y="153"/>
                  </a:lnTo>
                  <a:lnTo>
                    <a:pt x="586" y="149"/>
                  </a:lnTo>
                  <a:lnTo>
                    <a:pt x="586" y="144"/>
                  </a:lnTo>
                  <a:lnTo>
                    <a:pt x="586" y="135"/>
                  </a:lnTo>
                  <a:lnTo>
                    <a:pt x="583" y="130"/>
                  </a:lnTo>
                  <a:lnTo>
                    <a:pt x="586" y="130"/>
                  </a:lnTo>
                  <a:lnTo>
                    <a:pt x="583" y="127"/>
                  </a:lnTo>
                  <a:lnTo>
                    <a:pt x="581" y="127"/>
                  </a:lnTo>
                  <a:lnTo>
                    <a:pt x="577" y="121"/>
                  </a:lnTo>
                  <a:lnTo>
                    <a:pt x="577" y="113"/>
                  </a:lnTo>
                  <a:lnTo>
                    <a:pt x="579" y="113"/>
                  </a:lnTo>
                  <a:lnTo>
                    <a:pt x="579" y="111"/>
                  </a:lnTo>
                  <a:lnTo>
                    <a:pt x="577" y="108"/>
                  </a:lnTo>
                  <a:lnTo>
                    <a:pt x="576" y="99"/>
                  </a:lnTo>
                  <a:lnTo>
                    <a:pt x="577" y="95"/>
                  </a:lnTo>
                  <a:lnTo>
                    <a:pt x="576" y="92"/>
                  </a:lnTo>
                  <a:lnTo>
                    <a:pt x="577" y="90"/>
                  </a:lnTo>
                  <a:lnTo>
                    <a:pt x="577" y="88"/>
                  </a:lnTo>
                  <a:lnTo>
                    <a:pt x="572" y="81"/>
                  </a:lnTo>
                  <a:lnTo>
                    <a:pt x="567" y="80"/>
                  </a:lnTo>
                  <a:lnTo>
                    <a:pt x="569" y="80"/>
                  </a:lnTo>
                  <a:lnTo>
                    <a:pt x="565" y="76"/>
                  </a:lnTo>
                  <a:lnTo>
                    <a:pt x="560" y="76"/>
                  </a:lnTo>
                  <a:lnTo>
                    <a:pt x="560" y="76"/>
                  </a:lnTo>
                  <a:lnTo>
                    <a:pt x="558" y="80"/>
                  </a:lnTo>
                  <a:lnTo>
                    <a:pt x="555" y="80"/>
                  </a:lnTo>
                  <a:lnTo>
                    <a:pt x="551" y="74"/>
                  </a:lnTo>
                  <a:lnTo>
                    <a:pt x="553" y="73"/>
                  </a:lnTo>
                  <a:lnTo>
                    <a:pt x="550" y="68"/>
                  </a:lnTo>
                  <a:lnTo>
                    <a:pt x="551" y="61"/>
                  </a:lnTo>
                  <a:lnTo>
                    <a:pt x="551" y="54"/>
                  </a:lnTo>
                  <a:lnTo>
                    <a:pt x="550" y="54"/>
                  </a:lnTo>
                  <a:lnTo>
                    <a:pt x="548" y="52"/>
                  </a:lnTo>
                  <a:lnTo>
                    <a:pt x="550" y="48"/>
                  </a:lnTo>
                  <a:lnTo>
                    <a:pt x="546" y="45"/>
                  </a:lnTo>
                  <a:lnTo>
                    <a:pt x="546" y="41"/>
                  </a:lnTo>
                  <a:lnTo>
                    <a:pt x="544" y="40"/>
                  </a:lnTo>
                  <a:lnTo>
                    <a:pt x="544" y="36"/>
                  </a:lnTo>
                  <a:lnTo>
                    <a:pt x="546" y="34"/>
                  </a:lnTo>
                  <a:lnTo>
                    <a:pt x="544" y="34"/>
                  </a:lnTo>
                  <a:lnTo>
                    <a:pt x="541" y="34"/>
                  </a:lnTo>
                  <a:lnTo>
                    <a:pt x="539" y="31"/>
                  </a:lnTo>
                  <a:lnTo>
                    <a:pt x="541" y="24"/>
                  </a:lnTo>
                  <a:lnTo>
                    <a:pt x="539" y="22"/>
                  </a:lnTo>
                  <a:lnTo>
                    <a:pt x="537" y="17"/>
                  </a:lnTo>
                  <a:lnTo>
                    <a:pt x="536" y="15"/>
                  </a:lnTo>
                  <a:lnTo>
                    <a:pt x="536" y="14"/>
                  </a:lnTo>
                  <a:lnTo>
                    <a:pt x="532" y="15"/>
                  </a:lnTo>
                  <a:lnTo>
                    <a:pt x="530" y="17"/>
                  </a:lnTo>
                  <a:lnTo>
                    <a:pt x="530" y="24"/>
                  </a:lnTo>
                  <a:lnTo>
                    <a:pt x="529" y="29"/>
                  </a:lnTo>
                  <a:lnTo>
                    <a:pt x="529" y="29"/>
                  </a:lnTo>
                  <a:lnTo>
                    <a:pt x="527" y="34"/>
                  </a:lnTo>
                  <a:lnTo>
                    <a:pt x="525" y="34"/>
                  </a:lnTo>
                  <a:lnTo>
                    <a:pt x="523" y="40"/>
                  </a:lnTo>
                  <a:lnTo>
                    <a:pt x="520" y="43"/>
                  </a:lnTo>
                  <a:lnTo>
                    <a:pt x="522" y="47"/>
                  </a:lnTo>
                  <a:lnTo>
                    <a:pt x="525" y="48"/>
                  </a:lnTo>
                  <a:lnTo>
                    <a:pt x="523" y="48"/>
                  </a:lnTo>
                  <a:lnTo>
                    <a:pt x="522" y="48"/>
                  </a:lnTo>
                  <a:lnTo>
                    <a:pt x="520" y="54"/>
                  </a:lnTo>
                  <a:lnTo>
                    <a:pt x="518" y="57"/>
                  </a:lnTo>
                  <a:lnTo>
                    <a:pt x="520" y="59"/>
                  </a:lnTo>
                  <a:lnTo>
                    <a:pt x="520" y="62"/>
                  </a:lnTo>
                  <a:lnTo>
                    <a:pt x="518" y="62"/>
                  </a:lnTo>
                  <a:lnTo>
                    <a:pt x="517" y="62"/>
                  </a:lnTo>
                  <a:lnTo>
                    <a:pt x="515" y="73"/>
                  </a:lnTo>
                  <a:lnTo>
                    <a:pt x="517" y="76"/>
                  </a:lnTo>
                  <a:lnTo>
                    <a:pt x="515" y="83"/>
                  </a:lnTo>
                  <a:lnTo>
                    <a:pt x="517" y="88"/>
                  </a:lnTo>
                  <a:lnTo>
                    <a:pt x="517" y="94"/>
                  </a:lnTo>
                  <a:lnTo>
                    <a:pt x="513" y="95"/>
                  </a:lnTo>
                  <a:lnTo>
                    <a:pt x="513" y="99"/>
                  </a:lnTo>
                  <a:lnTo>
                    <a:pt x="510" y="104"/>
                  </a:lnTo>
                  <a:lnTo>
                    <a:pt x="510" y="114"/>
                  </a:lnTo>
                  <a:lnTo>
                    <a:pt x="504" y="118"/>
                  </a:lnTo>
                  <a:lnTo>
                    <a:pt x="508" y="121"/>
                  </a:lnTo>
                  <a:lnTo>
                    <a:pt x="504" y="127"/>
                  </a:lnTo>
                  <a:lnTo>
                    <a:pt x="503" y="130"/>
                  </a:lnTo>
                  <a:lnTo>
                    <a:pt x="503" y="135"/>
                  </a:lnTo>
                  <a:lnTo>
                    <a:pt x="497" y="141"/>
                  </a:lnTo>
                  <a:lnTo>
                    <a:pt x="485" y="144"/>
                  </a:lnTo>
                  <a:lnTo>
                    <a:pt x="482" y="142"/>
                  </a:lnTo>
                  <a:lnTo>
                    <a:pt x="477" y="141"/>
                  </a:lnTo>
                  <a:lnTo>
                    <a:pt x="475" y="139"/>
                  </a:lnTo>
                  <a:lnTo>
                    <a:pt x="470" y="135"/>
                  </a:lnTo>
                  <a:lnTo>
                    <a:pt x="470" y="134"/>
                  </a:lnTo>
                  <a:lnTo>
                    <a:pt x="470" y="130"/>
                  </a:lnTo>
                  <a:lnTo>
                    <a:pt x="468" y="127"/>
                  </a:lnTo>
                  <a:lnTo>
                    <a:pt x="464" y="127"/>
                  </a:lnTo>
                  <a:lnTo>
                    <a:pt x="463" y="125"/>
                  </a:lnTo>
                  <a:lnTo>
                    <a:pt x="456" y="125"/>
                  </a:lnTo>
                  <a:lnTo>
                    <a:pt x="451" y="121"/>
                  </a:lnTo>
                  <a:lnTo>
                    <a:pt x="451" y="120"/>
                  </a:lnTo>
                  <a:lnTo>
                    <a:pt x="445" y="114"/>
                  </a:lnTo>
                  <a:lnTo>
                    <a:pt x="442" y="114"/>
                  </a:lnTo>
                  <a:lnTo>
                    <a:pt x="437" y="111"/>
                  </a:lnTo>
                  <a:lnTo>
                    <a:pt x="437" y="111"/>
                  </a:lnTo>
                  <a:lnTo>
                    <a:pt x="437" y="111"/>
                  </a:lnTo>
                  <a:lnTo>
                    <a:pt x="431" y="108"/>
                  </a:lnTo>
                  <a:lnTo>
                    <a:pt x="428" y="108"/>
                  </a:lnTo>
                  <a:lnTo>
                    <a:pt x="426" y="106"/>
                  </a:lnTo>
                  <a:lnTo>
                    <a:pt x="428" y="104"/>
                  </a:lnTo>
                  <a:lnTo>
                    <a:pt x="423" y="102"/>
                  </a:lnTo>
                  <a:lnTo>
                    <a:pt x="423" y="99"/>
                  </a:lnTo>
                  <a:lnTo>
                    <a:pt x="417" y="94"/>
                  </a:lnTo>
                  <a:lnTo>
                    <a:pt x="414" y="94"/>
                  </a:lnTo>
                  <a:lnTo>
                    <a:pt x="411" y="88"/>
                  </a:lnTo>
                  <a:lnTo>
                    <a:pt x="411" y="85"/>
                  </a:lnTo>
                  <a:lnTo>
                    <a:pt x="414" y="80"/>
                  </a:lnTo>
                  <a:lnTo>
                    <a:pt x="414" y="76"/>
                  </a:lnTo>
                  <a:lnTo>
                    <a:pt x="417" y="74"/>
                  </a:lnTo>
                  <a:lnTo>
                    <a:pt x="419" y="69"/>
                  </a:lnTo>
                  <a:lnTo>
                    <a:pt x="421" y="66"/>
                  </a:lnTo>
                  <a:lnTo>
                    <a:pt x="417" y="68"/>
                  </a:lnTo>
                  <a:lnTo>
                    <a:pt x="416" y="62"/>
                  </a:lnTo>
                  <a:lnTo>
                    <a:pt x="419" y="61"/>
                  </a:lnTo>
                  <a:lnTo>
                    <a:pt x="417" y="57"/>
                  </a:lnTo>
                  <a:lnTo>
                    <a:pt x="419" y="57"/>
                  </a:lnTo>
                  <a:lnTo>
                    <a:pt x="423" y="57"/>
                  </a:lnTo>
                  <a:lnTo>
                    <a:pt x="423" y="57"/>
                  </a:lnTo>
                  <a:lnTo>
                    <a:pt x="426" y="57"/>
                  </a:lnTo>
                  <a:lnTo>
                    <a:pt x="431" y="57"/>
                  </a:lnTo>
                  <a:lnTo>
                    <a:pt x="431" y="54"/>
                  </a:lnTo>
                  <a:lnTo>
                    <a:pt x="428" y="48"/>
                  </a:lnTo>
                  <a:lnTo>
                    <a:pt x="431" y="48"/>
                  </a:lnTo>
                  <a:lnTo>
                    <a:pt x="433" y="48"/>
                  </a:lnTo>
                  <a:lnTo>
                    <a:pt x="437" y="43"/>
                  </a:lnTo>
                  <a:lnTo>
                    <a:pt x="437" y="41"/>
                  </a:lnTo>
                  <a:lnTo>
                    <a:pt x="440" y="40"/>
                  </a:lnTo>
                  <a:lnTo>
                    <a:pt x="440" y="38"/>
                  </a:lnTo>
                  <a:lnTo>
                    <a:pt x="437" y="34"/>
                  </a:lnTo>
                  <a:lnTo>
                    <a:pt x="433" y="38"/>
                  </a:lnTo>
                  <a:lnTo>
                    <a:pt x="431" y="38"/>
                  </a:lnTo>
                  <a:lnTo>
                    <a:pt x="431" y="31"/>
                  </a:lnTo>
                  <a:lnTo>
                    <a:pt x="428" y="34"/>
                  </a:lnTo>
                  <a:lnTo>
                    <a:pt x="424" y="38"/>
                  </a:lnTo>
                  <a:lnTo>
                    <a:pt x="428" y="38"/>
                  </a:lnTo>
                  <a:lnTo>
                    <a:pt x="428" y="41"/>
                  </a:lnTo>
                  <a:lnTo>
                    <a:pt x="424" y="43"/>
                  </a:lnTo>
                  <a:lnTo>
                    <a:pt x="421" y="40"/>
                  </a:lnTo>
                  <a:lnTo>
                    <a:pt x="421" y="38"/>
                  </a:lnTo>
                  <a:lnTo>
                    <a:pt x="419" y="36"/>
                  </a:lnTo>
                  <a:lnTo>
                    <a:pt x="417" y="38"/>
                  </a:lnTo>
                  <a:lnTo>
                    <a:pt x="416" y="40"/>
                  </a:lnTo>
                  <a:lnTo>
                    <a:pt x="416" y="36"/>
                  </a:lnTo>
                  <a:lnTo>
                    <a:pt x="417" y="34"/>
                  </a:lnTo>
                  <a:lnTo>
                    <a:pt x="419" y="34"/>
                  </a:lnTo>
                  <a:lnTo>
                    <a:pt x="416" y="34"/>
                  </a:lnTo>
                  <a:lnTo>
                    <a:pt x="414" y="36"/>
                  </a:lnTo>
                  <a:lnTo>
                    <a:pt x="411" y="38"/>
                  </a:lnTo>
                  <a:lnTo>
                    <a:pt x="409" y="40"/>
                  </a:lnTo>
                  <a:lnTo>
                    <a:pt x="409" y="40"/>
                  </a:lnTo>
                  <a:lnTo>
                    <a:pt x="405" y="38"/>
                  </a:lnTo>
                  <a:lnTo>
                    <a:pt x="404" y="38"/>
                  </a:lnTo>
                  <a:lnTo>
                    <a:pt x="404" y="36"/>
                  </a:lnTo>
                  <a:lnTo>
                    <a:pt x="402" y="34"/>
                  </a:lnTo>
                  <a:lnTo>
                    <a:pt x="400" y="34"/>
                  </a:lnTo>
                  <a:lnTo>
                    <a:pt x="395" y="34"/>
                  </a:lnTo>
                  <a:lnTo>
                    <a:pt x="393" y="34"/>
                  </a:lnTo>
                  <a:lnTo>
                    <a:pt x="391" y="34"/>
                  </a:lnTo>
                  <a:lnTo>
                    <a:pt x="390" y="31"/>
                  </a:lnTo>
                  <a:lnTo>
                    <a:pt x="388" y="31"/>
                  </a:lnTo>
                  <a:lnTo>
                    <a:pt x="386" y="29"/>
                  </a:lnTo>
                  <a:lnTo>
                    <a:pt x="381" y="29"/>
                  </a:lnTo>
                  <a:lnTo>
                    <a:pt x="378" y="29"/>
                  </a:lnTo>
                  <a:lnTo>
                    <a:pt x="374" y="26"/>
                  </a:lnTo>
                  <a:lnTo>
                    <a:pt x="376" y="26"/>
                  </a:lnTo>
                  <a:lnTo>
                    <a:pt x="372" y="22"/>
                  </a:lnTo>
                  <a:lnTo>
                    <a:pt x="371" y="22"/>
                  </a:lnTo>
                  <a:lnTo>
                    <a:pt x="371" y="24"/>
                  </a:lnTo>
                  <a:lnTo>
                    <a:pt x="365" y="26"/>
                  </a:lnTo>
                  <a:lnTo>
                    <a:pt x="364" y="22"/>
                  </a:lnTo>
                  <a:lnTo>
                    <a:pt x="362" y="22"/>
                  </a:lnTo>
                  <a:lnTo>
                    <a:pt x="358" y="19"/>
                  </a:lnTo>
                  <a:lnTo>
                    <a:pt x="355" y="21"/>
                  </a:lnTo>
                  <a:lnTo>
                    <a:pt x="355" y="19"/>
                  </a:lnTo>
                  <a:lnTo>
                    <a:pt x="351" y="21"/>
                  </a:lnTo>
                  <a:lnTo>
                    <a:pt x="355" y="24"/>
                  </a:lnTo>
                  <a:lnTo>
                    <a:pt x="355" y="24"/>
                  </a:lnTo>
                  <a:lnTo>
                    <a:pt x="358" y="26"/>
                  </a:lnTo>
                  <a:lnTo>
                    <a:pt x="358" y="24"/>
                  </a:lnTo>
                  <a:lnTo>
                    <a:pt x="364" y="26"/>
                  </a:lnTo>
                  <a:lnTo>
                    <a:pt x="364" y="29"/>
                  </a:lnTo>
                  <a:lnTo>
                    <a:pt x="365" y="34"/>
                  </a:lnTo>
                  <a:lnTo>
                    <a:pt x="362" y="34"/>
                  </a:lnTo>
                  <a:lnTo>
                    <a:pt x="360" y="40"/>
                  </a:lnTo>
                  <a:lnTo>
                    <a:pt x="358" y="36"/>
                  </a:lnTo>
                  <a:lnTo>
                    <a:pt x="358" y="36"/>
                  </a:lnTo>
                  <a:lnTo>
                    <a:pt x="355" y="38"/>
                  </a:lnTo>
                  <a:lnTo>
                    <a:pt x="345" y="38"/>
                  </a:lnTo>
                  <a:lnTo>
                    <a:pt x="341" y="34"/>
                  </a:lnTo>
                  <a:lnTo>
                    <a:pt x="339" y="36"/>
                  </a:lnTo>
                  <a:lnTo>
                    <a:pt x="336" y="38"/>
                  </a:lnTo>
                  <a:lnTo>
                    <a:pt x="336" y="41"/>
                  </a:lnTo>
                  <a:lnTo>
                    <a:pt x="332" y="41"/>
                  </a:lnTo>
                  <a:lnTo>
                    <a:pt x="336" y="45"/>
                  </a:lnTo>
                  <a:lnTo>
                    <a:pt x="332" y="43"/>
                  </a:lnTo>
                  <a:lnTo>
                    <a:pt x="331" y="43"/>
                  </a:lnTo>
                  <a:lnTo>
                    <a:pt x="327" y="45"/>
                  </a:lnTo>
                  <a:lnTo>
                    <a:pt x="331" y="47"/>
                  </a:lnTo>
                  <a:lnTo>
                    <a:pt x="331" y="48"/>
                  </a:lnTo>
                  <a:lnTo>
                    <a:pt x="324" y="47"/>
                  </a:lnTo>
                  <a:lnTo>
                    <a:pt x="324" y="48"/>
                  </a:lnTo>
                  <a:lnTo>
                    <a:pt x="324" y="52"/>
                  </a:lnTo>
                  <a:lnTo>
                    <a:pt x="322" y="52"/>
                  </a:lnTo>
                  <a:lnTo>
                    <a:pt x="320" y="54"/>
                  </a:lnTo>
                  <a:lnTo>
                    <a:pt x="320" y="57"/>
                  </a:lnTo>
                  <a:lnTo>
                    <a:pt x="322" y="57"/>
                  </a:lnTo>
                  <a:lnTo>
                    <a:pt x="324" y="59"/>
                  </a:lnTo>
                  <a:lnTo>
                    <a:pt x="320" y="57"/>
                  </a:lnTo>
                  <a:lnTo>
                    <a:pt x="318" y="61"/>
                  </a:lnTo>
                  <a:lnTo>
                    <a:pt x="315" y="61"/>
                  </a:lnTo>
                  <a:lnTo>
                    <a:pt x="313" y="66"/>
                  </a:lnTo>
                  <a:lnTo>
                    <a:pt x="308" y="71"/>
                  </a:lnTo>
                  <a:lnTo>
                    <a:pt x="306" y="71"/>
                  </a:lnTo>
                  <a:lnTo>
                    <a:pt x="305" y="76"/>
                  </a:lnTo>
                  <a:lnTo>
                    <a:pt x="305" y="76"/>
                  </a:lnTo>
                  <a:lnTo>
                    <a:pt x="305" y="80"/>
                  </a:lnTo>
                  <a:lnTo>
                    <a:pt x="313" y="80"/>
                  </a:lnTo>
                  <a:lnTo>
                    <a:pt x="308" y="81"/>
                  </a:lnTo>
                  <a:lnTo>
                    <a:pt x="306" y="83"/>
                  </a:lnTo>
                  <a:lnTo>
                    <a:pt x="315" y="87"/>
                  </a:lnTo>
                  <a:lnTo>
                    <a:pt x="313" y="87"/>
                  </a:lnTo>
                  <a:lnTo>
                    <a:pt x="306" y="87"/>
                  </a:lnTo>
                  <a:lnTo>
                    <a:pt x="306" y="85"/>
                  </a:lnTo>
                  <a:lnTo>
                    <a:pt x="306" y="87"/>
                  </a:lnTo>
                  <a:lnTo>
                    <a:pt x="308" y="88"/>
                  </a:lnTo>
                  <a:lnTo>
                    <a:pt x="308" y="94"/>
                  </a:lnTo>
                  <a:lnTo>
                    <a:pt x="313" y="97"/>
                  </a:lnTo>
                  <a:lnTo>
                    <a:pt x="306" y="94"/>
                  </a:lnTo>
                  <a:lnTo>
                    <a:pt x="305" y="88"/>
                  </a:lnTo>
                  <a:lnTo>
                    <a:pt x="301" y="88"/>
                  </a:lnTo>
                  <a:lnTo>
                    <a:pt x="301" y="90"/>
                  </a:lnTo>
                  <a:lnTo>
                    <a:pt x="301" y="92"/>
                  </a:lnTo>
                  <a:lnTo>
                    <a:pt x="301" y="90"/>
                  </a:lnTo>
                  <a:lnTo>
                    <a:pt x="292" y="85"/>
                  </a:lnTo>
                  <a:lnTo>
                    <a:pt x="287" y="85"/>
                  </a:lnTo>
                  <a:lnTo>
                    <a:pt x="289" y="88"/>
                  </a:lnTo>
                  <a:lnTo>
                    <a:pt x="287" y="90"/>
                  </a:lnTo>
                  <a:lnTo>
                    <a:pt x="285" y="88"/>
                  </a:lnTo>
                  <a:lnTo>
                    <a:pt x="284" y="88"/>
                  </a:lnTo>
                  <a:lnTo>
                    <a:pt x="282" y="90"/>
                  </a:lnTo>
                  <a:lnTo>
                    <a:pt x="284" y="94"/>
                  </a:lnTo>
                  <a:lnTo>
                    <a:pt x="284" y="95"/>
                  </a:lnTo>
                  <a:lnTo>
                    <a:pt x="284" y="94"/>
                  </a:lnTo>
                  <a:lnTo>
                    <a:pt x="282" y="95"/>
                  </a:lnTo>
                  <a:lnTo>
                    <a:pt x="282" y="97"/>
                  </a:lnTo>
                  <a:lnTo>
                    <a:pt x="278" y="99"/>
                  </a:lnTo>
                  <a:lnTo>
                    <a:pt x="273" y="99"/>
                  </a:lnTo>
                  <a:lnTo>
                    <a:pt x="278" y="97"/>
                  </a:lnTo>
                  <a:lnTo>
                    <a:pt x="282" y="94"/>
                  </a:lnTo>
                  <a:lnTo>
                    <a:pt x="278" y="88"/>
                  </a:lnTo>
                  <a:lnTo>
                    <a:pt x="282" y="85"/>
                  </a:lnTo>
                  <a:lnTo>
                    <a:pt x="282" y="81"/>
                  </a:lnTo>
                  <a:lnTo>
                    <a:pt x="278" y="81"/>
                  </a:lnTo>
                  <a:lnTo>
                    <a:pt x="273" y="74"/>
                  </a:lnTo>
                  <a:lnTo>
                    <a:pt x="272" y="69"/>
                  </a:lnTo>
                  <a:lnTo>
                    <a:pt x="266" y="69"/>
                  </a:lnTo>
                  <a:lnTo>
                    <a:pt x="263" y="66"/>
                  </a:lnTo>
                  <a:lnTo>
                    <a:pt x="261" y="68"/>
                  </a:lnTo>
                  <a:lnTo>
                    <a:pt x="263" y="69"/>
                  </a:lnTo>
                  <a:lnTo>
                    <a:pt x="259" y="71"/>
                  </a:lnTo>
                  <a:lnTo>
                    <a:pt x="258" y="74"/>
                  </a:lnTo>
                  <a:lnTo>
                    <a:pt x="256" y="74"/>
                  </a:lnTo>
                  <a:lnTo>
                    <a:pt x="256" y="71"/>
                  </a:lnTo>
                  <a:lnTo>
                    <a:pt x="254" y="73"/>
                  </a:lnTo>
                  <a:lnTo>
                    <a:pt x="254" y="74"/>
                  </a:lnTo>
                  <a:lnTo>
                    <a:pt x="251" y="69"/>
                  </a:lnTo>
                  <a:lnTo>
                    <a:pt x="249" y="69"/>
                  </a:lnTo>
                  <a:lnTo>
                    <a:pt x="249" y="73"/>
                  </a:lnTo>
                  <a:lnTo>
                    <a:pt x="251" y="73"/>
                  </a:lnTo>
                  <a:lnTo>
                    <a:pt x="247" y="76"/>
                  </a:lnTo>
                  <a:lnTo>
                    <a:pt x="245" y="80"/>
                  </a:lnTo>
                  <a:lnTo>
                    <a:pt x="247" y="80"/>
                  </a:lnTo>
                  <a:lnTo>
                    <a:pt x="244" y="83"/>
                  </a:lnTo>
                  <a:lnTo>
                    <a:pt x="242" y="80"/>
                  </a:lnTo>
                  <a:lnTo>
                    <a:pt x="240" y="80"/>
                  </a:lnTo>
                  <a:lnTo>
                    <a:pt x="240" y="80"/>
                  </a:lnTo>
                  <a:lnTo>
                    <a:pt x="242" y="76"/>
                  </a:lnTo>
                  <a:lnTo>
                    <a:pt x="239" y="76"/>
                  </a:lnTo>
                  <a:lnTo>
                    <a:pt x="239" y="80"/>
                  </a:lnTo>
                  <a:lnTo>
                    <a:pt x="233" y="80"/>
                  </a:lnTo>
                  <a:lnTo>
                    <a:pt x="233" y="81"/>
                  </a:lnTo>
                  <a:lnTo>
                    <a:pt x="232" y="87"/>
                  </a:lnTo>
                  <a:lnTo>
                    <a:pt x="237" y="87"/>
                  </a:lnTo>
                  <a:lnTo>
                    <a:pt x="233" y="92"/>
                  </a:lnTo>
                  <a:lnTo>
                    <a:pt x="232" y="90"/>
                  </a:lnTo>
                  <a:lnTo>
                    <a:pt x="226" y="92"/>
                  </a:lnTo>
                  <a:lnTo>
                    <a:pt x="228" y="95"/>
                  </a:lnTo>
                  <a:lnTo>
                    <a:pt x="232" y="95"/>
                  </a:lnTo>
                  <a:lnTo>
                    <a:pt x="228" y="99"/>
                  </a:lnTo>
                  <a:lnTo>
                    <a:pt x="228" y="99"/>
                  </a:lnTo>
                  <a:lnTo>
                    <a:pt x="225" y="95"/>
                  </a:lnTo>
                  <a:lnTo>
                    <a:pt x="219" y="99"/>
                  </a:lnTo>
                  <a:lnTo>
                    <a:pt x="218" y="99"/>
                  </a:lnTo>
                  <a:lnTo>
                    <a:pt x="219" y="102"/>
                  </a:lnTo>
                  <a:lnTo>
                    <a:pt x="219" y="102"/>
                  </a:lnTo>
                  <a:lnTo>
                    <a:pt x="219" y="104"/>
                  </a:lnTo>
                  <a:lnTo>
                    <a:pt x="219" y="104"/>
                  </a:lnTo>
                  <a:lnTo>
                    <a:pt x="219" y="108"/>
                  </a:lnTo>
                  <a:lnTo>
                    <a:pt x="219" y="111"/>
                  </a:lnTo>
                  <a:lnTo>
                    <a:pt x="218" y="111"/>
                  </a:lnTo>
                  <a:lnTo>
                    <a:pt x="216" y="114"/>
                  </a:lnTo>
                  <a:lnTo>
                    <a:pt x="223" y="114"/>
                  </a:lnTo>
                  <a:lnTo>
                    <a:pt x="218" y="118"/>
                  </a:lnTo>
                  <a:lnTo>
                    <a:pt x="218" y="120"/>
                  </a:lnTo>
                  <a:lnTo>
                    <a:pt x="214" y="118"/>
                  </a:lnTo>
                  <a:lnTo>
                    <a:pt x="212" y="116"/>
                  </a:lnTo>
                  <a:lnTo>
                    <a:pt x="209" y="113"/>
                  </a:lnTo>
                  <a:lnTo>
                    <a:pt x="209" y="116"/>
                  </a:lnTo>
                  <a:lnTo>
                    <a:pt x="206" y="113"/>
                  </a:lnTo>
                  <a:lnTo>
                    <a:pt x="204" y="111"/>
                  </a:lnTo>
                  <a:lnTo>
                    <a:pt x="200" y="113"/>
                  </a:lnTo>
                  <a:lnTo>
                    <a:pt x="204" y="116"/>
                  </a:lnTo>
                  <a:lnTo>
                    <a:pt x="204" y="118"/>
                  </a:lnTo>
                  <a:lnTo>
                    <a:pt x="200" y="121"/>
                  </a:lnTo>
                  <a:lnTo>
                    <a:pt x="204" y="121"/>
                  </a:lnTo>
                  <a:lnTo>
                    <a:pt x="209" y="121"/>
                  </a:lnTo>
                  <a:lnTo>
                    <a:pt x="206" y="125"/>
                  </a:lnTo>
                  <a:lnTo>
                    <a:pt x="206" y="130"/>
                  </a:lnTo>
                  <a:lnTo>
                    <a:pt x="204" y="127"/>
                  </a:lnTo>
                  <a:lnTo>
                    <a:pt x="204" y="127"/>
                  </a:lnTo>
                  <a:lnTo>
                    <a:pt x="204" y="130"/>
                  </a:lnTo>
                  <a:lnTo>
                    <a:pt x="204" y="135"/>
                  </a:lnTo>
                  <a:lnTo>
                    <a:pt x="204" y="139"/>
                  </a:lnTo>
                  <a:lnTo>
                    <a:pt x="197" y="127"/>
                  </a:lnTo>
                  <a:lnTo>
                    <a:pt x="193" y="121"/>
                  </a:lnTo>
                  <a:lnTo>
                    <a:pt x="192" y="118"/>
                  </a:lnTo>
                  <a:lnTo>
                    <a:pt x="192" y="114"/>
                  </a:lnTo>
                  <a:lnTo>
                    <a:pt x="192" y="116"/>
                  </a:lnTo>
                  <a:lnTo>
                    <a:pt x="186" y="120"/>
                  </a:lnTo>
                  <a:lnTo>
                    <a:pt x="186" y="121"/>
                  </a:lnTo>
                  <a:lnTo>
                    <a:pt x="183" y="125"/>
                  </a:lnTo>
                  <a:lnTo>
                    <a:pt x="183" y="125"/>
                  </a:lnTo>
                  <a:lnTo>
                    <a:pt x="181" y="125"/>
                  </a:lnTo>
                  <a:lnTo>
                    <a:pt x="178" y="127"/>
                  </a:lnTo>
                  <a:lnTo>
                    <a:pt x="174" y="130"/>
                  </a:lnTo>
                  <a:lnTo>
                    <a:pt x="174" y="135"/>
                  </a:lnTo>
                  <a:lnTo>
                    <a:pt x="174" y="144"/>
                  </a:lnTo>
                  <a:lnTo>
                    <a:pt x="178" y="144"/>
                  </a:lnTo>
                  <a:lnTo>
                    <a:pt x="178" y="148"/>
                  </a:lnTo>
                  <a:lnTo>
                    <a:pt x="174" y="149"/>
                  </a:lnTo>
                  <a:lnTo>
                    <a:pt x="172" y="153"/>
                  </a:lnTo>
                  <a:lnTo>
                    <a:pt x="167" y="153"/>
                  </a:lnTo>
                  <a:lnTo>
                    <a:pt x="169" y="156"/>
                  </a:lnTo>
                  <a:lnTo>
                    <a:pt x="164" y="158"/>
                  </a:lnTo>
                  <a:lnTo>
                    <a:pt x="164" y="163"/>
                  </a:lnTo>
                  <a:lnTo>
                    <a:pt x="162" y="165"/>
                  </a:lnTo>
                  <a:lnTo>
                    <a:pt x="157" y="174"/>
                  </a:lnTo>
                  <a:lnTo>
                    <a:pt x="146" y="179"/>
                  </a:lnTo>
                  <a:lnTo>
                    <a:pt x="138" y="179"/>
                  </a:lnTo>
                  <a:lnTo>
                    <a:pt x="134" y="181"/>
                  </a:lnTo>
                  <a:lnTo>
                    <a:pt x="129" y="181"/>
                  </a:lnTo>
                  <a:lnTo>
                    <a:pt x="124" y="181"/>
                  </a:lnTo>
                  <a:lnTo>
                    <a:pt x="122" y="181"/>
                  </a:lnTo>
                  <a:lnTo>
                    <a:pt x="115" y="182"/>
                  </a:lnTo>
                  <a:lnTo>
                    <a:pt x="115" y="186"/>
                  </a:lnTo>
                  <a:lnTo>
                    <a:pt x="112" y="187"/>
                  </a:lnTo>
                  <a:lnTo>
                    <a:pt x="101" y="187"/>
                  </a:lnTo>
                  <a:lnTo>
                    <a:pt x="96" y="189"/>
                  </a:lnTo>
                  <a:lnTo>
                    <a:pt x="96" y="193"/>
                  </a:lnTo>
                  <a:lnTo>
                    <a:pt x="91" y="194"/>
                  </a:lnTo>
                  <a:lnTo>
                    <a:pt x="84" y="194"/>
                  </a:lnTo>
                  <a:lnTo>
                    <a:pt x="82" y="194"/>
                  </a:lnTo>
                  <a:lnTo>
                    <a:pt x="79" y="194"/>
                  </a:lnTo>
                  <a:lnTo>
                    <a:pt x="77" y="193"/>
                  </a:lnTo>
                  <a:lnTo>
                    <a:pt x="77" y="194"/>
                  </a:lnTo>
                  <a:lnTo>
                    <a:pt x="73" y="198"/>
                  </a:lnTo>
                  <a:lnTo>
                    <a:pt x="65" y="198"/>
                  </a:lnTo>
                  <a:lnTo>
                    <a:pt x="65" y="201"/>
                  </a:lnTo>
                  <a:lnTo>
                    <a:pt x="63" y="201"/>
                  </a:lnTo>
                  <a:lnTo>
                    <a:pt x="56" y="205"/>
                  </a:lnTo>
                  <a:lnTo>
                    <a:pt x="51" y="208"/>
                  </a:lnTo>
                  <a:lnTo>
                    <a:pt x="40" y="212"/>
                  </a:lnTo>
                  <a:lnTo>
                    <a:pt x="35" y="217"/>
                  </a:lnTo>
                  <a:lnTo>
                    <a:pt x="35" y="224"/>
                  </a:lnTo>
                  <a:lnTo>
                    <a:pt x="32" y="226"/>
                  </a:lnTo>
                  <a:lnTo>
                    <a:pt x="28" y="224"/>
                  </a:lnTo>
                  <a:lnTo>
                    <a:pt x="32" y="224"/>
                  </a:lnTo>
                  <a:lnTo>
                    <a:pt x="32" y="221"/>
                  </a:lnTo>
                  <a:lnTo>
                    <a:pt x="32" y="215"/>
                  </a:lnTo>
                  <a:lnTo>
                    <a:pt x="32" y="212"/>
                  </a:lnTo>
                  <a:lnTo>
                    <a:pt x="25" y="217"/>
                  </a:lnTo>
                  <a:lnTo>
                    <a:pt x="25" y="221"/>
                  </a:lnTo>
                  <a:lnTo>
                    <a:pt x="20" y="229"/>
                  </a:lnTo>
                  <a:lnTo>
                    <a:pt x="23" y="234"/>
                  </a:lnTo>
                  <a:lnTo>
                    <a:pt x="23" y="238"/>
                  </a:lnTo>
                  <a:lnTo>
                    <a:pt x="23" y="247"/>
                  </a:lnTo>
                  <a:lnTo>
                    <a:pt x="16" y="254"/>
                  </a:lnTo>
                  <a:lnTo>
                    <a:pt x="13" y="266"/>
                  </a:lnTo>
                  <a:lnTo>
                    <a:pt x="14" y="271"/>
                  </a:lnTo>
                  <a:lnTo>
                    <a:pt x="14" y="280"/>
                  </a:lnTo>
                  <a:lnTo>
                    <a:pt x="20" y="290"/>
                  </a:lnTo>
                  <a:lnTo>
                    <a:pt x="20" y="294"/>
                  </a:lnTo>
                  <a:lnTo>
                    <a:pt x="23" y="297"/>
                  </a:lnTo>
                  <a:lnTo>
                    <a:pt x="20" y="301"/>
                  </a:lnTo>
                  <a:lnTo>
                    <a:pt x="20" y="306"/>
                  </a:lnTo>
                  <a:lnTo>
                    <a:pt x="18" y="307"/>
                  </a:lnTo>
                  <a:lnTo>
                    <a:pt x="16" y="306"/>
                  </a:lnTo>
                  <a:lnTo>
                    <a:pt x="16" y="297"/>
                  </a:lnTo>
                  <a:lnTo>
                    <a:pt x="14" y="301"/>
                  </a:lnTo>
                  <a:lnTo>
                    <a:pt x="13" y="301"/>
                  </a:lnTo>
                  <a:lnTo>
                    <a:pt x="13" y="294"/>
                  </a:lnTo>
                  <a:lnTo>
                    <a:pt x="9" y="288"/>
                  </a:lnTo>
                  <a:lnTo>
                    <a:pt x="7" y="292"/>
                  </a:lnTo>
                  <a:lnTo>
                    <a:pt x="7" y="299"/>
                  </a:lnTo>
                  <a:lnTo>
                    <a:pt x="13" y="302"/>
                  </a:lnTo>
                  <a:lnTo>
                    <a:pt x="16" y="309"/>
                  </a:lnTo>
                  <a:lnTo>
                    <a:pt x="11" y="311"/>
                  </a:lnTo>
                  <a:lnTo>
                    <a:pt x="7" y="306"/>
                  </a:lnTo>
                  <a:lnTo>
                    <a:pt x="6" y="299"/>
                  </a:lnTo>
                  <a:lnTo>
                    <a:pt x="4" y="302"/>
                  </a:lnTo>
                  <a:lnTo>
                    <a:pt x="2" y="302"/>
                  </a:lnTo>
                  <a:lnTo>
                    <a:pt x="6" y="309"/>
                  </a:lnTo>
                  <a:lnTo>
                    <a:pt x="13" y="316"/>
                  </a:lnTo>
                  <a:lnTo>
                    <a:pt x="16" y="325"/>
                  </a:lnTo>
                  <a:lnTo>
                    <a:pt x="14" y="344"/>
                  </a:lnTo>
                  <a:lnTo>
                    <a:pt x="18" y="347"/>
                  </a:lnTo>
                  <a:lnTo>
                    <a:pt x="20" y="356"/>
                  </a:lnTo>
                  <a:lnTo>
                    <a:pt x="23" y="370"/>
                  </a:lnTo>
                  <a:lnTo>
                    <a:pt x="23" y="374"/>
                  </a:lnTo>
                  <a:lnTo>
                    <a:pt x="23" y="393"/>
                  </a:lnTo>
                  <a:lnTo>
                    <a:pt x="23" y="396"/>
                  </a:lnTo>
                  <a:lnTo>
                    <a:pt x="23" y="401"/>
                  </a:lnTo>
                  <a:lnTo>
                    <a:pt x="23" y="405"/>
                  </a:lnTo>
                  <a:lnTo>
                    <a:pt x="27" y="415"/>
                  </a:lnTo>
                  <a:lnTo>
                    <a:pt x="27" y="419"/>
                  </a:lnTo>
                  <a:lnTo>
                    <a:pt x="23" y="421"/>
                  </a:lnTo>
                  <a:lnTo>
                    <a:pt x="25" y="424"/>
                  </a:lnTo>
                  <a:lnTo>
                    <a:pt x="25" y="426"/>
                  </a:lnTo>
                  <a:lnTo>
                    <a:pt x="23" y="434"/>
                  </a:lnTo>
                  <a:lnTo>
                    <a:pt x="20" y="438"/>
                  </a:lnTo>
                  <a:lnTo>
                    <a:pt x="23" y="438"/>
                  </a:lnTo>
                  <a:lnTo>
                    <a:pt x="20" y="443"/>
                  </a:lnTo>
                  <a:lnTo>
                    <a:pt x="20" y="447"/>
                  </a:lnTo>
                  <a:lnTo>
                    <a:pt x="20" y="450"/>
                  </a:lnTo>
                  <a:lnTo>
                    <a:pt x="14" y="454"/>
                  </a:lnTo>
                  <a:lnTo>
                    <a:pt x="11" y="452"/>
                  </a:lnTo>
                  <a:lnTo>
                    <a:pt x="6" y="459"/>
                  </a:lnTo>
                  <a:lnTo>
                    <a:pt x="7" y="469"/>
                  </a:lnTo>
                  <a:lnTo>
                    <a:pt x="7" y="469"/>
                  </a:lnTo>
                  <a:lnTo>
                    <a:pt x="7" y="46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4" name="Freeform 203">
              <a:extLst>
                <a:ext uri="{FF2B5EF4-FFF2-40B4-BE49-F238E27FC236}">
                  <a16:creationId xmlns:a16="http://schemas.microsoft.com/office/drawing/2014/main" id="{BAD50334-9214-4928-BE74-9DCBE84F59CF}"/>
                </a:ext>
              </a:extLst>
            </p:cNvPr>
            <p:cNvSpPr>
              <a:spLocks noEditPoints="1"/>
            </p:cNvSpPr>
            <p:nvPr/>
          </p:nvSpPr>
          <p:spPr bwMode="auto">
            <a:xfrm>
              <a:off x="8705850" y="5407026"/>
              <a:ext cx="431800" cy="565150"/>
            </a:xfrm>
            <a:custGeom>
              <a:avLst/>
              <a:gdLst/>
              <a:ahLst/>
              <a:cxnLst>
                <a:cxn ang="0">
                  <a:pos x="1" y="308"/>
                </a:cxn>
                <a:cxn ang="0">
                  <a:pos x="220" y="75"/>
                </a:cxn>
                <a:cxn ang="0">
                  <a:pos x="227" y="59"/>
                </a:cxn>
                <a:cxn ang="0">
                  <a:pos x="231" y="61"/>
                </a:cxn>
                <a:cxn ang="0">
                  <a:pos x="186" y="201"/>
                </a:cxn>
                <a:cxn ang="0">
                  <a:pos x="217" y="174"/>
                </a:cxn>
                <a:cxn ang="0">
                  <a:pos x="233" y="151"/>
                </a:cxn>
                <a:cxn ang="0">
                  <a:pos x="250" y="139"/>
                </a:cxn>
                <a:cxn ang="0">
                  <a:pos x="259" y="127"/>
                </a:cxn>
                <a:cxn ang="0">
                  <a:pos x="272" y="102"/>
                </a:cxn>
                <a:cxn ang="0">
                  <a:pos x="250" y="106"/>
                </a:cxn>
                <a:cxn ang="0">
                  <a:pos x="231" y="82"/>
                </a:cxn>
                <a:cxn ang="0">
                  <a:pos x="226" y="64"/>
                </a:cxn>
                <a:cxn ang="0">
                  <a:pos x="224" y="83"/>
                </a:cxn>
                <a:cxn ang="0">
                  <a:pos x="217" y="69"/>
                </a:cxn>
                <a:cxn ang="0">
                  <a:pos x="215" y="45"/>
                </a:cxn>
                <a:cxn ang="0">
                  <a:pos x="220" y="28"/>
                </a:cxn>
                <a:cxn ang="0">
                  <a:pos x="212" y="17"/>
                </a:cxn>
                <a:cxn ang="0">
                  <a:pos x="205" y="15"/>
                </a:cxn>
                <a:cxn ang="0">
                  <a:pos x="200" y="0"/>
                </a:cxn>
                <a:cxn ang="0">
                  <a:pos x="196" y="24"/>
                </a:cxn>
                <a:cxn ang="0">
                  <a:pos x="205" y="52"/>
                </a:cxn>
                <a:cxn ang="0">
                  <a:pos x="210" y="59"/>
                </a:cxn>
                <a:cxn ang="0">
                  <a:pos x="205" y="62"/>
                </a:cxn>
                <a:cxn ang="0">
                  <a:pos x="210" y="83"/>
                </a:cxn>
                <a:cxn ang="0">
                  <a:pos x="205" y="101"/>
                </a:cxn>
                <a:cxn ang="0">
                  <a:pos x="196" y="128"/>
                </a:cxn>
                <a:cxn ang="0">
                  <a:pos x="186" y="149"/>
                </a:cxn>
                <a:cxn ang="0">
                  <a:pos x="186" y="182"/>
                </a:cxn>
                <a:cxn ang="0">
                  <a:pos x="163" y="179"/>
                </a:cxn>
                <a:cxn ang="0">
                  <a:pos x="163" y="182"/>
                </a:cxn>
                <a:cxn ang="0">
                  <a:pos x="163" y="188"/>
                </a:cxn>
                <a:cxn ang="0">
                  <a:pos x="21" y="344"/>
                </a:cxn>
                <a:cxn ang="0">
                  <a:pos x="1" y="356"/>
                </a:cxn>
                <a:cxn ang="0">
                  <a:pos x="10" y="337"/>
                </a:cxn>
                <a:cxn ang="0">
                  <a:pos x="14" y="348"/>
                </a:cxn>
                <a:cxn ang="0">
                  <a:pos x="5" y="353"/>
                </a:cxn>
                <a:cxn ang="0">
                  <a:pos x="0" y="316"/>
                </a:cxn>
                <a:cxn ang="0">
                  <a:pos x="10" y="297"/>
                </a:cxn>
                <a:cxn ang="0">
                  <a:pos x="24" y="285"/>
                </a:cxn>
                <a:cxn ang="0">
                  <a:pos x="38" y="271"/>
                </a:cxn>
                <a:cxn ang="0">
                  <a:pos x="64" y="262"/>
                </a:cxn>
                <a:cxn ang="0">
                  <a:pos x="87" y="240"/>
                </a:cxn>
                <a:cxn ang="0">
                  <a:pos x="114" y="212"/>
                </a:cxn>
                <a:cxn ang="0">
                  <a:pos x="135" y="191"/>
                </a:cxn>
                <a:cxn ang="0">
                  <a:pos x="151" y="179"/>
                </a:cxn>
                <a:cxn ang="0">
                  <a:pos x="154" y="191"/>
                </a:cxn>
                <a:cxn ang="0">
                  <a:pos x="167" y="189"/>
                </a:cxn>
                <a:cxn ang="0">
                  <a:pos x="170" y="191"/>
                </a:cxn>
                <a:cxn ang="0">
                  <a:pos x="158" y="219"/>
                </a:cxn>
                <a:cxn ang="0">
                  <a:pos x="135" y="245"/>
                </a:cxn>
                <a:cxn ang="0">
                  <a:pos x="127" y="266"/>
                </a:cxn>
                <a:cxn ang="0">
                  <a:pos x="120" y="262"/>
                </a:cxn>
                <a:cxn ang="0">
                  <a:pos x="109" y="262"/>
                </a:cxn>
                <a:cxn ang="0">
                  <a:pos x="95" y="275"/>
                </a:cxn>
                <a:cxn ang="0">
                  <a:pos x="74" y="309"/>
                </a:cxn>
                <a:cxn ang="0">
                  <a:pos x="62" y="321"/>
                </a:cxn>
                <a:cxn ang="0">
                  <a:pos x="47" y="335"/>
                </a:cxn>
                <a:cxn ang="0">
                  <a:pos x="24" y="337"/>
                </a:cxn>
                <a:cxn ang="0">
                  <a:pos x="10" y="325"/>
                </a:cxn>
              </a:cxnLst>
              <a:rect l="0" t="0" r="r" b="b"/>
              <a:pathLst>
                <a:path w="272" h="356">
                  <a:moveTo>
                    <a:pt x="1" y="308"/>
                  </a:moveTo>
                  <a:lnTo>
                    <a:pt x="1" y="308"/>
                  </a:lnTo>
                  <a:lnTo>
                    <a:pt x="5" y="308"/>
                  </a:lnTo>
                  <a:lnTo>
                    <a:pt x="5" y="306"/>
                  </a:lnTo>
                  <a:lnTo>
                    <a:pt x="1" y="306"/>
                  </a:lnTo>
                  <a:lnTo>
                    <a:pt x="1" y="308"/>
                  </a:lnTo>
                  <a:lnTo>
                    <a:pt x="1" y="308"/>
                  </a:lnTo>
                  <a:lnTo>
                    <a:pt x="1" y="308"/>
                  </a:lnTo>
                  <a:lnTo>
                    <a:pt x="1" y="308"/>
                  </a:lnTo>
                  <a:lnTo>
                    <a:pt x="1" y="308"/>
                  </a:lnTo>
                  <a:close/>
                  <a:moveTo>
                    <a:pt x="220" y="75"/>
                  </a:moveTo>
                  <a:lnTo>
                    <a:pt x="222" y="75"/>
                  </a:lnTo>
                  <a:lnTo>
                    <a:pt x="222" y="76"/>
                  </a:lnTo>
                  <a:lnTo>
                    <a:pt x="220" y="76"/>
                  </a:lnTo>
                  <a:lnTo>
                    <a:pt x="220" y="75"/>
                  </a:lnTo>
                  <a:lnTo>
                    <a:pt x="220" y="75"/>
                  </a:lnTo>
                  <a:lnTo>
                    <a:pt x="220" y="75"/>
                  </a:lnTo>
                  <a:lnTo>
                    <a:pt x="220" y="75"/>
                  </a:lnTo>
                  <a:close/>
                  <a:moveTo>
                    <a:pt x="226" y="59"/>
                  </a:moveTo>
                  <a:lnTo>
                    <a:pt x="224" y="59"/>
                  </a:lnTo>
                  <a:lnTo>
                    <a:pt x="226" y="59"/>
                  </a:lnTo>
                  <a:lnTo>
                    <a:pt x="226" y="59"/>
                  </a:lnTo>
                  <a:lnTo>
                    <a:pt x="226" y="59"/>
                  </a:lnTo>
                  <a:lnTo>
                    <a:pt x="226" y="59"/>
                  </a:lnTo>
                  <a:lnTo>
                    <a:pt x="226" y="59"/>
                  </a:lnTo>
                  <a:close/>
                  <a:moveTo>
                    <a:pt x="231" y="61"/>
                  </a:moveTo>
                  <a:lnTo>
                    <a:pt x="227" y="59"/>
                  </a:lnTo>
                  <a:lnTo>
                    <a:pt x="231" y="55"/>
                  </a:lnTo>
                  <a:lnTo>
                    <a:pt x="231" y="55"/>
                  </a:lnTo>
                  <a:lnTo>
                    <a:pt x="231" y="59"/>
                  </a:lnTo>
                  <a:lnTo>
                    <a:pt x="231" y="59"/>
                  </a:lnTo>
                  <a:lnTo>
                    <a:pt x="231" y="61"/>
                  </a:lnTo>
                  <a:lnTo>
                    <a:pt x="231" y="61"/>
                  </a:lnTo>
                  <a:lnTo>
                    <a:pt x="231" y="61"/>
                  </a:lnTo>
                  <a:lnTo>
                    <a:pt x="231" y="61"/>
                  </a:lnTo>
                  <a:lnTo>
                    <a:pt x="231" y="61"/>
                  </a:lnTo>
                  <a:close/>
                  <a:moveTo>
                    <a:pt x="173" y="196"/>
                  </a:moveTo>
                  <a:lnTo>
                    <a:pt x="177" y="196"/>
                  </a:lnTo>
                  <a:lnTo>
                    <a:pt x="180" y="193"/>
                  </a:lnTo>
                  <a:lnTo>
                    <a:pt x="182" y="193"/>
                  </a:lnTo>
                  <a:lnTo>
                    <a:pt x="182" y="198"/>
                  </a:lnTo>
                  <a:lnTo>
                    <a:pt x="182" y="200"/>
                  </a:lnTo>
                  <a:lnTo>
                    <a:pt x="182" y="200"/>
                  </a:lnTo>
                  <a:lnTo>
                    <a:pt x="182" y="200"/>
                  </a:lnTo>
                  <a:lnTo>
                    <a:pt x="186" y="201"/>
                  </a:lnTo>
                  <a:lnTo>
                    <a:pt x="182" y="201"/>
                  </a:lnTo>
                  <a:lnTo>
                    <a:pt x="186" y="205"/>
                  </a:lnTo>
                  <a:lnTo>
                    <a:pt x="187" y="205"/>
                  </a:lnTo>
                  <a:lnTo>
                    <a:pt x="193" y="200"/>
                  </a:lnTo>
                  <a:lnTo>
                    <a:pt x="200" y="193"/>
                  </a:lnTo>
                  <a:lnTo>
                    <a:pt x="205" y="189"/>
                  </a:lnTo>
                  <a:lnTo>
                    <a:pt x="208" y="184"/>
                  </a:lnTo>
                  <a:lnTo>
                    <a:pt x="213" y="175"/>
                  </a:lnTo>
                  <a:lnTo>
                    <a:pt x="217" y="174"/>
                  </a:lnTo>
                  <a:lnTo>
                    <a:pt x="219" y="174"/>
                  </a:lnTo>
                  <a:lnTo>
                    <a:pt x="220" y="174"/>
                  </a:lnTo>
                  <a:lnTo>
                    <a:pt x="220" y="170"/>
                  </a:lnTo>
                  <a:lnTo>
                    <a:pt x="222" y="168"/>
                  </a:lnTo>
                  <a:lnTo>
                    <a:pt x="226" y="167"/>
                  </a:lnTo>
                  <a:lnTo>
                    <a:pt x="227" y="160"/>
                  </a:lnTo>
                  <a:lnTo>
                    <a:pt x="231" y="155"/>
                  </a:lnTo>
                  <a:lnTo>
                    <a:pt x="231" y="153"/>
                  </a:lnTo>
                  <a:lnTo>
                    <a:pt x="233" y="151"/>
                  </a:lnTo>
                  <a:lnTo>
                    <a:pt x="231" y="148"/>
                  </a:lnTo>
                  <a:lnTo>
                    <a:pt x="227" y="148"/>
                  </a:lnTo>
                  <a:lnTo>
                    <a:pt x="226" y="148"/>
                  </a:lnTo>
                  <a:lnTo>
                    <a:pt x="227" y="146"/>
                  </a:lnTo>
                  <a:lnTo>
                    <a:pt x="231" y="146"/>
                  </a:lnTo>
                  <a:lnTo>
                    <a:pt x="238" y="139"/>
                  </a:lnTo>
                  <a:lnTo>
                    <a:pt x="241" y="137"/>
                  </a:lnTo>
                  <a:lnTo>
                    <a:pt x="246" y="139"/>
                  </a:lnTo>
                  <a:lnTo>
                    <a:pt x="250" y="139"/>
                  </a:lnTo>
                  <a:lnTo>
                    <a:pt x="248" y="141"/>
                  </a:lnTo>
                  <a:lnTo>
                    <a:pt x="250" y="142"/>
                  </a:lnTo>
                  <a:lnTo>
                    <a:pt x="250" y="141"/>
                  </a:lnTo>
                  <a:lnTo>
                    <a:pt x="255" y="139"/>
                  </a:lnTo>
                  <a:lnTo>
                    <a:pt x="250" y="137"/>
                  </a:lnTo>
                  <a:lnTo>
                    <a:pt x="250" y="134"/>
                  </a:lnTo>
                  <a:lnTo>
                    <a:pt x="253" y="128"/>
                  </a:lnTo>
                  <a:lnTo>
                    <a:pt x="255" y="125"/>
                  </a:lnTo>
                  <a:lnTo>
                    <a:pt x="259" y="127"/>
                  </a:lnTo>
                  <a:lnTo>
                    <a:pt x="259" y="127"/>
                  </a:lnTo>
                  <a:lnTo>
                    <a:pt x="259" y="125"/>
                  </a:lnTo>
                  <a:lnTo>
                    <a:pt x="260" y="123"/>
                  </a:lnTo>
                  <a:lnTo>
                    <a:pt x="266" y="115"/>
                  </a:lnTo>
                  <a:lnTo>
                    <a:pt x="266" y="115"/>
                  </a:lnTo>
                  <a:lnTo>
                    <a:pt x="266" y="113"/>
                  </a:lnTo>
                  <a:lnTo>
                    <a:pt x="267" y="106"/>
                  </a:lnTo>
                  <a:lnTo>
                    <a:pt x="269" y="104"/>
                  </a:lnTo>
                  <a:lnTo>
                    <a:pt x="272" y="102"/>
                  </a:lnTo>
                  <a:lnTo>
                    <a:pt x="272" y="102"/>
                  </a:lnTo>
                  <a:lnTo>
                    <a:pt x="267" y="101"/>
                  </a:lnTo>
                  <a:lnTo>
                    <a:pt x="266" y="97"/>
                  </a:lnTo>
                  <a:lnTo>
                    <a:pt x="267" y="97"/>
                  </a:lnTo>
                  <a:lnTo>
                    <a:pt x="267" y="97"/>
                  </a:lnTo>
                  <a:lnTo>
                    <a:pt x="264" y="95"/>
                  </a:lnTo>
                  <a:lnTo>
                    <a:pt x="260" y="99"/>
                  </a:lnTo>
                  <a:lnTo>
                    <a:pt x="255" y="106"/>
                  </a:lnTo>
                  <a:lnTo>
                    <a:pt x="250" y="106"/>
                  </a:lnTo>
                  <a:lnTo>
                    <a:pt x="248" y="106"/>
                  </a:lnTo>
                  <a:lnTo>
                    <a:pt x="245" y="106"/>
                  </a:lnTo>
                  <a:lnTo>
                    <a:pt x="238" y="97"/>
                  </a:lnTo>
                  <a:lnTo>
                    <a:pt x="236" y="99"/>
                  </a:lnTo>
                  <a:lnTo>
                    <a:pt x="233" y="95"/>
                  </a:lnTo>
                  <a:lnTo>
                    <a:pt x="231" y="92"/>
                  </a:lnTo>
                  <a:lnTo>
                    <a:pt x="233" y="90"/>
                  </a:lnTo>
                  <a:lnTo>
                    <a:pt x="234" y="87"/>
                  </a:lnTo>
                  <a:lnTo>
                    <a:pt x="231" y="82"/>
                  </a:lnTo>
                  <a:lnTo>
                    <a:pt x="231" y="78"/>
                  </a:lnTo>
                  <a:lnTo>
                    <a:pt x="231" y="76"/>
                  </a:lnTo>
                  <a:lnTo>
                    <a:pt x="231" y="73"/>
                  </a:lnTo>
                  <a:lnTo>
                    <a:pt x="231" y="71"/>
                  </a:lnTo>
                  <a:lnTo>
                    <a:pt x="231" y="71"/>
                  </a:lnTo>
                  <a:lnTo>
                    <a:pt x="231" y="66"/>
                  </a:lnTo>
                  <a:lnTo>
                    <a:pt x="227" y="64"/>
                  </a:lnTo>
                  <a:lnTo>
                    <a:pt x="227" y="66"/>
                  </a:lnTo>
                  <a:lnTo>
                    <a:pt x="226" y="64"/>
                  </a:lnTo>
                  <a:lnTo>
                    <a:pt x="224" y="64"/>
                  </a:lnTo>
                  <a:lnTo>
                    <a:pt x="227" y="68"/>
                  </a:lnTo>
                  <a:lnTo>
                    <a:pt x="227" y="71"/>
                  </a:lnTo>
                  <a:lnTo>
                    <a:pt x="227" y="73"/>
                  </a:lnTo>
                  <a:lnTo>
                    <a:pt x="226" y="75"/>
                  </a:lnTo>
                  <a:lnTo>
                    <a:pt x="226" y="78"/>
                  </a:lnTo>
                  <a:lnTo>
                    <a:pt x="227" y="78"/>
                  </a:lnTo>
                  <a:lnTo>
                    <a:pt x="227" y="83"/>
                  </a:lnTo>
                  <a:lnTo>
                    <a:pt x="224" y="83"/>
                  </a:lnTo>
                  <a:lnTo>
                    <a:pt x="222" y="82"/>
                  </a:lnTo>
                  <a:lnTo>
                    <a:pt x="222" y="78"/>
                  </a:lnTo>
                  <a:lnTo>
                    <a:pt x="219" y="78"/>
                  </a:lnTo>
                  <a:lnTo>
                    <a:pt x="219" y="76"/>
                  </a:lnTo>
                  <a:lnTo>
                    <a:pt x="215" y="75"/>
                  </a:lnTo>
                  <a:lnTo>
                    <a:pt x="213" y="75"/>
                  </a:lnTo>
                  <a:lnTo>
                    <a:pt x="213" y="73"/>
                  </a:lnTo>
                  <a:lnTo>
                    <a:pt x="215" y="71"/>
                  </a:lnTo>
                  <a:lnTo>
                    <a:pt x="217" y="69"/>
                  </a:lnTo>
                  <a:lnTo>
                    <a:pt x="213" y="66"/>
                  </a:lnTo>
                  <a:lnTo>
                    <a:pt x="217" y="62"/>
                  </a:lnTo>
                  <a:lnTo>
                    <a:pt x="219" y="62"/>
                  </a:lnTo>
                  <a:lnTo>
                    <a:pt x="220" y="59"/>
                  </a:lnTo>
                  <a:lnTo>
                    <a:pt x="219" y="55"/>
                  </a:lnTo>
                  <a:lnTo>
                    <a:pt x="219" y="55"/>
                  </a:lnTo>
                  <a:lnTo>
                    <a:pt x="219" y="52"/>
                  </a:lnTo>
                  <a:lnTo>
                    <a:pt x="219" y="48"/>
                  </a:lnTo>
                  <a:lnTo>
                    <a:pt x="215" y="45"/>
                  </a:lnTo>
                  <a:lnTo>
                    <a:pt x="215" y="43"/>
                  </a:lnTo>
                  <a:lnTo>
                    <a:pt x="217" y="45"/>
                  </a:lnTo>
                  <a:lnTo>
                    <a:pt x="220" y="45"/>
                  </a:lnTo>
                  <a:lnTo>
                    <a:pt x="220" y="40"/>
                  </a:lnTo>
                  <a:lnTo>
                    <a:pt x="222" y="40"/>
                  </a:lnTo>
                  <a:lnTo>
                    <a:pt x="222" y="35"/>
                  </a:lnTo>
                  <a:lnTo>
                    <a:pt x="220" y="31"/>
                  </a:lnTo>
                  <a:lnTo>
                    <a:pt x="222" y="28"/>
                  </a:lnTo>
                  <a:lnTo>
                    <a:pt x="220" y="28"/>
                  </a:lnTo>
                  <a:lnTo>
                    <a:pt x="215" y="31"/>
                  </a:lnTo>
                  <a:lnTo>
                    <a:pt x="212" y="28"/>
                  </a:lnTo>
                  <a:lnTo>
                    <a:pt x="213" y="26"/>
                  </a:lnTo>
                  <a:lnTo>
                    <a:pt x="212" y="24"/>
                  </a:lnTo>
                  <a:lnTo>
                    <a:pt x="210" y="24"/>
                  </a:lnTo>
                  <a:lnTo>
                    <a:pt x="212" y="19"/>
                  </a:lnTo>
                  <a:lnTo>
                    <a:pt x="215" y="19"/>
                  </a:lnTo>
                  <a:lnTo>
                    <a:pt x="215" y="17"/>
                  </a:lnTo>
                  <a:lnTo>
                    <a:pt x="212" y="17"/>
                  </a:lnTo>
                  <a:lnTo>
                    <a:pt x="208" y="15"/>
                  </a:lnTo>
                  <a:lnTo>
                    <a:pt x="208" y="15"/>
                  </a:lnTo>
                  <a:lnTo>
                    <a:pt x="208" y="12"/>
                  </a:lnTo>
                  <a:lnTo>
                    <a:pt x="208" y="12"/>
                  </a:lnTo>
                  <a:lnTo>
                    <a:pt x="208" y="10"/>
                  </a:lnTo>
                  <a:lnTo>
                    <a:pt x="208" y="10"/>
                  </a:lnTo>
                  <a:lnTo>
                    <a:pt x="205" y="12"/>
                  </a:lnTo>
                  <a:lnTo>
                    <a:pt x="205" y="14"/>
                  </a:lnTo>
                  <a:lnTo>
                    <a:pt x="205" y="15"/>
                  </a:lnTo>
                  <a:lnTo>
                    <a:pt x="203" y="15"/>
                  </a:lnTo>
                  <a:lnTo>
                    <a:pt x="203" y="12"/>
                  </a:lnTo>
                  <a:lnTo>
                    <a:pt x="203" y="10"/>
                  </a:lnTo>
                  <a:lnTo>
                    <a:pt x="201" y="5"/>
                  </a:lnTo>
                  <a:lnTo>
                    <a:pt x="201" y="2"/>
                  </a:lnTo>
                  <a:lnTo>
                    <a:pt x="201" y="2"/>
                  </a:lnTo>
                  <a:lnTo>
                    <a:pt x="203" y="0"/>
                  </a:lnTo>
                  <a:lnTo>
                    <a:pt x="201" y="0"/>
                  </a:lnTo>
                  <a:lnTo>
                    <a:pt x="200" y="0"/>
                  </a:lnTo>
                  <a:lnTo>
                    <a:pt x="194" y="0"/>
                  </a:lnTo>
                  <a:lnTo>
                    <a:pt x="194" y="2"/>
                  </a:lnTo>
                  <a:lnTo>
                    <a:pt x="196" y="3"/>
                  </a:lnTo>
                  <a:lnTo>
                    <a:pt x="200" y="12"/>
                  </a:lnTo>
                  <a:lnTo>
                    <a:pt x="201" y="15"/>
                  </a:lnTo>
                  <a:lnTo>
                    <a:pt x="200" y="22"/>
                  </a:lnTo>
                  <a:lnTo>
                    <a:pt x="200" y="24"/>
                  </a:lnTo>
                  <a:lnTo>
                    <a:pt x="198" y="24"/>
                  </a:lnTo>
                  <a:lnTo>
                    <a:pt x="196" y="24"/>
                  </a:lnTo>
                  <a:lnTo>
                    <a:pt x="200" y="31"/>
                  </a:lnTo>
                  <a:lnTo>
                    <a:pt x="200" y="31"/>
                  </a:lnTo>
                  <a:lnTo>
                    <a:pt x="203" y="31"/>
                  </a:lnTo>
                  <a:lnTo>
                    <a:pt x="205" y="31"/>
                  </a:lnTo>
                  <a:lnTo>
                    <a:pt x="205" y="31"/>
                  </a:lnTo>
                  <a:lnTo>
                    <a:pt x="201" y="33"/>
                  </a:lnTo>
                  <a:lnTo>
                    <a:pt x="203" y="38"/>
                  </a:lnTo>
                  <a:lnTo>
                    <a:pt x="205" y="43"/>
                  </a:lnTo>
                  <a:lnTo>
                    <a:pt x="205" y="52"/>
                  </a:lnTo>
                  <a:lnTo>
                    <a:pt x="205" y="55"/>
                  </a:lnTo>
                  <a:lnTo>
                    <a:pt x="205" y="59"/>
                  </a:lnTo>
                  <a:lnTo>
                    <a:pt x="205" y="59"/>
                  </a:lnTo>
                  <a:lnTo>
                    <a:pt x="208" y="55"/>
                  </a:lnTo>
                  <a:lnTo>
                    <a:pt x="205" y="55"/>
                  </a:lnTo>
                  <a:lnTo>
                    <a:pt x="208" y="54"/>
                  </a:lnTo>
                  <a:lnTo>
                    <a:pt x="208" y="55"/>
                  </a:lnTo>
                  <a:lnTo>
                    <a:pt x="208" y="59"/>
                  </a:lnTo>
                  <a:lnTo>
                    <a:pt x="210" y="59"/>
                  </a:lnTo>
                  <a:lnTo>
                    <a:pt x="210" y="55"/>
                  </a:lnTo>
                  <a:lnTo>
                    <a:pt x="210" y="55"/>
                  </a:lnTo>
                  <a:lnTo>
                    <a:pt x="210" y="55"/>
                  </a:lnTo>
                  <a:lnTo>
                    <a:pt x="212" y="59"/>
                  </a:lnTo>
                  <a:lnTo>
                    <a:pt x="208" y="61"/>
                  </a:lnTo>
                  <a:lnTo>
                    <a:pt x="208" y="62"/>
                  </a:lnTo>
                  <a:lnTo>
                    <a:pt x="208" y="64"/>
                  </a:lnTo>
                  <a:lnTo>
                    <a:pt x="208" y="66"/>
                  </a:lnTo>
                  <a:lnTo>
                    <a:pt x="205" y="62"/>
                  </a:lnTo>
                  <a:lnTo>
                    <a:pt x="205" y="62"/>
                  </a:lnTo>
                  <a:lnTo>
                    <a:pt x="205" y="69"/>
                  </a:lnTo>
                  <a:lnTo>
                    <a:pt x="208" y="76"/>
                  </a:lnTo>
                  <a:lnTo>
                    <a:pt x="208" y="76"/>
                  </a:lnTo>
                  <a:lnTo>
                    <a:pt x="210" y="76"/>
                  </a:lnTo>
                  <a:lnTo>
                    <a:pt x="212" y="78"/>
                  </a:lnTo>
                  <a:lnTo>
                    <a:pt x="212" y="78"/>
                  </a:lnTo>
                  <a:lnTo>
                    <a:pt x="213" y="82"/>
                  </a:lnTo>
                  <a:lnTo>
                    <a:pt x="210" y="83"/>
                  </a:lnTo>
                  <a:lnTo>
                    <a:pt x="210" y="83"/>
                  </a:lnTo>
                  <a:lnTo>
                    <a:pt x="210" y="87"/>
                  </a:lnTo>
                  <a:lnTo>
                    <a:pt x="210" y="87"/>
                  </a:lnTo>
                  <a:lnTo>
                    <a:pt x="208" y="95"/>
                  </a:lnTo>
                  <a:lnTo>
                    <a:pt x="208" y="95"/>
                  </a:lnTo>
                  <a:lnTo>
                    <a:pt x="208" y="97"/>
                  </a:lnTo>
                  <a:lnTo>
                    <a:pt x="208" y="99"/>
                  </a:lnTo>
                  <a:lnTo>
                    <a:pt x="208" y="101"/>
                  </a:lnTo>
                  <a:lnTo>
                    <a:pt x="205" y="101"/>
                  </a:lnTo>
                  <a:lnTo>
                    <a:pt x="205" y="104"/>
                  </a:lnTo>
                  <a:lnTo>
                    <a:pt x="205" y="106"/>
                  </a:lnTo>
                  <a:lnTo>
                    <a:pt x="205" y="106"/>
                  </a:lnTo>
                  <a:lnTo>
                    <a:pt x="205" y="106"/>
                  </a:lnTo>
                  <a:lnTo>
                    <a:pt x="203" y="109"/>
                  </a:lnTo>
                  <a:lnTo>
                    <a:pt x="201" y="113"/>
                  </a:lnTo>
                  <a:lnTo>
                    <a:pt x="200" y="123"/>
                  </a:lnTo>
                  <a:lnTo>
                    <a:pt x="198" y="127"/>
                  </a:lnTo>
                  <a:lnTo>
                    <a:pt x="196" y="128"/>
                  </a:lnTo>
                  <a:lnTo>
                    <a:pt x="193" y="128"/>
                  </a:lnTo>
                  <a:lnTo>
                    <a:pt x="191" y="128"/>
                  </a:lnTo>
                  <a:lnTo>
                    <a:pt x="187" y="128"/>
                  </a:lnTo>
                  <a:lnTo>
                    <a:pt x="182" y="132"/>
                  </a:lnTo>
                  <a:lnTo>
                    <a:pt x="177" y="135"/>
                  </a:lnTo>
                  <a:lnTo>
                    <a:pt x="177" y="139"/>
                  </a:lnTo>
                  <a:lnTo>
                    <a:pt x="177" y="142"/>
                  </a:lnTo>
                  <a:lnTo>
                    <a:pt x="182" y="146"/>
                  </a:lnTo>
                  <a:lnTo>
                    <a:pt x="186" y="149"/>
                  </a:lnTo>
                  <a:lnTo>
                    <a:pt x="187" y="153"/>
                  </a:lnTo>
                  <a:lnTo>
                    <a:pt x="193" y="155"/>
                  </a:lnTo>
                  <a:lnTo>
                    <a:pt x="194" y="156"/>
                  </a:lnTo>
                  <a:lnTo>
                    <a:pt x="194" y="165"/>
                  </a:lnTo>
                  <a:lnTo>
                    <a:pt x="196" y="165"/>
                  </a:lnTo>
                  <a:lnTo>
                    <a:pt x="194" y="167"/>
                  </a:lnTo>
                  <a:lnTo>
                    <a:pt x="194" y="170"/>
                  </a:lnTo>
                  <a:lnTo>
                    <a:pt x="193" y="174"/>
                  </a:lnTo>
                  <a:lnTo>
                    <a:pt x="186" y="182"/>
                  </a:lnTo>
                  <a:lnTo>
                    <a:pt x="182" y="188"/>
                  </a:lnTo>
                  <a:lnTo>
                    <a:pt x="177" y="191"/>
                  </a:lnTo>
                  <a:lnTo>
                    <a:pt x="173" y="193"/>
                  </a:lnTo>
                  <a:lnTo>
                    <a:pt x="173" y="196"/>
                  </a:lnTo>
                  <a:lnTo>
                    <a:pt x="173" y="196"/>
                  </a:lnTo>
                  <a:lnTo>
                    <a:pt x="173" y="196"/>
                  </a:lnTo>
                  <a:lnTo>
                    <a:pt x="173" y="196"/>
                  </a:lnTo>
                  <a:close/>
                  <a:moveTo>
                    <a:pt x="163" y="182"/>
                  </a:moveTo>
                  <a:lnTo>
                    <a:pt x="163" y="179"/>
                  </a:lnTo>
                  <a:lnTo>
                    <a:pt x="167" y="177"/>
                  </a:lnTo>
                  <a:lnTo>
                    <a:pt x="168" y="177"/>
                  </a:lnTo>
                  <a:lnTo>
                    <a:pt x="168" y="179"/>
                  </a:lnTo>
                  <a:lnTo>
                    <a:pt x="167" y="182"/>
                  </a:lnTo>
                  <a:lnTo>
                    <a:pt x="165" y="182"/>
                  </a:lnTo>
                  <a:lnTo>
                    <a:pt x="163" y="182"/>
                  </a:lnTo>
                  <a:lnTo>
                    <a:pt x="163" y="182"/>
                  </a:lnTo>
                  <a:lnTo>
                    <a:pt x="163" y="182"/>
                  </a:lnTo>
                  <a:lnTo>
                    <a:pt x="163" y="182"/>
                  </a:lnTo>
                  <a:lnTo>
                    <a:pt x="163" y="182"/>
                  </a:lnTo>
                  <a:close/>
                  <a:moveTo>
                    <a:pt x="163" y="188"/>
                  </a:moveTo>
                  <a:lnTo>
                    <a:pt x="165" y="186"/>
                  </a:lnTo>
                  <a:lnTo>
                    <a:pt x="167" y="184"/>
                  </a:lnTo>
                  <a:lnTo>
                    <a:pt x="165" y="188"/>
                  </a:lnTo>
                  <a:lnTo>
                    <a:pt x="163" y="188"/>
                  </a:lnTo>
                  <a:lnTo>
                    <a:pt x="163" y="188"/>
                  </a:lnTo>
                  <a:lnTo>
                    <a:pt x="163" y="188"/>
                  </a:lnTo>
                  <a:lnTo>
                    <a:pt x="163" y="188"/>
                  </a:lnTo>
                  <a:close/>
                  <a:moveTo>
                    <a:pt x="160" y="186"/>
                  </a:moveTo>
                  <a:lnTo>
                    <a:pt x="163" y="186"/>
                  </a:lnTo>
                  <a:lnTo>
                    <a:pt x="163" y="186"/>
                  </a:lnTo>
                  <a:lnTo>
                    <a:pt x="163" y="184"/>
                  </a:lnTo>
                  <a:lnTo>
                    <a:pt x="160" y="186"/>
                  </a:lnTo>
                  <a:lnTo>
                    <a:pt x="160" y="186"/>
                  </a:lnTo>
                  <a:lnTo>
                    <a:pt x="160" y="186"/>
                  </a:lnTo>
                  <a:lnTo>
                    <a:pt x="160" y="186"/>
                  </a:lnTo>
                  <a:close/>
                  <a:moveTo>
                    <a:pt x="21" y="344"/>
                  </a:moveTo>
                  <a:lnTo>
                    <a:pt x="22" y="344"/>
                  </a:lnTo>
                  <a:lnTo>
                    <a:pt x="22" y="344"/>
                  </a:lnTo>
                  <a:lnTo>
                    <a:pt x="21" y="344"/>
                  </a:lnTo>
                  <a:lnTo>
                    <a:pt x="21" y="344"/>
                  </a:lnTo>
                  <a:lnTo>
                    <a:pt x="21" y="344"/>
                  </a:lnTo>
                  <a:lnTo>
                    <a:pt x="21" y="344"/>
                  </a:lnTo>
                  <a:close/>
                  <a:moveTo>
                    <a:pt x="5" y="353"/>
                  </a:moveTo>
                  <a:lnTo>
                    <a:pt x="1" y="356"/>
                  </a:lnTo>
                  <a:lnTo>
                    <a:pt x="1" y="356"/>
                  </a:lnTo>
                  <a:lnTo>
                    <a:pt x="1" y="353"/>
                  </a:lnTo>
                  <a:lnTo>
                    <a:pt x="5" y="351"/>
                  </a:lnTo>
                  <a:lnTo>
                    <a:pt x="5" y="351"/>
                  </a:lnTo>
                  <a:lnTo>
                    <a:pt x="5" y="348"/>
                  </a:lnTo>
                  <a:lnTo>
                    <a:pt x="8" y="348"/>
                  </a:lnTo>
                  <a:lnTo>
                    <a:pt x="8" y="344"/>
                  </a:lnTo>
                  <a:lnTo>
                    <a:pt x="8" y="341"/>
                  </a:lnTo>
                  <a:lnTo>
                    <a:pt x="8" y="339"/>
                  </a:lnTo>
                  <a:lnTo>
                    <a:pt x="10" y="337"/>
                  </a:lnTo>
                  <a:lnTo>
                    <a:pt x="14" y="341"/>
                  </a:lnTo>
                  <a:lnTo>
                    <a:pt x="15" y="344"/>
                  </a:lnTo>
                  <a:lnTo>
                    <a:pt x="17" y="344"/>
                  </a:lnTo>
                  <a:lnTo>
                    <a:pt x="15" y="344"/>
                  </a:lnTo>
                  <a:lnTo>
                    <a:pt x="14" y="344"/>
                  </a:lnTo>
                  <a:lnTo>
                    <a:pt x="14" y="344"/>
                  </a:lnTo>
                  <a:lnTo>
                    <a:pt x="14" y="344"/>
                  </a:lnTo>
                  <a:lnTo>
                    <a:pt x="14" y="344"/>
                  </a:lnTo>
                  <a:lnTo>
                    <a:pt x="14" y="348"/>
                  </a:lnTo>
                  <a:lnTo>
                    <a:pt x="15" y="348"/>
                  </a:lnTo>
                  <a:lnTo>
                    <a:pt x="15" y="351"/>
                  </a:lnTo>
                  <a:lnTo>
                    <a:pt x="15" y="351"/>
                  </a:lnTo>
                  <a:lnTo>
                    <a:pt x="14" y="351"/>
                  </a:lnTo>
                  <a:lnTo>
                    <a:pt x="10" y="353"/>
                  </a:lnTo>
                  <a:lnTo>
                    <a:pt x="8" y="353"/>
                  </a:lnTo>
                  <a:lnTo>
                    <a:pt x="8" y="353"/>
                  </a:lnTo>
                  <a:lnTo>
                    <a:pt x="5" y="353"/>
                  </a:lnTo>
                  <a:lnTo>
                    <a:pt x="5" y="353"/>
                  </a:lnTo>
                  <a:lnTo>
                    <a:pt x="5" y="353"/>
                  </a:lnTo>
                  <a:lnTo>
                    <a:pt x="5" y="353"/>
                  </a:lnTo>
                  <a:lnTo>
                    <a:pt x="5" y="353"/>
                  </a:lnTo>
                  <a:close/>
                  <a:moveTo>
                    <a:pt x="1" y="325"/>
                  </a:moveTo>
                  <a:lnTo>
                    <a:pt x="0" y="320"/>
                  </a:lnTo>
                  <a:lnTo>
                    <a:pt x="1" y="316"/>
                  </a:lnTo>
                  <a:lnTo>
                    <a:pt x="1" y="316"/>
                  </a:lnTo>
                  <a:lnTo>
                    <a:pt x="1" y="316"/>
                  </a:lnTo>
                  <a:lnTo>
                    <a:pt x="0" y="316"/>
                  </a:lnTo>
                  <a:lnTo>
                    <a:pt x="1" y="311"/>
                  </a:lnTo>
                  <a:lnTo>
                    <a:pt x="5" y="311"/>
                  </a:lnTo>
                  <a:lnTo>
                    <a:pt x="8" y="311"/>
                  </a:lnTo>
                  <a:lnTo>
                    <a:pt x="10" y="309"/>
                  </a:lnTo>
                  <a:lnTo>
                    <a:pt x="8" y="308"/>
                  </a:lnTo>
                  <a:lnTo>
                    <a:pt x="5" y="306"/>
                  </a:lnTo>
                  <a:lnTo>
                    <a:pt x="5" y="304"/>
                  </a:lnTo>
                  <a:lnTo>
                    <a:pt x="8" y="299"/>
                  </a:lnTo>
                  <a:lnTo>
                    <a:pt x="10" y="297"/>
                  </a:lnTo>
                  <a:lnTo>
                    <a:pt x="10" y="297"/>
                  </a:lnTo>
                  <a:lnTo>
                    <a:pt x="14" y="297"/>
                  </a:lnTo>
                  <a:lnTo>
                    <a:pt x="14" y="299"/>
                  </a:lnTo>
                  <a:lnTo>
                    <a:pt x="15" y="297"/>
                  </a:lnTo>
                  <a:lnTo>
                    <a:pt x="15" y="292"/>
                  </a:lnTo>
                  <a:lnTo>
                    <a:pt x="17" y="288"/>
                  </a:lnTo>
                  <a:lnTo>
                    <a:pt x="19" y="288"/>
                  </a:lnTo>
                  <a:lnTo>
                    <a:pt x="24" y="285"/>
                  </a:lnTo>
                  <a:lnTo>
                    <a:pt x="24" y="285"/>
                  </a:lnTo>
                  <a:lnTo>
                    <a:pt x="27" y="283"/>
                  </a:lnTo>
                  <a:lnTo>
                    <a:pt x="27" y="280"/>
                  </a:lnTo>
                  <a:lnTo>
                    <a:pt x="27" y="278"/>
                  </a:lnTo>
                  <a:lnTo>
                    <a:pt x="31" y="276"/>
                  </a:lnTo>
                  <a:lnTo>
                    <a:pt x="33" y="278"/>
                  </a:lnTo>
                  <a:lnTo>
                    <a:pt x="33" y="280"/>
                  </a:lnTo>
                  <a:lnTo>
                    <a:pt x="33" y="275"/>
                  </a:lnTo>
                  <a:lnTo>
                    <a:pt x="36" y="271"/>
                  </a:lnTo>
                  <a:lnTo>
                    <a:pt x="38" y="271"/>
                  </a:lnTo>
                  <a:lnTo>
                    <a:pt x="43" y="269"/>
                  </a:lnTo>
                  <a:lnTo>
                    <a:pt x="45" y="264"/>
                  </a:lnTo>
                  <a:lnTo>
                    <a:pt x="50" y="261"/>
                  </a:lnTo>
                  <a:lnTo>
                    <a:pt x="54" y="261"/>
                  </a:lnTo>
                  <a:lnTo>
                    <a:pt x="55" y="261"/>
                  </a:lnTo>
                  <a:lnTo>
                    <a:pt x="59" y="261"/>
                  </a:lnTo>
                  <a:lnTo>
                    <a:pt x="59" y="261"/>
                  </a:lnTo>
                  <a:lnTo>
                    <a:pt x="61" y="261"/>
                  </a:lnTo>
                  <a:lnTo>
                    <a:pt x="64" y="262"/>
                  </a:lnTo>
                  <a:lnTo>
                    <a:pt x="64" y="261"/>
                  </a:lnTo>
                  <a:lnTo>
                    <a:pt x="62" y="257"/>
                  </a:lnTo>
                  <a:lnTo>
                    <a:pt x="62" y="255"/>
                  </a:lnTo>
                  <a:lnTo>
                    <a:pt x="69" y="252"/>
                  </a:lnTo>
                  <a:lnTo>
                    <a:pt x="73" y="250"/>
                  </a:lnTo>
                  <a:lnTo>
                    <a:pt x="78" y="245"/>
                  </a:lnTo>
                  <a:lnTo>
                    <a:pt x="83" y="241"/>
                  </a:lnTo>
                  <a:lnTo>
                    <a:pt x="87" y="241"/>
                  </a:lnTo>
                  <a:lnTo>
                    <a:pt x="87" y="240"/>
                  </a:lnTo>
                  <a:lnTo>
                    <a:pt x="92" y="238"/>
                  </a:lnTo>
                  <a:lnTo>
                    <a:pt x="95" y="238"/>
                  </a:lnTo>
                  <a:lnTo>
                    <a:pt x="100" y="233"/>
                  </a:lnTo>
                  <a:lnTo>
                    <a:pt x="109" y="224"/>
                  </a:lnTo>
                  <a:lnTo>
                    <a:pt x="109" y="222"/>
                  </a:lnTo>
                  <a:lnTo>
                    <a:pt x="109" y="219"/>
                  </a:lnTo>
                  <a:lnTo>
                    <a:pt x="109" y="215"/>
                  </a:lnTo>
                  <a:lnTo>
                    <a:pt x="113" y="212"/>
                  </a:lnTo>
                  <a:lnTo>
                    <a:pt x="114" y="212"/>
                  </a:lnTo>
                  <a:lnTo>
                    <a:pt x="114" y="210"/>
                  </a:lnTo>
                  <a:lnTo>
                    <a:pt x="116" y="205"/>
                  </a:lnTo>
                  <a:lnTo>
                    <a:pt x="120" y="205"/>
                  </a:lnTo>
                  <a:lnTo>
                    <a:pt x="123" y="205"/>
                  </a:lnTo>
                  <a:lnTo>
                    <a:pt x="127" y="201"/>
                  </a:lnTo>
                  <a:lnTo>
                    <a:pt x="127" y="201"/>
                  </a:lnTo>
                  <a:lnTo>
                    <a:pt x="132" y="196"/>
                  </a:lnTo>
                  <a:lnTo>
                    <a:pt x="132" y="193"/>
                  </a:lnTo>
                  <a:lnTo>
                    <a:pt x="135" y="191"/>
                  </a:lnTo>
                  <a:lnTo>
                    <a:pt x="137" y="182"/>
                  </a:lnTo>
                  <a:lnTo>
                    <a:pt x="139" y="177"/>
                  </a:lnTo>
                  <a:lnTo>
                    <a:pt x="142" y="175"/>
                  </a:lnTo>
                  <a:lnTo>
                    <a:pt x="144" y="174"/>
                  </a:lnTo>
                  <a:lnTo>
                    <a:pt x="149" y="170"/>
                  </a:lnTo>
                  <a:lnTo>
                    <a:pt x="151" y="174"/>
                  </a:lnTo>
                  <a:lnTo>
                    <a:pt x="149" y="174"/>
                  </a:lnTo>
                  <a:lnTo>
                    <a:pt x="149" y="177"/>
                  </a:lnTo>
                  <a:lnTo>
                    <a:pt x="151" y="179"/>
                  </a:lnTo>
                  <a:lnTo>
                    <a:pt x="151" y="179"/>
                  </a:lnTo>
                  <a:lnTo>
                    <a:pt x="154" y="177"/>
                  </a:lnTo>
                  <a:lnTo>
                    <a:pt x="154" y="179"/>
                  </a:lnTo>
                  <a:lnTo>
                    <a:pt x="154" y="182"/>
                  </a:lnTo>
                  <a:lnTo>
                    <a:pt x="154" y="182"/>
                  </a:lnTo>
                  <a:lnTo>
                    <a:pt x="154" y="182"/>
                  </a:lnTo>
                  <a:lnTo>
                    <a:pt x="151" y="184"/>
                  </a:lnTo>
                  <a:lnTo>
                    <a:pt x="151" y="186"/>
                  </a:lnTo>
                  <a:lnTo>
                    <a:pt x="154" y="191"/>
                  </a:lnTo>
                  <a:lnTo>
                    <a:pt x="154" y="193"/>
                  </a:lnTo>
                  <a:lnTo>
                    <a:pt x="158" y="189"/>
                  </a:lnTo>
                  <a:lnTo>
                    <a:pt x="160" y="188"/>
                  </a:lnTo>
                  <a:lnTo>
                    <a:pt x="163" y="188"/>
                  </a:lnTo>
                  <a:lnTo>
                    <a:pt x="163" y="188"/>
                  </a:lnTo>
                  <a:lnTo>
                    <a:pt x="163" y="189"/>
                  </a:lnTo>
                  <a:lnTo>
                    <a:pt x="165" y="193"/>
                  </a:lnTo>
                  <a:lnTo>
                    <a:pt x="167" y="189"/>
                  </a:lnTo>
                  <a:lnTo>
                    <a:pt x="167" y="189"/>
                  </a:lnTo>
                  <a:lnTo>
                    <a:pt x="165" y="188"/>
                  </a:lnTo>
                  <a:lnTo>
                    <a:pt x="167" y="184"/>
                  </a:lnTo>
                  <a:lnTo>
                    <a:pt x="170" y="184"/>
                  </a:lnTo>
                  <a:lnTo>
                    <a:pt x="170" y="188"/>
                  </a:lnTo>
                  <a:lnTo>
                    <a:pt x="172" y="188"/>
                  </a:lnTo>
                  <a:lnTo>
                    <a:pt x="168" y="191"/>
                  </a:lnTo>
                  <a:lnTo>
                    <a:pt x="165" y="193"/>
                  </a:lnTo>
                  <a:lnTo>
                    <a:pt x="168" y="193"/>
                  </a:lnTo>
                  <a:lnTo>
                    <a:pt x="170" y="191"/>
                  </a:lnTo>
                  <a:lnTo>
                    <a:pt x="167" y="196"/>
                  </a:lnTo>
                  <a:lnTo>
                    <a:pt x="167" y="196"/>
                  </a:lnTo>
                  <a:lnTo>
                    <a:pt x="165" y="200"/>
                  </a:lnTo>
                  <a:lnTo>
                    <a:pt x="165" y="201"/>
                  </a:lnTo>
                  <a:lnTo>
                    <a:pt x="167" y="205"/>
                  </a:lnTo>
                  <a:lnTo>
                    <a:pt x="167" y="210"/>
                  </a:lnTo>
                  <a:lnTo>
                    <a:pt x="168" y="210"/>
                  </a:lnTo>
                  <a:lnTo>
                    <a:pt x="165" y="210"/>
                  </a:lnTo>
                  <a:lnTo>
                    <a:pt x="158" y="219"/>
                  </a:lnTo>
                  <a:lnTo>
                    <a:pt x="154" y="221"/>
                  </a:lnTo>
                  <a:lnTo>
                    <a:pt x="151" y="228"/>
                  </a:lnTo>
                  <a:lnTo>
                    <a:pt x="151" y="228"/>
                  </a:lnTo>
                  <a:lnTo>
                    <a:pt x="147" y="228"/>
                  </a:lnTo>
                  <a:lnTo>
                    <a:pt x="144" y="233"/>
                  </a:lnTo>
                  <a:lnTo>
                    <a:pt x="144" y="235"/>
                  </a:lnTo>
                  <a:lnTo>
                    <a:pt x="139" y="238"/>
                  </a:lnTo>
                  <a:lnTo>
                    <a:pt x="139" y="241"/>
                  </a:lnTo>
                  <a:lnTo>
                    <a:pt x="135" y="245"/>
                  </a:lnTo>
                  <a:lnTo>
                    <a:pt x="128" y="245"/>
                  </a:lnTo>
                  <a:lnTo>
                    <a:pt x="128" y="247"/>
                  </a:lnTo>
                  <a:lnTo>
                    <a:pt x="127" y="252"/>
                  </a:lnTo>
                  <a:lnTo>
                    <a:pt x="127" y="257"/>
                  </a:lnTo>
                  <a:lnTo>
                    <a:pt x="125" y="257"/>
                  </a:lnTo>
                  <a:lnTo>
                    <a:pt x="128" y="257"/>
                  </a:lnTo>
                  <a:lnTo>
                    <a:pt x="128" y="261"/>
                  </a:lnTo>
                  <a:lnTo>
                    <a:pt x="128" y="264"/>
                  </a:lnTo>
                  <a:lnTo>
                    <a:pt x="127" y="266"/>
                  </a:lnTo>
                  <a:lnTo>
                    <a:pt x="127" y="264"/>
                  </a:lnTo>
                  <a:lnTo>
                    <a:pt x="127" y="261"/>
                  </a:lnTo>
                  <a:lnTo>
                    <a:pt x="125" y="261"/>
                  </a:lnTo>
                  <a:lnTo>
                    <a:pt x="125" y="261"/>
                  </a:lnTo>
                  <a:lnTo>
                    <a:pt x="125" y="264"/>
                  </a:lnTo>
                  <a:lnTo>
                    <a:pt x="123" y="266"/>
                  </a:lnTo>
                  <a:lnTo>
                    <a:pt x="121" y="264"/>
                  </a:lnTo>
                  <a:lnTo>
                    <a:pt x="118" y="264"/>
                  </a:lnTo>
                  <a:lnTo>
                    <a:pt x="120" y="262"/>
                  </a:lnTo>
                  <a:lnTo>
                    <a:pt x="120" y="262"/>
                  </a:lnTo>
                  <a:lnTo>
                    <a:pt x="118" y="261"/>
                  </a:lnTo>
                  <a:lnTo>
                    <a:pt x="116" y="262"/>
                  </a:lnTo>
                  <a:lnTo>
                    <a:pt x="116" y="264"/>
                  </a:lnTo>
                  <a:lnTo>
                    <a:pt x="113" y="264"/>
                  </a:lnTo>
                  <a:lnTo>
                    <a:pt x="113" y="264"/>
                  </a:lnTo>
                  <a:lnTo>
                    <a:pt x="111" y="261"/>
                  </a:lnTo>
                  <a:lnTo>
                    <a:pt x="109" y="261"/>
                  </a:lnTo>
                  <a:lnTo>
                    <a:pt x="109" y="262"/>
                  </a:lnTo>
                  <a:lnTo>
                    <a:pt x="111" y="264"/>
                  </a:lnTo>
                  <a:lnTo>
                    <a:pt x="109" y="269"/>
                  </a:lnTo>
                  <a:lnTo>
                    <a:pt x="106" y="269"/>
                  </a:lnTo>
                  <a:lnTo>
                    <a:pt x="104" y="269"/>
                  </a:lnTo>
                  <a:lnTo>
                    <a:pt x="104" y="271"/>
                  </a:lnTo>
                  <a:lnTo>
                    <a:pt x="100" y="271"/>
                  </a:lnTo>
                  <a:lnTo>
                    <a:pt x="99" y="269"/>
                  </a:lnTo>
                  <a:lnTo>
                    <a:pt x="99" y="273"/>
                  </a:lnTo>
                  <a:lnTo>
                    <a:pt x="95" y="275"/>
                  </a:lnTo>
                  <a:lnTo>
                    <a:pt x="92" y="278"/>
                  </a:lnTo>
                  <a:lnTo>
                    <a:pt x="92" y="281"/>
                  </a:lnTo>
                  <a:lnTo>
                    <a:pt x="90" y="283"/>
                  </a:lnTo>
                  <a:lnTo>
                    <a:pt x="87" y="288"/>
                  </a:lnTo>
                  <a:lnTo>
                    <a:pt x="87" y="292"/>
                  </a:lnTo>
                  <a:lnTo>
                    <a:pt x="87" y="297"/>
                  </a:lnTo>
                  <a:lnTo>
                    <a:pt x="78" y="301"/>
                  </a:lnTo>
                  <a:lnTo>
                    <a:pt x="76" y="304"/>
                  </a:lnTo>
                  <a:lnTo>
                    <a:pt x="74" y="309"/>
                  </a:lnTo>
                  <a:lnTo>
                    <a:pt x="71" y="315"/>
                  </a:lnTo>
                  <a:lnTo>
                    <a:pt x="67" y="316"/>
                  </a:lnTo>
                  <a:lnTo>
                    <a:pt x="67" y="320"/>
                  </a:lnTo>
                  <a:lnTo>
                    <a:pt x="67" y="320"/>
                  </a:lnTo>
                  <a:lnTo>
                    <a:pt x="66" y="320"/>
                  </a:lnTo>
                  <a:lnTo>
                    <a:pt x="69" y="320"/>
                  </a:lnTo>
                  <a:lnTo>
                    <a:pt x="69" y="320"/>
                  </a:lnTo>
                  <a:lnTo>
                    <a:pt x="67" y="321"/>
                  </a:lnTo>
                  <a:lnTo>
                    <a:pt x="62" y="321"/>
                  </a:lnTo>
                  <a:lnTo>
                    <a:pt x="59" y="325"/>
                  </a:lnTo>
                  <a:lnTo>
                    <a:pt x="55" y="327"/>
                  </a:lnTo>
                  <a:lnTo>
                    <a:pt x="55" y="330"/>
                  </a:lnTo>
                  <a:lnTo>
                    <a:pt x="52" y="332"/>
                  </a:lnTo>
                  <a:lnTo>
                    <a:pt x="52" y="330"/>
                  </a:lnTo>
                  <a:lnTo>
                    <a:pt x="50" y="328"/>
                  </a:lnTo>
                  <a:lnTo>
                    <a:pt x="50" y="332"/>
                  </a:lnTo>
                  <a:lnTo>
                    <a:pt x="50" y="334"/>
                  </a:lnTo>
                  <a:lnTo>
                    <a:pt x="47" y="335"/>
                  </a:lnTo>
                  <a:lnTo>
                    <a:pt x="41" y="339"/>
                  </a:lnTo>
                  <a:lnTo>
                    <a:pt x="36" y="342"/>
                  </a:lnTo>
                  <a:lnTo>
                    <a:pt x="33" y="342"/>
                  </a:lnTo>
                  <a:lnTo>
                    <a:pt x="27" y="342"/>
                  </a:lnTo>
                  <a:lnTo>
                    <a:pt x="27" y="339"/>
                  </a:lnTo>
                  <a:lnTo>
                    <a:pt x="24" y="342"/>
                  </a:lnTo>
                  <a:lnTo>
                    <a:pt x="24" y="342"/>
                  </a:lnTo>
                  <a:lnTo>
                    <a:pt x="27" y="339"/>
                  </a:lnTo>
                  <a:lnTo>
                    <a:pt x="24" y="337"/>
                  </a:lnTo>
                  <a:lnTo>
                    <a:pt x="21" y="335"/>
                  </a:lnTo>
                  <a:lnTo>
                    <a:pt x="21" y="332"/>
                  </a:lnTo>
                  <a:lnTo>
                    <a:pt x="19" y="330"/>
                  </a:lnTo>
                  <a:lnTo>
                    <a:pt x="15" y="330"/>
                  </a:lnTo>
                  <a:lnTo>
                    <a:pt x="14" y="328"/>
                  </a:lnTo>
                  <a:lnTo>
                    <a:pt x="15" y="327"/>
                  </a:lnTo>
                  <a:lnTo>
                    <a:pt x="14" y="325"/>
                  </a:lnTo>
                  <a:lnTo>
                    <a:pt x="14" y="325"/>
                  </a:lnTo>
                  <a:lnTo>
                    <a:pt x="10" y="325"/>
                  </a:lnTo>
                  <a:lnTo>
                    <a:pt x="8" y="325"/>
                  </a:lnTo>
                  <a:lnTo>
                    <a:pt x="8" y="325"/>
                  </a:lnTo>
                  <a:lnTo>
                    <a:pt x="8" y="325"/>
                  </a:lnTo>
                  <a:lnTo>
                    <a:pt x="5" y="325"/>
                  </a:lnTo>
                  <a:lnTo>
                    <a:pt x="1" y="325"/>
                  </a:lnTo>
                  <a:lnTo>
                    <a:pt x="1" y="325"/>
                  </a:lnTo>
                  <a:lnTo>
                    <a:pt x="1" y="32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5" name="Freeform 204">
              <a:extLst>
                <a:ext uri="{FF2B5EF4-FFF2-40B4-BE49-F238E27FC236}">
                  <a16:creationId xmlns:a16="http://schemas.microsoft.com/office/drawing/2014/main" id="{C36DE98E-7670-4032-8EB9-41E6B1475A66}"/>
                </a:ext>
              </a:extLst>
            </p:cNvPr>
            <p:cNvSpPr>
              <a:spLocks/>
            </p:cNvSpPr>
            <p:nvPr/>
          </p:nvSpPr>
          <p:spPr bwMode="auto">
            <a:xfrm>
              <a:off x="6200775" y="3173413"/>
              <a:ext cx="796925" cy="892175"/>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065433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s</a:t>
            </a:r>
          </a:p>
        </p:txBody>
      </p:sp>
      <p:grpSp>
        <p:nvGrpSpPr>
          <p:cNvPr id="12" name="Group 11"/>
          <p:cNvGrpSpPr/>
          <p:nvPr/>
        </p:nvGrpSpPr>
        <p:grpSpPr>
          <a:xfrm>
            <a:off x="9498726" y="6149984"/>
            <a:ext cx="2424279" cy="286956"/>
            <a:chOff x="9498726" y="6149984"/>
            <a:chExt cx="2424279" cy="286956"/>
          </a:xfrm>
        </p:grpSpPr>
        <p:grpSp>
          <p:nvGrpSpPr>
            <p:cNvPr id="198" name="Group 197"/>
            <p:cNvGrpSpPr/>
            <p:nvPr/>
          </p:nvGrpSpPr>
          <p:grpSpPr>
            <a:xfrm>
              <a:off x="9971405" y="6149984"/>
              <a:ext cx="273971" cy="286956"/>
              <a:chOff x="10017125" y="6142038"/>
              <a:chExt cx="334962" cy="350838"/>
            </a:xfrm>
          </p:grpSpPr>
          <p:sp>
            <p:nvSpPr>
              <p:cNvPr id="146"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9" name="Group 198"/>
            <p:cNvGrpSpPr/>
            <p:nvPr/>
          </p:nvGrpSpPr>
          <p:grpSpPr>
            <a:xfrm rot="16200000">
              <a:off x="9505218" y="6149984"/>
              <a:ext cx="273971" cy="286956"/>
              <a:chOff x="10017125" y="6142038"/>
              <a:chExt cx="334962" cy="350838"/>
            </a:xfrm>
          </p:grpSpPr>
          <p:sp>
            <p:nvSpPr>
              <p:cNvPr id="200"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03" name="Rectangle 202"/>
            <p:cNvSpPr/>
            <p:nvPr/>
          </p:nvSpPr>
          <p:spPr>
            <a:xfrm>
              <a:off x="10421080"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Shapes can also be flipped horizontally or vertically</a:t>
              </a:r>
            </a:p>
          </p:txBody>
        </p:sp>
      </p:grpSp>
      <p:grpSp>
        <p:nvGrpSpPr>
          <p:cNvPr id="11" name="Group 10"/>
          <p:cNvGrpSpPr/>
          <p:nvPr/>
        </p:nvGrpSpPr>
        <p:grpSpPr>
          <a:xfrm>
            <a:off x="6860381" y="6153762"/>
            <a:ext cx="2256885" cy="279400"/>
            <a:chOff x="6860381" y="6153762"/>
            <a:chExt cx="2256885" cy="279400"/>
          </a:xfrm>
        </p:grpSpPr>
        <p:sp>
          <p:nvSpPr>
            <p:cNvPr id="197" name="Rectangle 196"/>
            <p:cNvSpPr/>
            <p:nvPr/>
          </p:nvSpPr>
          <p:spPr>
            <a:xfrm>
              <a:off x="76153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Please note, shapes can be rotated to suit your layouts</a:t>
              </a:r>
            </a:p>
          </p:txBody>
        </p:sp>
        <p:grpSp>
          <p:nvGrpSpPr>
            <p:cNvPr id="211" name="Group 210"/>
            <p:cNvGrpSpPr/>
            <p:nvPr/>
          </p:nvGrpSpPr>
          <p:grpSpPr>
            <a:xfrm>
              <a:off x="6860381" y="6153762"/>
              <a:ext cx="620792" cy="279400"/>
              <a:chOff x="6703369" y="6135037"/>
              <a:chExt cx="620792" cy="279400"/>
            </a:xfrm>
          </p:grpSpPr>
          <p:grpSp>
            <p:nvGrpSpPr>
              <p:cNvPr id="207" name="Group 206"/>
              <p:cNvGrpSpPr/>
              <p:nvPr/>
            </p:nvGrpSpPr>
            <p:grpSpPr>
              <a:xfrm>
                <a:off x="6703369" y="6135037"/>
                <a:ext cx="295783" cy="279400"/>
                <a:chOff x="6703369" y="6135037"/>
                <a:chExt cx="295783" cy="279400"/>
              </a:xfrm>
            </p:grpSpPr>
            <p:sp>
              <p:nvSpPr>
                <p:cNvPr id="205"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06" name="Isosceles Triangle 205"/>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nvGrpSpPr>
              <p:cNvPr id="208" name="Group 207"/>
              <p:cNvGrpSpPr/>
              <p:nvPr/>
            </p:nvGrpSpPr>
            <p:grpSpPr>
              <a:xfrm flipH="1" flipV="1">
                <a:off x="7028378" y="6135037"/>
                <a:ext cx="295783" cy="279400"/>
                <a:chOff x="6703369" y="6135037"/>
                <a:chExt cx="295783" cy="279400"/>
              </a:xfrm>
            </p:grpSpPr>
            <p:sp>
              <p:nvSpPr>
                <p:cNvPr id="209"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0" name="Isosceles Triangle 209"/>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grpSp>
      <p:grpSp>
        <p:nvGrpSpPr>
          <p:cNvPr id="3" name="Group 4"/>
          <p:cNvGrpSpPr>
            <a:grpSpLocks noChangeAspect="1"/>
          </p:cNvGrpSpPr>
          <p:nvPr/>
        </p:nvGrpSpPr>
        <p:grpSpPr bwMode="auto">
          <a:xfrm>
            <a:off x="1299320" y="1412875"/>
            <a:ext cx="9593359" cy="4223996"/>
            <a:chOff x="1209" y="1001"/>
            <a:chExt cx="5260" cy="2316"/>
          </a:xfrm>
        </p:grpSpPr>
        <p:sp>
          <p:nvSpPr>
            <p:cNvPr id="5" name="Rectangle 5"/>
            <p:cNvSpPr>
              <a:spLocks noChangeArrowheads="1"/>
            </p:cNvSpPr>
            <p:nvPr/>
          </p:nvSpPr>
          <p:spPr bwMode="auto">
            <a:xfrm>
              <a:off x="4837" y="1001"/>
              <a:ext cx="1632"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6" name="Rectangle 6"/>
            <p:cNvSpPr>
              <a:spLocks noChangeArrowheads="1"/>
            </p:cNvSpPr>
            <p:nvPr/>
          </p:nvSpPr>
          <p:spPr bwMode="auto">
            <a:xfrm>
              <a:off x="3025"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 name="Rectangle 7"/>
            <p:cNvSpPr>
              <a:spLocks noChangeArrowheads="1"/>
            </p:cNvSpPr>
            <p:nvPr/>
          </p:nvSpPr>
          <p:spPr bwMode="auto">
            <a:xfrm>
              <a:off x="1213"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p:cNvSpPr>
            <p:nvPr/>
          </p:nvSpPr>
          <p:spPr bwMode="auto">
            <a:xfrm>
              <a:off x="5196" y="1404"/>
              <a:ext cx="1273" cy="1913"/>
            </a:xfrm>
            <a:custGeom>
              <a:avLst/>
              <a:gdLst>
                <a:gd name="T0" fmla="*/ 0 w 538"/>
                <a:gd name="T1" fmla="*/ 807 h 807"/>
                <a:gd name="T2" fmla="*/ 0 w 538"/>
                <a:gd name="T3" fmla="*/ 325 h 807"/>
                <a:gd name="T4" fmla="*/ 233 w 538"/>
                <a:gd name="T5" fmla="*/ 50 h 807"/>
                <a:gd name="T6" fmla="*/ 538 w 538"/>
                <a:gd name="T7" fmla="*/ 0 h 807"/>
                <a:gd name="T8" fmla="*/ 538 w 538"/>
                <a:gd name="T9" fmla="*/ 807 h 807"/>
                <a:gd name="T10" fmla="*/ 0 w 538"/>
                <a:gd name="T11" fmla="*/ 807 h 807"/>
              </a:gdLst>
              <a:ahLst/>
              <a:cxnLst>
                <a:cxn ang="0">
                  <a:pos x="T0" y="T1"/>
                </a:cxn>
                <a:cxn ang="0">
                  <a:pos x="T2" y="T3"/>
                </a:cxn>
                <a:cxn ang="0">
                  <a:pos x="T4" y="T5"/>
                </a:cxn>
                <a:cxn ang="0">
                  <a:pos x="T6" y="T7"/>
                </a:cxn>
                <a:cxn ang="0">
                  <a:pos x="T8" y="T9"/>
                </a:cxn>
                <a:cxn ang="0">
                  <a:pos x="T10" y="T11"/>
                </a:cxn>
              </a:cxnLst>
              <a:rect l="0" t="0" r="r" b="b"/>
              <a:pathLst>
                <a:path w="538" h="807">
                  <a:moveTo>
                    <a:pt x="0" y="807"/>
                  </a:moveTo>
                  <a:cubicBezTo>
                    <a:pt x="0" y="325"/>
                    <a:pt x="0" y="325"/>
                    <a:pt x="0" y="325"/>
                  </a:cubicBezTo>
                  <a:cubicBezTo>
                    <a:pt x="0" y="188"/>
                    <a:pt x="98" y="72"/>
                    <a:pt x="233" y="50"/>
                  </a:cubicBezTo>
                  <a:cubicBezTo>
                    <a:pt x="538" y="0"/>
                    <a:pt x="538" y="0"/>
                    <a:pt x="538" y="0"/>
                  </a:cubicBezTo>
                  <a:cubicBezTo>
                    <a:pt x="538" y="807"/>
                    <a:pt x="538" y="807"/>
                    <a:pt x="538" y="807"/>
                  </a:cubicBezTo>
                  <a:lnTo>
                    <a:pt x="0" y="80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p:cNvSpPr>
              <a:spLocks/>
            </p:cNvSpPr>
            <p:nvPr/>
          </p:nvSpPr>
          <p:spPr bwMode="auto">
            <a:xfrm>
              <a:off x="3269" y="1001"/>
              <a:ext cx="1391" cy="1417"/>
            </a:xfrm>
            <a:custGeom>
              <a:avLst/>
              <a:gdLst>
                <a:gd name="T0" fmla="*/ 0 w 588"/>
                <a:gd name="T1" fmla="*/ 0 h 598"/>
                <a:gd name="T2" fmla="*/ 0 w 588"/>
                <a:gd name="T3" fmla="*/ 473 h 598"/>
                <a:gd name="T4" fmla="*/ 276 w 588"/>
                <a:gd name="T5" fmla="*/ 539 h 598"/>
                <a:gd name="T6" fmla="*/ 588 w 588"/>
                <a:gd name="T7" fmla="*/ 598 h 598"/>
                <a:gd name="T8" fmla="*/ 588 w 588"/>
                <a:gd name="T9" fmla="*/ 0 h 598"/>
                <a:gd name="T10" fmla="*/ 0 w 588"/>
                <a:gd name="T11" fmla="*/ 0 h 598"/>
              </a:gdLst>
              <a:ahLst/>
              <a:cxnLst>
                <a:cxn ang="0">
                  <a:pos x="T0" y="T1"/>
                </a:cxn>
                <a:cxn ang="0">
                  <a:pos x="T2" y="T3"/>
                </a:cxn>
                <a:cxn ang="0">
                  <a:pos x="T4" y="T5"/>
                </a:cxn>
                <a:cxn ang="0">
                  <a:pos x="T6" y="T7"/>
                </a:cxn>
                <a:cxn ang="0">
                  <a:pos x="T8" y="T9"/>
                </a:cxn>
                <a:cxn ang="0">
                  <a:pos x="T10" y="T11"/>
                </a:cxn>
              </a:cxnLst>
              <a:rect l="0" t="0" r="r" b="b"/>
              <a:pathLst>
                <a:path w="588" h="598">
                  <a:moveTo>
                    <a:pt x="0" y="0"/>
                  </a:moveTo>
                  <a:cubicBezTo>
                    <a:pt x="0" y="473"/>
                    <a:pt x="0" y="473"/>
                    <a:pt x="0" y="473"/>
                  </a:cubicBezTo>
                  <a:cubicBezTo>
                    <a:pt x="83" y="496"/>
                    <a:pt x="175" y="518"/>
                    <a:pt x="276" y="539"/>
                  </a:cubicBezTo>
                  <a:cubicBezTo>
                    <a:pt x="365" y="558"/>
                    <a:pt x="580" y="597"/>
                    <a:pt x="588" y="598"/>
                  </a:cubicBezTo>
                  <a:cubicBezTo>
                    <a:pt x="588" y="0"/>
                    <a:pt x="588" y="0"/>
                    <a:pt x="588" y="0"/>
                  </a:cubicBez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0"/>
            <p:cNvSpPr>
              <a:spLocks/>
            </p:cNvSpPr>
            <p:nvPr/>
          </p:nvSpPr>
          <p:spPr bwMode="auto">
            <a:xfrm>
              <a:off x="1209" y="1001"/>
              <a:ext cx="1258" cy="204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 name="Group 3"/>
          <p:cNvGrpSpPr/>
          <p:nvPr/>
        </p:nvGrpSpPr>
        <p:grpSpPr>
          <a:xfrm>
            <a:off x="2360866" y="6079394"/>
            <a:ext cx="4118055" cy="373793"/>
            <a:chOff x="2446511" y="6079394"/>
            <a:chExt cx="4118055" cy="373793"/>
          </a:xfrm>
        </p:grpSpPr>
        <p:sp>
          <p:nvSpPr>
            <p:cNvPr id="34" name="Rectangle 33"/>
            <p:cNvSpPr/>
            <p:nvPr/>
          </p:nvSpPr>
          <p:spPr>
            <a:xfrm>
              <a:off x="50626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Above three shapes can be of five primary colors</a:t>
              </a:r>
            </a:p>
          </p:txBody>
        </p:sp>
        <p:sp>
          <p:nvSpPr>
            <p:cNvPr id="28" name="Rectangle 27">
              <a:extLst>
                <a:ext uri="{FF2B5EF4-FFF2-40B4-BE49-F238E27FC236}">
                  <a16:creationId xmlns:a16="http://schemas.microsoft.com/office/drawing/2014/main" id="{A4B5D922-528C-4940-B44E-F105BB4D578C}"/>
                </a:ext>
              </a:extLst>
            </p:cNvPr>
            <p:cNvSpPr/>
            <p:nvPr/>
          </p:nvSpPr>
          <p:spPr>
            <a:xfrm flipV="1">
              <a:off x="2446511" y="6079394"/>
              <a:ext cx="373792" cy="3737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29" name="Rectangle 28">
              <a:extLst>
                <a:ext uri="{FF2B5EF4-FFF2-40B4-BE49-F238E27FC236}">
                  <a16:creationId xmlns:a16="http://schemas.microsoft.com/office/drawing/2014/main" id="{5259BF94-2EE7-4E90-98B2-97D7D0B6593E}"/>
                </a:ext>
              </a:extLst>
            </p:cNvPr>
            <p:cNvSpPr/>
            <p:nvPr/>
          </p:nvSpPr>
          <p:spPr>
            <a:xfrm flipV="1">
              <a:off x="2980720" y="6079394"/>
              <a:ext cx="373792" cy="3737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0" name="Rectangle 29">
              <a:extLst>
                <a:ext uri="{FF2B5EF4-FFF2-40B4-BE49-F238E27FC236}">
                  <a16:creationId xmlns:a16="http://schemas.microsoft.com/office/drawing/2014/main" id="{899214F8-6A3E-43F9-8511-04E9E361D2A0}"/>
                </a:ext>
              </a:extLst>
            </p:cNvPr>
            <p:cNvSpPr/>
            <p:nvPr/>
          </p:nvSpPr>
          <p:spPr>
            <a:xfrm flipV="1">
              <a:off x="3510791" y="6079394"/>
              <a:ext cx="373792" cy="3737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31" name="Rectangle 30">
              <a:extLst>
                <a:ext uri="{FF2B5EF4-FFF2-40B4-BE49-F238E27FC236}">
                  <a16:creationId xmlns:a16="http://schemas.microsoft.com/office/drawing/2014/main" id="{81D74956-404C-4AD7-976B-D8023C5DF38E}"/>
                </a:ext>
              </a:extLst>
            </p:cNvPr>
            <p:cNvSpPr/>
            <p:nvPr/>
          </p:nvSpPr>
          <p:spPr>
            <a:xfrm flipV="1">
              <a:off x="4045000" y="6079394"/>
              <a:ext cx="373792" cy="3737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2" name="Rectangle 31">
              <a:extLst>
                <a:ext uri="{FF2B5EF4-FFF2-40B4-BE49-F238E27FC236}">
                  <a16:creationId xmlns:a16="http://schemas.microsoft.com/office/drawing/2014/main" id="{0E37E8CD-CE90-43D0-B2B8-1616DE888118}"/>
                </a:ext>
              </a:extLst>
            </p:cNvPr>
            <p:cNvSpPr/>
            <p:nvPr/>
          </p:nvSpPr>
          <p:spPr>
            <a:xfrm flipV="1">
              <a:off x="4579209" y="6079394"/>
              <a:ext cx="373792" cy="3737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grpSp>
    </p:spTree>
    <p:extLst>
      <p:ext uri="{BB962C8B-B14F-4D97-AF65-F5344CB8AC3E}">
        <p14:creationId xmlns:p14="http://schemas.microsoft.com/office/powerpoint/2010/main" val="39865618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3" name="Text Placeholder 2"/>
          <p:cNvSpPr>
            <a:spLocks noGrp="1"/>
          </p:cNvSpPr>
          <p:nvPr>
            <p:ph type="body" sz="quarter" idx="10"/>
          </p:nvPr>
        </p:nvSpPr>
        <p:spPr>
          <a:xfrm>
            <a:off x="407987" y="1413990"/>
            <a:ext cx="4164013" cy="948210"/>
          </a:xfrm>
        </p:spPr>
        <p:txBody>
          <a:bodyPr/>
          <a:lstStyle/>
          <a:p>
            <a:pPr>
              <a:lnSpc>
                <a:spcPct val="100000"/>
              </a:lnSpc>
            </a:pPr>
            <a:r>
              <a:rPr lang="en-US" sz="1200" dirty="0" err="1"/>
              <a:t>Sogeti’s</a:t>
            </a:r>
            <a:r>
              <a:rPr lang="en-US" sz="1200" dirty="0"/>
              <a:t> brand illustration style employs a modular approach. This provides a simple system with the scope and flexibility to create any number of custom illustrations tailored to your topic areas.</a:t>
            </a:r>
          </a:p>
          <a:p>
            <a:pPr>
              <a:lnSpc>
                <a:spcPct val="100000"/>
              </a:lnSpc>
            </a:pPr>
            <a:r>
              <a:rPr lang="en-US" sz="1200" dirty="0"/>
              <a:t>Over time, the library of illustration components can be expanded, creating an exhaustive library for any topic area.</a:t>
            </a:r>
          </a:p>
          <a:p>
            <a:pPr>
              <a:lnSpc>
                <a:spcPct val="100000"/>
              </a:lnSpc>
            </a:pPr>
            <a:r>
              <a:rPr lang="en-US" sz="1200" dirty="0"/>
              <a:t>The brand team must always be consulted before introducing any new illustration components.</a:t>
            </a:r>
          </a:p>
        </p:txBody>
      </p:sp>
      <p:pic>
        <p:nvPicPr>
          <p:cNvPr id="242" name="Picture 2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366" y="1578863"/>
            <a:ext cx="923434" cy="781052"/>
          </a:xfrm>
          <a:prstGeom prst="rect">
            <a:avLst/>
          </a:prstGeom>
        </p:spPr>
      </p:pic>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2244" y="1612377"/>
            <a:ext cx="628112" cy="837482"/>
          </a:xfrm>
          <a:prstGeom prst="rect">
            <a:avLst/>
          </a:prstGeom>
        </p:spPr>
      </p:pic>
      <p:pic>
        <p:nvPicPr>
          <p:cNvPr id="244" name="Picture 2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25580" y="1398204"/>
            <a:ext cx="575425" cy="1025729"/>
          </a:xfrm>
          <a:prstGeom prst="rect">
            <a:avLst/>
          </a:prstGeom>
        </p:spPr>
      </p:pic>
      <p:pic>
        <p:nvPicPr>
          <p:cNvPr id="245" name="Picture 2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96952" y="1515943"/>
            <a:ext cx="772928" cy="923951"/>
          </a:xfrm>
          <a:prstGeom prst="rect">
            <a:avLst/>
          </a:prstGeom>
        </p:spPr>
      </p:pic>
      <p:pic>
        <p:nvPicPr>
          <p:cNvPr id="246" name="Picture 24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67791" y="1631931"/>
            <a:ext cx="885853" cy="812769"/>
          </a:xfrm>
          <a:prstGeom prst="rect">
            <a:avLst/>
          </a:prstGeom>
        </p:spPr>
      </p:pic>
      <p:pic>
        <p:nvPicPr>
          <p:cNvPr id="247" name="Picture 2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41900" y="1727129"/>
            <a:ext cx="732477" cy="607978"/>
          </a:xfrm>
          <a:prstGeom prst="rect">
            <a:avLst/>
          </a:prstGeom>
        </p:spPr>
      </p:pic>
      <p:pic>
        <p:nvPicPr>
          <p:cNvPr id="248" name="Picture 24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88018" y="2628901"/>
            <a:ext cx="700087" cy="933450"/>
          </a:xfrm>
          <a:prstGeom prst="rect">
            <a:avLst/>
          </a:prstGeom>
        </p:spPr>
      </p:pic>
      <p:pic>
        <p:nvPicPr>
          <p:cNvPr id="249" name="Picture 24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62148" y="2638424"/>
            <a:ext cx="465292" cy="914401"/>
          </a:xfrm>
          <a:prstGeom prst="rect">
            <a:avLst/>
          </a:prstGeom>
        </p:spPr>
      </p:pic>
      <p:pic>
        <p:nvPicPr>
          <p:cNvPr id="250" name="Picture 24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77370" y="2639186"/>
            <a:ext cx="755605" cy="936903"/>
          </a:xfrm>
          <a:prstGeom prst="rect">
            <a:avLst/>
          </a:prstGeom>
        </p:spPr>
      </p:pic>
      <p:pic>
        <p:nvPicPr>
          <p:cNvPr id="251" name="Picture 25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93081" y="2608939"/>
            <a:ext cx="589904" cy="977239"/>
          </a:xfrm>
          <a:prstGeom prst="rect">
            <a:avLst/>
          </a:prstGeom>
        </p:spPr>
      </p:pic>
      <p:pic>
        <p:nvPicPr>
          <p:cNvPr id="252" name="Picture 25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89724" y="2642584"/>
            <a:ext cx="637427" cy="983968"/>
          </a:xfrm>
          <a:prstGeom prst="rect">
            <a:avLst/>
          </a:prstGeom>
        </p:spPr>
      </p:pic>
      <p:pic>
        <p:nvPicPr>
          <p:cNvPr id="253" name="Picture 25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96171" y="2642584"/>
            <a:ext cx="359010" cy="924605"/>
          </a:xfrm>
          <a:prstGeom prst="rect">
            <a:avLst/>
          </a:prstGeom>
        </p:spPr>
      </p:pic>
      <p:pic>
        <p:nvPicPr>
          <p:cNvPr id="254" name="Picture 25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817888" y="3950259"/>
            <a:ext cx="911635" cy="650316"/>
          </a:xfrm>
          <a:prstGeom prst="rect">
            <a:avLst/>
          </a:prstGeom>
        </p:spPr>
      </p:pic>
      <p:pic>
        <p:nvPicPr>
          <p:cNvPr id="255" name="Picture 2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764267" y="3799152"/>
            <a:ext cx="722758" cy="942449"/>
          </a:xfrm>
          <a:prstGeom prst="rect">
            <a:avLst/>
          </a:prstGeom>
        </p:spPr>
      </p:pic>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62130" y="3893109"/>
            <a:ext cx="787610" cy="786045"/>
          </a:xfrm>
          <a:prstGeom prst="rect">
            <a:avLst/>
          </a:prstGeom>
        </p:spPr>
      </p:pic>
      <p:pic>
        <p:nvPicPr>
          <p:cNvPr id="65" name="Picture 6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49732" y="3794020"/>
            <a:ext cx="363888" cy="960860"/>
          </a:xfrm>
          <a:prstGeom prst="rect">
            <a:avLst/>
          </a:prstGeom>
        </p:spPr>
      </p:pic>
      <p:pic>
        <p:nvPicPr>
          <p:cNvPr id="66" name="Picture 6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546675" y="3800649"/>
            <a:ext cx="478965" cy="927345"/>
          </a:xfrm>
          <a:prstGeom prst="rect">
            <a:avLst/>
          </a:prstGeom>
        </p:spPr>
      </p:pic>
      <p:pic>
        <p:nvPicPr>
          <p:cNvPr id="67" name="Picture 6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09094" y="3819020"/>
            <a:ext cx="478488" cy="903550"/>
          </a:xfrm>
          <a:prstGeom prst="rect">
            <a:avLst/>
          </a:prstGeom>
        </p:spPr>
      </p:pic>
      <p:pic>
        <p:nvPicPr>
          <p:cNvPr id="68" name="Picture 67"/>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050942" y="3836433"/>
            <a:ext cx="669345" cy="868724"/>
          </a:xfrm>
          <a:prstGeom prst="rect">
            <a:avLst/>
          </a:prstGeom>
        </p:spPr>
      </p:pic>
      <p:pic>
        <p:nvPicPr>
          <p:cNvPr id="69" name="Picture 6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79422" y="3849178"/>
            <a:ext cx="802671" cy="903549"/>
          </a:xfrm>
          <a:prstGeom prst="rect">
            <a:avLst/>
          </a:prstGeom>
        </p:spPr>
      </p:pic>
      <p:pic>
        <p:nvPicPr>
          <p:cNvPr id="70" name="Picture 6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652097" y="4007601"/>
            <a:ext cx="860006" cy="663821"/>
          </a:xfrm>
          <a:prstGeom prst="rect">
            <a:avLst/>
          </a:prstGeom>
        </p:spPr>
      </p:pic>
      <p:pic>
        <p:nvPicPr>
          <p:cNvPr id="71" name="Picture 70"/>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10662" y="3793255"/>
            <a:ext cx="339958" cy="924146"/>
          </a:xfrm>
          <a:prstGeom prst="rect">
            <a:avLst/>
          </a:prstGeom>
        </p:spPr>
      </p:pic>
      <p:pic>
        <p:nvPicPr>
          <p:cNvPr id="72" name="Picture 71"/>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04244" y="4966896"/>
            <a:ext cx="624450" cy="892420"/>
          </a:xfrm>
          <a:prstGeom prst="rect">
            <a:avLst/>
          </a:prstGeom>
        </p:spPr>
      </p:pic>
      <p:pic>
        <p:nvPicPr>
          <p:cNvPr id="73" name="Picture 72"/>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837002" y="4990346"/>
            <a:ext cx="620804" cy="903742"/>
          </a:xfrm>
          <a:prstGeom prst="rect">
            <a:avLst/>
          </a:prstGeom>
        </p:spPr>
      </p:pic>
      <p:pic>
        <p:nvPicPr>
          <p:cNvPr id="74" name="Picture 73"/>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34477" y="4971932"/>
            <a:ext cx="733043" cy="891803"/>
          </a:xfrm>
          <a:prstGeom prst="rect">
            <a:avLst/>
          </a:prstGeom>
        </p:spPr>
      </p:pic>
      <p:pic>
        <p:nvPicPr>
          <p:cNvPr id="75" name="Picture 74"/>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7611755" y="4922411"/>
            <a:ext cx="401865" cy="1012270"/>
          </a:xfrm>
          <a:prstGeom prst="rect">
            <a:avLst/>
          </a:prstGeom>
        </p:spPr>
      </p:pic>
      <p:pic>
        <p:nvPicPr>
          <p:cNvPr id="76" name="Picture 7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578214" y="4939464"/>
            <a:ext cx="353114" cy="956171"/>
          </a:xfrm>
          <a:prstGeom prst="rect">
            <a:avLst/>
          </a:prstGeom>
        </p:spPr>
      </p:pic>
      <p:pic>
        <p:nvPicPr>
          <p:cNvPr id="77" name="Picture 7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409611" y="5013156"/>
            <a:ext cx="372723" cy="814105"/>
          </a:xfrm>
          <a:prstGeom prst="rect">
            <a:avLst/>
          </a:prstGeom>
        </p:spPr>
      </p:pic>
      <p:pic>
        <p:nvPicPr>
          <p:cNvPr id="78" name="Picture 77"/>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013891" y="4960294"/>
            <a:ext cx="777730" cy="886193"/>
          </a:xfrm>
          <a:prstGeom prst="rect">
            <a:avLst/>
          </a:prstGeom>
        </p:spPr>
      </p:pic>
      <p:pic>
        <p:nvPicPr>
          <p:cNvPr id="79" name="Picture 78"/>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823744" y="5056856"/>
            <a:ext cx="858349" cy="770723"/>
          </a:xfrm>
          <a:prstGeom prst="rect">
            <a:avLst/>
          </a:prstGeom>
        </p:spPr>
      </p:pic>
      <p:pic>
        <p:nvPicPr>
          <p:cNvPr id="81" name="Picture 80"/>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699110" y="5013474"/>
            <a:ext cx="859813" cy="814105"/>
          </a:xfrm>
          <a:prstGeom prst="rect">
            <a:avLst/>
          </a:prstGeom>
        </p:spPr>
      </p:pic>
      <p:pic>
        <p:nvPicPr>
          <p:cNvPr id="82" name="Picture 81"/>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701444" y="4918301"/>
            <a:ext cx="566016" cy="954180"/>
          </a:xfrm>
          <a:prstGeom prst="rect">
            <a:avLst/>
          </a:prstGeom>
        </p:spPr>
      </p:pic>
    </p:spTree>
    <p:extLst>
      <p:ext uri="{BB962C8B-B14F-4D97-AF65-F5344CB8AC3E}">
        <p14:creationId xmlns:p14="http://schemas.microsoft.com/office/powerpoint/2010/main" val="24325818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111" name="Text Placeholder 2"/>
          <p:cNvSpPr>
            <a:spLocks noGrp="1"/>
          </p:cNvSpPr>
          <p:nvPr>
            <p:ph type="body" sz="quarter" idx="10"/>
          </p:nvPr>
        </p:nvSpPr>
        <p:spPr>
          <a:xfrm>
            <a:off x="9753601" y="5840095"/>
            <a:ext cx="2030412" cy="537845"/>
          </a:xfrm>
        </p:spPr>
        <p:txBody>
          <a:bodyPr/>
          <a:lstStyle/>
          <a:p>
            <a:pPr>
              <a:lnSpc>
                <a:spcPct val="100000"/>
              </a:lnSpc>
              <a:spcAft>
                <a:spcPts val="300"/>
              </a:spcAft>
            </a:pPr>
            <a:r>
              <a:rPr lang="en-US" sz="900" dirty="0"/>
              <a:t>A number of ready-to-use scenes have been created using individual  components from the initial library detailed on the left</a:t>
            </a:r>
          </a:p>
        </p:txBody>
      </p:sp>
      <p:grpSp>
        <p:nvGrpSpPr>
          <p:cNvPr id="240" name="Group 239"/>
          <p:cNvGrpSpPr/>
          <p:nvPr/>
        </p:nvGrpSpPr>
        <p:grpSpPr>
          <a:xfrm>
            <a:off x="9743441" y="1413990"/>
            <a:ext cx="1983740" cy="4224810"/>
            <a:chOff x="8610600" y="1413990"/>
            <a:chExt cx="3173413" cy="4844570"/>
          </a:xfrm>
        </p:grpSpPr>
        <p:sp>
          <p:nvSpPr>
            <p:cNvPr id="239" name="Rectangle 238"/>
            <p:cNvSpPr/>
            <p:nvPr/>
          </p:nvSpPr>
          <p:spPr>
            <a:xfrm>
              <a:off x="8610600" y="1413990"/>
              <a:ext cx="3173413" cy="23960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2" name="Rectangle 111"/>
            <p:cNvSpPr/>
            <p:nvPr/>
          </p:nvSpPr>
          <p:spPr>
            <a:xfrm>
              <a:off x="8610600" y="3881873"/>
              <a:ext cx="3173413" cy="2376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246" name="Group 245"/>
          <p:cNvGrpSpPr/>
          <p:nvPr/>
        </p:nvGrpSpPr>
        <p:grpSpPr>
          <a:xfrm>
            <a:off x="9677400" y="5638800"/>
            <a:ext cx="2106613" cy="157480"/>
            <a:chOff x="9677400" y="5638800"/>
            <a:chExt cx="2106613" cy="157480"/>
          </a:xfrm>
        </p:grpSpPr>
        <p:cxnSp>
          <p:nvCxnSpPr>
            <p:cNvPr id="243" name="Straight Connector 242"/>
            <p:cNvCxnSpPr/>
            <p:nvPr/>
          </p:nvCxnSpPr>
          <p:spPr>
            <a:xfrm>
              <a:off x="9677400" y="5715000"/>
              <a:ext cx="21066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V="1">
              <a:off x="9677400"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11782425"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0732770" y="57150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4723" y="1581150"/>
            <a:ext cx="752378" cy="86677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8759" y="1720026"/>
            <a:ext cx="488336" cy="5409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3231" y="1603248"/>
            <a:ext cx="909408" cy="763408"/>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84568" y="1602928"/>
            <a:ext cx="636620" cy="770062"/>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9940" y="1501369"/>
            <a:ext cx="1008803" cy="989649"/>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2728" y="1531730"/>
            <a:ext cx="578192" cy="876199"/>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50417" y="1656144"/>
            <a:ext cx="979830" cy="736536"/>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2006" y="1521656"/>
            <a:ext cx="661013" cy="932606"/>
          </a:xfrm>
          <a:prstGeom prst="rect">
            <a:avLst/>
          </a:prstGeom>
        </p:spPr>
      </p:pic>
      <p:pic>
        <p:nvPicPr>
          <p:cNvPr id="11" name="Picture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18476" y="2643373"/>
            <a:ext cx="641347" cy="914418"/>
          </a:xfrm>
          <a:prstGeom prst="rect">
            <a:avLst/>
          </a:prstGeom>
        </p:spPr>
      </p:pic>
      <p:pic>
        <p:nvPicPr>
          <p:cNvPr id="12" name="Picture 1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56692" y="2805422"/>
            <a:ext cx="808849" cy="611633"/>
          </a:xfrm>
          <a:prstGeom prst="rect">
            <a:avLst/>
          </a:prstGeom>
        </p:spPr>
      </p:pic>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13244" y="2676734"/>
            <a:ext cx="947669" cy="947669"/>
          </a:xfrm>
          <a:prstGeom prst="rect">
            <a:avLst/>
          </a:prstGeom>
        </p:spPr>
      </p:pic>
      <p:pic>
        <p:nvPicPr>
          <p:cNvPr id="14" name="Picture 1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61434" y="2670830"/>
            <a:ext cx="534439" cy="901046"/>
          </a:xfrm>
          <a:prstGeom prst="rect">
            <a:avLst/>
          </a:prstGeom>
        </p:spPr>
      </p:pic>
      <p:pic>
        <p:nvPicPr>
          <p:cNvPr id="15" name="Picture 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02510" y="2942038"/>
            <a:ext cx="829639" cy="467912"/>
          </a:xfrm>
          <a:prstGeom prst="rect">
            <a:avLst/>
          </a:prstGeom>
        </p:spPr>
      </p:pic>
      <p:pic>
        <p:nvPicPr>
          <p:cNvPr id="16" name="Picture 1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65790" y="2723612"/>
            <a:ext cx="620984" cy="753940"/>
          </a:xfrm>
          <a:prstGeom prst="rect">
            <a:avLst/>
          </a:prstGeom>
        </p:spPr>
      </p:pic>
      <p:pic>
        <p:nvPicPr>
          <p:cNvPr id="17" name="Picture 1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758836" y="2665120"/>
            <a:ext cx="562573" cy="923900"/>
          </a:xfrm>
          <a:prstGeom prst="rect">
            <a:avLst/>
          </a:prstGeom>
        </p:spPr>
      </p:pic>
      <p:pic>
        <p:nvPicPr>
          <p:cNvPr id="18" name="Picture 1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22574" y="2741795"/>
            <a:ext cx="613296" cy="716707"/>
          </a:xfrm>
          <a:prstGeom prst="rect">
            <a:avLst/>
          </a:prstGeom>
        </p:spPr>
      </p:pic>
      <p:pic>
        <p:nvPicPr>
          <p:cNvPr id="19" name="Picture 1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962400" y="5163537"/>
            <a:ext cx="859570" cy="603859"/>
          </a:xfrm>
          <a:prstGeom prst="rect">
            <a:avLst/>
          </a:prstGeom>
        </p:spPr>
      </p:pic>
      <p:pic>
        <p:nvPicPr>
          <p:cNvPr id="20" name="Picture 1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484484" y="3854976"/>
            <a:ext cx="673995" cy="805709"/>
          </a:xfrm>
          <a:prstGeom prst="rect">
            <a:avLst/>
          </a:prstGeom>
        </p:spPr>
      </p:pic>
      <p:pic>
        <p:nvPicPr>
          <p:cNvPr id="21" name="Picture 20"/>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794451" y="5197055"/>
            <a:ext cx="840734" cy="520993"/>
          </a:xfrm>
          <a:prstGeom prst="rect">
            <a:avLst/>
          </a:prstGeom>
        </p:spPr>
      </p:pic>
      <p:pic>
        <p:nvPicPr>
          <p:cNvPr id="23" name="Picture 2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92756" y="3704121"/>
            <a:ext cx="706223" cy="1180299"/>
          </a:xfrm>
          <a:prstGeom prst="rect">
            <a:avLst/>
          </a:prstGeom>
        </p:spPr>
      </p:pic>
      <p:pic>
        <p:nvPicPr>
          <p:cNvPr id="24" name="Picture 2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32872" y="5090161"/>
            <a:ext cx="898484" cy="667020"/>
          </a:xfrm>
          <a:prstGeom prst="rect">
            <a:avLst/>
          </a:prstGeom>
        </p:spPr>
      </p:pic>
      <p:pic>
        <p:nvPicPr>
          <p:cNvPr id="25" name="Picture 2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225235" y="3826363"/>
            <a:ext cx="956811" cy="882282"/>
          </a:xfrm>
          <a:prstGeom prst="rect">
            <a:avLst/>
          </a:prstGeom>
        </p:spPr>
      </p:pic>
      <p:pic>
        <p:nvPicPr>
          <p:cNvPr id="26" name="Picture 2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084290" y="3895344"/>
            <a:ext cx="954219" cy="744210"/>
          </a:xfrm>
          <a:prstGeom prst="rect">
            <a:avLst/>
          </a:prstGeom>
        </p:spPr>
      </p:pic>
      <p:pic>
        <p:nvPicPr>
          <p:cNvPr id="27" name="Picture 2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254841" y="3809727"/>
            <a:ext cx="398448" cy="914673"/>
          </a:xfrm>
          <a:prstGeom prst="rect">
            <a:avLst/>
          </a:prstGeom>
        </p:spPr>
      </p:pic>
      <p:pic>
        <p:nvPicPr>
          <p:cNvPr id="28" name="Picture 2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814938" y="3813178"/>
            <a:ext cx="944359" cy="874645"/>
          </a:xfrm>
          <a:prstGeom prst="rect">
            <a:avLst/>
          </a:prstGeom>
        </p:spPr>
      </p:pic>
      <p:pic>
        <p:nvPicPr>
          <p:cNvPr id="29" name="Picture 2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765991" y="3814248"/>
            <a:ext cx="765205" cy="873576"/>
          </a:xfrm>
          <a:prstGeom prst="rect">
            <a:avLst/>
          </a:prstGeom>
        </p:spPr>
      </p:pic>
      <p:pic>
        <p:nvPicPr>
          <p:cNvPr id="30" name="Picture 2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43505" y="3833641"/>
            <a:ext cx="667135" cy="878287"/>
          </a:xfrm>
          <a:prstGeom prst="rect">
            <a:avLst/>
          </a:prstGeom>
        </p:spPr>
      </p:pic>
      <p:pic>
        <p:nvPicPr>
          <p:cNvPr id="102" name="Picture 101"/>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712672" y="4948239"/>
            <a:ext cx="791768" cy="979607"/>
          </a:xfrm>
          <a:prstGeom prst="rect">
            <a:avLst/>
          </a:prstGeom>
        </p:spPr>
      </p:pic>
      <p:pic>
        <p:nvPicPr>
          <p:cNvPr id="31" name="Picture 30"/>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910636" y="1215844"/>
            <a:ext cx="1519364" cy="2202788"/>
          </a:xfrm>
          <a:prstGeom prst="rect">
            <a:avLst/>
          </a:prstGeom>
        </p:spPr>
      </p:pic>
      <p:pic>
        <p:nvPicPr>
          <p:cNvPr id="224" name="Picture 223"/>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70716" y="3688080"/>
            <a:ext cx="1742042" cy="1892644"/>
          </a:xfrm>
          <a:prstGeom prst="rect">
            <a:avLst/>
          </a:prstGeom>
        </p:spPr>
      </p:pic>
    </p:spTree>
    <p:extLst>
      <p:ext uri="{BB962C8B-B14F-4D97-AF65-F5344CB8AC3E}">
        <p14:creationId xmlns:p14="http://schemas.microsoft.com/office/powerpoint/2010/main" val="15982073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or Palette</a:t>
            </a:r>
          </a:p>
        </p:txBody>
      </p:sp>
      <p:grpSp>
        <p:nvGrpSpPr>
          <p:cNvPr id="87" name="Group 86"/>
          <p:cNvGrpSpPr/>
          <p:nvPr/>
        </p:nvGrpSpPr>
        <p:grpSpPr>
          <a:xfrm>
            <a:off x="421786" y="1700214"/>
            <a:ext cx="8151693" cy="1505974"/>
            <a:chOff x="421786" y="1700213"/>
            <a:chExt cx="8881574" cy="1640815"/>
          </a:xfrm>
        </p:grpSpPr>
        <p:sp>
          <p:nvSpPr>
            <p:cNvPr id="175" name="Rectangle 174">
              <a:extLst>
                <a:ext uri="{FF2B5EF4-FFF2-40B4-BE49-F238E27FC236}">
                  <a16:creationId xmlns:a16="http://schemas.microsoft.com/office/drawing/2014/main" id="{C09EC743-C6E9-431D-93FB-884B562A13B8}"/>
                </a:ext>
              </a:extLst>
            </p:cNvPr>
            <p:cNvSpPr/>
            <p:nvPr/>
          </p:nvSpPr>
          <p:spPr>
            <a:xfrm>
              <a:off x="42178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6" name="Rectangle 175">
              <a:extLst>
                <a:ext uri="{FF2B5EF4-FFF2-40B4-BE49-F238E27FC236}">
                  <a16:creationId xmlns:a16="http://schemas.microsoft.com/office/drawing/2014/main" id="{A4B5D922-528C-4940-B44E-F105BB4D578C}"/>
                </a:ext>
              </a:extLst>
            </p:cNvPr>
            <p:cNvSpPr/>
            <p:nvPr/>
          </p:nvSpPr>
          <p:spPr>
            <a:xfrm>
              <a:off x="556441" y="1836948"/>
              <a:ext cx="900622" cy="9006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77" name="TextBox 176">
              <a:extLst>
                <a:ext uri="{FF2B5EF4-FFF2-40B4-BE49-F238E27FC236}">
                  <a16:creationId xmlns:a16="http://schemas.microsoft.com/office/drawing/2014/main" id="{89CA8304-8217-4D2F-A048-B4F475D27106}"/>
                </a:ext>
              </a:extLst>
            </p:cNvPr>
            <p:cNvSpPr txBox="1"/>
            <p:nvPr/>
          </p:nvSpPr>
          <p:spPr>
            <a:xfrm>
              <a:off x="501503"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1</a:t>
              </a:r>
            </a:p>
          </p:txBody>
        </p:sp>
        <p:sp>
          <p:nvSpPr>
            <p:cNvPr id="178" name="Rectangle 177">
              <a:extLst>
                <a:ext uri="{FF2B5EF4-FFF2-40B4-BE49-F238E27FC236}">
                  <a16:creationId xmlns:a16="http://schemas.microsoft.com/office/drawing/2014/main" id="{AB2E3730-14E1-44D4-9AFE-C5DB23707037}"/>
                </a:ext>
              </a:extLst>
            </p:cNvPr>
            <p:cNvSpPr/>
            <p:nvPr/>
          </p:nvSpPr>
          <p:spPr>
            <a:xfrm>
              <a:off x="170891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9" name="Rectangle 178">
              <a:extLst>
                <a:ext uri="{FF2B5EF4-FFF2-40B4-BE49-F238E27FC236}">
                  <a16:creationId xmlns:a16="http://schemas.microsoft.com/office/drawing/2014/main" id="{5259BF94-2EE7-4E90-98B2-97D7D0B6593E}"/>
                </a:ext>
              </a:extLst>
            </p:cNvPr>
            <p:cNvSpPr/>
            <p:nvPr/>
          </p:nvSpPr>
          <p:spPr>
            <a:xfrm>
              <a:off x="1843575" y="1836948"/>
              <a:ext cx="900622" cy="9006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0" name="TextBox 179">
              <a:extLst>
                <a:ext uri="{FF2B5EF4-FFF2-40B4-BE49-F238E27FC236}">
                  <a16:creationId xmlns:a16="http://schemas.microsoft.com/office/drawing/2014/main" id="{3B10E8B2-7568-4AB6-AD99-18CA64C28072}"/>
                </a:ext>
              </a:extLst>
            </p:cNvPr>
            <p:cNvSpPr txBox="1"/>
            <p:nvPr/>
          </p:nvSpPr>
          <p:spPr>
            <a:xfrm>
              <a:off x="178863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2</a:t>
              </a:r>
            </a:p>
          </p:txBody>
        </p:sp>
        <p:grpSp>
          <p:nvGrpSpPr>
            <p:cNvPr id="181" name="Group 180"/>
            <p:cNvGrpSpPr/>
            <p:nvPr/>
          </p:nvGrpSpPr>
          <p:grpSpPr>
            <a:xfrm>
              <a:off x="6863750" y="1700213"/>
              <a:ext cx="2439610" cy="1640815"/>
              <a:chOff x="3470612" y="1700213"/>
              <a:chExt cx="2439610" cy="1640815"/>
            </a:xfrm>
          </p:grpSpPr>
          <p:sp>
            <p:nvSpPr>
              <p:cNvPr id="192" name="Rectangle 191">
                <a:extLst>
                  <a:ext uri="{FF2B5EF4-FFF2-40B4-BE49-F238E27FC236}">
                    <a16:creationId xmlns:a16="http://schemas.microsoft.com/office/drawing/2014/main" id="{5D91BDED-E66C-4C19-8DD5-A11051165B71}"/>
                  </a:ext>
                </a:extLst>
              </p:cNvPr>
              <p:cNvSpPr/>
              <p:nvPr/>
            </p:nvSpPr>
            <p:spPr>
              <a:xfrm>
                <a:off x="3470612"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3" name="Rectangle 192">
                <a:extLst>
                  <a:ext uri="{FF2B5EF4-FFF2-40B4-BE49-F238E27FC236}">
                    <a16:creationId xmlns:a16="http://schemas.microsoft.com/office/drawing/2014/main" id="{B22F3D65-2CAF-43E0-8D3E-F7D3423AA602}"/>
                  </a:ext>
                </a:extLst>
              </p:cNvPr>
              <p:cNvSpPr/>
              <p:nvPr/>
            </p:nvSpPr>
            <p:spPr>
              <a:xfrm>
                <a:off x="3605267" y="1836948"/>
                <a:ext cx="900622" cy="900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94" name="TextBox 193">
                <a:extLst>
                  <a:ext uri="{FF2B5EF4-FFF2-40B4-BE49-F238E27FC236}">
                    <a16:creationId xmlns:a16="http://schemas.microsoft.com/office/drawing/2014/main" id="{54DFD801-05F7-43FE-8BF9-EEDA3CA7AF39}"/>
                  </a:ext>
                </a:extLst>
              </p:cNvPr>
              <p:cNvSpPr txBox="1"/>
              <p:nvPr/>
            </p:nvSpPr>
            <p:spPr>
              <a:xfrm>
                <a:off x="3550329"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6</a:t>
                </a:r>
              </a:p>
            </p:txBody>
          </p:sp>
          <p:sp>
            <p:nvSpPr>
              <p:cNvPr id="195" name="Rectangle 194">
                <a:extLst>
                  <a:ext uri="{FF2B5EF4-FFF2-40B4-BE49-F238E27FC236}">
                    <a16:creationId xmlns:a16="http://schemas.microsoft.com/office/drawing/2014/main" id="{3016D325-752F-46AC-9A3E-48EB311C2EFE}"/>
                  </a:ext>
                </a:extLst>
              </p:cNvPr>
              <p:cNvSpPr/>
              <p:nvPr/>
            </p:nvSpPr>
            <p:spPr>
              <a:xfrm>
                <a:off x="4757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6" name="Rectangle 195">
                <a:extLst>
                  <a:ext uri="{FF2B5EF4-FFF2-40B4-BE49-F238E27FC236}">
                    <a16:creationId xmlns:a16="http://schemas.microsoft.com/office/drawing/2014/main" id="{5C96F8A9-2E6B-4670-8355-552F059864FB}"/>
                  </a:ext>
                </a:extLst>
              </p:cNvPr>
              <p:cNvSpPr/>
              <p:nvPr/>
            </p:nvSpPr>
            <p:spPr>
              <a:xfrm>
                <a:off x="4892401" y="1836948"/>
                <a:ext cx="900622" cy="90062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7" name="TextBox 196">
                <a:extLst>
                  <a:ext uri="{FF2B5EF4-FFF2-40B4-BE49-F238E27FC236}">
                    <a16:creationId xmlns:a16="http://schemas.microsoft.com/office/drawing/2014/main" id="{41439C39-BBD1-46A6-A51C-2265E1A3FE4D}"/>
                  </a:ext>
                </a:extLst>
              </p:cNvPr>
              <p:cNvSpPr txBox="1"/>
              <p:nvPr/>
            </p:nvSpPr>
            <p:spPr>
              <a:xfrm>
                <a:off x="4837462"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7</a:t>
                </a:r>
              </a:p>
            </p:txBody>
          </p:sp>
        </p:grpSp>
        <p:grpSp>
          <p:nvGrpSpPr>
            <p:cNvPr id="182" name="Group 181"/>
            <p:cNvGrpSpPr/>
            <p:nvPr/>
          </p:nvGrpSpPr>
          <p:grpSpPr>
            <a:xfrm>
              <a:off x="2986083" y="1700213"/>
              <a:ext cx="3726742" cy="1640815"/>
              <a:chOff x="7510744" y="1700213"/>
              <a:chExt cx="3726742" cy="1640815"/>
            </a:xfrm>
          </p:grpSpPr>
          <p:sp>
            <p:nvSpPr>
              <p:cNvPr id="183" name="Rectangle 182">
                <a:extLst>
                  <a:ext uri="{FF2B5EF4-FFF2-40B4-BE49-F238E27FC236}">
                    <a16:creationId xmlns:a16="http://schemas.microsoft.com/office/drawing/2014/main" id="{3162C675-DB6D-440B-9DC9-72F6FADAC3EE}"/>
                  </a:ext>
                </a:extLst>
              </p:cNvPr>
              <p:cNvSpPr/>
              <p:nvPr/>
            </p:nvSpPr>
            <p:spPr>
              <a:xfrm>
                <a:off x="7510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4" name="Rectangle 183">
                <a:extLst>
                  <a:ext uri="{FF2B5EF4-FFF2-40B4-BE49-F238E27FC236}">
                    <a16:creationId xmlns:a16="http://schemas.microsoft.com/office/drawing/2014/main" id="{899214F8-6A3E-43F9-8511-04E9E361D2A0}"/>
                  </a:ext>
                </a:extLst>
              </p:cNvPr>
              <p:cNvSpPr/>
              <p:nvPr/>
            </p:nvSpPr>
            <p:spPr>
              <a:xfrm>
                <a:off x="7645399" y="1836948"/>
                <a:ext cx="900622" cy="9006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85" name="TextBox 184">
                <a:extLst>
                  <a:ext uri="{FF2B5EF4-FFF2-40B4-BE49-F238E27FC236}">
                    <a16:creationId xmlns:a16="http://schemas.microsoft.com/office/drawing/2014/main" id="{2DA339E3-30AE-4FBE-83EE-3067E409D1A1}"/>
                  </a:ext>
                </a:extLst>
              </p:cNvPr>
              <p:cNvSpPr txBox="1"/>
              <p:nvPr/>
            </p:nvSpPr>
            <p:spPr>
              <a:xfrm>
                <a:off x="7590461"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3</a:t>
                </a:r>
              </a:p>
            </p:txBody>
          </p:sp>
          <p:sp>
            <p:nvSpPr>
              <p:cNvPr id="186" name="Rectangle 185">
                <a:extLst>
                  <a:ext uri="{FF2B5EF4-FFF2-40B4-BE49-F238E27FC236}">
                    <a16:creationId xmlns:a16="http://schemas.microsoft.com/office/drawing/2014/main" id="{19B162BB-EF61-464A-9246-19FA51CFC23A}"/>
                  </a:ext>
                </a:extLst>
              </p:cNvPr>
              <p:cNvSpPr/>
              <p:nvPr/>
            </p:nvSpPr>
            <p:spPr>
              <a:xfrm>
                <a:off x="879787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7" name="Rectangle 186">
                <a:extLst>
                  <a:ext uri="{FF2B5EF4-FFF2-40B4-BE49-F238E27FC236}">
                    <a16:creationId xmlns:a16="http://schemas.microsoft.com/office/drawing/2014/main" id="{81D74956-404C-4AD7-976B-D8023C5DF38E}"/>
                  </a:ext>
                </a:extLst>
              </p:cNvPr>
              <p:cNvSpPr/>
              <p:nvPr/>
            </p:nvSpPr>
            <p:spPr>
              <a:xfrm>
                <a:off x="8932533" y="1836948"/>
                <a:ext cx="900622" cy="9006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8" name="TextBox 187">
                <a:extLst>
                  <a:ext uri="{FF2B5EF4-FFF2-40B4-BE49-F238E27FC236}">
                    <a16:creationId xmlns:a16="http://schemas.microsoft.com/office/drawing/2014/main" id="{D848DB81-B840-41FD-9D71-BE45533F4586}"/>
                  </a:ext>
                </a:extLst>
              </p:cNvPr>
              <p:cNvSpPr txBox="1"/>
              <p:nvPr/>
            </p:nvSpPr>
            <p:spPr>
              <a:xfrm>
                <a:off x="8877594"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4</a:t>
                </a:r>
              </a:p>
            </p:txBody>
          </p:sp>
          <p:sp>
            <p:nvSpPr>
              <p:cNvPr id="189" name="Rectangle 188">
                <a:extLst>
                  <a:ext uri="{FF2B5EF4-FFF2-40B4-BE49-F238E27FC236}">
                    <a16:creationId xmlns:a16="http://schemas.microsoft.com/office/drawing/2014/main" id="{4880EBC1-B73B-404B-B8DA-18292C6CFD2A}"/>
                  </a:ext>
                </a:extLst>
              </p:cNvPr>
              <p:cNvSpPr/>
              <p:nvPr/>
            </p:nvSpPr>
            <p:spPr>
              <a:xfrm>
                <a:off x="1008500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0" name="Rectangle 189">
                <a:extLst>
                  <a:ext uri="{FF2B5EF4-FFF2-40B4-BE49-F238E27FC236}">
                    <a16:creationId xmlns:a16="http://schemas.microsoft.com/office/drawing/2014/main" id="{0E37E8CD-CE90-43D0-B2B8-1616DE888118}"/>
                  </a:ext>
                </a:extLst>
              </p:cNvPr>
              <p:cNvSpPr/>
              <p:nvPr/>
            </p:nvSpPr>
            <p:spPr>
              <a:xfrm>
                <a:off x="10219665" y="1836948"/>
                <a:ext cx="900622" cy="9006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1" name="TextBox 190">
                <a:extLst>
                  <a:ext uri="{FF2B5EF4-FFF2-40B4-BE49-F238E27FC236}">
                    <a16:creationId xmlns:a16="http://schemas.microsoft.com/office/drawing/2014/main" id="{FFCBA858-1304-4DF8-B7D7-4B46BC9E154F}"/>
                  </a:ext>
                </a:extLst>
              </p:cNvPr>
              <p:cNvSpPr txBox="1"/>
              <p:nvPr/>
            </p:nvSpPr>
            <p:spPr>
              <a:xfrm>
                <a:off x="1016472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5</a:t>
                </a:r>
              </a:p>
            </p:txBody>
          </p:sp>
        </p:grpSp>
      </p:grpSp>
      <p:sp>
        <p:nvSpPr>
          <p:cNvPr id="99" name="Rectangle 4">
            <a:extLst>
              <a:ext uri="{FF2B5EF4-FFF2-40B4-BE49-F238E27FC236}">
                <a16:creationId xmlns:a16="http://schemas.microsoft.com/office/drawing/2014/main" id="{85E130E7-EBBB-4010-8F45-F7CD815F196E}"/>
              </a:ext>
            </a:extLst>
          </p:cNvPr>
          <p:cNvSpPr>
            <a:spLocks noChangeArrowheads="1"/>
          </p:cNvSpPr>
          <p:nvPr/>
        </p:nvSpPr>
        <p:spPr bwMode="auto">
          <a:xfrm>
            <a:off x="418077" y="1381118"/>
            <a:ext cx="4024549" cy="246221"/>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pt-PT" sz="16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Primary colors</a:t>
            </a:r>
            <a:endParaRPr kumimoji="0" lang="en-US" altLang="pt-PT" sz="12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endParaRPr>
          </a:p>
        </p:txBody>
      </p:sp>
      <p:grpSp>
        <p:nvGrpSpPr>
          <p:cNvPr id="100" name="Group 99"/>
          <p:cNvGrpSpPr/>
          <p:nvPr/>
        </p:nvGrpSpPr>
        <p:grpSpPr>
          <a:xfrm>
            <a:off x="410745" y="3447375"/>
            <a:ext cx="10356702" cy="1373697"/>
            <a:chOff x="885307" y="4072408"/>
            <a:chExt cx="10356702" cy="1373697"/>
          </a:xfrm>
        </p:grpSpPr>
        <p:sp>
          <p:nvSpPr>
            <p:cNvPr id="135" name="Rectangle 134">
              <a:extLst>
                <a:ext uri="{FF2B5EF4-FFF2-40B4-BE49-F238E27FC236}">
                  <a16:creationId xmlns:a16="http://schemas.microsoft.com/office/drawing/2014/main" id="{FBF536D8-CE5B-4833-A64F-E8B7B56D1C8E}"/>
                </a:ext>
              </a:extLst>
            </p:cNvPr>
            <p:cNvSpPr/>
            <p:nvPr/>
          </p:nvSpPr>
          <p:spPr>
            <a:xfrm>
              <a:off x="88533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6" name="Rectangle 135">
              <a:extLst>
                <a:ext uri="{FF2B5EF4-FFF2-40B4-BE49-F238E27FC236}">
                  <a16:creationId xmlns:a16="http://schemas.microsoft.com/office/drawing/2014/main" id="{09FC5A7A-5E7A-49A5-A8D3-2229B891D343}"/>
                </a:ext>
              </a:extLst>
            </p:cNvPr>
            <p:cNvSpPr/>
            <p:nvPr/>
          </p:nvSpPr>
          <p:spPr>
            <a:xfrm>
              <a:off x="969307" y="4508095"/>
              <a:ext cx="561667" cy="561667"/>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37" name="TextBox 136">
              <a:extLst>
                <a:ext uri="{FF2B5EF4-FFF2-40B4-BE49-F238E27FC236}">
                  <a16:creationId xmlns:a16="http://schemas.microsoft.com/office/drawing/2014/main" id="{65F7BF58-132A-466C-B7A6-E0E353EC12CB}"/>
                </a:ext>
              </a:extLst>
            </p:cNvPr>
            <p:cNvSpPr txBox="1"/>
            <p:nvPr/>
          </p:nvSpPr>
          <p:spPr>
            <a:xfrm>
              <a:off x="91803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8</a:t>
              </a:r>
            </a:p>
          </p:txBody>
        </p:sp>
        <p:sp>
          <p:nvSpPr>
            <p:cNvPr id="138" name="Rectangle 137">
              <a:extLst>
                <a:ext uri="{FF2B5EF4-FFF2-40B4-BE49-F238E27FC236}">
                  <a16:creationId xmlns:a16="http://schemas.microsoft.com/office/drawing/2014/main" id="{A7EF03B7-9030-4931-83AD-3F982FFFDF3F}"/>
                </a:ext>
              </a:extLst>
            </p:cNvPr>
            <p:cNvSpPr/>
            <p:nvPr/>
          </p:nvSpPr>
          <p:spPr>
            <a:xfrm>
              <a:off x="168804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9" name="Rectangle 138">
              <a:extLst>
                <a:ext uri="{FF2B5EF4-FFF2-40B4-BE49-F238E27FC236}">
                  <a16:creationId xmlns:a16="http://schemas.microsoft.com/office/drawing/2014/main" id="{A95D372D-C392-4EB6-8879-D25388476A9D}"/>
                </a:ext>
              </a:extLst>
            </p:cNvPr>
            <p:cNvSpPr/>
            <p:nvPr/>
          </p:nvSpPr>
          <p:spPr>
            <a:xfrm>
              <a:off x="1772020" y="4508095"/>
              <a:ext cx="561667" cy="561667"/>
            </a:xfrm>
            <a:prstGeom prst="rect">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0" name="TextBox 139">
              <a:extLst>
                <a:ext uri="{FF2B5EF4-FFF2-40B4-BE49-F238E27FC236}">
                  <a16:creationId xmlns:a16="http://schemas.microsoft.com/office/drawing/2014/main" id="{6AF08065-4E49-4646-9FE3-D454265B94DF}"/>
                </a:ext>
              </a:extLst>
            </p:cNvPr>
            <p:cNvSpPr txBox="1"/>
            <p:nvPr/>
          </p:nvSpPr>
          <p:spPr>
            <a:xfrm>
              <a:off x="172075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9</a:t>
              </a:r>
            </a:p>
          </p:txBody>
        </p:sp>
        <p:sp>
          <p:nvSpPr>
            <p:cNvPr id="141" name="Rectangle 140">
              <a:extLst>
                <a:ext uri="{FF2B5EF4-FFF2-40B4-BE49-F238E27FC236}">
                  <a16:creationId xmlns:a16="http://schemas.microsoft.com/office/drawing/2014/main" id="{9503BE2E-B688-45A8-9E93-19DCF8231B35}"/>
                </a:ext>
              </a:extLst>
            </p:cNvPr>
            <p:cNvSpPr/>
            <p:nvPr/>
          </p:nvSpPr>
          <p:spPr>
            <a:xfrm>
              <a:off x="249075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2" name="Rectangle 141">
              <a:extLst>
                <a:ext uri="{FF2B5EF4-FFF2-40B4-BE49-F238E27FC236}">
                  <a16:creationId xmlns:a16="http://schemas.microsoft.com/office/drawing/2014/main" id="{AD2F49D7-2090-4A95-87FE-AE82B3548D91}"/>
                </a:ext>
              </a:extLst>
            </p:cNvPr>
            <p:cNvSpPr/>
            <p:nvPr/>
          </p:nvSpPr>
          <p:spPr>
            <a:xfrm>
              <a:off x="2574731" y="4508095"/>
              <a:ext cx="561667" cy="561667"/>
            </a:xfrm>
            <a:prstGeom prst="rect">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3" name="TextBox 142">
              <a:extLst>
                <a:ext uri="{FF2B5EF4-FFF2-40B4-BE49-F238E27FC236}">
                  <a16:creationId xmlns:a16="http://schemas.microsoft.com/office/drawing/2014/main" id="{323B48CA-9BEE-40C3-8A4D-5690FA1BC9ED}"/>
                </a:ext>
              </a:extLst>
            </p:cNvPr>
            <p:cNvSpPr txBox="1"/>
            <p:nvPr/>
          </p:nvSpPr>
          <p:spPr>
            <a:xfrm>
              <a:off x="2523464"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0</a:t>
              </a:r>
            </a:p>
          </p:txBody>
        </p:sp>
        <p:sp>
          <p:nvSpPr>
            <p:cNvPr id="144" name="Rectangle 143">
              <a:extLst>
                <a:ext uri="{FF2B5EF4-FFF2-40B4-BE49-F238E27FC236}">
                  <a16:creationId xmlns:a16="http://schemas.microsoft.com/office/drawing/2014/main" id="{9E9FDD74-5F6A-46BE-A007-ED7BFA5A6077}"/>
                </a:ext>
              </a:extLst>
            </p:cNvPr>
            <p:cNvSpPr/>
            <p:nvPr/>
          </p:nvSpPr>
          <p:spPr>
            <a:xfrm>
              <a:off x="329346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5" name="Rectangle 144">
              <a:extLst>
                <a:ext uri="{FF2B5EF4-FFF2-40B4-BE49-F238E27FC236}">
                  <a16:creationId xmlns:a16="http://schemas.microsoft.com/office/drawing/2014/main" id="{9A2B9A36-CEBF-4571-A09C-DB616EFAEE2D}"/>
                </a:ext>
              </a:extLst>
            </p:cNvPr>
            <p:cNvSpPr/>
            <p:nvPr/>
          </p:nvSpPr>
          <p:spPr>
            <a:xfrm>
              <a:off x="3377444" y="4508095"/>
              <a:ext cx="561667" cy="561667"/>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6" name="TextBox 145">
              <a:extLst>
                <a:ext uri="{FF2B5EF4-FFF2-40B4-BE49-F238E27FC236}">
                  <a16:creationId xmlns:a16="http://schemas.microsoft.com/office/drawing/2014/main" id="{01C43100-AE3A-48C2-B19F-AB064CC71C76}"/>
                </a:ext>
              </a:extLst>
            </p:cNvPr>
            <p:cNvSpPr txBox="1"/>
            <p:nvPr/>
          </p:nvSpPr>
          <p:spPr>
            <a:xfrm>
              <a:off x="332617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1</a:t>
              </a:r>
            </a:p>
          </p:txBody>
        </p:sp>
        <p:sp>
          <p:nvSpPr>
            <p:cNvPr id="147" name="Rectangle 146">
              <a:extLst>
                <a:ext uri="{FF2B5EF4-FFF2-40B4-BE49-F238E27FC236}">
                  <a16:creationId xmlns:a16="http://schemas.microsoft.com/office/drawing/2014/main" id="{AF4B6CBB-54AA-4AA7-8FA8-826F03E305A5}"/>
                </a:ext>
              </a:extLst>
            </p:cNvPr>
            <p:cNvSpPr/>
            <p:nvPr/>
          </p:nvSpPr>
          <p:spPr>
            <a:xfrm>
              <a:off x="411447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8" name="Rectangle 147">
              <a:extLst>
                <a:ext uri="{FF2B5EF4-FFF2-40B4-BE49-F238E27FC236}">
                  <a16:creationId xmlns:a16="http://schemas.microsoft.com/office/drawing/2014/main" id="{4E790399-5893-4E82-AB6B-0EF7D7E88E47}"/>
                </a:ext>
              </a:extLst>
            </p:cNvPr>
            <p:cNvSpPr/>
            <p:nvPr/>
          </p:nvSpPr>
          <p:spPr>
            <a:xfrm>
              <a:off x="4198453" y="4508095"/>
              <a:ext cx="561667" cy="561667"/>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9" name="TextBox 148">
              <a:extLst>
                <a:ext uri="{FF2B5EF4-FFF2-40B4-BE49-F238E27FC236}">
                  <a16:creationId xmlns:a16="http://schemas.microsoft.com/office/drawing/2014/main" id="{C6CCCB5C-6213-4CB1-907A-AD6C709411C6}"/>
                </a:ext>
              </a:extLst>
            </p:cNvPr>
            <p:cNvSpPr txBox="1"/>
            <p:nvPr/>
          </p:nvSpPr>
          <p:spPr>
            <a:xfrm>
              <a:off x="414718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2</a:t>
              </a:r>
            </a:p>
          </p:txBody>
        </p:sp>
        <p:sp>
          <p:nvSpPr>
            <p:cNvPr id="150" name="Rectangle 149">
              <a:extLst>
                <a:ext uri="{FF2B5EF4-FFF2-40B4-BE49-F238E27FC236}">
                  <a16:creationId xmlns:a16="http://schemas.microsoft.com/office/drawing/2014/main" id="{95C4ED4D-4CE5-4C8E-94C3-0993A04A0AA9}"/>
                </a:ext>
              </a:extLst>
            </p:cNvPr>
            <p:cNvSpPr/>
            <p:nvPr/>
          </p:nvSpPr>
          <p:spPr>
            <a:xfrm>
              <a:off x="491718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1" name="Rectangle 150">
              <a:extLst>
                <a:ext uri="{FF2B5EF4-FFF2-40B4-BE49-F238E27FC236}">
                  <a16:creationId xmlns:a16="http://schemas.microsoft.com/office/drawing/2014/main" id="{7EC8557F-594B-49DC-A0B1-CBF16FBBA22A}"/>
                </a:ext>
              </a:extLst>
            </p:cNvPr>
            <p:cNvSpPr/>
            <p:nvPr/>
          </p:nvSpPr>
          <p:spPr>
            <a:xfrm>
              <a:off x="5001166" y="4508095"/>
              <a:ext cx="561667" cy="561667"/>
            </a:xfrm>
            <a:prstGeom prst="rect">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2" name="TextBox 151">
              <a:extLst>
                <a:ext uri="{FF2B5EF4-FFF2-40B4-BE49-F238E27FC236}">
                  <a16:creationId xmlns:a16="http://schemas.microsoft.com/office/drawing/2014/main" id="{6220B6AB-9E02-426C-B8D9-A49F9714059B}"/>
                </a:ext>
              </a:extLst>
            </p:cNvPr>
            <p:cNvSpPr txBox="1"/>
            <p:nvPr/>
          </p:nvSpPr>
          <p:spPr>
            <a:xfrm>
              <a:off x="494989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3</a:t>
              </a:r>
            </a:p>
          </p:txBody>
        </p:sp>
        <p:sp>
          <p:nvSpPr>
            <p:cNvPr id="153" name="Rectangle 152">
              <a:extLst>
                <a:ext uri="{FF2B5EF4-FFF2-40B4-BE49-F238E27FC236}">
                  <a16:creationId xmlns:a16="http://schemas.microsoft.com/office/drawing/2014/main" id="{519619FD-88FF-44F1-9E4F-06748C9DC563}"/>
                </a:ext>
              </a:extLst>
            </p:cNvPr>
            <p:cNvSpPr/>
            <p:nvPr/>
          </p:nvSpPr>
          <p:spPr>
            <a:xfrm>
              <a:off x="571990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4" name="Rectangle 153">
              <a:extLst>
                <a:ext uri="{FF2B5EF4-FFF2-40B4-BE49-F238E27FC236}">
                  <a16:creationId xmlns:a16="http://schemas.microsoft.com/office/drawing/2014/main" id="{43246CF3-3E1D-4FC0-9E09-CC669FB99052}"/>
                </a:ext>
              </a:extLst>
            </p:cNvPr>
            <p:cNvSpPr/>
            <p:nvPr/>
          </p:nvSpPr>
          <p:spPr>
            <a:xfrm>
              <a:off x="5803877" y="4508095"/>
              <a:ext cx="561667" cy="561667"/>
            </a:xfrm>
            <a:prstGeom prst="rect">
              <a:avLst/>
            </a:prstGeom>
            <a:solidFill>
              <a:srgbClr val="FF63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55" name="TextBox 154">
              <a:extLst>
                <a:ext uri="{FF2B5EF4-FFF2-40B4-BE49-F238E27FC236}">
                  <a16:creationId xmlns:a16="http://schemas.microsoft.com/office/drawing/2014/main" id="{3C273BD7-A567-4936-89EA-6710038764F9}"/>
                </a:ext>
              </a:extLst>
            </p:cNvPr>
            <p:cNvSpPr txBox="1"/>
            <p:nvPr/>
          </p:nvSpPr>
          <p:spPr>
            <a:xfrm>
              <a:off x="5752610"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4</a:t>
              </a:r>
            </a:p>
          </p:txBody>
        </p:sp>
        <p:sp>
          <p:nvSpPr>
            <p:cNvPr id="156" name="Rectangle 155">
              <a:extLst>
                <a:ext uri="{FF2B5EF4-FFF2-40B4-BE49-F238E27FC236}">
                  <a16:creationId xmlns:a16="http://schemas.microsoft.com/office/drawing/2014/main" id="{50840C26-0A0B-4548-8D8A-5A99FD1A8CD1}"/>
                </a:ext>
              </a:extLst>
            </p:cNvPr>
            <p:cNvSpPr/>
            <p:nvPr/>
          </p:nvSpPr>
          <p:spPr>
            <a:xfrm>
              <a:off x="652261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7" name="Rectangle 156">
              <a:extLst>
                <a:ext uri="{FF2B5EF4-FFF2-40B4-BE49-F238E27FC236}">
                  <a16:creationId xmlns:a16="http://schemas.microsoft.com/office/drawing/2014/main" id="{19AE28EC-24D0-47E6-A5B2-8015E814DA54}"/>
                </a:ext>
              </a:extLst>
            </p:cNvPr>
            <p:cNvSpPr/>
            <p:nvPr/>
          </p:nvSpPr>
          <p:spPr>
            <a:xfrm>
              <a:off x="6606590" y="4508095"/>
              <a:ext cx="561667" cy="561667"/>
            </a:xfrm>
            <a:prstGeom prst="rect">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8" name="TextBox 157">
              <a:extLst>
                <a:ext uri="{FF2B5EF4-FFF2-40B4-BE49-F238E27FC236}">
                  <a16:creationId xmlns:a16="http://schemas.microsoft.com/office/drawing/2014/main" id="{B28B1F36-E5ED-48E9-B768-9D46A5499CA0}"/>
                </a:ext>
              </a:extLst>
            </p:cNvPr>
            <p:cNvSpPr txBox="1"/>
            <p:nvPr/>
          </p:nvSpPr>
          <p:spPr>
            <a:xfrm>
              <a:off x="6555321"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5</a:t>
              </a:r>
            </a:p>
          </p:txBody>
        </p:sp>
        <p:sp>
          <p:nvSpPr>
            <p:cNvPr id="159" name="Rectangle 158">
              <a:extLst>
                <a:ext uri="{FF2B5EF4-FFF2-40B4-BE49-F238E27FC236}">
                  <a16:creationId xmlns:a16="http://schemas.microsoft.com/office/drawing/2014/main" id="{653AA8B5-0FEE-416A-A34C-90F76C38DCB1}"/>
                </a:ext>
              </a:extLst>
            </p:cNvPr>
            <p:cNvSpPr/>
            <p:nvPr/>
          </p:nvSpPr>
          <p:spPr>
            <a:xfrm>
              <a:off x="733004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0" name="Rectangle 159">
              <a:extLst>
                <a:ext uri="{FF2B5EF4-FFF2-40B4-BE49-F238E27FC236}">
                  <a16:creationId xmlns:a16="http://schemas.microsoft.com/office/drawing/2014/main" id="{91A3A84E-6F89-4871-804D-745C97E3EFFB}"/>
                </a:ext>
              </a:extLst>
            </p:cNvPr>
            <p:cNvSpPr/>
            <p:nvPr/>
          </p:nvSpPr>
          <p:spPr>
            <a:xfrm>
              <a:off x="7414021" y="4508095"/>
              <a:ext cx="561667" cy="561667"/>
            </a:xfrm>
            <a:prstGeom prst="rect">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1" name="TextBox 160">
              <a:extLst>
                <a:ext uri="{FF2B5EF4-FFF2-40B4-BE49-F238E27FC236}">
                  <a16:creationId xmlns:a16="http://schemas.microsoft.com/office/drawing/2014/main" id="{B54BE93F-41C6-411E-9BF0-E17634480AF3}"/>
                </a:ext>
              </a:extLst>
            </p:cNvPr>
            <p:cNvSpPr txBox="1"/>
            <p:nvPr/>
          </p:nvSpPr>
          <p:spPr>
            <a:xfrm>
              <a:off x="7362753"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6</a:t>
              </a:r>
            </a:p>
          </p:txBody>
        </p:sp>
        <p:sp>
          <p:nvSpPr>
            <p:cNvPr id="162" name="Rectangle 161">
              <a:extLst>
                <a:ext uri="{FF2B5EF4-FFF2-40B4-BE49-F238E27FC236}">
                  <a16:creationId xmlns:a16="http://schemas.microsoft.com/office/drawing/2014/main" id="{BD927D57-B396-4E07-B974-65D94B46B526}"/>
                </a:ext>
              </a:extLst>
            </p:cNvPr>
            <p:cNvSpPr/>
            <p:nvPr/>
          </p:nvSpPr>
          <p:spPr>
            <a:xfrm>
              <a:off x="813275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3" name="Rectangle 162">
              <a:extLst>
                <a:ext uri="{FF2B5EF4-FFF2-40B4-BE49-F238E27FC236}">
                  <a16:creationId xmlns:a16="http://schemas.microsoft.com/office/drawing/2014/main" id="{6056313E-78A9-4738-9CD1-2F8152891098}"/>
                </a:ext>
              </a:extLst>
            </p:cNvPr>
            <p:cNvSpPr/>
            <p:nvPr/>
          </p:nvSpPr>
          <p:spPr>
            <a:xfrm>
              <a:off x="8216734" y="4508095"/>
              <a:ext cx="561667" cy="561667"/>
            </a:xfrm>
            <a:prstGeom prst="rect">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4" name="TextBox 163">
              <a:extLst>
                <a:ext uri="{FF2B5EF4-FFF2-40B4-BE49-F238E27FC236}">
                  <a16:creationId xmlns:a16="http://schemas.microsoft.com/office/drawing/2014/main" id="{68991AFF-7F82-4490-8169-788EC3A95C7C}"/>
                </a:ext>
              </a:extLst>
            </p:cNvPr>
            <p:cNvSpPr txBox="1"/>
            <p:nvPr/>
          </p:nvSpPr>
          <p:spPr>
            <a:xfrm>
              <a:off x="8165466"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7</a:t>
              </a:r>
            </a:p>
          </p:txBody>
        </p:sp>
        <p:sp>
          <p:nvSpPr>
            <p:cNvPr id="165" name="Rectangle 164">
              <a:extLst>
                <a:ext uri="{FF2B5EF4-FFF2-40B4-BE49-F238E27FC236}">
                  <a16:creationId xmlns:a16="http://schemas.microsoft.com/office/drawing/2014/main" id="{1679FF4F-7D45-4ED6-8550-49CE9B4FD206}"/>
                </a:ext>
              </a:extLst>
            </p:cNvPr>
            <p:cNvSpPr/>
            <p:nvPr/>
          </p:nvSpPr>
          <p:spPr>
            <a:xfrm>
              <a:off x="893546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6" name="Rectangle 165">
              <a:extLst>
                <a:ext uri="{FF2B5EF4-FFF2-40B4-BE49-F238E27FC236}">
                  <a16:creationId xmlns:a16="http://schemas.microsoft.com/office/drawing/2014/main" id="{9A7D0582-EBF1-4C09-BF35-E5DA740CE1F1}"/>
                </a:ext>
              </a:extLst>
            </p:cNvPr>
            <p:cNvSpPr/>
            <p:nvPr/>
          </p:nvSpPr>
          <p:spPr>
            <a:xfrm>
              <a:off x="9019445" y="4508095"/>
              <a:ext cx="561667" cy="561667"/>
            </a:xfrm>
            <a:prstGeom prst="rect">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7" name="TextBox 166">
              <a:extLst>
                <a:ext uri="{FF2B5EF4-FFF2-40B4-BE49-F238E27FC236}">
                  <a16:creationId xmlns:a16="http://schemas.microsoft.com/office/drawing/2014/main" id="{883E9D5D-E31A-4CCE-9261-6623A1020E06}"/>
                </a:ext>
              </a:extLst>
            </p:cNvPr>
            <p:cNvSpPr txBox="1"/>
            <p:nvPr/>
          </p:nvSpPr>
          <p:spPr>
            <a:xfrm>
              <a:off x="896817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8</a:t>
              </a:r>
            </a:p>
          </p:txBody>
        </p:sp>
        <p:sp>
          <p:nvSpPr>
            <p:cNvPr id="168" name="Rectangle 167">
              <a:extLst>
                <a:ext uri="{FF2B5EF4-FFF2-40B4-BE49-F238E27FC236}">
                  <a16:creationId xmlns:a16="http://schemas.microsoft.com/office/drawing/2014/main" id="{459A393F-457C-427E-812C-65D2BA1C88D1}"/>
                </a:ext>
              </a:extLst>
            </p:cNvPr>
            <p:cNvSpPr/>
            <p:nvPr/>
          </p:nvSpPr>
          <p:spPr>
            <a:xfrm>
              <a:off x="973818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9" name="Rectangle 168">
              <a:extLst>
                <a:ext uri="{FF2B5EF4-FFF2-40B4-BE49-F238E27FC236}">
                  <a16:creationId xmlns:a16="http://schemas.microsoft.com/office/drawing/2014/main" id="{A050DFF9-F0E7-4306-8A8E-4BF1D69C376B}"/>
                </a:ext>
              </a:extLst>
            </p:cNvPr>
            <p:cNvSpPr/>
            <p:nvPr/>
          </p:nvSpPr>
          <p:spPr>
            <a:xfrm>
              <a:off x="9822158" y="4508095"/>
              <a:ext cx="561667" cy="561667"/>
            </a:xfrm>
            <a:prstGeom prst="rect">
              <a:avLst/>
            </a:prstGeom>
            <a:solidFill>
              <a:srgbClr val="7D38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0" name="TextBox 169">
              <a:extLst>
                <a:ext uri="{FF2B5EF4-FFF2-40B4-BE49-F238E27FC236}">
                  <a16:creationId xmlns:a16="http://schemas.microsoft.com/office/drawing/2014/main" id="{BF09C80D-BFA6-4770-81A3-464A27FDABD4}"/>
                </a:ext>
              </a:extLst>
            </p:cNvPr>
            <p:cNvSpPr txBox="1"/>
            <p:nvPr/>
          </p:nvSpPr>
          <p:spPr>
            <a:xfrm>
              <a:off x="977088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0</a:t>
              </a:r>
            </a:p>
          </p:txBody>
        </p:sp>
        <p:sp>
          <p:nvSpPr>
            <p:cNvPr id="171" name="Rectangle 170">
              <a:extLst>
                <a:ext uri="{FF2B5EF4-FFF2-40B4-BE49-F238E27FC236}">
                  <a16:creationId xmlns:a16="http://schemas.microsoft.com/office/drawing/2014/main" id="{253E9245-A7DE-47AB-AFEC-8A9222BFD68E}"/>
                </a:ext>
              </a:extLst>
            </p:cNvPr>
            <p:cNvSpPr/>
            <p:nvPr/>
          </p:nvSpPr>
          <p:spPr>
            <a:xfrm>
              <a:off x="10523273"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2" name="Rectangle 171">
              <a:extLst>
                <a:ext uri="{FF2B5EF4-FFF2-40B4-BE49-F238E27FC236}">
                  <a16:creationId xmlns:a16="http://schemas.microsoft.com/office/drawing/2014/main" id="{EB733438-FC62-436A-BA09-7FD68FE77E94}"/>
                </a:ext>
              </a:extLst>
            </p:cNvPr>
            <p:cNvSpPr/>
            <p:nvPr/>
          </p:nvSpPr>
          <p:spPr>
            <a:xfrm>
              <a:off x="10607251" y="4508095"/>
              <a:ext cx="561667" cy="561667"/>
            </a:xfrm>
            <a:prstGeom prst="rect">
              <a:avLst/>
            </a:prstGeom>
            <a:solidFill>
              <a:srgbClr val="4700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3" name="TextBox 172">
              <a:extLst>
                <a:ext uri="{FF2B5EF4-FFF2-40B4-BE49-F238E27FC236}">
                  <a16:creationId xmlns:a16="http://schemas.microsoft.com/office/drawing/2014/main" id="{F602FCCF-DB27-4517-BC25-118D8B41B29A}"/>
                </a:ext>
              </a:extLst>
            </p:cNvPr>
            <p:cNvSpPr txBox="1"/>
            <p:nvPr/>
          </p:nvSpPr>
          <p:spPr>
            <a:xfrm>
              <a:off x="1055598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1</a:t>
              </a:r>
            </a:p>
          </p:txBody>
        </p:sp>
        <p:sp>
          <p:nvSpPr>
            <p:cNvPr id="174" name="Rectangle 4">
              <a:extLst>
                <a:ext uri="{FF2B5EF4-FFF2-40B4-BE49-F238E27FC236}">
                  <a16:creationId xmlns:a16="http://schemas.microsoft.com/office/drawing/2014/main" id="{B8F77320-5043-4FC9-8E5D-76C0E1D0B5D1}"/>
                </a:ext>
              </a:extLst>
            </p:cNvPr>
            <p:cNvSpPr>
              <a:spLocks noChangeArrowheads="1"/>
            </p:cNvSpPr>
            <p:nvPr/>
          </p:nvSpPr>
          <p:spPr bwMode="auto">
            <a:xfrm>
              <a:off x="885307" y="4072408"/>
              <a:ext cx="5241421" cy="246221"/>
            </a:xfrm>
            <a:prstGeom prst="rect">
              <a:avLst/>
            </a:prstGeom>
            <a:noFill/>
            <a:ln>
              <a:noFill/>
            </a:ln>
            <a:effectLst/>
          </p:spPr>
          <p:txBody>
            <a:bodyPr vert="horz" wrap="square" lIns="0" tIns="0" rIns="0" bIns="0" numCol="1" anchor="ctr" anchorCtr="0" compatLnSpc="1">
              <a:prstTxWarp prst="textNoShape">
                <a:avLst/>
              </a:prstTxWarp>
              <a:spAutoFit/>
            </a:bodyPr>
            <a:lstStyle/>
            <a:p>
              <a:pPr lvl="0" eaLnBrk="0" fontAlgn="base" hangingPunct="0">
                <a:spcBef>
                  <a:spcPct val="0"/>
                </a:spcBef>
                <a:spcAft>
                  <a:spcPct val="0"/>
                </a:spcAft>
              </a:pPr>
              <a:r>
                <a:rPr lang="en-US" altLang="pt-PT" sz="1600" dirty="0">
                  <a:latin typeface="Verdana" panose="020B0604030504040204" pitchFamily="34" charset="0"/>
                  <a:ea typeface="Verdana" panose="020B0604030504040204" pitchFamily="34" charset="0"/>
                  <a:cs typeface="Verdana" panose="020B0604030504040204" pitchFamily="34" charset="0"/>
                </a:rPr>
                <a:t>Colors for Infographics</a:t>
              </a:r>
            </a:p>
          </p:txBody>
        </p:sp>
      </p:grpSp>
    </p:spTree>
    <p:extLst>
      <p:ext uri="{BB962C8B-B14F-4D97-AF65-F5344CB8AC3E}">
        <p14:creationId xmlns:p14="http://schemas.microsoft.com/office/powerpoint/2010/main" val="28741680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0879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024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Skyscraper of the future</a:t>
            </a:r>
          </a:p>
        </p:txBody>
      </p:sp>
      <p:sp>
        <p:nvSpPr>
          <p:cNvPr id="3" name="Content Placeholder 2">
            <a:extLst>
              <a:ext uri="{FF2B5EF4-FFF2-40B4-BE49-F238E27FC236}">
                <a16:creationId xmlns:a16="http://schemas.microsoft.com/office/drawing/2014/main" id="{4024A438-478D-4828-9C03-3269020B93B1}"/>
              </a:ext>
            </a:extLst>
          </p:cNvPr>
          <p:cNvSpPr>
            <a:spLocks noGrp="1"/>
          </p:cNvSpPr>
          <p:nvPr>
            <p:ph idx="1"/>
          </p:nvPr>
        </p:nvSpPr>
        <p:spPr/>
        <p:txBody>
          <a:bodyPr/>
          <a:lstStyle/>
          <a:p>
            <a:r>
              <a:rPr lang="sv-SE" dirty="0"/>
              <a:t>Autonomous cars makes car sharing simple.</a:t>
            </a:r>
          </a:p>
          <a:p>
            <a:endParaRPr lang="sv-SE" dirty="0"/>
          </a:p>
          <a:p>
            <a:endParaRPr lang="sv-SE" dirty="0"/>
          </a:p>
        </p:txBody>
      </p:sp>
    </p:spTree>
    <p:extLst>
      <p:ext uri="{BB962C8B-B14F-4D97-AF65-F5344CB8AC3E}">
        <p14:creationId xmlns:p14="http://schemas.microsoft.com/office/powerpoint/2010/main" val="121294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What is intelligence</a:t>
            </a:r>
          </a:p>
        </p:txBody>
      </p:sp>
      <p:sp>
        <p:nvSpPr>
          <p:cNvPr id="3" name="Text Placeholder 4">
            <a:extLst>
              <a:ext uri="{FF2B5EF4-FFF2-40B4-BE49-F238E27FC236}">
                <a16:creationId xmlns:a16="http://schemas.microsoft.com/office/drawing/2014/main" id="{A94B39FA-EE4C-4114-B495-71207AAC3ED8}"/>
              </a:ext>
            </a:extLst>
          </p:cNvPr>
          <p:cNvSpPr txBox="1">
            <a:spLocks/>
          </p:cNvSpPr>
          <p:nvPr/>
        </p:nvSpPr>
        <p:spPr>
          <a:xfrm>
            <a:off x="407988" y="3428999"/>
            <a:ext cx="5471988" cy="1698343"/>
          </a:xfrm>
          <a:prstGeom prst="rect">
            <a:avLst/>
          </a:prstGeom>
        </p:spPr>
        <p:txBody>
          <a:bodyPr vert="horz" lIns="91440" tIns="45720" rIns="91440" bIns="45720" rtlCol="0" anchor="b">
            <a:noAutofit/>
          </a:bodyPr>
          <a:lstStyle>
            <a:lvl1pPr marL="0" indent="0" algn="l" defTabSz="914400" rtl="0" eaLnBrk="1" latinLnBrk="0" hangingPunct="1">
              <a:lnSpc>
                <a:spcPts val="3000"/>
              </a:lnSpc>
              <a:spcBef>
                <a:spcPts val="1000"/>
              </a:spcBef>
              <a:buFont typeface="Arial" panose="020B0604020202020204" pitchFamily="34" charset="0"/>
              <a:buNone/>
              <a:defRPr sz="2600" kern="1200">
                <a:solidFill>
                  <a:schemeClr val="accent3"/>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6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puters vs Humans</a:t>
            </a:r>
          </a:p>
        </p:txBody>
      </p:sp>
    </p:spTree>
    <p:extLst>
      <p:ext uri="{BB962C8B-B14F-4D97-AF65-F5344CB8AC3E}">
        <p14:creationId xmlns:p14="http://schemas.microsoft.com/office/powerpoint/2010/main" val="17336221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a:t>Background</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What is intelligence ? </a:t>
            </a:r>
            <a:r>
              <a:rPr lang="sv-SE" altLang="sv-SE" i="1" dirty="0"/>
              <a:t>A cat that once sat on a hot stove will never again sit on a hot stove or on a cold one either</a:t>
            </a:r>
            <a:r>
              <a:rPr lang="sv-SE" altLang="sv-SE" dirty="0"/>
              <a:t>- Mark Twain.</a:t>
            </a:r>
          </a:p>
          <a:p>
            <a:pPr eaLnBrk="1" hangingPunct="1"/>
            <a:r>
              <a:rPr lang="sv-SE" altLang="sv-SE" dirty="0"/>
              <a:t>Ability to learn is the root of intelligence.</a:t>
            </a:r>
          </a:p>
          <a:p>
            <a:pPr eaLnBrk="1" hangingPunct="1"/>
            <a:endParaRPr lang="sv-SE" altLang="sv-SE"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BAE591A-FD14-49C9-8E77-E7078CC8CD20}"/>
              </a:ext>
            </a:extLst>
          </p:cNvPr>
          <p:cNvSpPr>
            <a:spLocks noGrp="1" noChangeArrowheads="1"/>
          </p:cNvSpPr>
          <p:nvPr>
            <p:ph type="title"/>
          </p:nvPr>
        </p:nvSpPr>
        <p:spPr/>
        <p:txBody>
          <a:bodyPr/>
          <a:lstStyle/>
          <a:p>
            <a:pPr eaLnBrk="1" hangingPunct="1"/>
            <a:r>
              <a:rPr lang="sv-SE" altLang="sv-SE" dirty="0"/>
              <a:t>Pictures of </a:t>
            </a:r>
          </a:p>
        </p:txBody>
      </p:sp>
      <p:sp>
        <p:nvSpPr>
          <p:cNvPr id="6147" name="Rectangle 3">
            <a:extLst>
              <a:ext uri="{FF2B5EF4-FFF2-40B4-BE49-F238E27FC236}">
                <a16:creationId xmlns:a16="http://schemas.microsoft.com/office/drawing/2014/main" id="{E7EDFF6E-B1A2-45CF-8C64-EF0AF5D77ABC}"/>
              </a:ext>
            </a:extLst>
          </p:cNvPr>
          <p:cNvSpPr>
            <a:spLocks noGrp="1" noChangeArrowheads="1"/>
          </p:cNvSpPr>
          <p:nvPr>
            <p:ph type="body" idx="1"/>
          </p:nvPr>
        </p:nvSpPr>
        <p:spPr/>
        <p:txBody>
          <a:bodyPr/>
          <a:lstStyle/>
          <a:p>
            <a:pPr eaLnBrk="1" hangingPunct="1"/>
            <a:r>
              <a:rPr lang="sv-SE" altLang="sv-SE" dirty="0"/>
              <a:t>Sensitivity for new noice. </a:t>
            </a:r>
          </a:p>
          <a:p>
            <a:pPr lvl="1"/>
            <a:r>
              <a:rPr lang="sv-SE" altLang="sv-SE" dirty="0"/>
              <a:t>Living close to railway. </a:t>
            </a:r>
          </a:p>
          <a:p>
            <a:pPr lvl="1"/>
            <a:r>
              <a:rPr lang="sv-SE" altLang="sv-SE" dirty="0"/>
              <a:t>Animal afraid of camera shutter. </a:t>
            </a:r>
          </a:p>
          <a:p>
            <a:pPr lvl="1"/>
            <a:endParaRPr lang="sv-SE" altLang="sv-SE" dirty="0"/>
          </a:p>
          <a:p>
            <a:pPr eaLnBrk="1" hangingPunct="1"/>
            <a:r>
              <a:rPr lang="sv-SE" altLang="sv-SE" dirty="0"/>
              <a:t>How babies children learn</a:t>
            </a:r>
          </a:p>
        </p:txBody>
      </p:sp>
    </p:spTree>
    <p:extLst>
      <p:ext uri="{BB962C8B-B14F-4D97-AF65-F5344CB8AC3E}">
        <p14:creationId xmlns:p14="http://schemas.microsoft.com/office/powerpoint/2010/main" val="3300099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830</TotalTime>
  <Words>2853</Words>
  <Application>Microsoft Office PowerPoint</Application>
  <PresentationFormat>Widescreen</PresentationFormat>
  <Paragraphs>437</Paragraphs>
  <Slides>59</Slides>
  <Notes>3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7" baseType="lpstr">
      <vt:lpstr>Arial</vt:lpstr>
      <vt:lpstr>Calibri</vt:lpstr>
      <vt:lpstr>Calibri Light</vt:lpstr>
      <vt:lpstr>Trebuchet MS</vt:lpstr>
      <vt:lpstr>Verdana</vt:lpstr>
      <vt:lpstr>Wingdings</vt:lpstr>
      <vt:lpstr>Office Theme</vt:lpstr>
      <vt:lpstr>think-cell Slide</vt:lpstr>
      <vt:lpstr>Basic Python and introduction to  neural nets</vt:lpstr>
      <vt:lpstr>PowerPoint Presentation</vt:lpstr>
      <vt:lpstr>Jobs that might be lost</vt:lpstr>
      <vt:lpstr>Jobs lost in industrial revolution </vt:lpstr>
      <vt:lpstr>From an architects perspective</vt:lpstr>
      <vt:lpstr>Skyscraper of the future</vt:lpstr>
      <vt:lpstr>PowerPoint Presentation</vt:lpstr>
      <vt:lpstr>Background</vt:lpstr>
      <vt:lpstr>Pictures of </vt:lpstr>
      <vt:lpstr>Background (contd.)</vt:lpstr>
      <vt:lpstr>What is the difference between these tasks?</vt:lpstr>
      <vt:lpstr>For what kinds of task is pattern recognition important?</vt:lpstr>
      <vt:lpstr>Touring Test</vt:lpstr>
      <vt:lpstr>Chineese Room</vt:lpstr>
      <vt:lpstr>Magic of new methods</vt:lpstr>
      <vt:lpstr>From features to information…</vt:lpstr>
      <vt:lpstr>….using a cognitive approach</vt:lpstr>
      <vt:lpstr>PowerPoint Presentation</vt:lpstr>
      <vt:lpstr>From raw data to features</vt:lpstr>
      <vt:lpstr>Sensors</vt:lpstr>
      <vt:lpstr>From raw data to features</vt:lpstr>
      <vt:lpstr>PowerPoint Presentation</vt:lpstr>
      <vt:lpstr>Background</vt:lpstr>
      <vt:lpstr>Neural Nets</vt:lpstr>
      <vt:lpstr>Background</vt:lpstr>
      <vt:lpstr>PowerPoint Presentation</vt:lpstr>
      <vt:lpstr>Why python </vt:lpstr>
      <vt:lpstr>How python </vt:lpstr>
      <vt:lpstr>Syntax and naming</vt:lpstr>
      <vt:lpstr>Lets do some coding!</vt:lpstr>
      <vt:lpstr>From raw data to features</vt:lpstr>
      <vt:lpstr>Click to insert title</vt:lpstr>
      <vt:lpstr>Click to insert title</vt:lpstr>
      <vt:lpstr>Click to insert title</vt:lpstr>
      <vt:lpstr>Click to insert title (Work for 1 or 2 lines of title)</vt:lpstr>
      <vt:lpstr>Click to insert title (Work for 1 or 2 lines of title)</vt:lpstr>
      <vt:lpstr>Click to insert title (Work for 1 or 2 lines of title)</vt:lpstr>
      <vt:lpstr>Click to insert text (Work for 1 or 2 lines of title)</vt:lpstr>
      <vt:lpstr>Click to insert title (Work for 1 or 2 lines of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World map</vt:lpstr>
      <vt:lpstr>Shapes</vt:lpstr>
      <vt:lpstr>Illustration Components</vt:lpstr>
      <vt:lpstr>Illustration Components</vt:lpstr>
      <vt:lpstr>Color Palett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Johansson, Simon</dc:creator>
  <cp:lastModifiedBy>Johansson, Simon</cp:lastModifiedBy>
  <cp:revision>20</cp:revision>
  <dcterms:created xsi:type="dcterms:W3CDTF">2019-05-13T05:39:37Z</dcterms:created>
  <dcterms:modified xsi:type="dcterms:W3CDTF">2019-05-17T06:49:55Z</dcterms:modified>
</cp:coreProperties>
</file>